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1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2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3.xml" ContentType="application/vnd.openxmlformats-officedocument.presentationml.notesSl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4.xml" ContentType="application/vnd.openxmlformats-officedocument.presentationml.notesSlid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notesSlides/notesSlide5.xml" ContentType="application/vnd.openxmlformats-officedocument.presentationml.notesSlid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notesSlides/notesSlide6.xml" ContentType="application/vnd.openxmlformats-officedocument.presentationml.notesSlide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notesSlides/notesSlide7.xml" ContentType="application/vnd.openxmlformats-officedocument.presentationml.notesSlide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notesSlides/notesSlide8.xml" ContentType="application/vnd.openxmlformats-officedocument.presentationml.notesSlide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notesSlides/notesSlide9.xml" ContentType="application/vnd.openxmlformats-officedocument.presentationml.notesSlide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notesSlides/notesSlide10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7"/>
  </p:notesMasterIdLst>
  <p:sldIdLst>
    <p:sldId id="326" r:id="rId5"/>
    <p:sldId id="2147483645" r:id="rId6"/>
    <p:sldId id="258" r:id="rId7"/>
    <p:sldId id="261" r:id="rId8"/>
    <p:sldId id="2147483646" r:id="rId9"/>
    <p:sldId id="260" r:id="rId10"/>
    <p:sldId id="262" r:id="rId11"/>
    <p:sldId id="2147483647" r:id="rId12"/>
    <p:sldId id="256" r:id="rId13"/>
    <p:sldId id="2147482682" r:id="rId14"/>
    <p:sldId id="263" r:id="rId15"/>
    <p:sldId id="265" r:id="rId16"/>
  </p:sldIdLst>
  <p:sldSz cx="12192000" cy="6858000"/>
  <p:notesSz cx="6797675" cy="9926638"/>
  <p:custDataLst>
    <p:tags r:id="rId18"/>
  </p:custDataLst>
  <p:defaultTextStyle>
    <a:defPPr>
      <a:defRPr lang="en-US"/>
    </a:defPPr>
    <a:lvl1pPr marL="177800" indent="-177800" algn="l" defTabSz="711200" rtl="0" eaLnBrk="1" latinLnBrk="0" hangingPunct="1">
      <a:spcBef>
        <a:spcPts val="1200"/>
      </a:spcBef>
      <a:buChar char="•"/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3556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5334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7112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8890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0668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12446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14224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16002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176" userDrawn="1">
          <p15:clr>
            <a:srgbClr val="A4A3A4"/>
          </p15:clr>
        </p15:guide>
        <p15:guide id="2" orient="horz" pos="3768" userDrawn="1">
          <p15:clr>
            <a:srgbClr val="A4A3A4"/>
          </p15:clr>
        </p15:guide>
        <p15:guide id="3" pos="504" userDrawn="1">
          <p15:clr>
            <a:srgbClr val="A4A3A4"/>
          </p15:clr>
        </p15:guide>
        <p15:guide id="4" pos="3864" userDrawn="1">
          <p15:clr>
            <a:srgbClr val="A4A3A4"/>
          </p15:clr>
        </p15:guide>
        <p15:guide id="5" pos="7392" userDrawn="1">
          <p15:clr>
            <a:srgbClr val="A4A3A4"/>
          </p15:clr>
        </p15:guide>
        <p15:guide id="6" orient="horz" pos="3528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5C5C5C"/>
    <a:srgbClr val="FAEEC3"/>
    <a:srgbClr val="F2DE8A"/>
    <a:srgbClr val="E9CD49"/>
    <a:srgbClr val="C6AA3D"/>
    <a:srgbClr val="AB8933"/>
    <a:srgbClr val="FAECDB"/>
    <a:srgbClr val="EDDABD"/>
    <a:srgbClr val="CFB79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F25939D-9E83-0F96-D6C1-66FECB96BD68}" v="2" dt="2025-05-29T11:05:20.824"/>
    <p1510:client id="{E9706589-2DB5-4BFA-A300-31C116FE545B}" v="234" dt="2025-05-29T10:16:39.736"/>
  </p1510:revLst>
</p1510:revInfo>
</file>

<file path=ppt/tableStyles.xml><?xml version="1.0" encoding="utf-8"?>
<a:tblStyleLst xmlns:a="http://schemas.openxmlformats.org/drawingml/2006/main" def="{2D5ABB26-0587-4C30-8999-92F81FD0307C}">
  <a:tblStyle styleId="{9D7B26C5-4107-4FEC-AEDC-1716B250A1EF}" styleName="Light Style 1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9525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>
              <a:noFill/>
            </a:ln>
          </a:top>
          <a:bottom>
            <a:ln>
              <a:noFill/>
            </a:ln>
          </a:bottom>
        </a:tcBdr>
        <a:fill>
          <a:solidFill>
            <a:schemeClr val="dk2"/>
          </a:solidFill>
        </a:fill>
      </a:tcStyle>
    </a:band1H>
    <a:band2H>
      <a:tcStyle>
        <a:tcBdr/>
      </a:tcStyle>
    </a:band2H>
    <a:band1V>
      <a:tcStyle>
        <a:tcBdr/>
      </a:tcStyle>
    </a:band1V>
    <a:band2V>
      <a:tcStyle>
        <a:tcBdr/>
      </a:tcStyle>
    </a:band2V>
    <a:firstCol>
      <a:tcTxStyle b="on"/>
      <a:tcStyle>
        <a:tcBdr/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1905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accent3"/>
      </a:tcTxStyle>
      <a:tcStyle>
        <a:tcBdr>
          <a:bottom>
            <a:ln w="19050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21" d="100"/>
          <a:sy n="121" d="100"/>
        </p:scale>
        <p:origin x="156" y="-48"/>
      </p:cViewPr>
      <p:guideLst>
        <p:guide orient="horz" pos="1176"/>
        <p:guide orient="horz" pos="3768"/>
        <p:guide pos="504"/>
        <p:guide pos="3864"/>
        <p:guide pos="7392"/>
        <p:guide orient="horz" pos="3528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microsoft.com/office/2016/11/relationships/changesInfo" Target="changesInfos/changesInfo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hamaria, Shridhar" userId="S::shridhar.chamaria@bain.com::8333b265-e735-45f8-a921-ce459cc3483a" providerId="AD" clId="Web-{3F25939D-9E83-0F96-D6C1-66FECB96BD68}"/>
    <pc:docChg chg="modSld">
      <pc:chgData name="Chamaria, Shridhar" userId="S::shridhar.chamaria@bain.com::8333b265-e735-45f8-a921-ce459cc3483a" providerId="AD" clId="Web-{3F25939D-9E83-0F96-D6C1-66FECB96BD68}" dt="2025-05-29T11:05:20.824" v="1"/>
      <pc:docMkLst>
        <pc:docMk/>
      </pc:docMkLst>
      <pc:sldChg chg="addSp delSp modSp">
        <pc:chgData name="Chamaria, Shridhar" userId="S::shridhar.chamaria@bain.com::8333b265-e735-45f8-a921-ce459cc3483a" providerId="AD" clId="Web-{3F25939D-9E83-0F96-D6C1-66FECB96BD68}" dt="2025-05-29T11:05:20.824" v="1"/>
        <pc:sldMkLst>
          <pc:docMk/>
          <pc:sldMk cId="3147993296" sldId="326"/>
        </pc:sldMkLst>
        <pc:spChg chg="del">
          <ac:chgData name="Chamaria, Shridhar" userId="S::shridhar.chamaria@bain.com::8333b265-e735-45f8-a921-ce459cc3483a" providerId="AD" clId="Web-{3F25939D-9E83-0F96-D6C1-66FECB96BD68}" dt="2025-05-29T11:05:12.168" v="0"/>
          <ac:spMkLst>
            <pc:docMk/>
            <pc:sldMk cId="3147993296" sldId="326"/>
            <ac:spMk id="4" creationId="{55B54901-05F0-4F8A-960B-F7DA1F3B54ED}"/>
          </ac:spMkLst>
        </pc:spChg>
        <pc:spChg chg="add del mod">
          <ac:chgData name="Chamaria, Shridhar" userId="S::shridhar.chamaria@bain.com::8333b265-e735-45f8-a921-ce459cc3483a" providerId="AD" clId="Web-{3F25939D-9E83-0F96-D6C1-66FECB96BD68}" dt="2025-05-29T11:05:20.824" v="1"/>
          <ac:spMkLst>
            <pc:docMk/>
            <pc:sldMk cId="3147993296" sldId="326"/>
            <ac:spMk id="7" creationId="{7C778A83-CC74-FADD-37B0-4FCCB65F0A3E}"/>
          </ac:spMkLst>
        </pc:spChg>
      </pc:sldChg>
    </pc:docChg>
  </pc:docChgLst>
  <pc:docChgLst>
    <pc:chgData name="Chamaria, Shridhar" userId="8333b265-e735-45f8-a921-ce459cc3483a" providerId="ADAL" clId="{E9706589-2DB5-4BFA-A300-31C116FE545B}"/>
    <pc:docChg chg="undo custSel modSld modMainMaster">
      <pc:chgData name="Chamaria, Shridhar" userId="8333b265-e735-45f8-a921-ce459cc3483a" providerId="ADAL" clId="{E9706589-2DB5-4BFA-A300-31C116FE545B}" dt="2025-05-29T10:16:39.736" v="303"/>
      <pc:docMkLst>
        <pc:docMk/>
      </pc:docMkLst>
      <pc:sldChg chg="delSp modSp">
        <pc:chgData name="Chamaria, Shridhar" userId="8333b265-e735-45f8-a921-ce459cc3483a" providerId="ADAL" clId="{E9706589-2DB5-4BFA-A300-31C116FE545B}" dt="2025-05-29T09:57:59.988" v="201"/>
        <pc:sldMkLst>
          <pc:docMk/>
          <pc:sldMk cId="518805589" sldId="256"/>
        </pc:sldMkLst>
        <pc:spChg chg="del mod">
          <ac:chgData name="Chamaria, Shridhar" userId="8333b265-e735-45f8-a921-ce459cc3483a" providerId="ADAL" clId="{E9706589-2DB5-4BFA-A300-31C116FE545B}" dt="2025-05-29T09:53:33.477" v="186" actId="478"/>
          <ac:spMkLst>
            <pc:docMk/>
            <pc:sldMk cId="518805589" sldId="256"/>
            <ac:spMk id="2" creationId="{92912D4D-E4CE-AE04-2E43-71BE281A873F}"/>
          </ac:spMkLst>
        </pc:spChg>
        <pc:spChg chg="mod">
          <ac:chgData name="Chamaria, Shridhar" userId="8333b265-e735-45f8-a921-ce459cc3483a" providerId="ADAL" clId="{E9706589-2DB5-4BFA-A300-31C116FE545B}" dt="2025-05-29T09:57:59.988" v="201"/>
          <ac:spMkLst>
            <pc:docMk/>
            <pc:sldMk cId="518805589" sldId="256"/>
            <ac:spMk id="7" creationId="{ADF9A08C-FD77-4FF3-9307-10D9D9652E8E}"/>
          </ac:spMkLst>
        </pc:spChg>
        <pc:spChg chg="mod">
          <ac:chgData name="Chamaria, Shridhar" userId="8333b265-e735-45f8-a921-ce459cc3483a" providerId="ADAL" clId="{E9706589-2DB5-4BFA-A300-31C116FE545B}" dt="2025-05-29T08:43:21.965" v="93"/>
          <ac:spMkLst>
            <pc:docMk/>
            <pc:sldMk cId="518805589" sldId="256"/>
            <ac:spMk id="22" creationId="{C1FA96CF-306C-A77D-440D-8C03ECC7A8BE}"/>
          </ac:spMkLst>
        </pc:spChg>
        <pc:picChg chg="del">
          <ac:chgData name="Chamaria, Shridhar" userId="8333b265-e735-45f8-a921-ce459cc3483a" providerId="ADAL" clId="{E9706589-2DB5-4BFA-A300-31C116FE545B}" dt="2025-05-29T09:53:33.477" v="186" actId="478"/>
          <ac:picMkLst>
            <pc:docMk/>
            <pc:sldMk cId="518805589" sldId="256"/>
            <ac:picMk id="6" creationId="{694C08D9-6A9C-A20B-FCC6-3101B5EDB20C}"/>
          </ac:picMkLst>
        </pc:picChg>
        <pc:picChg chg="del">
          <ac:chgData name="Chamaria, Shridhar" userId="8333b265-e735-45f8-a921-ce459cc3483a" providerId="ADAL" clId="{E9706589-2DB5-4BFA-A300-31C116FE545B}" dt="2025-05-29T09:53:33.477" v="186" actId="478"/>
          <ac:picMkLst>
            <pc:docMk/>
            <pc:sldMk cId="518805589" sldId="256"/>
            <ac:picMk id="20" creationId="{B68933A5-994E-364C-6EA1-9C259829C3EC}"/>
          </ac:picMkLst>
        </pc:picChg>
        <pc:picChg chg="del">
          <ac:chgData name="Chamaria, Shridhar" userId="8333b265-e735-45f8-a921-ce459cc3483a" providerId="ADAL" clId="{E9706589-2DB5-4BFA-A300-31C116FE545B}" dt="2025-05-29T09:53:33.477" v="186" actId="478"/>
          <ac:picMkLst>
            <pc:docMk/>
            <pc:sldMk cId="518805589" sldId="256"/>
            <ac:picMk id="23" creationId="{76742DC3-5B25-FFD2-F3F9-47C6B2497065}"/>
          </ac:picMkLst>
        </pc:picChg>
        <pc:picChg chg="del">
          <ac:chgData name="Chamaria, Shridhar" userId="8333b265-e735-45f8-a921-ce459cc3483a" providerId="ADAL" clId="{E9706589-2DB5-4BFA-A300-31C116FE545B}" dt="2025-05-29T09:53:33.477" v="186" actId="478"/>
          <ac:picMkLst>
            <pc:docMk/>
            <pc:sldMk cId="518805589" sldId="256"/>
            <ac:picMk id="25" creationId="{522CC2E7-8806-B290-ABF0-78423AC291C3}"/>
          </ac:picMkLst>
        </pc:picChg>
        <pc:picChg chg="del">
          <ac:chgData name="Chamaria, Shridhar" userId="8333b265-e735-45f8-a921-ce459cc3483a" providerId="ADAL" clId="{E9706589-2DB5-4BFA-A300-31C116FE545B}" dt="2025-05-29T09:53:33.477" v="186" actId="478"/>
          <ac:picMkLst>
            <pc:docMk/>
            <pc:sldMk cId="518805589" sldId="256"/>
            <ac:picMk id="26" creationId="{CB6466F3-D56F-92D5-BA2E-49B38F3A6C09}"/>
          </ac:picMkLst>
        </pc:picChg>
        <pc:picChg chg="del">
          <ac:chgData name="Chamaria, Shridhar" userId="8333b265-e735-45f8-a921-ce459cc3483a" providerId="ADAL" clId="{E9706589-2DB5-4BFA-A300-31C116FE545B}" dt="2025-05-29T09:53:33.477" v="186" actId="478"/>
          <ac:picMkLst>
            <pc:docMk/>
            <pc:sldMk cId="518805589" sldId="256"/>
            <ac:picMk id="27" creationId="{07D9B3FE-529F-166A-1A5F-5943033C0BFD}"/>
          </ac:picMkLst>
        </pc:picChg>
        <pc:picChg chg="del">
          <ac:chgData name="Chamaria, Shridhar" userId="8333b265-e735-45f8-a921-ce459cc3483a" providerId="ADAL" clId="{E9706589-2DB5-4BFA-A300-31C116FE545B}" dt="2025-05-29T09:53:33.477" v="186" actId="478"/>
          <ac:picMkLst>
            <pc:docMk/>
            <pc:sldMk cId="518805589" sldId="256"/>
            <ac:picMk id="28" creationId="{42C3F69E-72A5-5678-30FC-9036BA33FF1B}"/>
          </ac:picMkLst>
        </pc:picChg>
        <pc:picChg chg="del">
          <ac:chgData name="Chamaria, Shridhar" userId="8333b265-e735-45f8-a921-ce459cc3483a" providerId="ADAL" clId="{E9706589-2DB5-4BFA-A300-31C116FE545B}" dt="2025-05-29T09:53:33.477" v="186" actId="478"/>
          <ac:picMkLst>
            <pc:docMk/>
            <pc:sldMk cId="518805589" sldId="256"/>
            <ac:picMk id="29" creationId="{411D0C5B-6B9A-94C3-2A36-66E4F5A1DF97}"/>
          </ac:picMkLst>
        </pc:picChg>
        <pc:picChg chg="del">
          <ac:chgData name="Chamaria, Shridhar" userId="8333b265-e735-45f8-a921-ce459cc3483a" providerId="ADAL" clId="{E9706589-2DB5-4BFA-A300-31C116FE545B}" dt="2025-05-29T09:53:33.477" v="186" actId="478"/>
          <ac:picMkLst>
            <pc:docMk/>
            <pc:sldMk cId="518805589" sldId="256"/>
            <ac:picMk id="30" creationId="{1300C648-0345-CD4C-6107-395BF2FCC40B}"/>
          </ac:picMkLst>
        </pc:picChg>
      </pc:sldChg>
      <pc:sldChg chg="addSp delSp modSp mod">
        <pc:chgData name="Chamaria, Shridhar" userId="8333b265-e735-45f8-a921-ce459cc3483a" providerId="ADAL" clId="{E9706589-2DB5-4BFA-A300-31C116FE545B}" dt="2025-05-29T08:43:11.814" v="88"/>
        <pc:sldMkLst>
          <pc:docMk/>
          <pc:sldMk cId="4016537089" sldId="258"/>
        </pc:sldMkLst>
        <pc:spChg chg="mod">
          <ac:chgData name="Chamaria, Shridhar" userId="8333b265-e735-45f8-a921-ce459cc3483a" providerId="ADAL" clId="{E9706589-2DB5-4BFA-A300-31C116FE545B}" dt="2025-05-29T08:43:11.783" v="47" actId="948"/>
          <ac:spMkLst>
            <pc:docMk/>
            <pc:sldMk cId="4016537089" sldId="258"/>
            <ac:spMk id="2" creationId="{00000000-0000-0000-0000-000000000000}"/>
          </ac:spMkLst>
        </pc:spChg>
        <pc:spChg chg="add del mod modVis">
          <ac:chgData name="Chamaria, Shridhar" userId="8333b265-e735-45f8-a921-ce459cc3483a" providerId="ADAL" clId="{E9706589-2DB5-4BFA-A300-31C116FE545B}" dt="2025-05-29T08:43:11.814" v="86"/>
          <ac:spMkLst>
            <pc:docMk/>
            <pc:sldMk cId="4016537089" sldId="258"/>
            <ac:spMk id="6" creationId="{31C76797-F5BF-845B-E1CF-F63286F5C414}"/>
          </ac:spMkLst>
        </pc:spChg>
        <pc:spChg chg="del">
          <ac:chgData name="Chamaria, Shridhar" userId="8333b265-e735-45f8-a921-ce459cc3483a" providerId="ADAL" clId="{E9706589-2DB5-4BFA-A300-31C116FE545B}" dt="2025-05-29T08:42:20.547" v="36" actId="478"/>
          <ac:spMkLst>
            <pc:docMk/>
            <pc:sldMk cId="4016537089" sldId="258"/>
            <ac:spMk id="7" creationId="{BD85D0C2-4AD1-71EB-7BAB-D1ABA8C3A48B}"/>
          </ac:spMkLst>
        </pc:spChg>
        <pc:spChg chg="mod">
          <ac:chgData name="Chamaria, Shridhar" userId="8333b265-e735-45f8-a921-ce459cc3483a" providerId="ADAL" clId="{E9706589-2DB5-4BFA-A300-31C116FE545B}" dt="2025-05-29T08:42:50.266" v="45" actId="20577"/>
          <ac:spMkLst>
            <pc:docMk/>
            <pc:sldMk cId="4016537089" sldId="258"/>
            <ac:spMk id="24" creationId="{24F59337-F4EB-28DF-93C8-E7B59EF6CE8C}"/>
          </ac:spMkLst>
        </pc:spChg>
        <pc:spChg chg="mod">
          <ac:chgData name="Chamaria, Shridhar" userId="8333b265-e735-45f8-a921-ce459cc3483a" providerId="ADAL" clId="{E9706589-2DB5-4BFA-A300-31C116FE545B}" dt="2025-05-29T08:42:39.386" v="42"/>
          <ac:spMkLst>
            <pc:docMk/>
            <pc:sldMk cId="4016537089" sldId="258"/>
            <ac:spMk id="52" creationId="{BC7ADB42-81E0-4988-84C8-45FAFE915AFB}"/>
          </ac:spMkLst>
        </pc:spChg>
        <pc:graphicFrameChg chg="mod">
          <ac:chgData name="Chamaria, Shridhar" userId="8333b265-e735-45f8-a921-ce459cc3483a" providerId="ADAL" clId="{E9706589-2DB5-4BFA-A300-31C116FE545B}" dt="2025-05-29T08:43:11.814" v="88"/>
          <ac:graphicFrameMkLst>
            <pc:docMk/>
            <pc:sldMk cId="4016537089" sldId="258"/>
            <ac:graphicFrameMk id="63" creationId="{8C882579-3D22-C274-8C8C-55150391FEE5}"/>
          </ac:graphicFrameMkLst>
        </pc:graphicFrameChg>
        <pc:picChg chg="del">
          <ac:chgData name="Chamaria, Shridhar" userId="8333b265-e735-45f8-a921-ce459cc3483a" providerId="ADAL" clId="{E9706589-2DB5-4BFA-A300-31C116FE545B}" dt="2025-05-29T08:42:20.547" v="36" actId="478"/>
          <ac:picMkLst>
            <pc:docMk/>
            <pc:sldMk cId="4016537089" sldId="258"/>
            <ac:picMk id="8" creationId="{EDA0C9C9-42B5-564B-C4A7-E5FC0749B335}"/>
          </ac:picMkLst>
        </pc:picChg>
        <pc:picChg chg="del">
          <ac:chgData name="Chamaria, Shridhar" userId="8333b265-e735-45f8-a921-ce459cc3483a" providerId="ADAL" clId="{E9706589-2DB5-4BFA-A300-31C116FE545B}" dt="2025-05-29T08:42:20.547" v="36" actId="478"/>
          <ac:picMkLst>
            <pc:docMk/>
            <pc:sldMk cId="4016537089" sldId="258"/>
            <ac:picMk id="12" creationId="{560C3BCD-3B45-833A-A2EF-BC8ED4993F59}"/>
          </ac:picMkLst>
        </pc:picChg>
        <pc:picChg chg="del">
          <ac:chgData name="Chamaria, Shridhar" userId="8333b265-e735-45f8-a921-ce459cc3483a" providerId="ADAL" clId="{E9706589-2DB5-4BFA-A300-31C116FE545B}" dt="2025-05-29T08:42:20.547" v="36" actId="478"/>
          <ac:picMkLst>
            <pc:docMk/>
            <pc:sldMk cId="4016537089" sldId="258"/>
            <ac:picMk id="13" creationId="{46A338E8-077A-875E-405E-39E589C3582D}"/>
          </ac:picMkLst>
        </pc:picChg>
        <pc:picChg chg="del">
          <ac:chgData name="Chamaria, Shridhar" userId="8333b265-e735-45f8-a921-ce459cc3483a" providerId="ADAL" clId="{E9706589-2DB5-4BFA-A300-31C116FE545B}" dt="2025-05-29T08:42:20.547" v="36" actId="478"/>
          <ac:picMkLst>
            <pc:docMk/>
            <pc:sldMk cId="4016537089" sldId="258"/>
            <ac:picMk id="14" creationId="{9296F025-6562-A056-5C1F-3443443033B0}"/>
          </ac:picMkLst>
        </pc:picChg>
        <pc:picChg chg="del">
          <ac:chgData name="Chamaria, Shridhar" userId="8333b265-e735-45f8-a921-ce459cc3483a" providerId="ADAL" clId="{E9706589-2DB5-4BFA-A300-31C116FE545B}" dt="2025-05-29T08:42:20.547" v="36" actId="478"/>
          <ac:picMkLst>
            <pc:docMk/>
            <pc:sldMk cId="4016537089" sldId="258"/>
            <ac:picMk id="17" creationId="{958A2FEC-D31B-C4F7-C332-DBD6CDA65B91}"/>
          </ac:picMkLst>
        </pc:picChg>
        <pc:picChg chg="del">
          <ac:chgData name="Chamaria, Shridhar" userId="8333b265-e735-45f8-a921-ce459cc3483a" providerId="ADAL" clId="{E9706589-2DB5-4BFA-A300-31C116FE545B}" dt="2025-05-29T08:42:20.547" v="36" actId="478"/>
          <ac:picMkLst>
            <pc:docMk/>
            <pc:sldMk cId="4016537089" sldId="258"/>
            <ac:picMk id="18" creationId="{EC229CBB-2958-EFB4-1877-823CBCB3F1D2}"/>
          </ac:picMkLst>
        </pc:picChg>
        <pc:picChg chg="del">
          <ac:chgData name="Chamaria, Shridhar" userId="8333b265-e735-45f8-a921-ce459cc3483a" providerId="ADAL" clId="{E9706589-2DB5-4BFA-A300-31C116FE545B}" dt="2025-05-29T08:42:20.547" v="36" actId="478"/>
          <ac:picMkLst>
            <pc:docMk/>
            <pc:sldMk cId="4016537089" sldId="258"/>
            <ac:picMk id="19" creationId="{B693F169-FF05-A67F-7196-1D29FEAD836F}"/>
          </ac:picMkLst>
        </pc:picChg>
        <pc:picChg chg="del">
          <ac:chgData name="Chamaria, Shridhar" userId="8333b265-e735-45f8-a921-ce459cc3483a" providerId="ADAL" clId="{E9706589-2DB5-4BFA-A300-31C116FE545B}" dt="2025-05-29T08:42:20.547" v="36" actId="478"/>
          <ac:picMkLst>
            <pc:docMk/>
            <pc:sldMk cId="4016537089" sldId="258"/>
            <ac:picMk id="20" creationId="{CC1AE1F9-065D-77F0-7ED3-FEF50DEFE986}"/>
          </ac:picMkLst>
        </pc:picChg>
        <pc:picChg chg="del">
          <ac:chgData name="Chamaria, Shridhar" userId="8333b265-e735-45f8-a921-ce459cc3483a" providerId="ADAL" clId="{E9706589-2DB5-4BFA-A300-31C116FE545B}" dt="2025-05-29T08:42:20.547" v="36" actId="478"/>
          <ac:picMkLst>
            <pc:docMk/>
            <pc:sldMk cId="4016537089" sldId="258"/>
            <ac:picMk id="22" creationId="{7CE9995E-84DC-2A6D-DBDD-BA7408A75D65}"/>
          </ac:picMkLst>
        </pc:picChg>
      </pc:sldChg>
      <pc:sldChg chg="delSp modSp">
        <pc:chgData name="Chamaria, Shridhar" userId="8333b265-e735-45f8-a921-ce459cc3483a" providerId="ADAL" clId="{E9706589-2DB5-4BFA-A300-31C116FE545B}" dt="2025-05-29T09:42:52.681" v="152"/>
        <pc:sldMkLst>
          <pc:docMk/>
          <pc:sldMk cId="1152149222" sldId="260"/>
        </pc:sldMkLst>
        <pc:spChg chg="mod">
          <ac:chgData name="Chamaria, Shridhar" userId="8333b265-e735-45f8-a921-ce459cc3483a" providerId="ADAL" clId="{E9706589-2DB5-4BFA-A300-31C116FE545B}" dt="2025-05-29T08:43:11.249" v="46"/>
          <ac:spMkLst>
            <pc:docMk/>
            <pc:sldMk cId="1152149222" sldId="260"/>
            <ac:spMk id="2" creationId="{00000000-0000-0000-0000-000000000000}"/>
          </ac:spMkLst>
        </pc:spChg>
        <pc:spChg chg="del mod">
          <ac:chgData name="Chamaria, Shridhar" userId="8333b265-e735-45f8-a921-ce459cc3483a" providerId="ADAL" clId="{E9706589-2DB5-4BFA-A300-31C116FE545B}" dt="2025-05-29T09:42:11.753" v="143" actId="478"/>
          <ac:spMkLst>
            <pc:docMk/>
            <pc:sldMk cId="1152149222" sldId="260"/>
            <ac:spMk id="22" creationId="{686ED9B1-5783-3BEC-1B6E-57EADC50AC27}"/>
          </ac:spMkLst>
        </pc:spChg>
        <pc:spChg chg="mod">
          <ac:chgData name="Chamaria, Shridhar" userId="8333b265-e735-45f8-a921-ce459cc3483a" providerId="ADAL" clId="{E9706589-2DB5-4BFA-A300-31C116FE545B}" dt="2025-05-29T09:42:52.681" v="152"/>
          <ac:spMkLst>
            <pc:docMk/>
            <pc:sldMk cId="1152149222" sldId="260"/>
            <ac:spMk id="30" creationId="{00000000-0000-0000-0000-000000000000}"/>
          </ac:spMkLst>
        </pc:spChg>
        <pc:picChg chg="del">
          <ac:chgData name="Chamaria, Shridhar" userId="8333b265-e735-45f8-a921-ce459cc3483a" providerId="ADAL" clId="{E9706589-2DB5-4BFA-A300-31C116FE545B}" dt="2025-05-29T09:42:11.753" v="143" actId="478"/>
          <ac:picMkLst>
            <pc:docMk/>
            <pc:sldMk cId="1152149222" sldId="260"/>
            <ac:picMk id="23" creationId="{043A988C-EF47-8073-454A-BE29A81C223D}"/>
          </ac:picMkLst>
        </pc:picChg>
        <pc:picChg chg="del">
          <ac:chgData name="Chamaria, Shridhar" userId="8333b265-e735-45f8-a921-ce459cc3483a" providerId="ADAL" clId="{E9706589-2DB5-4BFA-A300-31C116FE545B}" dt="2025-05-29T09:42:11.753" v="143" actId="478"/>
          <ac:picMkLst>
            <pc:docMk/>
            <pc:sldMk cId="1152149222" sldId="260"/>
            <ac:picMk id="24" creationId="{41A7A615-F5A8-0441-586B-68162AE2E541}"/>
          </ac:picMkLst>
        </pc:picChg>
        <pc:picChg chg="del">
          <ac:chgData name="Chamaria, Shridhar" userId="8333b265-e735-45f8-a921-ce459cc3483a" providerId="ADAL" clId="{E9706589-2DB5-4BFA-A300-31C116FE545B}" dt="2025-05-29T09:42:11.753" v="143" actId="478"/>
          <ac:picMkLst>
            <pc:docMk/>
            <pc:sldMk cId="1152149222" sldId="260"/>
            <ac:picMk id="27" creationId="{FD5650CD-8763-FF0E-FE42-15ED713779A2}"/>
          </ac:picMkLst>
        </pc:picChg>
        <pc:picChg chg="del">
          <ac:chgData name="Chamaria, Shridhar" userId="8333b265-e735-45f8-a921-ce459cc3483a" providerId="ADAL" clId="{E9706589-2DB5-4BFA-A300-31C116FE545B}" dt="2025-05-29T09:42:11.753" v="143" actId="478"/>
          <ac:picMkLst>
            <pc:docMk/>
            <pc:sldMk cId="1152149222" sldId="260"/>
            <ac:picMk id="32" creationId="{D4F8FDCC-8DE0-67C6-385D-88B39F13A63F}"/>
          </ac:picMkLst>
        </pc:picChg>
        <pc:picChg chg="del">
          <ac:chgData name="Chamaria, Shridhar" userId="8333b265-e735-45f8-a921-ce459cc3483a" providerId="ADAL" clId="{E9706589-2DB5-4BFA-A300-31C116FE545B}" dt="2025-05-29T09:42:11.753" v="143" actId="478"/>
          <ac:picMkLst>
            <pc:docMk/>
            <pc:sldMk cId="1152149222" sldId="260"/>
            <ac:picMk id="39" creationId="{6ACFCD27-ADDF-430B-5712-33BFFD1A0FDD}"/>
          </ac:picMkLst>
        </pc:picChg>
        <pc:picChg chg="del">
          <ac:chgData name="Chamaria, Shridhar" userId="8333b265-e735-45f8-a921-ce459cc3483a" providerId="ADAL" clId="{E9706589-2DB5-4BFA-A300-31C116FE545B}" dt="2025-05-29T09:42:11.753" v="143" actId="478"/>
          <ac:picMkLst>
            <pc:docMk/>
            <pc:sldMk cId="1152149222" sldId="260"/>
            <ac:picMk id="44" creationId="{A9864204-4A52-FC09-614F-37879C1B110F}"/>
          </ac:picMkLst>
        </pc:picChg>
        <pc:picChg chg="del">
          <ac:chgData name="Chamaria, Shridhar" userId="8333b265-e735-45f8-a921-ce459cc3483a" providerId="ADAL" clId="{E9706589-2DB5-4BFA-A300-31C116FE545B}" dt="2025-05-29T09:42:11.753" v="143" actId="478"/>
          <ac:picMkLst>
            <pc:docMk/>
            <pc:sldMk cId="1152149222" sldId="260"/>
            <ac:picMk id="54" creationId="{128722CB-6951-6913-CFF2-262C3861B70E}"/>
          </ac:picMkLst>
        </pc:picChg>
        <pc:picChg chg="del">
          <ac:chgData name="Chamaria, Shridhar" userId="8333b265-e735-45f8-a921-ce459cc3483a" providerId="ADAL" clId="{E9706589-2DB5-4BFA-A300-31C116FE545B}" dt="2025-05-29T09:42:11.753" v="143" actId="478"/>
          <ac:picMkLst>
            <pc:docMk/>
            <pc:sldMk cId="1152149222" sldId="260"/>
            <ac:picMk id="59" creationId="{01957C60-0255-ABB1-8F68-CD900A213F56}"/>
          </ac:picMkLst>
        </pc:picChg>
        <pc:picChg chg="del">
          <ac:chgData name="Chamaria, Shridhar" userId="8333b265-e735-45f8-a921-ce459cc3483a" providerId="ADAL" clId="{E9706589-2DB5-4BFA-A300-31C116FE545B}" dt="2025-05-29T09:42:11.753" v="143" actId="478"/>
          <ac:picMkLst>
            <pc:docMk/>
            <pc:sldMk cId="1152149222" sldId="260"/>
            <ac:picMk id="63" creationId="{EE59128A-4514-A4A8-182B-6C093D6DC26E}"/>
          </ac:picMkLst>
        </pc:picChg>
      </pc:sldChg>
      <pc:sldChg chg="addSp delSp modSp mod">
        <pc:chgData name="Chamaria, Shridhar" userId="8333b265-e735-45f8-a921-ce459cc3483a" providerId="ADAL" clId="{E9706589-2DB5-4BFA-A300-31C116FE545B}" dt="2025-05-29T09:36:07.645" v="126"/>
        <pc:sldMkLst>
          <pc:docMk/>
          <pc:sldMk cId="2178158591" sldId="261"/>
        </pc:sldMkLst>
        <pc:spChg chg="mod">
          <ac:chgData name="Chamaria, Shridhar" userId="8333b265-e735-45f8-a921-ce459cc3483a" providerId="ADAL" clId="{E9706589-2DB5-4BFA-A300-31C116FE545B}" dt="2025-05-29T08:43:11.798" v="66" actId="948"/>
          <ac:spMkLst>
            <pc:docMk/>
            <pc:sldMk cId="2178158591" sldId="261"/>
            <ac:spMk id="2" creationId="{00000000-0000-0000-0000-000000000000}"/>
          </ac:spMkLst>
        </pc:spChg>
        <pc:spChg chg="del mod">
          <ac:chgData name="Chamaria, Shridhar" userId="8333b265-e735-45f8-a921-ce459cc3483a" providerId="ADAL" clId="{E9706589-2DB5-4BFA-A300-31C116FE545B}" dt="2025-05-29T09:36:00.894" v="123" actId="478"/>
          <ac:spMkLst>
            <pc:docMk/>
            <pc:sldMk cId="2178158591" sldId="261"/>
            <ac:spMk id="7" creationId="{A89F48A1-425A-447F-810A-74A07F086D3F}"/>
          </ac:spMkLst>
        </pc:spChg>
        <pc:spChg chg="add del mod modVis">
          <ac:chgData name="Chamaria, Shridhar" userId="8333b265-e735-45f8-a921-ce459cc3483a" providerId="ADAL" clId="{E9706589-2DB5-4BFA-A300-31C116FE545B}" dt="2025-05-29T08:43:11.814" v="90"/>
          <ac:spMkLst>
            <pc:docMk/>
            <pc:sldMk cId="2178158591" sldId="261"/>
            <ac:spMk id="27" creationId="{03BF8180-CD1A-333A-A52B-8EC5229DC63A}"/>
          </ac:spMkLst>
        </pc:spChg>
        <pc:spChg chg="mod">
          <ac:chgData name="Chamaria, Shridhar" userId="8333b265-e735-45f8-a921-ce459cc3483a" providerId="ADAL" clId="{E9706589-2DB5-4BFA-A300-31C116FE545B}" dt="2025-05-29T09:36:07.645" v="126"/>
          <ac:spMkLst>
            <pc:docMk/>
            <pc:sldMk cId="2178158591" sldId="261"/>
            <ac:spMk id="30" creationId="{00000000-0000-0000-0000-000000000000}"/>
          </ac:spMkLst>
        </pc:spChg>
        <pc:graphicFrameChg chg="mod">
          <ac:chgData name="Chamaria, Shridhar" userId="8333b265-e735-45f8-a921-ce459cc3483a" providerId="ADAL" clId="{E9706589-2DB5-4BFA-A300-31C116FE545B}" dt="2025-05-29T08:43:11.814" v="92"/>
          <ac:graphicFrameMkLst>
            <pc:docMk/>
            <pc:sldMk cId="2178158591" sldId="261"/>
            <ac:graphicFrameMk id="18" creationId="{35CE8A49-D4F9-81AA-BC9A-243BF22C4879}"/>
          </ac:graphicFrameMkLst>
        </pc:graphicFrameChg>
        <pc:picChg chg="del">
          <ac:chgData name="Chamaria, Shridhar" userId="8333b265-e735-45f8-a921-ce459cc3483a" providerId="ADAL" clId="{E9706589-2DB5-4BFA-A300-31C116FE545B}" dt="2025-05-29T09:35:36.194" v="119" actId="478"/>
          <ac:picMkLst>
            <pc:docMk/>
            <pc:sldMk cId="2178158591" sldId="261"/>
            <ac:picMk id="17" creationId="{E75B607A-236C-336E-F7F1-74CC79ED4756}"/>
          </ac:picMkLst>
        </pc:picChg>
        <pc:picChg chg="del">
          <ac:chgData name="Chamaria, Shridhar" userId="8333b265-e735-45f8-a921-ce459cc3483a" providerId="ADAL" clId="{E9706589-2DB5-4BFA-A300-31C116FE545B}" dt="2025-05-29T09:35:36.194" v="119" actId="478"/>
          <ac:picMkLst>
            <pc:docMk/>
            <pc:sldMk cId="2178158591" sldId="261"/>
            <ac:picMk id="19" creationId="{95300BE3-F090-48AD-DE56-3B59A39BC2F9}"/>
          </ac:picMkLst>
        </pc:picChg>
        <pc:picChg chg="del">
          <ac:chgData name="Chamaria, Shridhar" userId="8333b265-e735-45f8-a921-ce459cc3483a" providerId="ADAL" clId="{E9706589-2DB5-4BFA-A300-31C116FE545B}" dt="2025-05-29T09:35:36.194" v="119" actId="478"/>
          <ac:picMkLst>
            <pc:docMk/>
            <pc:sldMk cId="2178158591" sldId="261"/>
            <ac:picMk id="20" creationId="{E43B2A58-BBA0-094D-15B1-2A1B60AA1E6E}"/>
          </ac:picMkLst>
        </pc:picChg>
        <pc:picChg chg="del">
          <ac:chgData name="Chamaria, Shridhar" userId="8333b265-e735-45f8-a921-ce459cc3483a" providerId="ADAL" clId="{E9706589-2DB5-4BFA-A300-31C116FE545B}" dt="2025-05-29T09:35:36.194" v="119" actId="478"/>
          <ac:picMkLst>
            <pc:docMk/>
            <pc:sldMk cId="2178158591" sldId="261"/>
            <ac:picMk id="23" creationId="{194320F3-F709-A746-3E7C-638465509C6E}"/>
          </ac:picMkLst>
        </pc:picChg>
        <pc:picChg chg="del">
          <ac:chgData name="Chamaria, Shridhar" userId="8333b265-e735-45f8-a921-ce459cc3483a" providerId="ADAL" clId="{E9706589-2DB5-4BFA-A300-31C116FE545B}" dt="2025-05-29T09:35:36.194" v="119" actId="478"/>
          <ac:picMkLst>
            <pc:docMk/>
            <pc:sldMk cId="2178158591" sldId="261"/>
            <ac:picMk id="24" creationId="{639A7687-7263-4AC2-347A-875820915E5F}"/>
          </ac:picMkLst>
        </pc:picChg>
        <pc:picChg chg="del">
          <ac:chgData name="Chamaria, Shridhar" userId="8333b265-e735-45f8-a921-ce459cc3483a" providerId="ADAL" clId="{E9706589-2DB5-4BFA-A300-31C116FE545B}" dt="2025-05-29T09:35:36.194" v="119" actId="478"/>
          <ac:picMkLst>
            <pc:docMk/>
            <pc:sldMk cId="2178158591" sldId="261"/>
            <ac:picMk id="25" creationId="{F55D5FF7-C1CF-E59A-1068-DC67A9A3200F}"/>
          </ac:picMkLst>
        </pc:picChg>
        <pc:picChg chg="del">
          <ac:chgData name="Chamaria, Shridhar" userId="8333b265-e735-45f8-a921-ce459cc3483a" providerId="ADAL" clId="{E9706589-2DB5-4BFA-A300-31C116FE545B}" dt="2025-05-29T09:35:36.194" v="119" actId="478"/>
          <ac:picMkLst>
            <pc:docMk/>
            <pc:sldMk cId="2178158591" sldId="261"/>
            <ac:picMk id="26" creationId="{FC598166-4B26-E8E2-A533-96D40CB4B79A}"/>
          </ac:picMkLst>
        </pc:picChg>
        <pc:picChg chg="del">
          <ac:chgData name="Chamaria, Shridhar" userId="8333b265-e735-45f8-a921-ce459cc3483a" providerId="ADAL" clId="{E9706589-2DB5-4BFA-A300-31C116FE545B}" dt="2025-05-29T09:35:36.194" v="119" actId="478"/>
          <ac:picMkLst>
            <pc:docMk/>
            <pc:sldMk cId="2178158591" sldId="261"/>
            <ac:picMk id="28" creationId="{0A3A668F-9F4A-683B-8DFA-A72D8A9F624A}"/>
          </ac:picMkLst>
        </pc:picChg>
        <pc:picChg chg="del">
          <ac:chgData name="Chamaria, Shridhar" userId="8333b265-e735-45f8-a921-ce459cc3483a" providerId="ADAL" clId="{E9706589-2DB5-4BFA-A300-31C116FE545B}" dt="2025-05-29T09:35:36.194" v="119" actId="478"/>
          <ac:picMkLst>
            <pc:docMk/>
            <pc:sldMk cId="2178158591" sldId="261"/>
            <ac:picMk id="29" creationId="{DBB699AA-07F4-F9B3-FFC3-022B1CAC9929}"/>
          </ac:picMkLst>
        </pc:picChg>
      </pc:sldChg>
      <pc:sldChg chg="delSp modSp">
        <pc:chgData name="Chamaria, Shridhar" userId="8333b265-e735-45f8-a921-ce459cc3483a" providerId="ADAL" clId="{E9706589-2DB5-4BFA-A300-31C116FE545B}" dt="2025-05-29T09:45:16.628" v="159"/>
        <pc:sldMkLst>
          <pc:docMk/>
          <pc:sldMk cId="350177479" sldId="262"/>
        </pc:sldMkLst>
        <pc:spChg chg="del mod">
          <ac:chgData name="Chamaria, Shridhar" userId="8333b265-e735-45f8-a921-ce459cc3483a" providerId="ADAL" clId="{E9706589-2DB5-4BFA-A300-31C116FE545B}" dt="2025-05-29T09:44:05.304" v="153" actId="478"/>
          <ac:spMkLst>
            <pc:docMk/>
            <pc:sldMk cId="350177479" sldId="262"/>
            <ac:spMk id="6" creationId="{7AF54FAC-69DB-7CD9-BF94-C8B5FB299420}"/>
          </ac:spMkLst>
        </pc:spChg>
        <pc:spChg chg="mod">
          <ac:chgData name="Chamaria, Shridhar" userId="8333b265-e735-45f8-a921-ce459cc3483a" providerId="ADAL" clId="{E9706589-2DB5-4BFA-A300-31C116FE545B}" dt="2025-05-29T09:45:16.628" v="159"/>
          <ac:spMkLst>
            <pc:docMk/>
            <pc:sldMk cId="350177479" sldId="262"/>
            <ac:spMk id="7" creationId="{ADF9A08C-FD77-4FF3-9307-10D9D9652E8E}"/>
          </ac:spMkLst>
        </pc:spChg>
        <pc:spChg chg="mod">
          <ac:chgData name="Chamaria, Shridhar" userId="8333b265-e735-45f8-a921-ce459cc3483a" providerId="ADAL" clId="{E9706589-2DB5-4BFA-A300-31C116FE545B}" dt="2025-05-29T08:43:21.965" v="93"/>
          <ac:spMkLst>
            <pc:docMk/>
            <pc:sldMk cId="350177479" sldId="262"/>
            <ac:spMk id="67" creationId="{AA1EFB40-3C18-DF92-C219-B887D4BFA31C}"/>
          </ac:spMkLst>
        </pc:spChg>
        <pc:picChg chg="del">
          <ac:chgData name="Chamaria, Shridhar" userId="8333b265-e735-45f8-a921-ce459cc3483a" providerId="ADAL" clId="{E9706589-2DB5-4BFA-A300-31C116FE545B}" dt="2025-05-29T09:44:05.304" v="153" actId="478"/>
          <ac:picMkLst>
            <pc:docMk/>
            <pc:sldMk cId="350177479" sldId="262"/>
            <ac:picMk id="24" creationId="{3BD53823-19F9-93E8-36E0-24B3963388AA}"/>
          </ac:picMkLst>
        </pc:picChg>
        <pc:picChg chg="del">
          <ac:chgData name="Chamaria, Shridhar" userId="8333b265-e735-45f8-a921-ce459cc3483a" providerId="ADAL" clId="{E9706589-2DB5-4BFA-A300-31C116FE545B}" dt="2025-05-29T09:44:05.304" v="153" actId="478"/>
          <ac:picMkLst>
            <pc:docMk/>
            <pc:sldMk cId="350177479" sldId="262"/>
            <ac:picMk id="25" creationId="{5D924480-4757-8DC7-B709-41685C20C26D}"/>
          </ac:picMkLst>
        </pc:picChg>
        <pc:picChg chg="del">
          <ac:chgData name="Chamaria, Shridhar" userId="8333b265-e735-45f8-a921-ce459cc3483a" providerId="ADAL" clId="{E9706589-2DB5-4BFA-A300-31C116FE545B}" dt="2025-05-29T09:44:05.304" v="153" actId="478"/>
          <ac:picMkLst>
            <pc:docMk/>
            <pc:sldMk cId="350177479" sldId="262"/>
            <ac:picMk id="26" creationId="{01C9A167-B7FE-34A8-2285-280CE8CEE316}"/>
          </ac:picMkLst>
        </pc:picChg>
        <pc:picChg chg="del">
          <ac:chgData name="Chamaria, Shridhar" userId="8333b265-e735-45f8-a921-ce459cc3483a" providerId="ADAL" clId="{E9706589-2DB5-4BFA-A300-31C116FE545B}" dt="2025-05-29T09:44:05.304" v="153" actId="478"/>
          <ac:picMkLst>
            <pc:docMk/>
            <pc:sldMk cId="350177479" sldId="262"/>
            <ac:picMk id="27" creationId="{2E7EFD9D-AC1E-9C02-0870-1B50284FA805}"/>
          </ac:picMkLst>
        </pc:picChg>
        <pc:picChg chg="del">
          <ac:chgData name="Chamaria, Shridhar" userId="8333b265-e735-45f8-a921-ce459cc3483a" providerId="ADAL" clId="{E9706589-2DB5-4BFA-A300-31C116FE545B}" dt="2025-05-29T09:44:05.304" v="153" actId="478"/>
          <ac:picMkLst>
            <pc:docMk/>
            <pc:sldMk cId="350177479" sldId="262"/>
            <ac:picMk id="28" creationId="{91B1E955-E457-49CE-D6DD-AD6C0575B3A4}"/>
          </ac:picMkLst>
        </pc:picChg>
        <pc:picChg chg="del">
          <ac:chgData name="Chamaria, Shridhar" userId="8333b265-e735-45f8-a921-ce459cc3483a" providerId="ADAL" clId="{E9706589-2DB5-4BFA-A300-31C116FE545B}" dt="2025-05-29T09:44:05.304" v="153" actId="478"/>
          <ac:picMkLst>
            <pc:docMk/>
            <pc:sldMk cId="350177479" sldId="262"/>
            <ac:picMk id="29" creationId="{0A97627E-E284-8F3C-5D67-5D5FE99E06A3}"/>
          </ac:picMkLst>
        </pc:picChg>
        <pc:picChg chg="del">
          <ac:chgData name="Chamaria, Shridhar" userId="8333b265-e735-45f8-a921-ce459cc3483a" providerId="ADAL" clId="{E9706589-2DB5-4BFA-A300-31C116FE545B}" dt="2025-05-29T09:44:05.304" v="153" actId="478"/>
          <ac:picMkLst>
            <pc:docMk/>
            <pc:sldMk cId="350177479" sldId="262"/>
            <ac:picMk id="30" creationId="{9FAD3198-BABA-FA63-3151-666ABC754512}"/>
          </ac:picMkLst>
        </pc:picChg>
        <pc:picChg chg="del">
          <ac:chgData name="Chamaria, Shridhar" userId="8333b265-e735-45f8-a921-ce459cc3483a" providerId="ADAL" clId="{E9706589-2DB5-4BFA-A300-31C116FE545B}" dt="2025-05-29T09:44:05.304" v="153" actId="478"/>
          <ac:picMkLst>
            <pc:docMk/>
            <pc:sldMk cId="350177479" sldId="262"/>
            <ac:picMk id="41" creationId="{57E70F69-F284-3291-4E50-2CBE1D160320}"/>
          </ac:picMkLst>
        </pc:picChg>
        <pc:picChg chg="del">
          <ac:chgData name="Chamaria, Shridhar" userId="8333b265-e735-45f8-a921-ce459cc3483a" providerId="ADAL" clId="{E9706589-2DB5-4BFA-A300-31C116FE545B}" dt="2025-05-29T09:44:05.304" v="153" actId="478"/>
          <ac:picMkLst>
            <pc:docMk/>
            <pc:sldMk cId="350177479" sldId="262"/>
            <ac:picMk id="44" creationId="{75ABD2E9-A0EB-8BDE-168C-3C51670FC6FB}"/>
          </ac:picMkLst>
        </pc:picChg>
      </pc:sldChg>
      <pc:sldChg chg="delSp modSp">
        <pc:chgData name="Chamaria, Shridhar" userId="8333b265-e735-45f8-a921-ce459cc3483a" providerId="ADAL" clId="{E9706589-2DB5-4BFA-A300-31C116FE545B}" dt="2025-05-29T10:14:39.740" v="284" actId="1038"/>
        <pc:sldMkLst>
          <pc:docMk/>
          <pc:sldMk cId="923068133" sldId="263"/>
        </pc:sldMkLst>
        <pc:spChg chg="mod">
          <ac:chgData name="Chamaria, Shridhar" userId="8333b265-e735-45f8-a921-ce459cc3483a" providerId="ADAL" clId="{E9706589-2DB5-4BFA-A300-31C116FE545B}" dt="2025-05-29T10:02:32.748" v="243"/>
          <ac:spMkLst>
            <pc:docMk/>
            <pc:sldMk cId="923068133" sldId="263"/>
            <ac:spMk id="6" creationId="{694D5409-4D32-D7A6-3C93-E11306BEA059}"/>
          </ac:spMkLst>
        </pc:spChg>
        <pc:spChg chg="mod">
          <ac:chgData name="Chamaria, Shridhar" userId="8333b265-e735-45f8-a921-ce459cc3483a" providerId="ADAL" clId="{E9706589-2DB5-4BFA-A300-31C116FE545B}" dt="2025-05-29T10:14:39.740" v="284" actId="1038"/>
          <ac:spMkLst>
            <pc:docMk/>
            <pc:sldMk cId="923068133" sldId="263"/>
            <ac:spMk id="7" creationId="{ADF9A08C-FD77-4FF3-9307-10D9D9652E8E}"/>
          </ac:spMkLst>
        </pc:spChg>
        <pc:spChg chg="del mod">
          <ac:chgData name="Chamaria, Shridhar" userId="8333b265-e735-45f8-a921-ce459cc3483a" providerId="ADAL" clId="{E9706589-2DB5-4BFA-A300-31C116FE545B}" dt="2025-05-29T10:12:17.618" v="267" actId="478"/>
          <ac:spMkLst>
            <pc:docMk/>
            <pc:sldMk cId="923068133" sldId="263"/>
            <ac:spMk id="20" creationId="{697BFB53-900D-699E-8AE1-BEC4EA77765A}"/>
          </ac:spMkLst>
        </pc:spChg>
        <pc:picChg chg="del">
          <ac:chgData name="Chamaria, Shridhar" userId="8333b265-e735-45f8-a921-ce459cc3483a" providerId="ADAL" clId="{E9706589-2DB5-4BFA-A300-31C116FE545B}" dt="2025-05-29T10:12:17.618" v="267" actId="478"/>
          <ac:picMkLst>
            <pc:docMk/>
            <pc:sldMk cId="923068133" sldId="263"/>
            <ac:picMk id="22" creationId="{049189BF-2246-652D-F940-F6E383074CF6}"/>
          </ac:picMkLst>
        </pc:picChg>
        <pc:picChg chg="del">
          <ac:chgData name="Chamaria, Shridhar" userId="8333b265-e735-45f8-a921-ce459cc3483a" providerId="ADAL" clId="{E9706589-2DB5-4BFA-A300-31C116FE545B}" dt="2025-05-29T10:12:17.618" v="267" actId="478"/>
          <ac:picMkLst>
            <pc:docMk/>
            <pc:sldMk cId="923068133" sldId="263"/>
            <ac:picMk id="45" creationId="{153F3BAA-9E89-09D2-5537-888B049C099A}"/>
          </ac:picMkLst>
        </pc:picChg>
        <pc:picChg chg="del">
          <ac:chgData name="Chamaria, Shridhar" userId="8333b265-e735-45f8-a921-ce459cc3483a" providerId="ADAL" clId="{E9706589-2DB5-4BFA-A300-31C116FE545B}" dt="2025-05-29T10:12:17.618" v="267" actId="478"/>
          <ac:picMkLst>
            <pc:docMk/>
            <pc:sldMk cId="923068133" sldId="263"/>
            <ac:picMk id="46" creationId="{27B9C2DF-F9EC-4FF0-7D5A-6F4CFF2EBF7A}"/>
          </ac:picMkLst>
        </pc:picChg>
        <pc:picChg chg="del">
          <ac:chgData name="Chamaria, Shridhar" userId="8333b265-e735-45f8-a921-ce459cc3483a" providerId="ADAL" clId="{E9706589-2DB5-4BFA-A300-31C116FE545B}" dt="2025-05-29T10:12:17.618" v="267" actId="478"/>
          <ac:picMkLst>
            <pc:docMk/>
            <pc:sldMk cId="923068133" sldId="263"/>
            <ac:picMk id="47" creationId="{BF978947-6373-C62F-758F-22A9E963F216}"/>
          </ac:picMkLst>
        </pc:picChg>
        <pc:picChg chg="del">
          <ac:chgData name="Chamaria, Shridhar" userId="8333b265-e735-45f8-a921-ce459cc3483a" providerId="ADAL" clId="{E9706589-2DB5-4BFA-A300-31C116FE545B}" dt="2025-05-29T10:12:17.618" v="267" actId="478"/>
          <ac:picMkLst>
            <pc:docMk/>
            <pc:sldMk cId="923068133" sldId="263"/>
            <ac:picMk id="49" creationId="{C5D6656F-9991-3C9F-BA4C-E93C73C8241B}"/>
          </ac:picMkLst>
        </pc:picChg>
        <pc:picChg chg="del">
          <ac:chgData name="Chamaria, Shridhar" userId="8333b265-e735-45f8-a921-ce459cc3483a" providerId="ADAL" clId="{E9706589-2DB5-4BFA-A300-31C116FE545B}" dt="2025-05-29T10:12:17.618" v="267" actId="478"/>
          <ac:picMkLst>
            <pc:docMk/>
            <pc:sldMk cId="923068133" sldId="263"/>
            <ac:picMk id="50" creationId="{9A95616A-C4F9-BCC7-B623-BFA1E9B4F03A}"/>
          </ac:picMkLst>
        </pc:picChg>
        <pc:picChg chg="del">
          <ac:chgData name="Chamaria, Shridhar" userId="8333b265-e735-45f8-a921-ce459cc3483a" providerId="ADAL" clId="{E9706589-2DB5-4BFA-A300-31C116FE545B}" dt="2025-05-29T10:12:17.618" v="267" actId="478"/>
          <ac:picMkLst>
            <pc:docMk/>
            <pc:sldMk cId="923068133" sldId="263"/>
            <ac:picMk id="55" creationId="{097746BE-0DFD-AEA7-1FC1-DD5DD8900A22}"/>
          </ac:picMkLst>
        </pc:picChg>
        <pc:picChg chg="del">
          <ac:chgData name="Chamaria, Shridhar" userId="8333b265-e735-45f8-a921-ce459cc3483a" providerId="ADAL" clId="{E9706589-2DB5-4BFA-A300-31C116FE545B}" dt="2025-05-29T10:12:17.618" v="267" actId="478"/>
          <ac:picMkLst>
            <pc:docMk/>
            <pc:sldMk cId="923068133" sldId="263"/>
            <ac:picMk id="56" creationId="{C9C3EE3A-FB96-029E-E960-846CA36DEA7C}"/>
          </ac:picMkLst>
        </pc:picChg>
        <pc:picChg chg="del">
          <ac:chgData name="Chamaria, Shridhar" userId="8333b265-e735-45f8-a921-ce459cc3483a" providerId="ADAL" clId="{E9706589-2DB5-4BFA-A300-31C116FE545B}" dt="2025-05-29T10:12:17.618" v="267" actId="478"/>
          <ac:picMkLst>
            <pc:docMk/>
            <pc:sldMk cId="923068133" sldId="263"/>
            <ac:picMk id="57" creationId="{C063FA0C-8DDD-891F-1017-93445025891C}"/>
          </ac:picMkLst>
        </pc:picChg>
      </pc:sldChg>
      <pc:sldChg chg="delSp modSp">
        <pc:chgData name="Chamaria, Shridhar" userId="8333b265-e735-45f8-a921-ce459cc3483a" providerId="ADAL" clId="{E9706589-2DB5-4BFA-A300-31C116FE545B}" dt="2025-05-29T10:14:42.638" v="287" actId="1038"/>
        <pc:sldMkLst>
          <pc:docMk/>
          <pc:sldMk cId="3377549640" sldId="265"/>
        </pc:sldMkLst>
        <pc:spChg chg="mod">
          <ac:chgData name="Chamaria, Shridhar" userId="8333b265-e735-45f8-a921-ce459cc3483a" providerId="ADAL" clId="{E9706589-2DB5-4BFA-A300-31C116FE545B}" dt="2025-05-29T10:02:32.748" v="243"/>
          <ac:spMkLst>
            <pc:docMk/>
            <pc:sldMk cId="3377549640" sldId="265"/>
            <ac:spMk id="6" creationId="{694D5409-4D32-D7A6-3C93-E11306BEA059}"/>
          </ac:spMkLst>
        </pc:spChg>
        <pc:spChg chg="mod">
          <ac:chgData name="Chamaria, Shridhar" userId="8333b265-e735-45f8-a921-ce459cc3483a" providerId="ADAL" clId="{E9706589-2DB5-4BFA-A300-31C116FE545B}" dt="2025-05-29T10:14:42.638" v="287" actId="1038"/>
          <ac:spMkLst>
            <pc:docMk/>
            <pc:sldMk cId="3377549640" sldId="265"/>
            <ac:spMk id="7" creationId="{ADF9A08C-FD77-4FF3-9307-10D9D9652E8E}"/>
          </ac:spMkLst>
        </pc:spChg>
        <pc:spChg chg="del mod">
          <ac:chgData name="Chamaria, Shridhar" userId="8333b265-e735-45f8-a921-ce459cc3483a" providerId="ADAL" clId="{E9706589-2DB5-4BFA-A300-31C116FE545B}" dt="2025-05-29T10:13:01.336" v="275" actId="478"/>
          <ac:spMkLst>
            <pc:docMk/>
            <pc:sldMk cId="3377549640" sldId="265"/>
            <ac:spMk id="20" creationId="{697BFB53-900D-699E-8AE1-BEC4EA77765A}"/>
          </ac:spMkLst>
        </pc:spChg>
        <pc:picChg chg="del">
          <ac:chgData name="Chamaria, Shridhar" userId="8333b265-e735-45f8-a921-ce459cc3483a" providerId="ADAL" clId="{E9706589-2DB5-4BFA-A300-31C116FE545B}" dt="2025-05-29T10:13:01.336" v="275" actId="478"/>
          <ac:picMkLst>
            <pc:docMk/>
            <pc:sldMk cId="3377549640" sldId="265"/>
            <ac:picMk id="22" creationId="{049189BF-2246-652D-F940-F6E383074CF6}"/>
          </ac:picMkLst>
        </pc:picChg>
        <pc:picChg chg="del">
          <ac:chgData name="Chamaria, Shridhar" userId="8333b265-e735-45f8-a921-ce459cc3483a" providerId="ADAL" clId="{E9706589-2DB5-4BFA-A300-31C116FE545B}" dt="2025-05-29T10:13:01.336" v="275" actId="478"/>
          <ac:picMkLst>
            <pc:docMk/>
            <pc:sldMk cId="3377549640" sldId="265"/>
            <ac:picMk id="45" creationId="{153F3BAA-9E89-09D2-5537-888B049C099A}"/>
          </ac:picMkLst>
        </pc:picChg>
        <pc:picChg chg="del">
          <ac:chgData name="Chamaria, Shridhar" userId="8333b265-e735-45f8-a921-ce459cc3483a" providerId="ADAL" clId="{E9706589-2DB5-4BFA-A300-31C116FE545B}" dt="2025-05-29T10:13:01.336" v="275" actId="478"/>
          <ac:picMkLst>
            <pc:docMk/>
            <pc:sldMk cId="3377549640" sldId="265"/>
            <ac:picMk id="46" creationId="{27B9C2DF-F9EC-4FF0-7D5A-6F4CFF2EBF7A}"/>
          </ac:picMkLst>
        </pc:picChg>
        <pc:picChg chg="del">
          <ac:chgData name="Chamaria, Shridhar" userId="8333b265-e735-45f8-a921-ce459cc3483a" providerId="ADAL" clId="{E9706589-2DB5-4BFA-A300-31C116FE545B}" dt="2025-05-29T10:13:01.336" v="275" actId="478"/>
          <ac:picMkLst>
            <pc:docMk/>
            <pc:sldMk cId="3377549640" sldId="265"/>
            <ac:picMk id="47" creationId="{BF978947-6373-C62F-758F-22A9E963F216}"/>
          </ac:picMkLst>
        </pc:picChg>
        <pc:picChg chg="del">
          <ac:chgData name="Chamaria, Shridhar" userId="8333b265-e735-45f8-a921-ce459cc3483a" providerId="ADAL" clId="{E9706589-2DB5-4BFA-A300-31C116FE545B}" dt="2025-05-29T10:13:01.336" v="275" actId="478"/>
          <ac:picMkLst>
            <pc:docMk/>
            <pc:sldMk cId="3377549640" sldId="265"/>
            <ac:picMk id="49" creationId="{C5D6656F-9991-3C9F-BA4C-E93C73C8241B}"/>
          </ac:picMkLst>
        </pc:picChg>
        <pc:picChg chg="del">
          <ac:chgData name="Chamaria, Shridhar" userId="8333b265-e735-45f8-a921-ce459cc3483a" providerId="ADAL" clId="{E9706589-2DB5-4BFA-A300-31C116FE545B}" dt="2025-05-29T10:13:01.336" v="275" actId="478"/>
          <ac:picMkLst>
            <pc:docMk/>
            <pc:sldMk cId="3377549640" sldId="265"/>
            <ac:picMk id="50" creationId="{9A95616A-C4F9-BCC7-B623-BFA1E9B4F03A}"/>
          </ac:picMkLst>
        </pc:picChg>
        <pc:picChg chg="del">
          <ac:chgData name="Chamaria, Shridhar" userId="8333b265-e735-45f8-a921-ce459cc3483a" providerId="ADAL" clId="{E9706589-2DB5-4BFA-A300-31C116FE545B}" dt="2025-05-29T10:13:01.336" v="275" actId="478"/>
          <ac:picMkLst>
            <pc:docMk/>
            <pc:sldMk cId="3377549640" sldId="265"/>
            <ac:picMk id="55" creationId="{097746BE-0DFD-AEA7-1FC1-DD5DD8900A22}"/>
          </ac:picMkLst>
        </pc:picChg>
        <pc:picChg chg="del">
          <ac:chgData name="Chamaria, Shridhar" userId="8333b265-e735-45f8-a921-ce459cc3483a" providerId="ADAL" clId="{E9706589-2DB5-4BFA-A300-31C116FE545B}" dt="2025-05-29T10:13:01.336" v="275" actId="478"/>
          <ac:picMkLst>
            <pc:docMk/>
            <pc:sldMk cId="3377549640" sldId="265"/>
            <ac:picMk id="56" creationId="{C9C3EE3A-FB96-029E-E960-846CA36DEA7C}"/>
          </ac:picMkLst>
        </pc:picChg>
        <pc:picChg chg="del">
          <ac:chgData name="Chamaria, Shridhar" userId="8333b265-e735-45f8-a921-ce459cc3483a" providerId="ADAL" clId="{E9706589-2DB5-4BFA-A300-31C116FE545B}" dt="2025-05-29T10:13:01.336" v="275" actId="478"/>
          <ac:picMkLst>
            <pc:docMk/>
            <pc:sldMk cId="3377549640" sldId="265"/>
            <ac:picMk id="57" creationId="{C063FA0C-8DDD-891F-1017-93445025891C}"/>
          </ac:picMkLst>
        </pc:picChg>
      </pc:sldChg>
      <pc:sldChg chg="addSp delSp modSp mod">
        <pc:chgData name="Chamaria, Shridhar" userId="8333b265-e735-45f8-a921-ce459cc3483a" providerId="ADAL" clId="{E9706589-2DB5-4BFA-A300-31C116FE545B}" dt="2025-05-29T10:16:39.736" v="303"/>
        <pc:sldMkLst>
          <pc:docMk/>
          <pc:sldMk cId="3147993296" sldId="326"/>
        </pc:sldMkLst>
        <pc:spChg chg="add del mod modVis">
          <ac:chgData name="Chamaria, Shridhar" userId="8333b265-e735-45f8-a921-ce459cc3483a" providerId="ADAL" clId="{E9706589-2DB5-4BFA-A300-31C116FE545B}" dt="2025-05-29T08:40:23.939" v="22"/>
          <ac:spMkLst>
            <pc:docMk/>
            <pc:sldMk cId="3147993296" sldId="326"/>
            <ac:spMk id="2" creationId="{168AAEAE-0F78-4594-3129-752BBA12DCFD}"/>
          </ac:spMkLst>
        </pc:spChg>
        <pc:spChg chg="mod">
          <ac:chgData name="Chamaria, Shridhar" userId="8333b265-e735-45f8-a921-ce459cc3483a" providerId="ADAL" clId="{E9706589-2DB5-4BFA-A300-31C116FE545B}" dt="2025-05-29T10:16:39.736" v="301" actId="948"/>
          <ac:spMkLst>
            <pc:docMk/>
            <pc:sldMk cId="3147993296" sldId="326"/>
            <ac:spMk id="3" creationId="{FBD7D053-33B8-42F5-A1D9-DB27B4FBC23D}"/>
          </ac:spMkLst>
        </pc:spChg>
        <pc:graphicFrameChg chg="mod">
          <ac:chgData name="Chamaria, Shridhar" userId="8333b265-e735-45f8-a921-ce459cc3483a" providerId="ADAL" clId="{E9706589-2DB5-4BFA-A300-31C116FE545B}" dt="2025-05-29T10:16:39.736" v="303"/>
          <ac:graphicFrameMkLst>
            <pc:docMk/>
            <pc:sldMk cId="3147993296" sldId="326"/>
            <ac:graphicFrameMk id="5" creationId="{D20B36EA-A7FC-DE1C-B24A-EF2BF6BE694C}"/>
          </ac:graphicFrameMkLst>
        </pc:graphicFrameChg>
      </pc:sldChg>
      <pc:sldChg chg="addSp delSp modSp mod">
        <pc:chgData name="Chamaria, Shridhar" userId="8333b265-e735-45f8-a921-ce459cc3483a" providerId="ADAL" clId="{E9706589-2DB5-4BFA-A300-31C116FE545B}" dt="2025-05-29T10:10:34.580" v="263"/>
        <pc:sldMkLst>
          <pc:docMk/>
          <pc:sldMk cId="2194431951" sldId="2147482682"/>
        </pc:sldMkLst>
        <pc:spChg chg="add del mod modVis">
          <ac:chgData name="Chamaria, Shridhar" userId="8333b265-e735-45f8-a921-ce459cc3483a" providerId="ADAL" clId="{E9706589-2DB5-4BFA-A300-31C116FE545B}" dt="2025-05-29T10:02:25.739" v="240"/>
          <ac:spMkLst>
            <pc:docMk/>
            <pc:sldMk cId="2194431951" sldId="2147482682"/>
            <ac:spMk id="3" creationId="{7EE6AAD0-BD76-67BB-96CA-F5E6A8159AA6}"/>
          </ac:spMkLst>
        </pc:spChg>
        <pc:spChg chg="mod">
          <ac:chgData name="Chamaria, Shridhar" userId="8333b265-e735-45f8-a921-ce459cc3483a" providerId="ADAL" clId="{E9706589-2DB5-4BFA-A300-31C116FE545B}" dt="2025-05-29T10:10:34.580" v="263"/>
          <ac:spMkLst>
            <pc:docMk/>
            <pc:sldMk cId="2194431951" sldId="2147482682"/>
            <ac:spMk id="7" creationId="{00000000-0000-0000-0000-000000000000}"/>
          </ac:spMkLst>
        </pc:spChg>
        <pc:spChg chg="mod">
          <ac:chgData name="Chamaria, Shridhar" userId="8333b265-e735-45f8-a921-ce459cc3483a" providerId="ADAL" clId="{E9706589-2DB5-4BFA-A300-31C116FE545B}" dt="2025-05-29T10:02:25.708" v="220" actId="948"/>
          <ac:spMkLst>
            <pc:docMk/>
            <pc:sldMk cId="2194431951" sldId="2147482682"/>
            <ac:spMk id="15" creationId="{00000000-0000-0000-0000-000000000000}"/>
          </ac:spMkLst>
        </pc:spChg>
        <pc:spChg chg="del mod">
          <ac:chgData name="Chamaria, Shridhar" userId="8333b265-e735-45f8-a921-ce459cc3483a" providerId="ADAL" clId="{E9706589-2DB5-4BFA-A300-31C116FE545B}" dt="2025-05-29T10:03:53.980" v="251" actId="478"/>
          <ac:spMkLst>
            <pc:docMk/>
            <pc:sldMk cId="2194431951" sldId="2147482682"/>
            <ac:spMk id="31" creationId="{943A5585-FDA2-BEAC-0D85-2AED37D30119}"/>
          </ac:spMkLst>
        </pc:spChg>
        <pc:graphicFrameChg chg="mod">
          <ac:chgData name="Chamaria, Shridhar" userId="8333b265-e735-45f8-a921-ce459cc3483a" providerId="ADAL" clId="{E9706589-2DB5-4BFA-A300-31C116FE545B}" dt="2025-05-29T10:02:25.739" v="242"/>
          <ac:graphicFrameMkLst>
            <pc:docMk/>
            <pc:sldMk cId="2194431951" sldId="2147482682"/>
            <ac:graphicFrameMk id="48" creationId="{E20924D5-191C-E3E2-1CCB-812331FC3B10}"/>
          </ac:graphicFrameMkLst>
        </pc:graphicFrameChg>
        <pc:picChg chg="del">
          <ac:chgData name="Chamaria, Shridhar" userId="8333b265-e735-45f8-a921-ce459cc3483a" providerId="ADAL" clId="{E9706589-2DB5-4BFA-A300-31C116FE545B}" dt="2025-05-29T10:03:27.160" v="247" actId="478"/>
          <ac:picMkLst>
            <pc:docMk/>
            <pc:sldMk cId="2194431951" sldId="2147482682"/>
            <ac:picMk id="32" creationId="{442A4E7F-E082-BAC6-56D2-7F0EF527237B}"/>
          </ac:picMkLst>
        </pc:picChg>
        <pc:picChg chg="del">
          <ac:chgData name="Chamaria, Shridhar" userId="8333b265-e735-45f8-a921-ce459cc3483a" providerId="ADAL" clId="{E9706589-2DB5-4BFA-A300-31C116FE545B}" dt="2025-05-29T10:03:27.160" v="247" actId="478"/>
          <ac:picMkLst>
            <pc:docMk/>
            <pc:sldMk cId="2194431951" sldId="2147482682"/>
            <ac:picMk id="33" creationId="{ABA81BBD-1952-E63A-E6A6-2ED6E937B630}"/>
          </ac:picMkLst>
        </pc:picChg>
        <pc:picChg chg="del">
          <ac:chgData name="Chamaria, Shridhar" userId="8333b265-e735-45f8-a921-ce459cc3483a" providerId="ADAL" clId="{E9706589-2DB5-4BFA-A300-31C116FE545B}" dt="2025-05-29T10:03:27.160" v="247" actId="478"/>
          <ac:picMkLst>
            <pc:docMk/>
            <pc:sldMk cId="2194431951" sldId="2147482682"/>
            <ac:picMk id="34" creationId="{75EAD4B0-EA24-6C41-E02F-17256537792C}"/>
          </ac:picMkLst>
        </pc:picChg>
        <pc:picChg chg="del">
          <ac:chgData name="Chamaria, Shridhar" userId="8333b265-e735-45f8-a921-ce459cc3483a" providerId="ADAL" clId="{E9706589-2DB5-4BFA-A300-31C116FE545B}" dt="2025-05-29T10:03:27.160" v="247" actId="478"/>
          <ac:picMkLst>
            <pc:docMk/>
            <pc:sldMk cId="2194431951" sldId="2147482682"/>
            <ac:picMk id="36" creationId="{9DCA6969-4735-72CC-8645-CF4E74D60349}"/>
          </ac:picMkLst>
        </pc:picChg>
        <pc:picChg chg="del">
          <ac:chgData name="Chamaria, Shridhar" userId="8333b265-e735-45f8-a921-ce459cc3483a" providerId="ADAL" clId="{E9706589-2DB5-4BFA-A300-31C116FE545B}" dt="2025-05-29T10:03:27.160" v="247" actId="478"/>
          <ac:picMkLst>
            <pc:docMk/>
            <pc:sldMk cId="2194431951" sldId="2147482682"/>
            <ac:picMk id="38" creationId="{0652A23B-3A71-842A-F7CB-2249744B354C}"/>
          </ac:picMkLst>
        </pc:picChg>
        <pc:picChg chg="del">
          <ac:chgData name="Chamaria, Shridhar" userId="8333b265-e735-45f8-a921-ce459cc3483a" providerId="ADAL" clId="{E9706589-2DB5-4BFA-A300-31C116FE545B}" dt="2025-05-29T10:03:27.160" v="247" actId="478"/>
          <ac:picMkLst>
            <pc:docMk/>
            <pc:sldMk cId="2194431951" sldId="2147482682"/>
            <ac:picMk id="39" creationId="{A0FA5C9D-DCD7-783C-CC58-57FC29006F39}"/>
          </ac:picMkLst>
        </pc:picChg>
        <pc:picChg chg="del">
          <ac:chgData name="Chamaria, Shridhar" userId="8333b265-e735-45f8-a921-ce459cc3483a" providerId="ADAL" clId="{E9706589-2DB5-4BFA-A300-31C116FE545B}" dt="2025-05-29T10:03:27.160" v="247" actId="478"/>
          <ac:picMkLst>
            <pc:docMk/>
            <pc:sldMk cId="2194431951" sldId="2147482682"/>
            <ac:picMk id="42" creationId="{7F5FF573-6E2F-ED22-5050-E09C83D2DB36}"/>
          </ac:picMkLst>
        </pc:picChg>
        <pc:picChg chg="del">
          <ac:chgData name="Chamaria, Shridhar" userId="8333b265-e735-45f8-a921-ce459cc3483a" providerId="ADAL" clId="{E9706589-2DB5-4BFA-A300-31C116FE545B}" dt="2025-05-29T10:03:27.160" v="247" actId="478"/>
          <ac:picMkLst>
            <pc:docMk/>
            <pc:sldMk cId="2194431951" sldId="2147482682"/>
            <ac:picMk id="43" creationId="{71815358-6373-2D84-C1EF-AEDA8D3837F8}"/>
          </ac:picMkLst>
        </pc:picChg>
        <pc:picChg chg="del">
          <ac:chgData name="Chamaria, Shridhar" userId="8333b265-e735-45f8-a921-ce459cc3483a" providerId="ADAL" clId="{E9706589-2DB5-4BFA-A300-31C116FE545B}" dt="2025-05-29T10:03:27.160" v="247" actId="478"/>
          <ac:picMkLst>
            <pc:docMk/>
            <pc:sldMk cId="2194431951" sldId="2147482682"/>
            <ac:picMk id="60" creationId="{2A16116C-6B60-5503-DDEE-A855FB5561BD}"/>
          </ac:picMkLst>
        </pc:picChg>
      </pc:sldChg>
      <pc:sldChg chg="addSp delSp modSp mod">
        <pc:chgData name="Chamaria, Shridhar" userId="8333b265-e735-45f8-a921-ce459cc3483a" providerId="ADAL" clId="{E9706589-2DB5-4BFA-A300-31C116FE545B}" dt="2025-05-29T10:15:56.572" v="298" actId="207"/>
        <pc:sldMkLst>
          <pc:docMk/>
          <pc:sldMk cId="2358268985" sldId="2147483645"/>
        </pc:sldMkLst>
        <pc:spChg chg="add del mod">
          <ac:chgData name="Chamaria, Shridhar" userId="8333b265-e735-45f8-a921-ce459cc3483a" providerId="ADAL" clId="{E9706589-2DB5-4BFA-A300-31C116FE545B}" dt="2025-05-29T10:15:45.205" v="288" actId="478"/>
          <ac:spMkLst>
            <pc:docMk/>
            <pc:sldMk cId="2358268985" sldId="2147483645"/>
            <ac:spMk id="50" creationId="{F1D25FE4-ABCC-C558-5645-2FFC1EC675C1}"/>
          </ac:spMkLst>
        </pc:spChg>
        <pc:graphicFrameChg chg="add del mod modGraphic">
          <ac:chgData name="Chamaria, Shridhar" userId="8333b265-e735-45f8-a921-ce459cc3483a" providerId="ADAL" clId="{E9706589-2DB5-4BFA-A300-31C116FE545B}" dt="2025-05-29T10:15:56.572" v="298" actId="207"/>
          <ac:graphicFrameMkLst>
            <pc:docMk/>
            <pc:sldMk cId="2358268985" sldId="2147483645"/>
            <ac:graphicFrameMk id="51" creationId="{0A90D0A8-11D5-4BEE-879F-CFC3A475B5FF}"/>
          </ac:graphicFrameMkLst>
        </pc:graphicFrameChg>
        <pc:picChg chg="del">
          <ac:chgData name="Chamaria, Shridhar" userId="8333b265-e735-45f8-a921-ce459cc3483a" providerId="ADAL" clId="{E9706589-2DB5-4BFA-A300-31C116FE545B}" dt="2025-05-29T08:47:06.422" v="98" actId="478"/>
          <ac:picMkLst>
            <pc:docMk/>
            <pc:sldMk cId="2358268985" sldId="2147483645"/>
            <ac:picMk id="4" creationId="{B76378D0-8CD3-E8CB-B15D-C2D07CB4E88C}"/>
          </ac:picMkLst>
        </pc:picChg>
        <pc:picChg chg="del">
          <ac:chgData name="Chamaria, Shridhar" userId="8333b265-e735-45f8-a921-ce459cc3483a" providerId="ADAL" clId="{E9706589-2DB5-4BFA-A300-31C116FE545B}" dt="2025-05-29T08:47:13.855" v="108" actId="478"/>
          <ac:picMkLst>
            <pc:docMk/>
            <pc:sldMk cId="2358268985" sldId="2147483645"/>
            <ac:picMk id="7" creationId="{3703DAA5-3E1B-4CC5-6B01-DD12ECF48016}"/>
          </ac:picMkLst>
        </pc:picChg>
        <pc:picChg chg="del">
          <ac:chgData name="Chamaria, Shridhar" userId="8333b265-e735-45f8-a921-ce459cc3483a" providerId="ADAL" clId="{E9706589-2DB5-4BFA-A300-31C116FE545B}" dt="2025-05-29T08:47:07.422" v="99" actId="478"/>
          <ac:picMkLst>
            <pc:docMk/>
            <pc:sldMk cId="2358268985" sldId="2147483645"/>
            <ac:picMk id="10" creationId="{20773E7F-2B51-40CB-1870-345F4F10A0D3}"/>
          </ac:picMkLst>
        </pc:picChg>
        <pc:picChg chg="del">
          <ac:chgData name="Chamaria, Shridhar" userId="8333b265-e735-45f8-a921-ce459cc3483a" providerId="ADAL" clId="{E9706589-2DB5-4BFA-A300-31C116FE545B}" dt="2025-05-29T08:47:13.233" v="107" actId="478"/>
          <ac:picMkLst>
            <pc:docMk/>
            <pc:sldMk cId="2358268985" sldId="2147483645"/>
            <ac:picMk id="11" creationId="{60496A74-8DB5-895E-8D11-C80B8AE08967}"/>
          </ac:picMkLst>
        </pc:picChg>
        <pc:picChg chg="del">
          <ac:chgData name="Chamaria, Shridhar" userId="8333b265-e735-45f8-a921-ce459cc3483a" providerId="ADAL" clId="{E9706589-2DB5-4BFA-A300-31C116FE545B}" dt="2025-05-29T08:47:07.753" v="100" actId="478"/>
          <ac:picMkLst>
            <pc:docMk/>
            <pc:sldMk cId="2358268985" sldId="2147483645"/>
            <ac:picMk id="13" creationId="{B7872706-C916-1F5F-B753-A9C24C3EA069}"/>
          </ac:picMkLst>
        </pc:picChg>
        <pc:picChg chg="del">
          <ac:chgData name="Chamaria, Shridhar" userId="8333b265-e735-45f8-a921-ce459cc3483a" providerId="ADAL" clId="{E9706589-2DB5-4BFA-A300-31C116FE545B}" dt="2025-05-29T08:47:10.838" v="103" actId="478"/>
          <ac:picMkLst>
            <pc:docMk/>
            <pc:sldMk cId="2358268985" sldId="2147483645"/>
            <ac:picMk id="16" creationId="{B968B4A6-327E-23D6-90F4-3F79703416E0}"/>
          </ac:picMkLst>
        </pc:picChg>
        <pc:picChg chg="del">
          <ac:chgData name="Chamaria, Shridhar" userId="8333b265-e735-45f8-a921-ce459cc3483a" providerId="ADAL" clId="{E9706589-2DB5-4BFA-A300-31C116FE545B}" dt="2025-05-29T08:47:11.461" v="104" actId="478"/>
          <ac:picMkLst>
            <pc:docMk/>
            <pc:sldMk cId="2358268985" sldId="2147483645"/>
            <ac:picMk id="20" creationId="{344A019A-F765-A413-35FE-4B2F717E58A5}"/>
          </ac:picMkLst>
        </pc:picChg>
        <pc:picChg chg="del">
          <ac:chgData name="Chamaria, Shridhar" userId="8333b265-e735-45f8-a921-ce459cc3483a" providerId="ADAL" clId="{E9706589-2DB5-4BFA-A300-31C116FE545B}" dt="2025-05-29T08:47:12.034" v="105" actId="478"/>
          <ac:picMkLst>
            <pc:docMk/>
            <pc:sldMk cId="2358268985" sldId="2147483645"/>
            <ac:picMk id="24" creationId="{4D9870EF-62B6-6ED3-26B9-1E83EE618A47}"/>
          </ac:picMkLst>
        </pc:picChg>
        <pc:picChg chg="del">
          <ac:chgData name="Chamaria, Shridhar" userId="8333b265-e735-45f8-a921-ce459cc3483a" providerId="ADAL" clId="{E9706589-2DB5-4BFA-A300-31C116FE545B}" dt="2025-05-29T08:47:12.501" v="106" actId="478"/>
          <ac:picMkLst>
            <pc:docMk/>
            <pc:sldMk cId="2358268985" sldId="2147483645"/>
            <ac:picMk id="56" creationId="{280B4700-0CB1-4367-26FC-2050464D8CC8}"/>
          </ac:picMkLst>
        </pc:picChg>
      </pc:sldChg>
      <pc:sldChg chg="delSp modSp">
        <pc:chgData name="Chamaria, Shridhar" userId="8333b265-e735-45f8-a921-ce459cc3483a" providerId="ADAL" clId="{E9706589-2DB5-4BFA-A300-31C116FE545B}" dt="2025-05-29T09:40:03.987" v="139"/>
        <pc:sldMkLst>
          <pc:docMk/>
          <pc:sldMk cId="1544207233" sldId="2147483646"/>
        </pc:sldMkLst>
        <pc:spChg chg="mod">
          <ac:chgData name="Chamaria, Shridhar" userId="8333b265-e735-45f8-a921-ce459cc3483a" providerId="ADAL" clId="{E9706589-2DB5-4BFA-A300-31C116FE545B}" dt="2025-05-29T09:40:03.987" v="139"/>
          <ac:spMkLst>
            <pc:docMk/>
            <pc:sldMk cId="1544207233" sldId="2147483646"/>
            <ac:spMk id="16" creationId="{7F343AAD-B216-000B-8B5B-E1AA687222CB}"/>
          </ac:spMkLst>
        </pc:spChg>
        <pc:spChg chg="del mod">
          <ac:chgData name="Chamaria, Shridhar" userId="8333b265-e735-45f8-a921-ce459cc3483a" providerId="ADAL" clId="{E9706589-2DB5-4BFA-A300-31C116FE545B}" dt="2025-05-29T09:39:42.424" v="136" actId="478"/>
          <ac:spMkLst>
            <pc:docMk/>
            <pc:sldMk cId="1544207233" sldId="2147483646"/>
            <ac:spMk id="21" creationId="{0CD88F18-BFCC-CACE-DAF8-C2C5BE5C5145}"/>
          </ac:spMkLst>
        </pc:spChg>
        <pc:picChg chg="del">
          <ac:chgData name="Chamaria, Shridhar" userId="8333b265-e735-45f8-a921-ce459cc3483a" providerId="ADAL" clId="{E9706589-2DB5-4BFA-A300-31C116FE545B}" dt="2025-05-29T09:39:42.424" v="136" actId="478"/>
          <ac:picMkLst>
            <pc:docMk/>
            <pc:sldMk cId="1544207233" sldId="2147483646"/>
            <ac:picMk id="22" creationId="{90F4B0F5-5D1E-773E-9D10-8653EB895FB9}"/>
          </ac:picMkLst>
        </pc:picChg>
        <pc:picChg chg="del">
          <ac:chgData name="Chamaria, Shridhar" userId="8333b265-e735-45f8-a921-ce459cc3483a" providerId="ADAL" clId="{E9706589-2DB5-4BFA-A300-31C116FE545B}" dt="2025-05-29T09:39:42.424" v="136" actId="478"/>
          <ac:picMkLst>
            <pc:docMk/>
            <pc:sldMk cId="1544207233" sldId="2147483646"/>
            <ac:picMk id="33" creationId="{DCCEE8B4-2105-2058-FE59-7E6AE2171303}"/>
          </ac:picMkLst>
        </pc:picChg>
        <pc:picChg chg="del">
          <ac:chgData name="Chamaria, Shridhar" userId="8333b265-e735-45f8-a921-ce459cc3483a" providerId="ADAL" clId="{E9706589-2DB5-4BFA-A300-31C116FE545B}" dt="2025-05-29T09:39:42.424" v="136" actId="478"/>
          <ac:picMkLst>
            <pc:docMk/>
            <pc:sldMk cId="1544207233" sldId="2147483646"/>
            <ac:picMk id="34" creationId="{0968DD6F-5EB9-2F4D-123C-80F3125E4276}"/>
          </ac:picMkLst>
        </pc:picChg>
        <pc:picChg chg="del">
          <ac:chgData name="Chamaria, Shridhar" userId="8333b265-e735-45f8-a921-ce459cc3483a" providerId="ADAL" clId="{E9706589-2DB5-4BFA-A300-31C116FE545B}" dt="2025-05-29T09:39:42.424" v="136" actId="478"/>
          <ac:picMkLst>
            <pc:docMk/>
            <pc:sldMk cId="1544207233" sldId="2147483646"/>
            <ac:picMk id="35" creationId="{3517C632-F74B-45EA-0197-4D8FB9F5009E}"/>
          </ac:picMkLst>
        </pc:picChg>
        <pc:picChg chg="del">
          <ac:chgData name="Chamaria, Shridhar" userId="8333b265-e735-45f8-a921-ce459cc3483a" providerId="ADAL" clId="{E9706589-2DB5-4BFA-A300-31C116FE545B}" dt="2025-05-29T09:39:42.424" v="136" actId="478"/>
          <ac:picMkLst>
            <pc:docMk/>
            <pc:sldMk cId="1544207233" sldId="2147483646"/>
            <ac:picMk id="36" creationId="{049DFF75-4533-8AAC-1CF3-1991A9DEB7B3}"/>
          </ac:picMkLst>
        </pc:picChg>
        <pc:picChg chg="del">
          <ac:chgData name="Chamaria, Shridhar" userId="8333b265-e735-45f8-a921-ce459cc3483a" providerId="ADAL" clId="{E9706589-2DB5-4BFA-A300-31C116FE545B}" dt="2025-05-29T09:39:42.424" v="136" actId="478"/>
          <ac:picMkLst>
            <pc:docMk/>
            <pc:sldMk cId="1544207233" sldId="2147483646"/>
            <ac:picMk id="48" creationId="{BAD62CCA-91BD-2CDC-5D59-829184A1AA62}"/>
          </ac:picMkLst>
        </pc:picChg>
        <pc:picChg chg="del">
          <ac:chgData name="Chamaria, Shridhar" userId="8333b265-e735-45f8-a921-ce459cc3483a" providerId="ADAL" clId="{E9706589-2DB5-4BFA-A300-31C116FE545B}" dt="2025-05-29T09:39:42.424" v="136" actId="478"/>
          <ac:picMkLst>
            <pc:docMk/>
            <pc:sldMk cId="1544207233" sldId="2147483646"/>
            <ac:picMk id="49" creationId="{21CFC33E-E6A4-ACB7-9DF8-A93EA85649A2}"/>
          </ac:picMkLst>
        </pc:picChg>
        <pc:picChg chg="del">
          <ac:chgData name="Chamaria, Shridhar" userId="8333b265-e735-45f8-a921-ce459cc3483a" providerId="ADAL" clId="{E9706589-2DB5-4BFA-A300-31C116FE545B}" dt="2025-05-29T09:39:42.424" v="136" actId="478"/>
          <ac:picMkLst>
            <pc:docMk/>
            <pc:sldMk cId="1544207233" sldId="2147483646"/>
            <ac:picMk id="50" creationId="{420A42D8-BE77-686D-C0DC-EB02F4103793}"/>
          </ac:picMkLst>
        </pc:picChg>
        <pc:picChg chg="del">
          <ac:chgData name="Chamaria, Shridhar" userId="8333b265-e735-45f8-a921-ce459cc3483a" providerId="ADAL" clId="{E9706589-2DB5-4BFA-A300-31C116FE545B}" dt="2025-05-29T09:39:42.424" v="136" actId="478"/>
          <ac:picMkLst>
            <pc:docMk/>
            <pc:sldMk cId="1544207233" sldId="2147483646"/>
            <ac:picMk id="51" creationId="{1C924527-67F9-5ECA-6662-F8D8A73A128C}"/>
          </ac:picMkLst>
        </pc:picChg>
      </pc:sldChg>
      <pc:sldChg chg="delSp modSp">
        <pc:chgData name="Chamaria, Shridhar" userId="8333b265-e735-45f8-a921-ce459cc3483a" providerId="ADAL" clId="{E9706589-2DB5-4BFA-A300-31C116FE545B}" dt="2025-05-29T09:50:19.524" v="169"/>
        <pc:sldMkLst>
          <pc:docMk/>
          <pc:sldMk cId="1185047230" sldId="2147483647"/>
        </pc:sldMkLst>
        <pc:spChg chg="mod">
          <ac:chgData name="Chamaria, Shridhar" userId="8333b265-e735-45f8-a921-ce459cc3483a" providerId="ADAL" clId="{E9706589-2DB5-4BFA-A300-31C116FE545B}" dt="2025-05-29T08:43:11.249" v="46"/>
          <ac:spMkLst>
            <pc:docMk/>
            <pc:sldMk cId="1185047230" sldId="2147483647"/>
            <ac:spMk id="6" creationId="{694D5409-4D32-D7A6-3C93-E11306BEA059}"/>
          </ac:spMkLst>
        </pc:spChg>
        <pc:spChg chg="mod">
          <ac:chgData name="Chamaria, Shridhar" userId="8333b265-e735-45f8-a921-ce459cc3483a" providerId="ADAL" clId="{E9706589-2DB5-4BFA-A300-31C116FE545B}" dt="2025-05-29T09:50:19.524" v="169"/>
          <ac:spMkLst>
            <pc:docMk/>
            <pc:sldMk cId="1185047230" sldId="2147483647"/>
            <ac:spMk id="7" creationId="{ADF9A08C-FD77-4FF3-9307-10D9D9652E8E}"/>
          </ac:spMkLst>
        </pc:spChg>
        <pc:spChg chg="del mod">
          <ac:chgData name="Chamaria, Shridhar" userId="8333b265-e735-45f8-a921-ce459cc3483a" providerId="ADAL" clId="{E9706589-2DB5-4BFA-A300-31C116FE545B}" dt="2025-05-29T09:48:51.775" v="163" actId="478"/>
          <ac:spMkLst>
            <pc:docMk/>
            <pc:sldMk cId="1185047230" sldId="2147483647"/>
            <ac:spMk id="23" creationId="{EE945CFA-213E-3202-BF32-1D1C8BD01F8A}"/>
          </ac:spMkLst>
        </pc:spChg>
        <pc:picChg chg="del">
          <ac:chgData name="Chamaria, Shridhar" userId="8333b265-e735-45f8-a921-ce459cc3483a" providerId="ADAL" clId="{E9706589-2DB5-4BFA-A300-31C116FE545B}" dt="2025-05-29T09:48:51.775" v="163" actId="478"/>
          <ac:picMkLst>
            <pc:docMk/>
            <pc:sldMk cId="1185047230" sldId="2147483647"/>
            <ac:picMk id="24" creationId="{54FE0FB0-9B48-3194-64F7-C29C3C4F7F9B}"/>
          </ac:picMkLst>
        </pc:picChg>
        <pc:picChg chg="del">
          <ac:chgData name="Chamaria, Shridhar" userId="8333b265-e735-45f8-a921-ce459cc3483a" providerId="ADAL" clId="{E9706589-2DB5-4BFA-A300-31C116FE545B}" dt="2025-05-29T09:48:51.775" v="163" actId="478"/>
          <ac:picMkLst>
            <pc:docMk/>
            <pc:sldMk cId="1185047230" sldId="2147483647"/>
            <ac:picMk id="25" creationId="{DB88CB1F-5C36-7AD9-D70C-75B80A097AEA}"/>
          </ac:picMkLst>
        </pc:picChg>
        <pc:picChg chg="del">
          <ac:chgData name="Chamaria, Shridhar" userId="8333b265-e735-45f8-a921-ce459cc3483a" providerId="ADAL" clId="{E9706589-2DB5-4BFA-A300-31C116FE545B}" dt="2025-05-29T09:48:51.775" v="163" actId="478"/>
          <ac:picMkLst>
            <pc:docMk/>
            <pc:sldMk cId="1185047230" sldId="2147483647"/>
            <ac:picMk id="26" creationId="{E121CC9E-C079-4BF3-5B1E-B76250F92CD9}"/>
          </ac:picMkLst>
        </pc:picChg>
        <pc:picChg chg="del">
          <ac:chgData name="Chamaria, Shridhar" userId="8333b265-e735-45f8-a921-ce459cc3483a" providerId="ADAL" clId="{E9706589-2DB5-4BFA-A300-31C116FE545B}" dt="2025-05-29T09:48:51.775" v="163" actId="478"/>
          <ac:picMkLst>
            <pc:docMk/>
            <pc:sldMk cId="1185047230" sldId="2147483647"/>
            <ac:picMk id="27" creationId="{42AA1322-3F79-07C2-33EB-E2A4EF3AA826}"/>
          </ac:picMkLst>
        </pc:picChg>
        <pc:picChg chg="del">
          <ac:chgData name="Chamaria, Shridhar" userId="8333b265-e735-45f8-a921-ce459cc3483a" providerId="ADAL" clId="{E9706589-2DB5-4BFA-A300-31C116FE545B}" dt="2025-05-29T09:48:51.775" v="163" actId="478"/>
          <ac:picMkLst>
            <pc:docMk/>
            <pc:sldMk cId="1185047230" sldId="2147483647"/>
            <ac:picMk id="28" creationId="{5C9F8653-F4FC-BCEE-1155-E7AA0E7534B9}"/>
          </ac:picMkLst>
        </pc:picChg>
        <pc:picChg chg="del">
          <ac:chgData name="Chamaria, Shridhar" userId="8333b265-e735-45f8-a921-ce459cc3483a" providerId="ADAL" clId="{E9706589-2DB5-4BFA-A300-31C116FE545B}" dt="2025-05-29T09:48:51.775" v="163" actId="478"/>
          <ac:picMkLst>
            <pc:docMk/>
            <pc:sldMk cId="1185047230" sldId="2147483647"/>
            <ac:picMk id="29" creationId="{3E750684-F162-DAF7-7169-63A6984E8345}"/>
          </ac:picMkLst>
        </pc:picChg>
        <pc:picChg chg="del">
          <ac:chgData name="Chamaria, Shridhar" userId="8333b265-e735-45f8-a921-ce459cc3483a" providerId="ADAL" clId="{E9706589-2DB5-4BFA-A300-31C116FE545B}" dt="2025-05-29T09:48:51.775" v="163" actId="478"/>
          <ac:picMkLst>
            <pc:docMk/>
            <pc:sldMk cId="1185047230" sldId="2147483647"/>
            <ac:picMk id="30" creationId="{677E4F7C-9BD5-5F7C-8E0A-B2D988CBBB80}"/>
          </ac:picMkLst>
        </pc:picChg>
        <pc:picChg chg="del">
          <ac:chgData name="Chamaria, Shridhar" userId="8333b265-e735-45f8-a921-ce459cc3483a" providerId="ADAL" clId="{E9706589-2DB5-4BFA-A300-31C116FE545B}" dt="2025-05-29T09:48:51.775" v="163" actId="478"/>
          <ac:picMkLst>
            <pc:docMk/>
            <pc:sldMk cId="1185047230" sldId="2147483647"/>
            <ac:picMk id="41" creationId="{F962C289-E12B-6949-959A-C4399ED318AF}"/>
          </ac:picMkLst>
        </pc:picChg>
        <pc:picChg chg="del">
          <ac:chgData name="Chamaria, Shridhar" userId="8333b265-e735-45f8-a921-ce459cc3483a" providerId="ADAL" clId="{E9706589-2DB5-4BFA-A300-31C116FE545B}" dt="2025-05-29T09:48:51.775" v="163" actId="478"/>
          <ac:picMkLst>
            <pc:docMk/>
            <pc:sldMk cId="1185047230" sldId="2147483647"/>
            <ac:picMk id="44" creationId="{30AA8F9D-0CCA-FB40-3271-D8F2B7C530EE}"/>
          </ac:picMkLst>
        </pc:picChg>
      </pc:sldChg>
      <pc:sldMasterChg chg="modSp">
        <pc:chgData name="Chamaria, Shridhar" userId="8333b265-e735-45f8-a921-ce459cc3483a" providerId="ADAL" clId="{E9706589-2DB5-4BFA-A300-31C116FE545B}" dt="2025-05-29T08:43:11.249" v="46"/>
        <pc:sldMasterMkLst>
          <pc:docMk/>
          <pc:sldMasterMk cId="3729795247" sldId="2147483648"/>
        </pc:sldMasterMkLst>
        <pc:spChg chg="mod">
          <ac:chgData name="Chamaria, Shridhar" userId="8333b265-e735-45f8-a921-ce459cc3483a" providerId="ADAL" clId="{E9706589-2DB5-4BFA-A300-31C116FE545B}" dt="2025-05-29T08:43:11.249" v="46"/>
          <ac:spMkLst>
            <pc:docMk/>
            <pc:sldMasterMk cId="3729795247" sldId="2147483648"/>
            <ac:spMk id="8" creationId="{00000000-0000-0000-0000-000000000000}"/>
          </ac:spMkLst>
        </pc:sp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C054AEC-5285-4A38-907C-3D6ADD3079AE}" type="datetimeFigureOut">
              <a:rPr lang="en-US" smtClean="0"/>
              <a:t>5/29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F0DAFE0-AF13-4BC8-8FC6-CFD241D00F1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96659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46E961-A83B-4500-B5F7-48EDF225ADDC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320471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AD63503-340C-43DA-A9E2-0F315A321574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72816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A65A675-2167-40D4-A784-14D39E5980A8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731836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46E961-A83B-4500-B5F7-48EDF225ADDC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859266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46E961-A83B-4500-B5F7-48EDF225ADDC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486095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AD63503-340C-43DA-A9E2-0F315A321574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533982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AD63503-340C-43DA-A9E2-0F315A321574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635035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AD63503-340C-43DA-A9E2-0F315A321574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194094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70B7070-3E83-47E6-B51A-C8E2A1AE3018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229566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AD63503-340C-43DA-A9E2-0F315A321574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14922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ain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7037" y="4998212"/>
            <a:ext cx="3240000" cy="405000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334963" y="5077602"/>
            <a:ext cx="884858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>
              <a:buNone/>
            </a:pPr>
            <a:r>
              <a:rPr lang="en-US" sz="1600" b="1" cap="all" spc="300" baseline="0">
                <a:solidFill>
                  <a:schemeClr val="tx1"/>
                </a:solidFill>
              </a:rPr>
              <a:t>Draft</a:t>
            </a:r>
          </a:p>
        </p:txBody>
      </p:sp>
      <p:cxnSp>
        <p:nvCxnSpPr>
          <p:cNvPr id="5" name="SeparatorLine"/>
          <p:cNvCxnSpPr/>
          <p:nvPr userDrawn="1"/>
        </p:nvCxnSpPr>
        <p:spPr>
          <a:xfrm>
            <a:off x="0" y="4873803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lientLogo"/>
          <p:cNvSpPr>
            <a:spLocks noGrp="1"/>
          </p:cNvSpPr>
          <p:nvPr>
            <p:ph type="pic" sz="quarter" idx="10"/>
          </p:nvPr>
        </p:nvSpPr>
        <p:spPr>
          <a:xfrm>
            <a:off x="8617039" y="3364443"/>
            <a:ext cx="3239999" cy="139964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8" name="Disclaimer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5468" y="6547288"/>
            <a:ext cx="6407451" cy="274344"/>
          </a:xfrm>
          <a:prstGeom prst="rect">
            <a:avLst/>
          </a:prstGeom>
        </p:spPr>
      </p:pic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334965" y="2420938"/>
            <a:ext cx="11522075" cy="90000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add subtitle/contacts/date</a:t>
            </a: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>
          <a:xfrm>
            <a:off x="334964" y="1268413"/>
            <a:ext cx="11522075" cy="900112"/>
          </a:xfrm>
        </p:spPr>
        <p:txBody>
          <a:bodyPr anchor="b"/>
          <a:lstStyle>
            <a:lvl1pPr algn="l">
              <a:spcBef>
                <a:spcPts val="0"/>
              </a:spcBef>
              <a:defRPr sz="2600" b="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012046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042924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Pag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Bain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7037" y="4998212"/>
            <a:ext cx="3240000" cy="405000"/>
          </a:xfrm>
          <a:prstGeom prst="rect">
            <a:avLst/>
          </a:prstGeom>
        </p:spPr>
      </p:pic>
      <p:cxnSp>
        <p:nvCxnSpPr>
          <p:cNvPr id="39" name="SeparatorLine"/>
          <p:cNvCxnSpPr/>
          <p:nvPr userDrawn="1"/>
        </p:nvCxnSpPr>
        <p:spPr>
          <a:xfrm>
            <a:off x="0" y="5481638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8732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53" userDrawn="1">
          <p15:clr>
            <a:srgbClr val="A4A3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634442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949F73F-40C4-459A-87F2-5B4A916D8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439456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606" imgH="608" progId="TCLayout.ActiveDocument.1">
                  <p:embed/>
                </p:oleObj>
              </mc:Choice>
              <mc:Fallback>
                <p:oleObj name="think-cell Slide" r:id="rId7" imgW="606" imgH="60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949F73F-40C4-459A-87F2-5B4A916D8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tfpConfiguration" hidden="1"/>
          <p:cNvSpPr txBox="1"/>
          <p:nvPr userDrawn="1"/>
        </p:nvSpPr>
        <p:spPr bwMode="hidden">
          <a:xfrm>
            <a:off x="0" y="0"/>
            <a:ext cx="36000" cy="36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100">
                <a:solidFill>
                  <a:schemeClr val="bg1">
                    <a:alpha val="0"/>
                  </a:schemeClr>
                </a:solidFill>
              </a:rPr>
              <a:t>&lt;BTFP&gt;&lt;!-- BTFPCONFIGURATION:3C627466703E0D0A20203C74656D706C6174652076657273696F6E3D22322E342E302220747970653D226272616E64656422207061676553697A653D227769646573637265656E22202F3E0D0A20203C4775696465733E0D0A202020203C4C656674477569646520786D6C6E733D22323622202F3E0D0A202020203C5269676874477569646520786D6C6E733D2239333422202F3E0D0A202020203C5570706572537469636B6572477569646520786D6C6E733D22363922202F3E0D0A202020203C4C6F776572537469636B6572477569646520786D6C6E733D2231303022202F3E0D0A202020203C426F74746F6D477569646520786D6C6E733D2235313722202F3E0D0A20203C2F4775696465733E0D0A3C2F627466703E --&gt;&lt;/BTFP&gt;</a:t>
            </a:r>
          </a:p>
        </p:txBody>
      </p:sp>
      <p:sp>
        <p:nvSpPr>
          <p:cNvPr id="19" name="SlideNumber"/>
          <p:cNvSpPr/>
          <p:nvPr userDrawn="1"/>
        </p:nvSpPr>
        <p:spPr bwMode="gray">
          <a:xfrm>
            <a:off x="11715975" y="6649694"/>
            <a:ext cx="141064" cy="138499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spAutoFit/>
          </a:bodyPr>
          <a:lstStyle/>
          <a:p>
            <a:pPr marL="0" indent="0" algn="r" defTabSz="711200" rtl="0" eaLnBrk="1" latinLnBrk="0" hangingPunct="1">
              <a:spcBef>
                <a:spcPts val="1200"/>
              </a:spcBef>
              <a:buNone/>
            </a:pPr>
            <a:fld id="{BB69BBE8-4DB2-4642-B003-B220ACD5A2FD}" type="slidenum">
              <a:rPr lang="en-US" sz="900" b="0" baseline="0" smtClean="0">
                <a:solidFill>
                  <a:schemeClr val="bg2"/>
                </a:solidFill>
                <a:latin typeface="+mn-lt"/>
              </a:rPr>
              <a:pPr marL="0" indent="0" algn="r" defTabSz="711200" rtl="0" eaLnBrk="1" latinLnBrk="0" hangingPunct="1">
                <a:spcBef>
                  <a:spcPts val="1200"/>
                </a:spcBef>
                <a:buNone/>
              </a:pPr>
              <a:t>‹#›</a:t>
            </a:fld>
            <a:endParaRPr lang="en-US" sz="900" b="0">
              <a:solidFill>
                <a:schemeClr val="bg2"/>
              </a:solidFill>
              <a:latin typeface="+mn-lt"/>
            </a:endParaRPr>
          </a:p>
        </p:txBody>
      </p:sp>
      <p:pic>
        <p:nvPicPr>
          <p:cNvPr id="12" name="BainLogo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60000" y="6654664"/>
            <a:ext cx="1152000" cy="144000"/>
          </a:xfrm>
          <a:prstGeom prst="rect">
            <a:avLst/>
          </a:prstGeom>
        </p:spPr>
      </p:pic>
      <p:sp>
        <p:nvSpPr>
          <p:cNvPr id="8" name="CreatedFooter"/>
          <p:cNvSpPr/>
          <p:nvPr userDrawn="1"/>
        </p:nvSpPr>
        <p:spPr>
          <a:xfrm>
            <a:off x="8263033" y="6642830"/>
            <a:ext cx="1368171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 dirty="0">
                <a:solidFill>
                  <a:srgbClr val="FFFFFF"/>
                </a:solidFill>
              </a:rPr>
              <a:t>240911_Project Target  ... BCN v1</a:t>
            </a:r>
          </a:p>
        </p:txBody>
      </p:sp>
      <p:sp>
        <p:nvSpPr>
          <p:cNvPr id="7" name="OfficeCode"/>
          <p:cNvSpPr/>
          <p:nvPr userDrawn="1"/>
        </p:nvSpPr>
        <p:spPr>
          <a:xfrm>
            <a:off x="7348519" y="6642830"/>
            <a:ext cx="288036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>
                <a:solidFill>
                  <a:srgbClr val="FFFFFF"/>
                </a:solidFill>
              </a:rPr>
              <a:t>DBS</a:t>
            </a:r>
          </a:p>
        </p:txBody>
      </p:sp>
      <p:pic>
        <p:nvPicPr>
          <p:cNvPr id="14" name="Disclaimer"/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316547" y="6641266"/>
            <a:ext cx="6407451" cy="176799"/>
          </a:xfrm>
          <a:prstGeom prst="rect">
            <a:avLst/>
          </a:prstGeom>
        </p:spPr>
      </p:pic>
      <p:cxnSp>
        <p:nvCxnSpPr>
          <p:cNvPr id="20" name="FooterSeparatorLine"/>
          <p:cNvCxnSpPr/>
          <p:nvPr userDrawn="1"/>
        </p:nvCxnSpPr>
        <p:spPr>
          <a:xfrm>
            <a:off x="0" y="6598800"/>
            <a:ext cx="11857037" cy="0"/>
          </a:xfrm>
          <a:prstGeom prst="line">
            <a:avLst/>
          </a:prstGeom>
          <a:ln w="9525" cap="flat">
            <a:solidFill>
              <a:schemeClr val="accent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>
          <a:xfrm>
            <a:off x="334435" y="1268413"/>
            <a:ext cx="11522603" cy="5292725"/>
          </a:xfrm>
          <a:prstGeom prst="rect">
            <a:avLst/>
          </a:prstGeom>
        </p:spPr>
        <p:txBody>
          <a:bodyPr vert="horz" lIns="36000" tIns="36000" rIns="36000" bIns="3600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3" name="TitleSeparatorLine"/>
          <p:cNvCxnSpPr/>
          <p:nvPr userDrawn="1"/>
        </p:nvCxnSpPr>
        <p:spPr>
          <a:xfrm>
            <a:off x="0" y="873125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Title"/>
          <p:cNvSpPr>
            <a:spLocks noGrp="1"/>
          </p:cNvSpPr>
          <p:nvPr>
            <p:ph type="title"/>
          </p:nvPr>
        </p:nvSpPr>
        <p:spPr>
          <a:xfrm>
            <a:off x="334963" y="1"/>
            <a:ext cx="11522075" cy="876687"/>
          </a:xfrm>
          <a:prstGeom prst="rect">
            <a:avLst/>
          </a:prstGeom>
        </p:spPr>
        <p:txBody>
          <a:bodyPr vert="horz" lIns="36000" tIns="36000" rIns="36000" bIns="7200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297952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63" r:id="rId3"/>
    <p:sldLayoutId id="2147483655" r:id="rId4"/>
  </p:sldLayoutIdLst>
  <p:txStyles>
    <p:titleStyle>
      <a:lvl1pPr algn="l" defTabSz="7112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354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4988" indent="-173038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5963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2563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177800" indent="-177800" algn="l" defTabSz="711200" rtl="0" eaLnBrk="1" latinLnBrk="0" hangingPunct="1">
        <a:spcBef>
          <a:spcPts val="1200"/>
        </a:spcBef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34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12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890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668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2446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4224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6002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50" userDrawn="1">
          <p15:clr>
            <a:srgbClr val="D1D1D1"/>
          </p15:clr>
        </p15:guide>
        <p15:guide id="4" orient="horz" pos="799" userDrawn="1">
          <p15:clr>
            <a:srgbClr val="D1D1D1"/>
          </p15:clr>
        </p15:guide>
        <p15:guide id="7" orient="horz" pos="4133" userDrawn="1">
          <p15:clr>
            <a:srgbClr val="D1D1D1"/>
          </p15:clr>
        </p15:guide>
        <p15:guide id="8" pos="208" userDrawn="1">
          <p15:clr>
            <a:srgbClr val="CCCCCC"/>
          </p15:clr>
        </p15:guide>
        <p15:guide id="9" pos="7472" userDrawn="1">
          <p15:clr>
            <a:srgbClr val="CCCCCC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5.jpe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13" Type="http://schemas.openxmlformats.org/officeDocument/2006/relationships/image" Target="../media/image9.png"/><Relationship Id="rId3" Type="http://schemas.openxmlformats.org/officeDocument/2006/relationships/tags" Target="../tags/tag89.xml"/><Relationship Id="rId7" Type="http://schemas.openxmlformats.org/officeDocument/2006/relationships/tags" Target="../tags/tag93.xml"/><Relationship Id="rId12" Type="http://schemas.openxmlformats.org/officeDocument/2006/relationships/image" Target="../media/image22.emf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tags" Target="../tags/tag92.xml"/><Relationship Id="rId11" Type="http://schemas.openxmlformats.org/officeDocument/2006/relationships/image" Target="../media/image1.emf"/><Relationship Id="rId5" Type="http://schemas.openxmlformats.org/officeDocument/2006/relationships/tags" Target="../tags/tag91.xml"/><Relationship Id="rId10" Type="http://schemas.openxmlformats.org/officeDocument/2006/relationships/oleObject" Target="../embeddings/oleObject10.bin"/><Relationship Id="rId4" Type="http://schemas.openxmlformats.org/officeDocument/2006/relationships/tags" Target="../tags/tag90.xml"/><Relationship Id="rId9" Type="http://schemas.openxmlformats.org/officeDocument/2006/relationships/notesSlide" Target="../notesSlides/notesSlide8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13" Type="http://schemas.openxmlformats.org/officeDocument/2006/relationships/image" Target="../media/image9.png"/><Relationship Id="rId3" Type="http://schemas.openxmlformats.org/officeDocument/2006/relationships/tags" Target="../tags/tag96.xml"/><Relationship Id="rId7" Type="http://schemas.openxmlformats.org/officeDocument/2006/relationships/tags" Target="../tags/tag100.xml"/><Relationship Id="rId12" Type="http://schemas.openxmlformats.org/officeDocument/2006/relationships/image" Target="../media/image23.emf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6" Type="http://schemas.openxmlformats.org/officeDocument/2006/relationships/tags" Target="../tags/tag99.xml"/><Relationship Id="rId11" Type="http://schemas.openxmlformats.org/officeDocument/2006/relationships/image" Target="../media/image1.emf"/><Relationship Id="rId5" Type="http://schemas.openxmlformats.org/officeDocument/2006/relationships/tags" Target="../tags/tag98.xml"/><Relationship Id="rId15" Type="http://schemas.openxmlformats.org/officeDocument/2006/relationships/image" Target="../media/image16.svg"/><Relationship Id="rId10" Type="http://schemas.openxmlformats.org/officeDocument/2006/relationships/oleObject" Target="../embeddings/oleObject11.bin"/><Relationship Id="rId4" Type="http://schemas.openxmlformats.org/officeDocument/2006/relationships/tags" Target="../tags/tag97.xml"/><Relationship Id="rId9" Type="http://schemas.openxmlformats.org/officeDocument/2006/relationships/notesSlide" Target="../notesSlides/notesSlide9.xml"/><Relationship Id="rId14" Type="http://schemas.openxmlformats.org/officeDocument/2006/relationships/image" Target="../media/image15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13" Type="http://schemas.openxmlformats.org/officeDocument/2006/relationships/image" Target="../media/image9.png"/><Relationship Id="rId3" Type="http://schemas.openxmlformats.org/officeDocument/2006/relationships/tags" Target="../tags/tag103.xml"/><Relationship Id="rId7" Type="http://schemas.openxmlformats.org/officeDocument/2006/relationships/tags" Target="../tags/tag107.xml"/><Relationship Id="rId12" Type="http://schemas.openxmlformats.org/officeDocument/2006/relationships/image" Target="../media/image24.emf"/><Relationship Id="rId2" Type="http://schemas.openxmlformats.org/officeDocument/2006/relationships/tags" Target="../tags/tag102.xml"/><Relationship Id="rId1" Type="http://schemas.openxmlformats.org/officeDocument/2006/relationships/tags" Target="../tags/tag101.xml"/><Relationship Id="rId6" Type="http://schemas.openxmlformats.org/officeDocument/2006/relationships/tags" Target="../tags/tag106.xml"/><Relationship Id="rId11" Type="http://schemas.openxmlformats.org/officeDocument/2006/relationships/image" Target="../media/image1.emf"/><Relationship Id="rId5" Type="http://schemas.openxmlformats.org/officeDocument/2006/relationships/tags" Target="../tags/tag105.xml"/><Relationship Id="rId15" Type="http://schemas.openxmlformats.org/officeDocument/2006/relationships/image" Target="../media/image16.svg"/><Relationship Id="rId10" Type="http://schemas.openxmlformats.org/officeDocument/2006/relationships/oleObject" Target="../embeddings/oleObject12.bin"/><Relationship Id="rId4" Type="http://schemas.openxmlformats.org/officeDocument/2006/relationships/tags" Target="../tags/tag104.xml"/><Relationship Id="rId9" Type="http://schemas.openxmlformats.org/officeDocument/2006/relationships/notesSlide" Target="../notesSlides/notesSlide10.xml"/><Relationship Id="rId14" Type="http://schemas.openxmlformats.org/officeDocument/2006/relationships/image" Target="../media/image15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13" Type="http://schemas.openxmlformats.org/officeDocument/2006/relationships/tags" Target="../tags/tag18.xml"/><Relationship Id="rId3" Type="http://schemas.openxmlformats.org/officeDocument/2006/relationships/tags" Target="../tags/tag8.xml"/><Relationship Id="rId7" Type="http://schemas.openxmlformats.org/officeDocument/2006/relationships/tags" Target="../tags/tag12.xml"/><Relationship Id="rId12" Type="http://schemas.openxmlformats.org/officeDocument/2006/relationships/tags" Target="../tags/tag17.xml"/><Relationship Id="rId17" Type="http://schemas.openxmlformats.org/officeDocument/2006/relationships/image" Target="../media/image7.png"/><Relationship Id="rId2" Type="http://schemas.openxmlformats.org/officeDocument/2006/relationships/tags" Target="../tags/tag7.xml"/><Relationship Id="rId16" Type="http://schemas.openxmlformats.org/officeDocument/2006/relationships/image" Target="../media/image6.png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11" Type="http://schemas.openxmlformats.org/officeDocument/2006/relationships/tags" Target="../tags/tag16.xml"/><Relationship Id="rId5" Type="http://schemas.openxmlformats.org/officeDocument/2006/relationships/tags" Target="../tags/tag10.xml"/><Relationship Id="rId15" Type="http://schemas.openxmlformats.org/officeDocument/2006/relationships/notesSlide" Target="../notesSlides/notesSlide1.xml"/><Relationship Id="rId10" Type="http://schemas.openxmlformats.org/officeDocument/2006/relationships/tags" Target="../tags/tag15.xml"/><Relationship Id="rId4" Type="http://schemas.openxmlformats.org/officeDocument/2006/relationships/tags" Target="../tags/tag9.xml"/><Relationship Id="rId9" Type="http://schemas.openxmlformats.org/officeDocument/2006/relationships/tags" Target="../tags/tag14.xml"/><Relationship Id="rId1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13" Type="http://schemas.openxmlformats.org/officeDocument/2006/relationships/image" Target="../media/image9.png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image" Target="../media/image8.emf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1" Type="http://schemas.openxmlformats.org/officeDocument/2006/relationships/image" Target="../media/image1.emf"/><Relationship Id="rId5" Type="http://schemas.openxmlformats.org/officeDocument/2006/relationships/tags" Target="../tags/tag23.xml"/><Relationship Id="rId10" Type="http://schemas.openxmlformats.org/officeDocument/2006/relationships/oleObject" Target="../embeddings/oleObject3.bin"/><Relationship Id="rId4" Type="http://schemas.openxmlformats.org/officeDocument/2006/relationships/tags" Target="../tags/tag22.xml"/><Relationship Id="rId9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13" Type="http://schemas.openxmlformats.org/officeDocument/2006/relationships/image" Target="../media/image9.png"/><Relationship Id="rId3" Type="http://schemas.openxmlformats.org/officeDocument/2006/relationships/tags" Target="../tags/tag28.xml"/><Relationship Id="rId7" Type="http://schemas.openxmlformats.org/officeDocument/2006/relationships/tags" Target="../tags/tag32.xml"/><Relationship Id="rId12" Type="http://schemas.openxmlformats.org/officeDocument/2006/relationships/image" Target="../media/image10.emf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tags" Target="../tags/tag31.xml"/><Relationship Id="rId11" Type="http://schemas.openxmlformats.org/officeDocument/2006/relationships/image" Target="../media/image1.emf"/><Relationship Id="rId5" Type="http://schemas.openxmlformats.org/officeDocument/2006/relationships/tags" Target="../tags/tag30.xml"/><Relationship Id="rId10" Type="http://schemas.openxmlformats.org/officeDocument/2006/relationships/oleObject" Target="../embeddings/oleObject4.bin"/><Relationship Id="rId4" Type="http://schemas.openxmlformats.org/officeDocument/2006/relationships/tags" Target="../tags/tag29.xml"/><Relationship Id="rId9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35.xml"/><Relationship Id="rId7" Type="http://schemas.openxmlformats.org/officeDocument/2006/relationships/tags" Target="../tags/tag39.xml"/><Relationship Id="rId12" Type="http://schemas.openxmlformats.org/officeDocument/2006/relationships/image" Target="../media/image11.emf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tags" Target="../tags/tag38.xml"/><Relationship Id="rId11" Type="http://schemas.openxmlformats.org/officeDocument/2006/relationships/image" Target="../media/image9.png"/><Relationship Id="rId5" Type="http://schemas.openxmlformats.org/officeDocument/2006/relationships/tags" Target="../tags/tag37.xml"/><Relationship Id="rId10" Type="http://schemas.openxmlformats.org/officeDocument/2006/relationships/image" Target="../media/image1.emf"/><Relationship Id="rId4" Type="http://schemas.openxmlformats.org/officeDocument/2006/relationships/tags" Target="../tags/tag36.xml"/><Relationship Id="rId9" Type="http://schemas.openxmlformats.org/officeDocument/2006/relationships/oleObject" Target="../embeddings/oleObject5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4.xml"/><Relationship Id="rId3" Type="http://schemas.openxmlformats.org/officeDocument/2006/relationships/tags" Target="../tags/tag42.xml"/><Relationship Id="rId7" Type="http://schemas.openxmlformats.org/officeDocument/2006/relationships/slideLayout" Target="../slideLayouts/slideLayout2.xml"/><Relationship Id="rId12" Type="http://schemas.openxmlformats.org/officeDocument/2006/relationships/image" Target="../media/image9.png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tags" Target="../tags/tag45.xml"/><Relationship Id="rId11" Type="http://schemas.openxmlformats.org/officeDocument/2006/relationships/image" Target="../media/image12.emf"/><Relationship Id="rId5" Type="http://schemas.openxmlformats.org/officeDocument/2006/relationships/tags" Target="../tags/tag44.xml"/><Relationship Id="rId10" Type="http://schemas.openxmlformats.org/officeDocument/2006/relationships/image" Target="../media/image1.emf"/><Relationship Id="rId4" Type="http://schemas.openxmlformats.org/officeDocument/2006/relationships/tags" Target="../tags/tag43.xml"/><Relationship Id="rId9" Type="http://schemas.openxmlformats.org/officeDocument/2006/relationships/oleObject" Target="../embeddings/oleObject6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13" Type="http://schemas.openxmlformats.org/officeDocument/2006/relationships/image" Target="../media/image9.png"/><Relationship Id="rId3" Type="http://schemas.openxmlformats.org/officeDocument/2006/relationships/tags" Target="../tags/tag48.xml"/><Relationship Id="rId7" Type="http://schemas.openxmlformats.org/officeDocument/2006/relationships/tags" Target="../tags/tag52.xml"/><Relationship Id="rId12" Type="http://schemas.openxmlformats.org/officeDocument/2006/relationships/image" Target="../media/image13.emf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tags" Target="../tags/tag51.xml"/><Relationship Id="rId11" Type="http://schemas.openxmlformats.org/officeDocument/2006/relationships/image" Target="../media/image1.emf"/><Relationship Id="rId5" Type="http://schemas.openxmlformats.org/officeDocument/2006/relationships/tags" Target="../tags/tag50.xml"/><Relationship Id="rId10" Type="http://schemas.openxmlformats.org/officeDocument/2006/relationships/oleObject" Target="../embeddings/oleObject7.bin"/><Relationship Id="rId4" Type="http://schemas.openxmlformats.org/officeDocument/2006/relationships/tags" Target="../tags/tag49.xml"/><Relationship Id="rId9" Type="http://schemas.openxmlformats.org/officeDocument/2006/relationships/notesSlide" Target="../notesSlides/notesSlide5.xml"/></Relationships>
</file>

<file path=ppt/slides/_rels/slide8.xml.rels><?xml version="1.0" encoding="UTF-8" standalone="yes"?>
<Relationships xmlns="http://schemas.openxmlformats.org/package/2006/relationships"><Relationship Id="rId13" Type="http://schemas.openxmlformats.org/officeDocument/2006/relationships/tags" Target="../tags/tag65.xml"/><Relationship Id="rId18" Type="http://schemas.openxmlformats.org/officeDocument/2006/relationships/tags" Target="../tags/tag70.xml"/><Relationship Id="rId26" Type="http://schemas.openxmlformats.org/officeDocument/2006/relationships/tags" Target="../tags/tag78.xml"/><Relationship Id="rId39" Type="http://schemas.openxmlformats.org/officeDocument/2006/relationships/image" Target="../media/image20.png"/><Relationship Id="rId21" Type="http://schemas.openxmlformats.org/officeDocument/2006/relationships/tags" Target="../tags/tag73.xml"/><Relationship Id="rId34" Type="http://schemas.openxmlformats.org/officeDocument/2006/relationships/image" Target="../media/image15.png"/><Relationship Id="rId7" Type="http://schemas.openxmlformats.org/officeDocument/2006/relationships/tags" Target="../tags/tag59.xml"/><Relationship Id="rId12" Type="http://schemas.openxmlformats.org/officeDocument/2006/relationships/tags" Target="../tags/tag64.xml"/><Relationship Id="rId17" Type="http://schemas.openxmlformats.org/officeDocument/2006/relationships/tags" Target="../tags/tag69.xml"/><Relationship Id="rId25" Type="http://schemas.openxmlformats.org/officeDocument/2006/relationships/tags" Target="../tags/tag77.xml"/><Relationship Id="rId33" Type="http://schemas.openxmlformats.org/officeDocument/2006/relationships/image" Target="../media/image9.png"/><Relationship Id="rId38" Type="http://schemas.openxmlformats.org/officeDocument/2006/relationships/image" Target="../media/image19.png"/><Relationship Id="rId2" Type="http://schemas.openxmlformats.org/officeDocument/2006/relationships/tags" Target="../tags/tag54.xml"/><Relationship Id="rId16" Type="http://schemas.openxmlformats.org/officeDocument/2006/relationships/tags" Target="../tags/tag68.xml"/><Relationship Id="rId20" Type="http://schemas.openxmlformats.org/officeDocument/2006/relationships/tags" Target="../tags/tag72.xml"/><Relationship Id="rId29" Type="http://schemas.openxmlformats.org/officeDocument/2006/relationships/notesSlide" Target="../notesSlides/notesSlide6.xml"/><Relationship Id="rId1" Type="http://schemas.openxmlformats.org/officeDocument/2006/relationships/tags" Target="../tags/tag53.xml"/><Relationship Id="rId6" Type="http://schemas.openxmlformats.org/officeDocument/2006/relationships/tags" Target="../tags/tag58.xml"/><Relationship Id="rId11" Type="http://schemas.openxmlformats.org/officeDocument/2006/relationships/tags" Target="../tags/tag63.xml"/><Relationship Id="rId24" Type="http://schemas.openxmlformats.org/officeDocument/2006/relationships/tags" Target="../tags/tag76.xml"/><Relationship Id="rId32" Type="http://schemas.openxmlformats.org/officeDocument/2006/relationships/image" Target="../media/image14.emf"/><Relationship Id="rId37" Type="http://schemas.openxmlformats.org/officeDocument/2006/relationships/image" Target="../media/image18.png"/><Relationship Id="rId5" Type="http://schemas.openxmlformats.org/officeDocument/2006/relationships/tags" Target="../tags/tag57.xml"/><Relationship Id="rId15" Type="http://schemas.openxmlformats.org/officeDocument/2006/relationships/tags" Target="../tags/tag67.xml"/><Relationship Id="rId23" Type="http://schemas.openxmlformats.org/officeDocument/2006/relationships/tags" Target="../tags/tag75.xml"/><Relationship Id="rId28" Type="http://schemas.openxmlformats.org/officeDocument/2006/relationships/slideLayout" Target="../slideLayouts/slideLayout2.xml"/><Relationship Id="rId36" Type="http://schemas.openxmlformats.org/officeDocument/2006/relationships/image" Target="../media/image17.png"/><Relationship Id="rId10" Type="http://schemas.openxmlformats.org/officeDocument/2006/relationships/tags" Target="../tags/tag62.xml"/><Relationship Id="rId19" Type="http://schemas.openxmlformats.org/officeDocument/2006/relationships/tags" Target="../tags/tag71.xml"/><Relationship Id="rId31" Type="http://schemas.openxmlformats.org/officeDocument/2006/relationships/image" Target="../media/image1.emf"/><Relationship Id="rId4" Type="http://schemas.openxmlformats.org/officeDocument/2006/relationships/tags" Target="../tags/tag56.xml"/><Relationship Id="rId9" Type="http://schemas.openxmlformats.org/officeDocument/2006/relationships/tags" Target="../tags/tag61.xml"/><Relationship Id="rId14" Type="http://schemas.openxmlformats.org/officeDocument/2006/relationships/tags" Target="../tags/tag66.xml"/><Relationship Id="rId22" Type="http://schemas.openxmlformats.org/officeDocument/2006/relationships/tags" Target="../tags/tag74.xml"/><Relationship Id="rId27" Type="http://schemas.openxmlformats.org/officeDocument/2006/relationships/tags" Target="../tags/tag79.xml"/><Relationship Id="rId30" Type="http://schemas.openxmlformats.org/officeDocument/2006/relationships/oleObject" Target="../embeddings/oleObject8.bin"/><Relationship Id="rId35" Type="http://schemas.openxmlformats.org/officeDocument/2006/relationships/image" Target="../media/image16.svg"/><Relationship Id="rId8" Type="http://schemas.openxmlformats.org/officeDocument/2006/relationships/tags" Target="../tags/tag60.xml"/><Relationship Id="rId3" Type="http://schemas.openxmlformats.org/officeDocument/2006/relationships/tags" Target="../tags/tag55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13" Type="http://schemas.openxmlformats.org/officeDocument/2006/relationships/image" Target="../media/image9.png"/><Relationship Id="rId3" Type="http://schemas.openxmlformats.org/officeDocument/2006/relationships/tags" Target="../tags/tag82.xml"/><Relationship Id="rId7" Type="http://schemas.openxmlformats.org/officeDocument/2006/relationships/tags" Target="../tags/tag86.xml"/><Relationship Id="rId12" Type="http://schemas.openxmlformats.org/officeDocument/2006/relationships/image" Target="../media/image21.emf"/><Relationship Id="rId2" Type="http://schemas.openxmlformats.org/officeDocument/2006/relationships/tags" Target="../tags/tag81.xml"/><Relationship Id="rId1" Type="http://schemas.openxmlformats.org/officeDocument/2006/relationships/tags" Target="../tags/tag80.xml"/><Relationship Id="rId6" Type="http://schemas.openxmlformats.org/officeDocument/2006/relationships/tags" Target="../tags/tag85.xml"/><Relationship Id="rId11" Type="http://schemas.openxmlformats.org/officeDocument/2006/relationships/image" Target="../media/image1.emf"/><Relationship Id="rId5" Type="http://schemas.openxmlformats.org/officeDocument/2006/relationships/tags" Target="../tags/tag84.xml"/><Relationship Id="rId10" Type="http://schemas.openxmlformats.org/officeDocument/2006/relationships/oleObject" Target="../embeddings/oleObject9.bin"/><Relationship Id="rId4" Type="http://schemas.openxmlformats.org/officeDocument/2006/relationships/tags" Target="../tags/tag83.xml"/><Relationship Id="rId9" Type="http://schemas.openxmlformats.org/officeDocument/2006/relationships/notesSlide" Target="../notesSlides/notesSlide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D20B36EA-A7FC-DE1C-B24A-EF2BF6BE694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0932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04" imgH="405" progId="TCLayout.ActiveDocument.1">
                  <p:embed/>
                </p:oleObj>
              </mc:Choice>
              <mc:Fallback>
                <p:oleObj name="think-cell Slide" r:id="rId5" imgW="404" imgH="40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20B36EA-A7FC-DE1C-B24A-EF2BF6BE69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6" name="btfpColumnIndicatorGroup2">
            <a:extLst>
              <a:ext uri="{FF2B5EF4-FFF2-40B4-BE49-F238E27FC236}">
                <a16:creationId xmlns:a16="http://schemas.microsoft.com/office/drawing/2014/main" id="{6737429C-6A80-42DD-A9C5-605DAAC7BBCB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28" name="btfpColumnGapBlocker907226">
              <a:extLst>
                <a:ext uri="{FF2B5EF4-FFF2-40B4-BE49-F238E27FC236}">
                  <a16:creationId xmlns:a16="http://schemas.microsoft.com/office/drawing/2014/main" id="{86365CDB-AF92-4FB0-AC20-2E7EC5D4445C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26" name="btfpColumnGapBlocker625519">
              <a:extLst>
                <a:ext uri="{FF2B5EF4-FFF2-40B4-BE49-F238E27FC236}">
                  <a16:creationId xmlns:a16="http://schemas.microsoft.com/office/drawing/2014/main" id="{64B596F3-43E7-4357-9232-FD3A9F2D37EE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4" name="btfpColumnIndicator628445">
              <a:extLst>
                <a:ext uri="{FF2B5EF4-FFF2-40B4-BE49-F238E27FC236}">
                  <a16:creationId xmlns:a16="http://schemas.microsoft.com/office/drawing/2014/main" id="{58292CE5-FBBF-46E7-99AC-169E87D22A77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btfpColumnIndicator165372">
              <a:extLst>
                <a:ext uri="{FF2B5EF4-FFF2-40B4-BE49-F238E27FC236}">
                  <a16:creationId xmlns:a16="http://schemas.microsoft.com/office/drawing/2014/main" id="{EFBE867E-DA49-4571-9FC7-9D81D3163900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5" name="btfpColumnIndicatorGroup1">
            <a:extLst>
              <a:ext uri="{FF2B5EF4-FFF2-40B4-BE49-F238E27FC236}">
                <a16:creationId xmlns:a16="http://schemas.microsoft.com/office/drawing/2014/main" id="{8708164D-489D-4299-BEF3-C0994B2DBBE5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27" name="btfpColumnGapBlocker413041">
              <a:extLst>
                <a:ext uri="{FF2B5EF4-FFF2-40B4-BE49-F238E27FC236}">
                  <a16:creationId xmlns:a16="http://schemas.microsoft.com/office/drawing/2014/main" id="{D9F784DE-D744-43D5-A6ED-8B32EA346E7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25" name="btfpColumnGapBlocker360682">
              <a:extLst>
                <a:ext uri="{FF2B5EF4-FFF2-40B4-BE49-F238E27FC236}">
                  <a16:creationId xmlns:a16="http://schemas.microsoft.com/office/drawing/2014/main" id="{570CD6EE-EDD2-41A9-BBF8-DD90FC18BB0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3" name="btfpColumnIndicator540776">
              <a:extLst>
                <a:ext uri="{FF2B5EF4-FFF2-40B4-BE49-F238E27FC236}">
                  <a16:creationId xmlns:a16="http://schemas.microsoft.com/office/drawing/2014/main" id="{DCF19698-6A1A-45BC-A6FD-2AD7454E1F6E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btfpColumnIndicator577492">
              <a:extLst>
                <a:ext uri="{FF2B5EF4-FFF2-40B4-BE49-F238E27FC236}">
                  <a16:creationId xmlns:a16="http://schemas.microsoft.com/office/drawing/2014/main" id="{7FC36FA1-2E48-44D0-AD32-CD95CBB2D02D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FBD7D053-33B8-42F5-A1D9-DB27B4FBC23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dirty="0"/>
              <a:t>Workforce Deck 3 – Workforce Analysis</a:t>
            </a:r>
          </a:p>
        </p:txBody>
      </p:sp>
      <p:pic>
        <p:nvPicPr>
          <p:cNvPr id="6" name="btfpPhotoGeneric378912">
            <a:extLst>
              <a:ext uri="{FF2B5EF4-FFF2-40B4-BE49-F238E27FC236}">
                <a16:creationId xmlns:a16="http://schemas.microsoft.com/office/drawing/2014/main" id="{980B812D-9F52-4FF3-9730-D388769EB081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586" t="24423" r="13938" b="51090"/>
          <a:stretch/>
        </p:blipFill>
        <p:spPr>
          <a:xfrm>
            <a:off x="8624595" y="3220135"/>
            <a:ext cx="3232474" cy="1469358"/>
          </a:xfrm>
          <a:prstGeom prst="rect">
            <a:avLst/>
          </a:prstGeom>
        </p:spPr>
      </p:pic>
      <p:sp>
        <p:nvSpPr>
          <p:cNvPr id="18" name="AutoShape 16">
            <a:extLst>
              <a:ext uri="{FF2B5EF4-FFF2-40B4-BE49-F238E27FC236}">
                <a16:creationId xmlns:a16="http://schemas.microsoft.com/office/drawing/2014/main" id="{3FCACF1B-91E4-431B-A1A2-99BC5D3DA9F5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4799329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8" name="think-cell data - do not delete" hidden="1">
            <a:extLst>
              <a:ext uri="{FF2B5EF4-FFF2-40B4-BE49-F238E27FC236}">
                <a16:creationId xmlns:a16="http://schemas.microsoft.com/office/drawing/2014/main" id="{E20924D5-191C-E3E2-1CCB-812331FC3B1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886439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04" imgH="405" progId="TCLayout.ActiveDocument.1">
                  <p:embed/>
                </p:oleObj>
              </mc:Choice>
              <mc:Fallback>
                <p:oleObj name="think-cell Slide" r:id="rId10" imgW="404" imgH="405" progId="TCLayout.ActiveDocument.1">
                  <p:embed/>
                  <p:pic>
                    <p:nvPicPr>
                      <p:cNvPr id="4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20924D5-191C-E3E2-1CCB-812331FC3B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1" name="btfpColumnIndicatorGroup2">
            <a:extLst>
              <a:ext uri="{FF2B5EF4-FFF2-40B4-BE49-F238E27FC236}">
                <a16:creationId xmlns:a16="http://schemas.microsoft.com/office/drawing/2014/main" id="{6CF46CA4-6DFA-D21D-D945-7EE82FA54268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37" name="btfpColumnGapBlocker178017">
              <a:extLst>
                <a:ext uri="{FF2B5EF4-FFF2-40B4-BE49-F238E27FC236}">
                  <a16:creationId xmlns:a16="http://schemas.microsoft.com/office/drawing/2014/main" id="{5D31E98E-BC91-26A4-3066-BE4D2AF8A1C4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28" name="btfpColumnGapBlocker690939">
              <a:extLst>
                <a:ext uri="{FF2B5EF4-FFF2-40B4-BE49-F238E27FC236}">
                  <a16:creationId xmlns:a16="http://schemas.microsoft.com/office/drawing/2014/main" id="{D9DC1C41-F3C2-DFD5-9A1D-1EF67924FEE4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6" name="btfpColumnIndicator145942">
              <a:extLst>
                <a:ext uri="{FF2B5EF4-FFF2-40B4-BE49-F238E27FC236}">
                  <a16:creationId xmlns:a16="http://schemas.microsoft.com/office/drawing/2014/main" id="{B026A2E2-2415-1F8C-B7E7-6537CC579487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btfpColumnIndicator475189">
              <a:extLst>
                <a:ext uri="{FF2B5EF4-FFF2-40B4-BE49-F238E27FC236}">
                  <a16:creationId xmlns:a16="http://schemas.microsoft.com/office/drawing/2014/main" id="{224E7660-8FA9-5FBB-3896-ADB8B3E17C89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0" name="btfpColumnIndicatorGroup1">
            <a:extLst>
              <a:ext uri="{FF2B5EF4-FFF2-40B4-BE49-F238E27FC236}">
                <a16:creationId xmlns:a16="http://schemas.microsoft.com/office/drawing/2014/main" id="{D5215229-D538-70A2-AECD-DBCFD147E919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29" name="btfpColumnGapBlocker843922">
              <a:extLst>
                <a:ext uri="{FF2B5EF4-FFF2-40B4-BE49-F238E27FC236}">
                  <a16:creationId xmlns:a16="http://schemas.microsoft.com/office/drawing/2014/main" id="{BE882CD9-904D-C513-BB86-C79B54EFDE64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27" name="btfpColumnGapBlocker786893">
              <a:extLst>
                <a:ext uri="{FF2B5EF4-FFF2-40B4-BE49-F238E27FC236}">
                  <a16:creationId xmlns:a16="http://schemas.microsoft.com/office/drawing/2014/main" id="{1DB4303C-AB46-DA0A-8D56-290E9BC29AE0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5" name="btfpColumnIndicator107660">
              <a:extLst>
                <a:ext uri="{FF2B5EF4-FFF2-40B4-BE49-F238E27FC236}">
                  <a16:creationId xmlns:a16="http://schemas.microsoft.com/office/drawing/2014/main" id="{58817994-3D89-B116-0B9E-B874179C7582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btfpColumnIndicator253393">
              <a:extLst>
                <a:ext uri="{FF2B5EF4-FFF2-40B4-BE49-F238E27FC236}">
                  <a16:creationId xmlns:a16="http://schemas.microsoft.com/office/drawing/2014/main" id="{D29EB453-C900-9D9E-EBDA-AAA16648D9C6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" name="Rectangle 5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r0lg9IPP9y8umrse/9AoLT5R0GKq+XM9pr/aTyOTf0wptcuHbHxeyqBm9svU01qeeEM1v0hpSHUgirOnAK/wuq+UsqGola6sthEI95wPBHszxQtMrvxEpTDkdnHBIQY69yimsJ4Xk7K7801zAaAOa2VdpIhJ+jebm0ghdzTVBEiR4XUW9cZkp3dCVEZ0Xiq3F7oVuzY/HiN70pcMR8IjyW12TvvvUwuVSNoQijMTeOV8ZQuwZlGko/lOcJIid6dBM0IarNlYbvyvwi2GJiUlLB3sbGR3h10lKxmGU6leALFDe5MlBblD7vQoZQk59TlmZvS3qhy61enxc0kWEsGWitSpkjgeBPrHMmVFqAFHBJ/1a/pvfferswntFILxSr/62eQSVsxxahmEiVRnVJ0mp7Mw1JDBNlUNfE9hCs7vCKbe1Gg+bs9aMabp23gAbx6zPUoaBaFaLaZyEmgfiz25q9SqVoJhDZXouuUWJ/A6f3df9UmmetCoJPla2dZXxXoXfu1w/Q1156q+lxrjELWqYmy3FVgr5caIulL3Y+ETT6nXZJYIWQkgXH5uJW8vdg4REo+0i/ZhdFzp+HfTU1LblP9VFymS22WWNLKwC98bHFFSs0kj4kk5xTNKe5LlL+fA6CyKJeWcFjfme8HZ2cSu38+6khWdEzIK1ezHs0sVMa/cOPiqk15bafHDOHrX0Pura3RkH0SGKxu8anDwrtPhkuNN/JTCXNExFgLpBD2cS5ieFWPt8TAT4SmnS6HZdH8SjRQ5RSMcbEpAXrJk0lAZMqJha2hlqaO/OuMhViSZ2Q+vvwxc1sEj/EqyQmwGgboBKM3jPPpQo8aLghBM1Vq7N6TJXw33FiT24qOhLYEqSdG4a/G/hV7C1ka91LFX8k3zhoqRSjlVwTQDBkLC0EW6f4aQfMB/e4txNktaT7WVOKhjEMV7+65wTzJwZA3GL2C/xLCHm6nzgCvBU7aZyKQMM4bkb9mEme/baGzj6oiG5q3HPCwkqmGbyk7ELh4w+zBT+XGOsh4AH/P6XWg3oXNsRQE/IZDuky85OqwjloNzpELXKX6RxZWWh9ZCa7qPv9lbiAU17nTcCXkgHvL4dsq6x3ZJ1H8xa5wLNxwKYznwNeSuJMjpVyKMjF/ZWTMdW+1NPcqWNGmRJ68UEuHSY6rXrcxpjKcEifzXRs3XF6H5C6fRHbw4V+96EzLhihWBnNU5IJiwLvNaf+B/yeiJTdL/uYShxEHBCfm3hPuIwnyXI5ujkRhqh0RrtU3ci3QnFzHH0vPfJZYWS88B/+Y0JzeQ7YrJljCeNwoI+5ewSdf9qPV2/gIio2mLxdsljT3Hrforb6b7hfK3wMBOv+8v0y1x1/Bbo+b1/qbZ8zP+zQQ/cj7K7deuIwrGxJZQAsKSFayJtBybYgQb9LaI5KBCjZ7VSUir1gUADer2A2WoEluhXqJRN6cSX6wjRXPkagdPTizSDmxm2IDd7XfMOAHu+a9tDywWJ7UeiRc+4caxzkl7vU+olxrGdx/L+NYAY2XyeCVQ2ioQVkQXyHVGHNHvbZgl3OdPCLqM41unrHOeG01ZP/DLwtsiHmFg5nhFwcJaVSMP6J7fjS9Ymt5Y9mE7Jaig8lnQOQs2MyYOXJx++nCKf5uP2R+h+Wu1/xQobX5WsnNGeYlvX470YSmkMqTwmL8vIJ2GH7JKqzFZ/flG/snGGGSb6788+lovYoacoWQmFGInIG8hr7lO5Zw0u5q53g/9YThlcSvhPGGZ643i/orAe/++sZttKTLtR2D1wRvURNN+VB2PoJ/Gdh43cIzUAwObcb/stFEKy+PdoSitsRhHIh0GY2e08VpXuIncg3E21wp3XgzsDt7N9kqu8D6vlZhiSO7+1XJtzVD7UjLKV3+rgIxg6c95/32w7ISAkjVQzNaIs3D+1cpDs7ZHT4hn58RIywYaRTEwCrtHf4eyFyglMoV+zbAsSTGhwUFdZ/L7HsMKB6RA9v79Dl724dAe9Q8j5WRdMvfvPtX7GGKCrqhZ3Q5vE3aDUodmLngYjjHlN8xWCudZAUaJQYlpoKahbxVL7Y+RjtqaZF9arIdoumSuhZWRnChPrws5mQHz+Guh3ZrKHGgDpPQpPaupoR04F1AqNk7cPWuoR8q8NfjcSQh5E2nMmw5wuMGgLddG1Um4nf79xyUkWcG3HbHX+ZlUfNy1sMRZ37QBnuB6zkuHTWa/l+FEpz0WjoAfQxn9pXXm8llXrcp0nzEjmS18BA7aODCwdEdE0vPvcpsaVJaLK0dkxUfEYzYVs/AwFTepxm67heSZjnIgeF5eJre84E3nIEyyhxCSlA9sUMurmRQdaU8OwfHGTXwJUV80cEbSzYH2gymMnj86h+Mxst6Ah86TmJHDRIF9V1C/FVteBhFag3n/3aGqC6PkhnvoufiHI+gt3Ls6s+rsiwjntGoGn0vvw/3ryd74WetSuDkIXTU9vjFAdkdNn7Fv3NYwm2HeHklAxgTGMOfPFQ15xxwQwYdJT7IJYu9yHSAZZS+E+bPYTln8W3iejqe2DZLQiN2p/gDgKIhoSohrVPCsdB2PeMyjLFE1+AtU7m5o9Fg6GHdm1bTCBTCkv5JDpteQErx+5NLgTB9irJoZlzTMHl8215tl44bMSvVE2YFH+BgBBlQ7nAcoM6ocFqbv1xLEADHV29Uje1d0e2FMx2hsmCUq1rowd/fr+Ms65Kzt3gLz5+60fc0tvCaUmaLPpm/R4n0WHrV6ZfZ4K6hueL2IN444eqp6dGldHUViibDvSfy7gtxNoNihO6zb6IDh3RbaLbLtMmRsfmDIeC3z/hfd9GXfc3Imt8rC8NCfvzgFymzBTIvroT5k+Y3zKrcnqXlA/NRmMJomWBGJimXTg/lSrhWJvN2aKWLPrCe473b0bDmAL9W/xqpLz7BdcJU3ZRLmI2vbmDQI3udoZjm60BOKaHJjxGWbIRRvhAnznf4iy0D2Vyh6fOylnroD1270BJcsyNhOfB9TJvk7LZYKjflVtuUih/aZk+CjOEtF+PdBXFzRQH/7G7O7sHpfqy2oRkgJZyYM5j83kouRtjaRNSS45R3cIpouVX2phkO+MvZ78sQVUbzyPTct780+bRbbqGI6KQ6Ah4tk92452adzHHry6fwe8v53IfVdA8cBBMExiOV+tceBl7DfR/Cu3tKzGB3WHUSZBeO/lT3LQG3HDFrMQAiyMWUEjHz+GEX/AndxDJCvhZgTqpnmaKVNfdxKJN+oS/HJKd7OIzD7I2srGY64VlWcB/8vnDvSkJRdJklymQgVyACsFnpNqg6T7xB7sus3JDGvkoCqZDKYD+vyE6VbIY4YSQW1Lm1I3RezHUs8W2JxFxzGIkYWlOK6kImxQng+cLUwagPTlHpVADkBKqjGP4Svh21gPd03A3Sflf47JmYZjEGqAbykTPnn+qnt3xU7Ueq//0vcROBpK964e3aTfND39p3Tkxad/gdRECmFffXk7EC6XqkIn2eF2iWbJiFBt9YpJAQV+OxvXnPTxDNROf99AFvOibFjiGTykHiAouimxMJqvIaem3kpZXNAnBMUasNaR3kW0lFupONlRN2ylfxPfm6hGYs1YF74/5eDPdVk6PxZcfyB+6iUWc7SQ7NadI6o6osIPiNXwtPYc3WnhK/hbcWZsOdREhUcZtRvYIa7HR1nF9TvDn+QI46B+EP602seD4IgrnTAviHIxuk+03eUrdM/B725eLXvQ3XNSYFXlvDw1XrMyEKv6tn42e4UFOvRoplqnvkvwFuqYGE/uG+Li+jbuZkvwmFnmJ9AkZ6yQQl7pV581nbZT4GoVkZBayMNWWyGgBTJBAz8y3U3jfJOB6xHfZG4V8GnL+61Q4XnvmfZRXXebMPkGwJTnkn0WNTemqiZXRXTlieB2DmXBNFFKLzyqRClbTECeeMw/P0o18YUddVAjpLktd7lOGYGYgR50yQQU+wK9QsZXCBpPbA/3qJuWy4K/Wf2yfZUzPTIOEVjYdBQGCaoD2UB9ydtlplvo9UnTmFrB3+Xrp4LgHHVfW6jOmZxMPKtQJBMKI8qPd+ETXiCqPiEp7chLBV+NpRW29Fa937MpKkhns6vDScYB91lmwHjKxJdv1Olgwu4J3QTi1SVwpTX3DFuBVUmJlaJ8Bk9ZycSIgjo+t5yq1XIoX7fNyZRnNUaKNyRrnM1z+bfnog4OsO7zb0S208UAKAzXi/19FpABomtLx6HzEfAyMtBrykmuy0laL0BcHycbtvGmWT4UaDwI3W3khK66lNh7Wi9kfCoHHtOLt2IlWkkwkULUba+iSiFPGPWPg00UeA11RSdYHQEdksPpnVYaKFgsO029LeOHO1oNWW6s1x78ltbCzx8TrjoUrUE8LSO5wDEbPl20/r2MTd0/aO5eInFBqj1KwNtQI2A4N3NFP0X+kIsBc8MO9GVrMufbKu0XrSTfVjt2brnktRMLLR4YR1D7htXetnARgSNw3L+tJZwGclnFSoHg+T++bUFMpJ5doBpr1t1EbPFD1FMVd3HGhKoV0g4bER487Njhnhd1QI3g64s5n9Ug5s0BV7kq7NYnL/cljeYb3CjE3Eydg3+LrPv2XxWWlUEqu0NZ+SAGJWZGL5n/0hHO1aDLtMwiO6oNIzoZnbpP2G3y//EW8NJ8dIkG8xNK3ieapd6kgooITcb+CnVHOo143xODPhdczFR/KDMZcMUQFGODmefZuC4JruFVfUC9g3E+eUip/SqRfdG4IHN2y8Z8eEe1Fa4/GP70cIwJrdAL5VjJVXgeIFMVIakbyc3iCk9EjtOMd3dGyNdTlDS1y84aR8E2/DkFHzrPL6TjlGt7JWTlAadMYXf+LkkZbesI15pZ3vkcCuJkHHzRBArL3VPUbyXSUjgTEu73I2w7M+PpBuXPmB5JGixWo/pdv10ryg1Xtb4cnecFtpOan6gw5sydCI1syzwKMq5cVRfVpdwYIt+qYsmqr52GVelBgwbyY0t3fOFTnWBoPv+8y5/XP9hqt27uG1z8WSYExfnOnsVY4TFn3oaw50SVHSvZxV2B7zpLHtQqaJqH872+SIo9Lh9glXplvfdE2A2LuDcwGfNzOxc0uiequtYPDc2nA0vKucbkh0lfQRXayraybMXhXu80nNA7yWeknCMoJzrXGtcO08t5b7VyUFPpV37rbbvIoGScYyuZT1iKYcUFU4s052X57mkda6v/384kyWqNn5t55DuqWamo+ebYkbRv850fzpaMI9kVeiaNiqtcGI+oEDlB7JmSvmvRCof9Yd4BGg0H8TQJlWXG0SfBFGdiT7gZzF0mce0TvO+ctwuKVgVvAA4vOfqWZSklxH6DTEypqAg+IZtHJRuSAJtb1FQPq8cp3pimPMy1eCEs90RT9/8tidIF+KD4OahN4MDu9c7N+7tBubBVE0xA/Kd1P9dTV5snngWylkUbOc/p9HB/yGVWRvQYt0LlITfie3VU81BUEED43vr2S+hQQZEP41vkdTAY9s7IybtDxo00BJI9qdXPDLhKCFOmSPCbpOtHkK2XI5I9rlbjCQx1/iXL3WotLgtD7vE6E2F+XAbXmO2IY1LeC4r0rp1OYxv1ASCV0/5Ulayv+UMFe1BBEL+SDI86bn54H+ypL5HnIjSk61G6/d4vVUKuczOy6nWtN7Vu8zEDYygrW7E95Ov0tXLZO/2Nd0cvyixRCG0n23no3dZwMYXSHxAzdoQF320cq3EhMZBhplYLt5qGqAt+YaGuKDJ3Hm54qIFaDvI8NvE/Q+YDQjo8qKA5qhwoeQ4fw+NW2j4mThbmI0mZxrl6p/ennmsjXnS0FFMUuLNizyZrWddpNL1nd4Kb/JTo66U9YzzitteI/hm+hW84fsvmi9PZxnra6rrH0yeJfAbwKswHTrqUCMKLrnoG8v8tvAi0p4qSucRCOpyxhzCtGXPu4wVio8FSp7axUFqdy89KuyXKYh7By/ZAZAyWr0aorbNyOdcsk9/pgSINYmVxfmBEHfTN638tpkyJn13T4IQhbZbH5WbxVNCyTeywZfUAAe+RkdXRM5x+doo9eNb4oL2K+imgaR2GpWZt/h+LBJ8khAjjEO7ziCDY+6LwdY4E3xFoQsDKOw3+zPCO0yirpRvP658JVVteh84gjvM0SZ7T0/E6s+pL/J/bKPAG55Nm4jMK1a/GLOuOn40rhCf9xxFkzvi4eHYwKqVYT4iaSrXsF/U77sXqoWcFdMRR7thY55bqmqxWKcXeMYkmmc7EGscRPOK+Fxk5qu4TozC78wAscqaDypjnHy6b5j18LeyeT52MuD+fgTF58dRQ055idzKZKr1o0H50RaCgh/TH5IvOyfapiaAtZbvMePkEOV3OIMInrUvQUq5UwmkwLpRqDl2H+beyOaAlEtYkG0gLjO2TiJeLvdCeMnxKIb4SxIBCpG/6/SeBvOV8SKJhOgEi3I1nEmtKsYZ0vse+XfA6UnDWOE1ECR6bIin0w6SBL+OoFAUCYzIGcWwvwbatzR+z8+dN+OQuNdbhKnaxPqRqqFemFxQ0eXfJpKLxf0HDxgUR1qsvAPQnGvRYL5xqLLJRPBIrPvorSojVVM69VF+tUBNAWPMlWyWluyrKFtsTECYQP3X9RASyIiPNI6UyqaZQkyBMQf60LeUhSnI0XtxrGDn08UQaaU4jIVkDIUIu9xKg4Q/F0622c8/FztDE7wlQHThr1676D3QSUpJrBdxie0S8EDp7r3xhnad9t99qnYz2ZQM/D2FgFQEz9yKFxsWyLSlzbrzWdVzhpaGh/mHCXmRnvhW1wgz7FgBRnVePfRPT7O33Wl1rL2eoOeV67maLK5IdGKPjZoiiN1yEwDSONXX2O9WYWN2/jSjAi0KXY72dxm5zA1O2oKu9zChRF9e48km3f2vO/ffNKF71weoR2lR3nE3rtszGi6xD0EHAe8d6wXVElolfoQelpo3qqmSoWS4K0B5DKyXYhR6BVz5Wuv/2aFeXx1RKIYdGHvHSXS9W3eTMF2NfuFHjHVytXDiOlW4vpaiKDwcv00bM2zoPjoGns9u4bXphZfGh9CC/tHvZdAycJs5pLgLjp3nwHJfWgbNO+sBlBx0I/eeJrPsPN3B9ddngZXW/c/3wzmgh5YqOmv1BF0H8bXtdg+pK7NVmPDJH0MFtuiGzmGtOau+WIQt10npI3B2HAf4YA2A8g/32hktwS4FwoL0jkQX6u1MkjyXVplrIe916aQ58pG3820sF/9KEXeSFDJxe9E9KkxlnCp3GbfhLFkB6Au7Z5VSeyuBc2Yhu5XGSEiJ+ZY7F6TAAAGlWZSO5MM4rfu4OQIgZkcFS0AQH6Vo3w6lN4cE+WvJbN0BDR5aivVtJkHBDm15ByE7InNUxqL6gzpZz1BkguDx9jTi+gLE15rSK4J36DqN65PvJUC6uXDaNIwjw2BGoqSG4bqY1FL5XjiR6kOGeOvGkHsqrFoX3jmMKnPHID32OQA9ai3KWsaLmuP3kjjNThqYa/tpKeNv50gpuvff9TC8LIoNGONhHQT4RmrvPPwQFZhAMniA/jzgtzPcgbZFIgdSa6tQvrFfMpdVs/JKT0CXGG4/7fka6uw1dMys6CImH/S7ZpT8uJGC6617/ge/6SxBIH8FrQrlWRx2DXUl+uwAC7Q+6oOYiwsNl0aOwzvpu5MWHXGMgFBctUcgSvxkJSXxd7qmc2be1P7wMDL2vmE7d0JYzCzcS8qeZ2CQ7V2DqSjGs7tQiKPmbhAv5fBAPhw9b5kxNWzqixmsamTW0+psoFs8xwxKm3LaHF7s14RkSU9x7nZ/JtlxsVeobeI/VAsxUjj7D4PFZSjdFgbzXU79MRhgjk3Pu9kxPHKa2xmGwfWLTQO5Zwp+XV+kDn5vg/luwjbEUSto23c+8FZY1oCoJsR6u5+/Gbulr1/kf8CcIC2QO6pCtEvPTZE/5tCPr3re3MmSvhUT7mFNG62DvvhJFvcTOZqhpdorbCvrhYp5ez1+AFT4wIe5htTZFZstSYhvMmXK2ysQKgb/n523x+Ity2OLtlJJLqZfWvUeMJkiMyWA6Wk6SwTsqoWu20nfz6Wi7kxR3YEy8JlWq2O+z0xZUMsll3/QwXUmM7jtUmjeTJjLuOlXL7AOHL6c2l4lfako9ExKArWDff7CDZmyHlA24Dbug2zfgQEkER6/RYfEroT1h7T1giPvhuEL1WzgIDjmeZTTnfmc7ixGMBXys7XfH+7tePZWnUypjkYUaSFW32PXSsT9FGEqCJ1RzWj+WPxa7GriaW3p9dYtvOIqk0IXG2MGbyZofAIASkL2wQaLYckFpPyLI6dTRUq8vjngldihIwVhFlzeGot1VPeWBNagqa0EJm4cQz9LWRAfJg8gOtYKal3TEjSzGh+RvXOx8BM9G8xgwStbYHSNuxb7xpRw6oMfteXFEAmtDuo1ralDFu2lid0DGFbGDjAbWkClMKsCJiuXPFH6fN0iYYy5E9eaIa3nuTT8EUQF/KbTk1HZdyOfW+wFEhIGqVssYkSDS2l3CVnJJ/DzE4AheIDPqoLSxgryMOBQTKq3t5uryy7WPfyNzLKTZCZGVeDQvgq0BaNI9sENZrLg8/UEgQfdBHZTEYs62wIo6lgb/c1v3MDlJ8er6w3TRXwHdjEX7bOnf8N8rV3f9sTbrew93qxuZ9RMY+/2KaD5bHBFyrpmoBomJSAFKk8pqPKonH/ntAF8/MQNzTzZvV2q5n2l5J7cR4bgY7zURQntVpHcS86SoBGCXNEPeAkSd8pW9luZUdAi4THwatl24bqfx9G6tLWBzRRAUbrPPG99y6gWfEMGrmOqYi3wEW0CIhvIRRcz+SI9n6fGwLKdmiv49QfdDUq+x+7rW6V4SNDh4COKNayNMtnGP2KZkMSV6W+vYolq5VGEeVP5cd0fMBQSpgag5qE6NcxyKXXoYsORFWVwDKSBFk3NOOw/vTMGba54/xrbvIvTUW/xa1AVZYVxqRXxfaLw4+Jk60+Uo4gYy3q8vPdHeF8WkPC6En+Gk7Iyj4ebZsVxHvPTCiPd0iwpanleX7HKKzFA6EQgcP5l91/H+gaRgXIcPf7Sqkzse+n+BGRCVBhd9eMQ0MyfDDkgABEUrmcMzha4g7JTYyfQuLF8yNxc9XsJrSzoWZNCQTfx1jk927sE6HLFSqqtpTW6ElopMzGmDS1Vqz8WQWQoZpxsA14yIRgSyljY4KZp16QTomlrrYM9551CgkGHScfoTXlRQa76w4X1BSLPWmYzf7A5Rdlq+5YOw0abe8ZMsTpUfA0mCzwgAKdlg5UhZKrN+tpC4U1vkoleeQWFWhfD9wwJU0qchEmCEC9B+COzJboogbjOhVovFWefadQvmgWbn0ROZr+3/As68z2PxSmXyuVk56TRoBkGoD4wMQE64D17/WYuXvXIIQGBGUhwF6dgCi8LtBTJELdT0WXoSpaX6sKaTZyTXrTM/nmF+TGGzl8ZHIvZYLAwk7RN7ZuNV5oYlYINOzUI9fDwS1rHYvQ2nhe52vMJ2AaevBtBunuCgxJucGvd1uVlfLZM7R78hiKTiNQ9uAmHpBw3jSxlA2aZy/QvzbcuM57vJvwOawfJN8nukwFfma3pPAbyZZCF0axtXJZT7hOAktuh7q5RpCxIsnrKbX8UHpTxheySa4pO/ROinSJEv7yFtHgmniSHTe+eRfA1zTFvE52u1gSvRzW+GJNVlyVMlNJPh4sQulfdcNR5+1OW6v4tV4Mz3GcxY9fmTe/MQ+z1BuG9dMyOdOUk8v0z4xzyOu79Bql8RQtmJhIMrBMkdK5g50TGlnU2r0ljsjajl8rfnfJx4hM4+iG6qxoi1LDPULvkvV7fc3uoDiLnkG4yyAwMlMdk0UHON3xtHt14f+J61G7dROOEyMXBZD3HTd9BNy9og6l02PDuwtpwN2N2ENMywCd32m9MyGaWL2GveilJJdHVx/bIZRU1Og44PdOh+7yXGkM25VnT5iPRa3e/t0ay9BMj/43RwDhiBBYg74lsSt14E5LtbCzQSbPYMMvb/aMxPCrnZuhNYyNAUpJK8+YZ8IVZHhY9EOBpYfomyXiL2ZJgR7SZDxO8iMbQ3QmQaaNkJ3qemTO4yZKWh+aZgzv8bvqhmmzmXPUwgiU9ym/GP5nHOUX0Yn0L4q733Ck4WDty2QhV62AHZqImS93BD19vSuPTGIUxKKtacvqTQFP/c722nQn364Z+Lp1Ai/JoTgp/974z6v91dAa7ixHgWjU13vwRF8kANiwdUtxUwyhgvh+5TmMHhHCswiE8X8gDnOilUjYLin0bVujG4hON97zH8/kW30NyKBaO9L5NKGNnUpBiTiz8ezGRJSDn0kBQxn2tAnww0YdgvqEpVkXVIKa58KsJNQsNTXqHfCnjXRh+1r2JT3DooV4kSy+Tq9KiDgZkAzeEUuAxZ6tuI+UfMcD64AWnh4PO5xIep+nQzedEOvi/GLYkJZtXCj71b3bFzPEEaBc6oRgJHJJt0Ve/266YXEB9xHBL1A04n5CO2bun/IyX/zJC6YYmxPMYNpQtDJCdEggSiXS1i5iOXwc9NvwEhz+GQOToM3IGfaz+i2ArN8Tw+9CIo/Vmv94kAMI/kKhov4UIZ2SEMh13PcgyBLjU0HWgLfZ3AMyYPKlHj6NdoPUhqot6XI5zjrVIi+qBxpBDKr/LiLLEMJrI3fYkk1+gUc13v+RjzS28WSCvn9ohLy+qJpnO2ejeGRM9R6++KpKnszwDcZIlyXkBXWR/p+8Vtj2Jryq+XT3IEZCqIRCY+KOGaaY4VECCnIjzUMhesOLf1aBB6luMJEWMZW+3fiUXDHtxS5iE4K6BL+o1M8h9aGk32NBdAnZYKo5hbzEM7jIIVeb9wNptK0dkVgK0okILzZIv3entSQ2hWm3I0txWdJDkhn1s4cAGsmkfNj0sR8nsJvaeG4lTmkUQtWYpSqBZ4l7TWQ4zxqH7uEk4rYromFOJ731rhDUwiTi7aWgfYQi2/TDvJ7Qw1N9qBaSGq0WWFUY5KIpOdC0qlL/7dw5WJ56wcmj9yQxbo642LNCnxfc7P5NuUyouBFidtc4qd1B6IRVVlYDdyn8LXWxmILmllhNNrCnHyLqr6ZYEbC8DALBxypGKHkuNr30AMp9peoU2/32H6qCAaOZfYpdV+v8IWivk5D2dDxN+b4fIum8//puduelItVxX8bHOpAMpZA+J5VYeV0GwC/8aAR6a5KEN3DazwkNZVqFh79DyOvivrev1x16G1Gjps/ZiEIsa/c8HJ+fv25lHW7YO03FlGRtCHjfqK4BhO/0ksJ4G2rVGEURSnVk75vegNz1kox4hwimI5pIYIft1nqx4xb3Sjiuu5mwSwHDQsLXzP5l603o7T64NrlUZFFimNZiSwQ79BcQWAlhvbQOyi/+ehKxOF5x8DuSBctncQyWdUfokipNP4AL1f2LuIzDOcMe8O64QkL3MvxQJcWzqo57yYBlb5jABOucl9nR/wzvNDtZjBsoU5vlN9sNacNvBGQgC736mFlZ20aJ7vFkFISC14jpoGkbmQDkMlCXEEOeWAVuOqp4zZF6ya6Ul4ET6lYXSxI1fJYoTnRme12Jheo3nYp78v2pvhVHsLfx++NAq9hbyaoYCsplb+Px96m/pXTPBkJ4H9wEGl0eeU4eF4qUQw+O3TxZHPnk3BROE3NwS+DFZ4OGcwzFwKVIQ7Z7Dk0e+T6xx3sngT6tCLakG/YJnlCuscE5UEwqx0p73+lJSG3bVOv+Tc/R6+29zJwrhZRR5GecFeMZllE7Cn8K6Ik7ejLp1MkajAYqeogiZBBOolEVld55dvHHrCOTJbepgSY43KVu1R/AdpI2NLQ6KwU6j8//2GwmyeGn/NLkxmMbjRhgLxVL6TfwPw7EXOFl3K04NlPiY0ThzQTn3ShiRA6sFMJKzp/QoKTQmPOTAU6+mHa4DvmdCP0+m13cYR6AxNDTPYi54tE4r/HD/l6Mop0e8U+DTbrxqlxFJjmrAJaaedm7s8suLgZyIVeNktMqkrOp1luv25hoKfqaD33C1Rf38ILkavYGjzanWaSQ2cDFnyzM209SjQlcOR5MMoFmSiy+5yUuFydnRCbQNcRustHTkF/udpTocoJu/qLGh6LDvFmfaNUNngY+/FzQ/b+i5PMxUrOBLEtJ5ADt4+/HqCIgAeX7P2XuXZbc6V3vRWKCH7Rks1sdjiPwE6phMAg3oGOndo2hYiE3IeFeqlm4r3qLg6Hb6NHdCk8VU1lopnCjOOSJ/yJzSZKkbWO5P5fMtBzA6TK6EanH7Nk9+doW4Vx4o5DSP/jm0cW2SMkTFTorB6q4CK+JGCFGuILqPcYinfshAgX8Q3+gB7hCy/UFcN8w8ZYVmcW3K6kXULsSr0dPg5zunDrNts8Wf68ADccDwTEpeJWCjmYrsjFRunUVSMWfZWC9sH6kvvPa46JjdStorJreXTeKQTH0/eXN+xogbhhG7IMzoU846H8m7qZ8tvoMb98jun1iN5XMK3UKAdPme6hCJrJ1jUc/RExZj6veVBYkDHNDnM+3ffiD5gCExKjH1HNW7pSZdZVg37kdKvubULERlyxAIqVPXdji7EfZhWdjpCOgBuLHOfTUS3ElTNKmELIUqRfIQSwbCxeCn8+lCseVsoVsoGVkutwAXJQLoZzU8MX5Kcosp+yVNTNyS1antse+z6n0G8QI0Qs9WHMooCohmwgnPAa6cn1qjE8QoSZbLsAgQIavliIHL5hAhUI0UvIOvpCes1K5pTpg2UnT7BqIBdZbvh+NiFZSMBk7rDX8d+lHh3zuUT+9qFKHbjsRfHKz9egMD78jf4MMYTZg2s1ev3A4sM97KE0aMPlZ8+N7hT9OwGCpR4EtoQ5HOw3fhqSMum6A0piZzzAedqwss7kUFxUSxLvv74b+7wbJ+TR4koPEUhC9R4IIZY2Zn8dXVm2ApJHBJlRnng8vz0mKlGinkMwh836fm177VhJovBYQGD2Y3rTIq+lRk4+xUOkCYA+6AzwRsZreAa+zlNDyRqT810PReCG8M/LXzXvysvxlTpS2vbezkzhOXFid2JIW9rwbBfT9rxkF4Eowiw20QNLUed6qCUoMuLVTOuucDYEV1nepF4aSkq0i536bNJCRHAWsQUpUDp9INsUqSnW3KujhWmCZ87Yp7fdTmQWIolNXTT2keEdxM4bOuAVwGsJwP8eOf8xPH6z1T1y8/tkmWebGYe837N0lfIpxfGjFe5yU9RGctAD95FoRs/+/bKKl/qrgTTjptN7u8fHoJkx1x2FPP1GUMSfhcMsCiBu2uWv7ffre9/+KyYAf9AXgCk/fQZmuuAdI9+kawQOQrZA0qFUvM+KXOAKYpChXD8kC1Bt2mvfO/DAFfcIG28viCEmqLdtfF4gt+HtL49Eruf+xjWYIzxrr8rznet/FWJD/nGKY+oFGTujqCXcms1ZXn3L/m1fR0gf2pOVTcdW3q1AX3dzGLegXIpezBB0/pQWT3X1tfbD7nTjVlOztPAWTzxWhhqN2xX/bGMB11ed19ERPmX5Et6akGyJCwBPKHpaVeP2iV0sGfC21wIJSc5862Ji0mxRcjr4VkU35KNRK+Hk7plz3+3hV2fq3jHHHB5KrqblJ014yUTCjK7nL+HAg26yQEMR8ecZtfO/kvmarWXJGDC1HaY22EYkgD7608xCtNOfFNbwX5EjbpbNcCXiAT/aXKfqYkh+MDLVulOYmrzZC23ujhp7vAzlcaT3LBDgZbkOGb9O8aWiNvgbBupGX4dFuXpgzt8cNQU8NhCo6Dw4jY0yCfXkmF4Vc1KTqn5eDOHIgHLC5LG04FbaW6tL16mMSIlVexvqOrERep3V0j+lLD906jQCZncUo8awXHa8ffs5y8/kw7t+zaQJ4leDrWtZ+5m/kK1g4y2lLu3btXEv52lDdwCwSnYcveloHBiIR3NJz8eM6Gjn0NzJwN180CzFuyW0einz58b69RHjj8XoQIq37sBj7pCfpl3BDtPXDWdBjg9d4XPHVb4XBSsamSnkOPVqbcv0G6ReHWlUaGxxVDxt4bM5kBaYxJ8B0CzhmUpgFvFf2vFl+B8SPinawxzOFRuKjmDaPYPuI2vvyKqXz48v0cPRrUIJBVUuByiGXH2uxyqhTiYvJ7rrmGVMJhHRLZm69eGIy2on2aGq4UceIrjdttQn+KlIuOS5/+c3qQoLe7oqPR59AWv/6sgHkDbdcWIQjqa/GokYqc8vYI5Y7L+Ag5z1bjhpJ0xITB43XnsH+8xnLYUFZxASWVxjI7fYHzTnrbUXAwOqAjoeRE49awMdzIF76+V5WNci7MYe0Z3g7A/qIfFSO52jW8J5OzTBhwNM/aP4ngDEpCnJcnzayfmB7uKYJH84TxRElAPutJa3hfzIyVT4k1c7CAwqa4MRycRXgewIndSFLkqcWzR9f5X8lqnk+KwxOAsIlElaxTloe3iKabSj110QUpqBaG8c0EaubtapOyzNdGx6R/snM0+/lexh5yK7tDdFUJjk3yha8j/t8pxYMkgA6cPMWg+zdqiCg9S97ohGgF7TwVKp/M35Ik9o33IloxX7yJPO95n5ZN0sPbJOr7v6LFE/T2m9ETfkIJKWs/iTtYOLjAEKWqHdJQso2E4tNHvFpKsJVevFFr+vSy4TOi5lvN+xcznU8Zn/RMYX2LNfhBfJHGh9o3yAEkfgPNPi9oJJW8DtsLmTir3ITVcHKKjRDe3o6iRA2SGCxaYQ07naE49OGAqx9CvCgjKvdgwFm6LzPOMznO24DgTFOQOPD0cj3kMCTN3TJ6T9eJLFt1WPCZyfL3aE3R7xXc+pToTZbYu90WQf6jf5GTgNmY8DQfFPXQ5Xr8vUCv6lRURz6CHwXmuTi7nhy/+gdEZNHvbzYjCUpXrpgHknCaiA0hJFyH30TDq/x31npxrcaNg5Q6eH8LP3CUHpeakf4J09OBqS67ttZR5zirZOZvtKddVDuUlA6E3HHrnihvhPh0Gu+LtmxbMpAVqOtHluhwApXJeTynB8v5d/vFOTB4f9dUUks/qtueD9zMojnaa/m14cGFDun6wDwOVjL3/abJD5Ky2fBL1GowNEotf0Cv52U3zzHf4/oXcVPMRIMopKjoKOfjyUYVaoyJ+L86xA+5xewb9WSuXVuECpjqFF7zFicv2Qcn7qniu+70broFPWKrJImXjT/vEwRAQynGBfgE9eukFm+Oar+n5l3gPfgmQvNRCvtyGptAOgTwbfnbBr+TTlARrbDXHq1kniH5FE9KsxVJQLfz8U7m1RsU4KkELBtdNcK8ArpQYk6immpt1AxyEY/JntvtKD6xhAQwOjlRal7HNnESqNaPCuo/CBMvjG5FnRSvhMFqGpoDnkb4I5g7JnOXb2AYwk3oVFtgDImYeRAJqUuajwuk1OuKktZoknAI8HAJZeHg/Es/XfV8o4GWHRzWGjKpF4gr0GMK1T1V6dHahRjX7pPyanpyD2ut4MP/BwMrn8vsr5RWMLcBB+vxecLZ+INj6dk94ZQeWOA7DeIu/6jJsVhfffDAmOo1pqbDjUjOPtIbC1hAqEoyoGZMjri0hI0porjl3H2nWz7EwVTkXpIhB7DrIdib3bBUF0jzDfX+Db3v5He7KfqZ0cyUK4/rIruNt8ceZyL8KrzR77HIguCNRvlIWG/gEsuHZ95pqDmYuIBqzknO8gLDBCNAjutQ7auWda99pXf+KRbTX/nTb9Qo+wt7YbvsfuwKkr7WG0sAfBrrLD49EqEKx4ZWUZREwom1lraf0gAUxMZJKBhW77i9RzlNzeOurzDtQYcL+ssor5FqMSuokARrFGjDPIZpoq/90W20yeHSgA3AyUn5Sww6TNnai/9cEszO/oYTHK5jRGIQ+aH/m05o75oXNAyUGiOYkt4tbPxN7mqSHl5g6cormlIWRbUEIjWYltcPoVXyuqHsP3/ATMvgyd9WQQaTGD7+xLf0jrSGJRn0Lc+FD5A0sSfXiK7q0UMX67dOarsYD6bBZgqEdiyRsPTf3EGOVXhtD1J5yLFDZGkk5BGEDZzXi1DakBEo7uBjVU+/Gs+n7c9ftm7UwV+Af44y4zRch9fyqPYRKyVamS2+0uBqOCcWg54/CEfDNdA+p/YBUX7KzWzWOCPm12DPYJuVF4VEdRJ68OZjlo4Ckd3P0B2eU+b8QcZHn6EpmLdL4HG/hmvFuCAg8jo/aVOE9Af7S5aveE0mqfOoCqvSaqxcXgX0Kq5oRf1CyfDLbE8LZJ88L0lq1NE8xQeocWLMLWKJRHYnAlDxGSYKxHBmsF6PE4juthaE8i5ZvkdEIZYxLnxaTARCUTYVgM6D61WeEhZOD+oTO8hc4k/xvGmL9E8qTfTfDnzj2GmvX/R7Geq2ebWQZhOasGzn6TkyKtAWiA6B9UR50FxlPqyc60Y2o84voRBaJibW4QYDtnd6Uiltte4YmfMCeas8lFlBgFZYvD/AxwehzJskl7AYmW1rFGH0f+fHn+OLsCr2cMnTL6iGBs0dVbBBGSqI4rg+PLnbf78HgCt5fiv0vzBRaR9guzL2YxIp44A39/z2Ddey5zFPY5bbpkcjNhl7Pf9fKfz457vzP8rH1yapVgRhNEHSTgNL/A2l/QxxPUySJXY/14Xq5q8EeegmrOSnRLptvTx/fUgpWy8oQEAw/dzmlHIQw740Bqp2pqjzgvF1kNBEROH3COh1KqrsvDpL1IpjrRDg0g3tlqRxz+G9nX4ET+BL6EFmb1qvSJC6rZH9E4cGnVfPjLbkp9TyAfrxnA0TWYql5aBnGmB+aloqz/wZ/IhpgYZP356PPX7+0eLTCle8lReyAca4PkYabz5rcm8D4PPeJsvM47fFeHjyBAPe8/3u+5U+VJaRsbdgCRVsQYP0fd8VgDy40cceXBYmglGiR1o5x8vYdQMENF00kGpmCnpZj3HREnRin4zL2P635oWHLr1QA+UuQ66/4kJJI+8DX981qTvVXxQZNQJ0n7UFEFnIyQfoB12dWsPWwLa+v9osnqB/s0RQnMOSWwb6RpxN89axWwz7WVMJWvP91yDQZnLJeqKG4fVzoCJVz5yKIY+MNCL6GcF8M3qo+nPp0sZtpE2WuG21K5zJPbdGEstf0+4S+9s5wgRPPAD9HcVzK4wlygbxxLp/ena4ip3yxO7TQqa1l3DDreApaK/qdR496tfXYejH50qZqy7i8DsBdk8w+hVoVSyk3u21ZaEqccuT2BDD63Zw0/YOClalheORElNwYT9+IzSAffAuYkXzzieT8Cc0f6gP8nTJ8pq4OXDfrDx8irFATjfaUt2S8YGsdfq5I+QCkpKXbUt5X65uwdk/qNiT9xiAtJmM9YhhJ1A2xFxMgf5huTx7ZKSqTNtJtcT64OYqswNjz2vlsihGtPY4oPjNrxxBMf7LoqGgaGoGnN0A994ytrBWTv8Y/EY/poo1QemOxzNPBMcXBooqNM1Ydggn82mBQR8myC4dlwmxrGJ4JqtEBHzlIGicFhXEFezWKjyKlzEwvuG+2pQiADBptPdnWwu9i7EM6k3I193Xxoy4bDfVVopGk7zB0zGN7sp/rT+rOOMN29TT9xFUh46T6Sj37FT8lsd+EsWc04AiEX9NTmfK/G0NEkBP1UWaE8QSqBLCdoqzGW9cwNufi1KHJ+GLs24RKC30mVhymtUGpnlXyhZv0gDyyAPTeWlN9hdtshtm+ZGwAlK3DXV24vc1DsVKHuK3KCNQeeIeR3hp0GYdE+mYLBbQFaPJ7TunS/YWiCLzU8UrwEai+27QaGXVfIr/JX+h/QxQGzZErrCg84VGMzn07IlsXd3qZbIjyE77q/o78fNWQ7yXE67J4cWPrYUzu4y8nhtQFFMdungIoX/yHEQMYRMPyGvyLK6o5NCaP09eoUMPTT9ajMrfQ38zkdFBCDn+N8HoWXqomBBTHXZWtY+2/s9y8biFM3y6hMt8fMRD1r92Tq8KFKQYRTEw0+ecuKES9GfdHNxkkohshY+qqoGpXUlceiPHmaTqZ4XXm82HgEeg8zGIdr/87U4IFA5bHEe7yFDR9AAsWR+3qRrgV8Fx1fGLHweA3kRje374uLebaw2wDKNrL5DiODLLOtBvHnydP8C72HqMDY6A9jTaTl1lPFQBUEkDrKMa1NzRzYEaBT9r2DryNx+i80BYXoBc5SqkuNlLiwNk7Jhs2sc7KEIACrofvgZ4vEJ6cjPSZFFVNvjPFnrsxVQ8IbdHCbCa2SvQs8iAInYk4i+07NuBi3u5UldTkVzUItzVIJKQNgNHJuQdzm6WUE7xABdtXxUsS/9P07uhxlH8U5C9zQzvcUJDAsg04HL4jEl+8S4q3XVXhgnMNz2a/vwxMPOmC/z0PyK00VIN5FPZ4eeucmDOZ8apeVYFJHPY4abyGUp4bgYA9PZ/Ibv394mCdy/s0TePQkb5XCHeMn65QSt+7hu5J+g67YBVPtG+E6bVu5qn5XIsw7aLtugSnt+13qNwbOoYnNCQMK/fcp/eoO7ezGt4J+EnWmiw1FG+7PnLbAQM7AmPZz9/Sy/JAneoQwYsrLfcKKpuf83rrghbBp1Mw3xWEKMVNfmE1C/vBXGC9z/frcCc1d6FBik2Il3RpEQd2ErUo7HcCj43bi70gKiBoXyo7KRj47zvDT+E+/gZ/3WQ+qJsWHG5F5cixwi7piQkjkDOzbfP/IKaTLlUzc6FA8EwVmKr2sEhikzAR77Sxkb0b1hv79NWPrTZNftImETcmtUsZrzne7JwB1E453oEmG8Y4mKPhS6DauQEWN9aMOEYa9KUzSAlZzkO4CboRZT4aEk4+NhXI+hO+LepySg8Bndbbs1SCmOuatd5qupzsF5vw98KBP4X6OGafcNEGbH+ZhfY/uPBT47FoL/GZGfB0TpyuhrhKkb0ZWwghhirBLhbg1qBLoU/JCJKLjc3jeB3UH90WJpWph3kxWpThoLBSTxdY49k7f0f1Hos4a33rK027mcY8k5KKrJs0he8J/LqzFe/ysw+Mk2ISdr62QnRXjJQImIIls7fU1Ou3JbZzPyWUSFoBKJAEZGsjf3OlW2tZKF60TM/PhGpbc6imaWS9kkV6DIf12VdRF1KbMJqW6iUjbNaS9BVjwxkUhrn0+ksWcVeHfo9b1pQ06mf5GYgqHTpO+ImUDsbf0xL7f0Cj8dR3+RMBQHTTboabYaI0rCsdFvJ1n8VDjrf/JuxgMMQo2oYcVp9OxNNSq5+AxN/SYqRiO49oCQJYMrniYeuksDlml0iwi5+SQQVEgx2XtQsOwQoGeuMWBfPxryOjTO4Te0gLmqx8Se6t7Jfog0++jQx98f/++FCLhufp4T3CFMUd+FXASUO7lVHRFnvW+QyFKAASs6ig/kzY4TFMNRgVuyDAfbKVlcUaYCUnqUHfxC5xDN0Z6Phia7+RFrdtxC4leyDwQbaBbhs6+afeSI93PHMtMuSdLii5GAfop4Uh/RtKNsKk855g0DeZ0H+wexHUh4sNRVlcbAolnKf0w4axSXQPJVWbzgxiqWmjjvkqa5kPV/2vDoyRSxfNfUO2M9mbA+CoBBLsPfe+iEXYP6Zv/nSChOunMEmU3Jd+Utxa9YZkhWeWF6BmK4jFMUukXEDNRokzvB+a+ogSk23Y+9Rm4SX6MKVgF4MLeaatpFt71msLp1OxvstcRpQqWT9RphrHYmHUiw0IbbuHNChyJA0XNLb6KTi6y0UWL3eZp9k8x/KC5oKDeqZRpZDWZBpgQi5FEi5rYVvYrE9ViA+havTNlgG+v2qdkaJTFMBh8A/D5CULskmywCmNhElttvcfmh/vF1hjEnJhVEt0DgrnTTiq35lV1osc79hSLjIN9JSz40CWxHRk5t/r0XIHDUYXwvWHXv6+IimS4VOfV939+/BauWslHxWEmpSSJaZuTH04qaIdG8H6MgNaTJ4ejsSsCXcFZIjDnNp/EiyqjbQqbPdFVfop8PnAqkLB/WnxA6dMs7z51idZClQ05x/6ugClYH+bEJwQxpMTpfYWU8pGA24+VTtP54ovonS59MWfT+b89jhd7dBKchjJmyXZJbe8qp5ma7c8ckKjpKJI0xuIAvUkAXiMFIprYjp6xVBZgh1tOmfP7L3PjUgdXkRjDKMmXINz4vPuJ1/3uGRYnan6AoASXkAtU2IlsKyaQPZ2LzrIK/PmTuYb4LS6XrusBT3ZFahXqDeCTH3wm1qlOy8VnF4YstkyRvVwHo6lkXxlIJPDkne4wobvd9cBB4+lNULZ79qdoZPdrNyDYhP8qRxMVf1Og1+GYD3nb9pJLQtWpiJkiF1WNkney+Xu1u3vmoo3dYn3lF3CUNoOPyR4EgIYoE14yf8YeMSYa/GqFGueQLVcW+XBwgaGRLr1GHQFx32PvMvbift7aVEpXmQstLvedxRP9KLubs9OpYq++v9/hj6BvlBjVS+TR3mbX6gZ0HQAEtodMaYUAwlqonA/uoI/6Q3fF861mBiYXIAJ3bOwRWLihvd3YhHUyFHrtxSD6LX1R0fhJiRnGGFRtNpP3b2OWFJHHvTAphe4S9poNUwNih6iN6Kq5Kb73nS5wHZQpWBCuWwqDy3Qk4fUmePMdqdNx3TCBDKZ+aNoZC7CUyGq9Qevu8YzFEt+NY9JLo1xKW2cpFY7guqnQDj/Xif5CW/2OOg4TenXgRYES+kClTFYBxgLn5cwQ46kShARZgDUAao5rN96XuTO7AODsi3ER3gKN9JpKcPqTBAoKZL6cWwuQkMfrG3+zLwqUE5lJXHGY5+9f79lmFYwbJYZEwIdJzvZS3nIBgXHDT2/ZHYPbASxE18mrXgipP4CXEJcDuiiGjbXo2SH8SJls9ZlRpCboP3kdpUnDeA6YWqaNk/NPhvKb1ossYXfm4TbtdesTfAD1dXCqESy6JjVhfXzA8Ng58vn9yTQ/9XNhTqKeHISK0ICj3yuGme66htOTK4ahGs3Lna3mc/8JieSsmNle2+y1kD5+OJjbd4tjy7lRFUFjg7AWtNkeOa7TJmM9KHD1ltZrG9h5mrlIPVQyB16V2hVknzHvr2WlEfwEKpr/RhtduSGIO70gkk1IPa2xapxio3KryWRNdTI4FJfBdUgZCd65FfznXiCPaRq4NgYUCl/CfJ9gmomVTwlPtQa6sU4UINCAg1hI55/b3jIk2T4OmOs5bflP5T2JuBHh2K+WrruiOW8O/bnxAIzyfih8j/0LeDCbxGZa2APSceNIMklK+RKx65XiY4Y54ekGD58d8DwlyCAnGt+r2Gl07rvJGfhpeapTXX0YM0xxj8UbP41A2wEFdl0xWbEusatl9fq2dLQ2xpAsA+qn5mdxiC8XH/oUKbVNqXqcarHtC3g55EeHeJqhMFHPm0ggftYM8U2RdfhL5AXM+pChWKqY/b/U9jg9SQif9p4L1lRIrVemAhU9fs7Awv8/TaVbXbMpgEPAwvbJPuWEirb83XUZZ0br5bU/e34PJuLOFFG9zRSjHz98eLWfrJJ0m4YLAaQfhljFwpRA6bHFFUI4mJf39cDc++bDbHWGEKPlto3U8HgfANrNXM+fLJOiY1WvOHD5KcsaRvuwXftto76RPrpvYDJWdoIJcwwu//xnTxzdIEfKZK9qngr6XPFqeu0Ckt/wU1j+SYMcj1dOzlyw/2w1C9/Nis0ynBrR7gSuBBnNHCH2Bb1RbLnOnUdv5YXG498vgUXkaa+qeWPEavwVBrpjVOVCF8QAmOOCpKhJopD87btOaKQ2xEBT20NXCkpiGZ+2E5bChXnCgow8zvopO74CkKS3iZEW24D06TR+NjZC3nkDjG4sUMX4mNb2gcHXt/EbhKY/kgpgqFttG5fR9zq0yxtt8X+tVMJcQH9D3JFebh6t7wvX4fXOqpnNzIrfhnCB6/IW6caRJ+zvK3WPpf/PuWpjNA8lZ2AfpzLDtHGyY4yVToywNtDktl8OqIjx9002R3gFpU2DXQ2HnLxJd6w8UHubgqlHAgP7Y1pRqPrl0QeYIi+lSsD25UKgqJC0IakUTGVBINq1DxLZ3iK6mixRNo5PRUgmTe58cM9bq6cTF0E9ouxTjtUh5F/l50/WuKapyXm8fXryEHUOuMAcpXbjYw63FkqFvo4MxYYBvu/b0nD9PfoNDxs5/SEzPRFNWzDw5IDfRnS1sGA5X3mhQfUd/pTwZVRKcpnOykSzLyYAKQvgJLxvLSTNuPk474a2r7ZSJReIpm5Bnqrfv2MnxvqQjGFn5o/gyVEWdOqfM7dAlbcedchwBRnOoFVS2VXeGy5HYIt+vzC6m4mP/B7bTjSOeGmikfr7J47pRwkbr4erWu5JCrWhIFspRei9G2M6bi+LvkmmuGi2ikm7WbpSA6bsrLRlgtP7Q++TUGIETDFtm3m2J0Z554A4K/ZGYBWElo2xNqysR9+7xd8FNSkaSJAUoE10q6fornnoz3x2jXcjV0OyMGzzY1uzInwYV0pjZF4CSJzeWcJDj2jFbuO9EnXJLF44gve1QFV7DEvphsu/IroUXs3019IT8sM++pW+qPATydJXIfz3gco5hgI5Avxy+OxhuiaZ7XqBXynVZM2rfeUb6pSoYSiUAu8li1d/0jQra5p0xNEwPq/loogVmCxdXRXdkxuwMWCo2QYVztpM6M778A7GhIQrdVtbvN0BczlhOTpeowwgTJdid/b1wFg/e/U10Y3wZRoTWAPm4J8IsYwqDtqpS1wnS02xv2Oa28iO8G1lEPmfWJlNaMJirUgDiUiQryvVXkJZXGIcqZ9auDKsIPiKNQoLw6HPs6qmWSt8ucVkxZCC+gFVqXFn8HF6FDpfQDi1qtoGPFV8Vq+k3ZFTbXKEwFDq78RDIkeXv/XUbi2cFloos2uerSjhZriYWSeBHUBXVcp1iLchqM8O+7unD2+IajqIkHfeExtPgvK8kx8pRkK0d/+6gk/q/zVTcXXplOWHSoGFd7Myd1g8OAQyBh9KWzxYQKZxiZTYEOm7rNdF4wnZ8Xxd3ysmAeX/epIAnUrgQhUE968VgmoC/WoJ5qgmfy0UPxZAg4L6n5BcC3bKqqlgm01w6c14OVSN2eYo05rHUkBYYBaGORq+5uADYvrB+YX4AjpUP6/ly0WVo5XCN5PWSccfcRHVQVb+/K5Z2R3+OV6wil7r+dUi9qnrUdamB3GdQaQ3CiA+Rs39Fs7NvflyVkR8L+P0aK+olDCE97Vq/Yd7MznbI4OHsEjUtKWcLzmmtHbAatk0aFAT2zpbT5Y0WTuQWPugGeDxHE0eUce7OzzI5phjoBSOKm68HeBwN6c/tZD5aqcXCfT8N5b5/YiUEdu/ejWbU1oL2fud/jUQev+dKHV379VxTOmTRqifoEi7uS2oQG+T3MfbvSHNSuz7hsKpS8ygQiiQustRm5Gr6ZRE2r4XvoYly8bXLMrwkA1h9HNgfDDBr+FlofozUVp2574Avt7LR/H2vB4LrUrIWv7WXqYmUeGoGFNecNlQWq67ggHJmADfI7Hq0Q4FYKL7YpYue4HqoJKWZQI8YXhIAX75bXaNU8i3EPs9/JooHx5arIyvMwpEwbC1TSid+43SVmCP/pelfdUpCY33OvWheWRQf2YlfeW4+5qAI8wAbwo7vqXxB9AEegjZc2M6CGEW/+SViV1Q88J9P6fYOQ5V1p2gSpJlVep87Fp9acEi5O9QIzZKrSgZ3Uwfs+aWgIImfNDi4PGcav3CK5q3+dIBKiJFJU529OWzCeqlHrF53KWXfi3+VoNpYumzLR7YrvXwuxsFUnajfURS0JfxeIbt1yedE5E3qWL39QXxPIeDJcKlaNwweJvTOl8oqxs+sHoMGPShsSR704FIQKVN+rl/VkV8BBSQ2bDnyKOFIE4bKu2mXq2l/hQ3gf53kvoRo+Bu/YFrwHi7blI4zWm7Ajjq3MYM4mbO+Bez5/9MJiZbtqT5uGFN3sDIi4N5OMImA0Rmp6hKSVpZZsTAkOih1ZvNB5mSCOP2GNyUxYFWBClTI1UJ40wARbmMbuQgD5TVo12FafnSkeqXtchhtvJwm/Sk6e3BUJCLOQg9IR/o8vBSkJg3BYrK+fKhwV8qISUWHbNoJpHJXX8Fy8NgmU/QqdJRdko+93J+0FDSZspS0gF1LL3rGihU1iZTuR8vRuIuHX9wLAhvOGaJ05YJLDwyDUxzZuDV+QbUnkJPvvztiVtaHc3mE0YrsZkgl5sDbeQqYwUEcSK6nsG6XJ3eVQJwOYDKdiUJAhPYgJTZmb3HPhG1S0bYCMU+Hx2mTVC7zmDsu+MZ2W/fEUt0VvgU4OudBjcOIsN2P72qbYb/xxk/45wfYGApvdfuGmzdASQnMPUkSL4q/t1GIOGgIzmb3Wd2kq7OEBh0398kNM1MRuWTbB/MfNTM4OF5kDowGrylvSob95qFG/3mmH7aVR4WMjY7uHQA0DZ3Ayqz9y63rXE5nGN6xb5lIUgUI75FzZ8eK05wT1IRtEWQ+AoS04k0vcFGxlWNhe0C5Q03zC+aJQckz0RPwE0NcrBqSWlLlTzQPDMmq3niLw2CVh7EuGOjGp3wq2J2drMeZUwPChJuqI/RohNURRpBBlTn3vv5Kr3VyB5A5xzWX7OH+KaPH0AGibVFN5NVbJ+S4c1eTZ2THQIOBeOla9mhs/xLMUmM4e6sW77RIaEMu5jWtfbxjpYwJwUfv+DmfalhvDhPPb6lX2I070YI42Rae5bIQaLQBqGkBXAh66OSAfSLVHjrwISk9FsOe2VqyuJnxM9Ax0/oG/Qx/69CFJggEMmC9z3qrcwA87bqrAMwvsfAReETjEG3FBdTsg+799L2hUfzuf/+QJTC8vJeyqTUBxA4M/I46p8aMFpn4D8hpH1VLgvxXRiQ4idahm1vS18BHzdyE1DFJH4QY/CDTlsOT4i8MeYbq0Gte1h1OHrUePZOn1KsgnO8RpsARgqmfgW28Pf+Rp4h77sr1X1PNyGSj7IUmjHgPCcQTjYwtNjv93GBGBCXc0700f+sgGfZlMpecCMXv3vGtIVSO3PUf8A+GQW1bD53ySXGM+5BnZpNuxu4hLxgVSm8zEFMdWicdNNSoVRAzJ048UL0FOalzSNgIarTNhtvkDVw/waWAmo5TZamW1SfBARxqecRA4eqIe3q3fTWzTdEQufSLiJ1GhIma9W2Z0CN3Hw04IrHovgXFpUDTKaIsBj/yFh8i0n06I8rLSvabMHGUcefauso78Yexx0xP+ZWpUlLdeq9OTI3mOegxuhDD7gJedFiPw1bAbbxUSvRl8O/j7ZeyBHSdyGzFZAx60c1GlG4bcqyIKgkJnxRUIosTeLp1yUBwWVfSxIo1m0coe7W0mFpIAcbT+aKcfmkO6olzQP+yVMmiWXp5ocnK2PM3j4R0dIxZCpkoNhX+GytoFWxPBTktDUkysm+H8nqrMrH8AtNrQJlqItHLSTC+a3QUO/3fDAuLHQIRMjp2LvCNFhE2D5b7FJ+mkfbEt6tb2SRU0Jc+CZH1Fdg3ztL+gXxzgYTuisBWqB5s5F9ANIOu6QHm2hGcE0XL0Ah6rZ23wzPjfWk/uRnxvA5qI/TbrCD/ttRMgCNtY2veuX6gCLRuu/V4RJkso2IFys4wA7cW2ygaWc6xfF9y9gltjqA0M5w+TFtqgS3oW62fTI5ydvlwjwYzwwp0poAeGFyooVJiTGI5oGIL+82OK/3266ep+6+aH7RMOKbAK8L4/2xhdd+o2fuKhgjTPENkgACdr5gieg0MOLpF5EFeIvDbaCHj/keDIpg59CUm/Ch67nJO3OoeC+gRE5sHHuEpyV5uhs0USJGn1OnhFEGaCkwIhaSaJu6xY+l5vizTg7KPX2nPmRUW3J/UO7zz3W5DsX3arPh/YjASj2lfSie1dnNUVNiP8CwTzGv8PqePOE+td00XsdbTEGmv9ZjYw4v3FcgyBL6o03qvja4EZSCpYP61LC0PpDx+JNhTI+dpDZQHwIWfB2uAdfU1O6ddx7YjLCPui8wlcGDWrd22AF6gadH4ZqFqbASbXklmtbispBxiF9rIbU7vZktjunM0BD3jMSEcNJFGYgQLTAbigJlDiTF+C1QbQtYH8lGerfXZp7ARxDleyk9SpdpNM2a8XrWSEp+iLy0HtXfKoyuaEWSyeV0zn55vkfxLzk7ToN/0yqw2k6tD27CNYT91wqgYHRRIV1tC5/Xgo2WSH5WvoN+UDhB6bskWuRxI9qdj5ccT2+a8jW7YHxCut4Y+K9aV64+qAQrYMR5tdtkxzHeCBvWA3C0+cWnJxR01uVIfm+ob89jUFNFhhcPdbKCfKVei1z7enyBX1rQlDTt7l5ZvPBkwAIoVPjf/6gX7GLE54eConF9TT0lusDj+8mHndh+EhlSZElmzRPtUyMFfD+7GScPgcbT4/GiKROMtRtxwWaxIXFNMSNeen/a5LLuCp5+sc5rcCziIa4Y3yqzKZgPzq2mq7rZeZ5lob2rni4WaOxVLdtcHPqF0ufTFf62aBcrcPn11lOcbvwkbxF+NoY4n430UfJPlVHbo4Qch/QPuUkS8lO0cE6KYlxgnAxOwI/nym4Q+nBwCbqn7IVgMljlD5PsUZOIwwcYaAEYZUpqdMnEAinWmAZBKoxJMMRLJEvx2OSd6Fz1Gs0LG8aMRHqxLhBD/PRqoaAn+tpc035lRQ6/M3mZT1pJ9U15bMZ5YfRjt2V1MLeNBVtUdZRrRncN/yvyFHJ6DjLucxA57uu4RGjcQ7k+7ZrEVtt5UmQkJVleQM5gwnURaxkketeL4VeVcBIhYP2zOzIOIpIE/QGQGigaCgOtuRd472crc3sbWkU1jTprI06/kM0SayzN1mJTri9aqPoQ750Cpz9zcae0mtVoawLh8oSuyZQHOXtxPdBvdEamlRvr4KPbusB7AF+hrOlxW7zWE6EHaiTRZJxvt/5D+NNWeyU5hY5yMJrbe8F9y8TAAOqJO8ySA5+nl/AUhCw+0c0RwgjRKTdfzp5WXNAK+BPSuPMaw9RhN53oESxM3E+2nvvyXFtRuH/hpmDa0ygeQdfJHt1xx5G5YjEohiIO7Tas50RlfWNFvB7G70JHpg9+nvgdHviPDlBHLesfJbc31GuFSMjie1y9gLAn+tYMlv9VX8ubMOOlNXSquEtYuKL1r+CQpRfyxos1CgcPgeCJ4SNW/5XJknXsUWR+FRJI4A3hrLGypMv8wECFAVLp+YJ3FjO0D+ROYYOC2cDqmwv3unz+lSZ/Kl94ojj9AIM7knW+3lfU74YGmNMTg5jSr+LYBcJKvglXouHpJb8W208zspOnR8oLWQvRv/2k1yCo98gMVeG1E3kG1eAMP4zKxUO067fEyXj8L1mi/rrApBcVHdWXSMIQHQa14dnxeEXZfUV3uG2zysEx3aJ++49H78lOIUhjckninfoioRko9uOaFqnMifIa4xt+tDeOSAnzZwVoc9FEPj2+TEtxe++5x7SZJRYipEJA0bca5QEW6y+6g0K0Nq3EdeugYyloLUxb3wca2hsyMDdgEo0BkBjb92SBsX0kiYNMrH92ohklaJcbcO/IWlC67wM/D6MCxnh4Bxoyuk7UqLwTaZgmZ7+qMYDom7IvzI5zPMunRNcehZCD1peWs2IdTlHQNsHk3peGeTQj1v+wFcfFgUwdTcwF8kiMSUe5GOH9k1Rl/UgEi/S5oz2DbEOTVYWTPnMw9pg9A16RKAadbo6WApCm6j9EVpeHm6ToT2RyV119KEHJhM5Q4+YjSZQEQFkHRCZOapX57oNL7wMU/6B5B4HqfQt+qx1V3/hM88XGqDdMPl04wFkqNedBBVmjmT7aXH4Av69uwQGeiHxyQwvudH9Bn93SeS0Ggh998P+CrXMCsNjaW5qL++tsAufu+wckSR/CnncMr5MCRU87Q6EwE3M+iukY851Y9C8Y/DJblCYi2sYUM3PnvzDwoT3nwmM8LG0VQeV31p2yWUwxz4OPe7fASAWC9l75FXUWepC0RDgFpmvHjB1xQT3ib4XNDldMRPvszkFEVcjCTBaUz1paVkPsAccVBPVpPDzDoBFj/JW1p0g08V2PB5Sf5MyLAaNXGbK+fQLeWWWq4OwJ33co0GZ260+famradpzjCD4l9tHlny1MkmJRVOAy1PS6wY25najyL0qZyGh6RMaBNGPmbOrO3r61HTcAlTraCt9RXIrUaY/Sf4zv3EYhyiIJMpawUOl9zGS5ENJ57OcJtfnSxkn9BazUPYn0wEOtq+ESPpXRbk9RUHisHsl0l9/T9q/JTUsqvPCQEH1/kF76dzfroDyhcF+86fIWj7AC340ioERWXpTB/1ogZQPQuUZe9Erl0x+6nW9VeAyd6KOr7+kgEUy7YxM4hHHXySJyD+X3LWnOMqmVZIU943aC2aprc+DzBgU2nOYykw8ec8/+v9X/GNEsqRaHcXcPdV9EZpevJdpqtDXkJpg7Ya9FMbeoRGjRU0stHzNzP6OZ8G1vFyGStJ42prNnu3LchIULCUFUENgxxerourVVX6WfE+fsQ7Rz2hBuvci0ErTCcq7jhbtAjWcJu0nNCD+oZ8vR+2nBjbgn0RNP+p3uusMV10TBXauR2s9hz0hOJUuVdq8fgP8jbohwnqeRFbw16/6sNeqXI0a7Tw9oTCZOYbV/Pt7JoG1t5/HegqE9dwKIqMscOjIKr0Vep0TgpDjjpzRGEdjoGt7iJ8RxLNd8rD01Uk2CmqwV6HqF4APZq8Lsxxisc+ENU5maz9z2K8P7uT8IQDh7JRwYK5qvYJOKFmSqHUOwWT9Vy46FN3GHheEG0duzi3xZT1rATsGYTH+25B9BL9Q2LpbvKkQlsALu84WW3pVxuSeNeQFCkA4cOXEo1Tk68ld2Bhf22N+QWN7GlP94vqn6f4x5Ln+k7ZpkfP2FSgB9aZTuNC6kPrSofYBBYWhkJSFKmFPZ4d1nOVWjNUS/kJnCcJ9N+ntFOXlYlScxA8Ash9neXH43osLCt4ABvSnZ8EVc1IQYvYTmi3j0IhP/oKMWVbJHSy39Gnw9iRVWoAiAcs49kQayPtjtJE2BMC1ae64OwQrVfFNrmpUbMfQRajhF4vznwQbYnagGfN6gddKnP2TMj2lxwCJPg4KiJIRPl1ki775dMZxevEza/ECC1abYn1BlEzvVRMxial/1IyhFkwfQMkvEhkeUKOCP4KtH5kC1425GU8MpG2w6w9FprnRULPkBkDtH/ZJ5WOcx5SCDbfWtXzwEOadj+3xMEkqRcypUTLcR88NBxwYNftrM5UF/IfMqPJtkq7bKqIEVVQIm6Gu/BWZKKIycsiX+v6/OOX2wiNYoeDMXJk6pNQLapwm1fH9jEKrRRsJ4eC8yRLFRaSO3Midk8/OVHL61TesHtXL9RAQXkB7znCLp9aCY2yVs0NUGz6hlCVWY9tioA4x3MTpOZ8of28dFep2APOklt0kStT66Zl/QytlegK3GyY74b0GdCm54YzymkLh+tkM+ysDcY5XgPa5U1Nz3oIl12/ELiG9/NyJXzv9YIh9Qj1tzYI9aaat9vYl+c3aF6KSZiSkI0FpsDSoxvUV60JSt4yq3O17OMTAMvyekY9EyJnBOuwrir9De+yx/DoKEz77ZvMWFcEHxSq+XfR9mD98J/CRx9+4w1GZDItO2MHUo+jMlvRHW79jR25wEqjMs06KwBZxmC9f7HcLqUts3X+g7QUY9xBZEmrdfq5mIyq+XrV9s9nlTz0277CJtBcmC3m4bau8qPggw1vMznIIYFJqBm9FhLdgCQh+b/Togrq13IK/TTXYWImo4kebaZmakZMFcEojEnjXCAsD7G6NF4OYOLf0KAbF4HbmNwD5zknGmnNoz0wrJKHhRsW7L80CcYi2QB7qUeFwo8za4ZpIAiJ2YehvKLtXc6936ym7eBOD1oWcnDqc0dZ209bgB0T/K8ZEf2SchRDcCj9dz9N+5vsJAv0B7jNZpJf6L9i3XS6HFkMdkjyHLN7FQMfwTG5Vo4IJeT4mJRkNR+cDDQDM0UswPRQlycK4X239Q2l27D3jluDag4v0EAohWfwN9PYi9hrh5GlMN63YZR6tdm1ya3vAJCeb2b1nsSH3nRZElA/WnJhpTIt6GCP+wPFNEMh6R1/9k3AicBMD6KICd6Dghr2RSydeD5RkIAC4PM03C4Egv1ZGWmKqwMEsMq8i8qij9ajNYCwZ2/q+bhjtytQILO/j25pqlXxwage3GtFZefg7+1/2DhXO3b2bbOUteQpOhC8vSyuU0T5GxPhDdcv4hADi5r3di50bkEx2TlGOoFfWwQ08AVZJsTqgigRZHZwkOr9AqzbHeowz+lfXMatez7PYQQlMPgRhyMubIfPC+8pyb4/Wpf1F6cbKqS9pzDlKO21GlU/WpYZDuLYzin6b9gTkQKZoBt+DPsNKHdLS1IijaCDnLo3F6nNTHrKrl9QlD3EKosiGCN+y06LcDXCA1m1mOOTd9z8uqetH0yJq+VvtrNi9cimf8j1ly3+BvSlzx2VYLCA1kf/Ib8vu5++rfRsvUQDIcdtirCrxEWZHiw+JATHcw0xWrm0hCMl4k6m3QWs6iyqzWnzIhcabbVZyDlNug4LjEPl+dJbNhdEHfXE5cxMJ0Bm5SSP7DmQoKfzcSFkNK8t3XHhe/sgvtLOLpHEN220gRYXV2DNZv/YPPGiQQFrLYq6eTbHehrlA4qwvQLA065QqUM+KvHNECsc6OHolDYyxNxqfKmI0gBHxTdQlLs5gNKJ7rXl/54559x+lRs6htNGc1ClZcaLPyA2e7mTxmvyeUlmBWopx3zjzSp+qQkIERf0gKYENZadoN+jZ/PVXItTCHlknLvKDPry9HoINQow8dIRKjFlSDX58xtyEoYmofvAOSrepR5vP/zBfFHJOm8J/nP7k/bDeWFKfK2Qu9roBYMyWsK01xXzE3x8hrLNywy1s3Vr0YGK5jldlDahyqC+yHTS3w5Lfr3sxYXxOku72SEff5FL0+QFMhGOHez7QPFlIXC51UCKBBOJH5sF0nig0jC4RTRhPUeo3hhXhmbkcGH/TDHgtbFTGx70rLF0fUy7AcyAcGMO/jRuQmen3xyw6eUGm1ne87vVyMt9aN8CI8dLVFGXOug3CojuVXVDvLM33FJFCNM6rUMRtvL6hrlanS96V7vVBIfxPc4C7rxiM8CMa46qwbMrHI3YaeIPgxUxAON5ly5fstxDb1BAWWfZ0/kuz7HG95buKUKc3HrPqfEs9pgN6CAvemlojEci/z90i7Zke/cXyo9hRafvFtOYvuAcz57175WV8W96E0zfP1L46HAf6E+L2s2CQxWHeZ0y5rYX4NnxCE4+pTJr/f1IfTOp0DoBBjsHrj0ycPfv60BLunHDH3eSvGdynSHcOrXdElck2NCCKscBSvXAiKVSXKLZDcuuW9rcver+O7dO/wzGP2R0dO6izTzWsSrD/zaGl2DR2IGqfBZT1BtcE5d+KVGsScsi/gp/xYK21iZlAidwGDwX75jFL2Cr08NqUi58X3ewWW8hvOa6ViLyud3k2qOj/AgECGNfW1A1bhvWAWiFpHx3N+w9OMYJsn316AZDR+9di/n12Xl8MJW1EXyKRe+YS7noEYCxTkrCSZNY3LcXyBmh24qYbL5wXkH1B9yt4zxdP9y3WLK7E/FJ+UoRhzt2EmXRNY++JG0hZNw07Wf4yQAAIi+2lDv8HKISSX1ZFYWnxRkY6LWYvTr/lJ5AVtBKg4tb1QVAGbcODwtA6NCqufAnoONWPV1TcovHYPcTZ33cBFshuelhfESAs+b5XyUpu5MdIRMFc4dUrDr/Nz7nOOI1GC1bSoKbTrr43rPbLlNmASqASWol9MrG5SnvoUQLImqcxpKevIS4oZKlGcGJgJswVhqUR5it/k2o5aXjZxv9YyJYuBRAeW131U8UWjCfdDG9J7LTzyk7mvCW8OhEok7cRjypUgl+/tgGLqP6TvnfklSvoznUGTpPzNlUWYRhPkIod5iRp1D/ZDSnLybwdtyqNmJqRxU8onx0RgyCngp04u1aQ30tT2Czd2IuhEMioAwL1nGm7CvYFhFUsko6pZ9P6p/TS5S1O1HS3aiIXmPQvVaHPqRl+70qGjwQc4by+qu5yXhUX5VBUlog3zZuQT4OD4Gxi6hlpV9rjMB1iIKCWaWueke/4knhQQe3ok66nuEoYRkOBOHmYiGgz4BfnBX8qIvMyUKuCgeJEuhGpB/ZpLCceimNS7ugwaU6BAoyyM2dLJolSjigrrir6gY9qT1wRH3x8acwtz0+5b38hktXveUacOrTMjzQ8T3HUfzkidrXumllCvA8LaITdKqhcFI/gTCWils/5skkSo0ENbR0C//Z//Ddc+P3MJmw0ORa2fazJT+ySdkBMtt3MCwpfyPfnbqMNuqUckKtQ2dbbpSJOUbKgQJHXOoXmGjZjP/aJRUhsOc1f/knSnz2T9s9EcsGaI/9Jv7P3obHb+rEoA0vE8sLiOFdJE+iL5fMwbY+tU+dPtLl29SoH+VvYuh10PsjxZERqXxPMtKrsMo4a0JSZviZXVTkfgInEwhu+kgL5CdNF/QRTfP9UPHhWlTNN8VyjqPMhVMFC9jpzxTBtfY4DmhngkTcn+ciIfi6RzqbQORyjZzzXrTnDKT0nZKMKJpq1ftH0SBZVok7P3YbttEWc5xPXiChSrbBBgYwyMEM7b2wIKkDDAvGTAkLZ7rhb7utuDdbV7mpyBoZuEftoQccO4mj6J2hnwmW9NQaBvSZoDPDnNjDOoSRe+UAoVBGGHcaqtF5cUtIg6/nhEexSBLdm556nofS1/gXDSevN7d4kfdFGjqfUWHUxE+iaIGFfz1G7Wfd7Wu27WbfwzxAT5odw1JM+VE3Wdl0Xj3VjDSOGQ+yUAdXMfVQk1AnE6AHnYZBeYs0UxySHCcCQsKoGmhPfTLxXO23JsYbzlWwGJND8UfbWyFIkp5HDlHx752cY1LaLfbyIiG/Fqx8P9zb3FAN4jEFd51Viy0+FTpgpVdR5ZOlbvFmBwogSTN3JfTgb77IE8Fe1C+SqxJmIkD1+yVPicWLfe7GpSkce3ntM+ReUGMIoJ9DRxL+YfS8JtyPg5gRqy7hHjif37Bi1rmKrVpphoH6gTqycrEUGSBJBllevzHpO9At/wmiG+f3NeDmGvx9hxHZDIbxHN1ugktVi9+lBMpa/qLsQPVaZybOq8qgX2jsIyAeIsgGBEIohbLxRmZCkiy3dOrOJ78IglTAKP/e3/S8X3E3dyvLFI337TKDNi0HsIBCbFzLnZoOyhsTF2tJ5ga1eqgmgLuZ8jlB8s20lVM8Ib9jNv+hmm08CLqUSAssJ7CYWkM/Ahsm9pxcdXLkata23rNVu5LXk0ofNYfxsLH4OwD1XFIXw+lMNQC5RjBeWLeNZFsEdZYIle9mALDnvqNCqxfcDakttKdahHJXS/fUegs+73PQ2yFdJf99cZTC7se7SdMma6Zg+TdxqU3AnvpF59xIY9Jl8v5pcqta7QygQSbXd9hCDWBfllxFCWs+vbBqKC9XpLRs1bKyUenjWzeJeKtGSY1JqK07G2bkOSBSYUvZ/U9qFM0aN51JDfZhb/DWFSuotsxejH/4YML12b8wzW8M8JnnzknIEnWeUy28OKqQkBkxYKcwMxtjtKyuCKp1nNl87xW7KvvPNGFzmVi81RIi1b0K46gZivrQvDCo3uUd/s67nZtO0rZGD3HRJFjZ25/PcB5tl5XR/XlV0QUhptxM1mDYBC/SXeInmrHDMcKMp+NOT7yBZHw2bHcdopNEcByQZFxQTJccnCH9ve1e/uEjoSCbv01oUfyJ7PYXpf4f4MLznsYLwmtbN1RRzFtpnr3idkUb7cG1i/iqGnE+n67bK7NC97xNgpnRW4suanrsd/8dQkLGqEpX/7KKGYRw2MOBwp1Lie4adt/FPPydvZdCv8NQJ05cA8hufVZ4su/mOEaJxuHFnfieGqbiHJSrMn/1NMwxCrx85tQYgf3fVZmEP41EVWlVlpmHvEiEJp88q6dWFQa4lNkxwWSBBdRWDrChIOpNVmyQX59WsPlpTX8wxesrTxQZBDLATqb8uJbRT2cpgLUQ9D2G9gXHJckdErkTMRMvCXZ0Mbvj2862KXMDMi+k/X7UQtrXzM/oAeJON8Snfqavw+MxgSeRO6MjuUPoo3X8ruAfYKyorolrAw/KEdVN0M7oA4m6p34q/D5bZeW4t+L9RLEW/0dNYEmaTenIVorkb8ox6USsQBm38GqtJUkns+za5Z7NHY5T5oTR7yq8hgwCZWjfCTi+RUvpZk/iD9ZAs3iqJB4IXGYejPiIJkPmtS+MqdZR0zS83jNWITWwRPfKC6ptiJhOhD5W11z5N0qzKwKblc1ExJ+YIFPs5sZWFcDGm5fiHb0Q09reOhvE/1Gcf0lvxH081Ma6KUtcaAhOJ9S3JX/vAjK+GDoppf+zlimJPgZ4GQHDpL0g5F7SH2egGAsI9H9UsMNxWtvwXuKf9in1vbZdZfnYWqS17XQed11f7y12y8/DzxGbsYMARr9VASleFzjuxZR3D/JkTMATjbLQr+EIlrNkEJ9qzk8Ubr4knUDcbQZDW4N/65Yr+EuEDcG+Oc3yOd4SRIWth2PwhOkVKJY14XgD/89+cpK0IawhCE8xcWCgc5vKft5xGEcgObO9e9NvVYCFuKJzhwnmVZY4yOxBK05HGHwoff7zZevqCs3DR+own852Pfn2qtnhcsoVa+hASrMbT536QzPLCSk4njoBulF01zvonjd2hSoPRHaU4ueKUMO8Gya63rTjaVJWXW9ks23fwojMKWH4THo3Fhwdw0SDN5MGELjYrKPFL/B848xQKlzONFUIe5hoE1eE15q8bXbcSIlmqWUSfybO7mZ0MeYVsUWm1JHQEU1pr3yNZK0Y6KQ4hhA3yr/KwgOBzKOvPY4RoBW95YEKB9957eemfGT+KcYlvzwyinQdenqtT5NQn63Jr3Tt2NO9l5ZG7qDPGbr3v4yv5fCK2iYkMJUhHKE8v5FUt7O/MBLAVtAo7PSjoE0EMhyb9MCHI5ZTT0k6QIY0uOa0c8aL6vGYCZDBjF9Zu+gl+q4J06XS95SKlTAJXe8WVTPM7NfOYy4mhZbVqWYFgA+K8mMx6HXkWwWcYZa7wYTElNbAddXnRZt2L/mulVRI62VKnM9+/mZJdIC713MlUudpnTGaZwIC20b8CZEOSvHDxO/reRNeaJ8GKmSWlNH9f5EsUONBe+ZADKDvRxPqjKoG3SMfX5KQ4AOMbK298WaueEaK6oFKI/ZqR/XACwimMXeR73rSI8u90P3IYGJgjVVNS5G2dODwkg0jDz3niQkEk1Fo0OdKF586c778/fvOp1KVyW25kR3xT6SRfZx5br2QldNgHigwq8Ztpm9ovzH5JDg8VdYGer6NVwW/lu79bhQNxyl+tgwPjHjNob7arxo/mhdxgfOpmvavcMDY3tlKDTLOga0lalsTkF4I2RHnQSaD534oE+GneLqXBSnD9JVpzcdAao5SBnBN2/HZ2r0FHAcLH9FzyqHK2FzLESRc3IdAQFp+8he4VN2cL4+hqJ4Gmj/rgHjHWU8ypt0O/vk+4lOvBAH3HvAFkqL3yy5uaxvYTkU7l9Yez2+pAmQnfB+3ojIzSbX7H7Rq8r0JcXyQKWTYRlYYj2wUHMO+zyTSrDpVjkVBsmq/pmwJBY62UgKZ1wTPTdDGUKs0rZjjgN0td76b7ryQZaEdZSGziQ52NasHelSBu73pJg7CXXh0/eb8KztTWUthw3jHNT5KyUvyn/pPa5a3CXBWF4s/JONT9I+NEotAPo/BDio3hayysnA6DTRsRedzCf+p9cY7Du684/H550Jx4x5iNWbF5yUYVMkjxcaOGGzxMnYt7V/E2pbJR8k5ehJzJ+Zk2ouxajZc22AQoCtfOjGlaJgcfQFIrS2p1yFZQgkf3W/pguBkOq17MnwaW7ppQDStlMGRYP6tpwWr4btRZLs9iEcl6zKlBJFqHZjtzYG+izcNQRYoLF2l+PU+ukpesNxIK2pBmrhOs73X/ovMIFHvBELV5w6ej8HIlBRbN7ULdPxCkNvNPRWczSlxdUFkL3d/Qcp8DbHS+vLw92k+LgUOmyzS+cwGlV+o5/HbUTSfnrr/R5E/LW00NjodZ2ugQyLyNL3BXCmNUAfPlWsFs2m2EhfY731lmYVJBVgFxPfEeV6o57EPFyju/Co1/Vou68X23phINv/9KjvoX29IXw5BOcOsKVCKY8YWeR2r/bAgQFiOun/GFlyROKT6XlnAf/xYSrRxf2A3HT2/lrlB8LInzxoecQqAiA1M9jlxLWoVScORj+lujzx0eqqhCpNJ1ZIZzZdKnQYEFk/Ic/Z4nov2zlijsviTcCnt2s4p7gHTaEAdNF+W/8Zp1/bOvCls/xeNMrFGRxXF5vkQGhTef54ArHQvSv/mCeRseojhFqxyvOwwmsrTeBcDkqVa8r4LE334VLYgBJQ39qVYR/+sZ09YCzU9iXF8woPRPtGmMvxY+rqRFzr7O/Y8qDShIFP6uzTvBGohOapANapHjdWFgphFZNfOgcUjFZRkHS2WGcy2FvpqA+vTox33aDO12zluFGpxdmOKKA6+Otis8ir3+ZDMbewIqFFGBTetqM9es1yMLUR1gpHVNtVTqPkGn6C/DWO4TeWLMsTZ8JfIcm7V6pR+gJPHh7QybIWSWc5glAAj+gxQWRrwiMgiD8n8LhlUTXx0H312ieFRBNpYDyLbQLRFV1RULECUuYKa3MEn8TwP9+AgWx33Wk1ku/AJSKuZ1F9COd9sZQoy2cXjTFd/HacMNBOSYpFkPcF2zXDUXXaptS50HHvkXtLPvHKzcqg+k05rBi1Mzuh91hMN0GK93oluUvEG3sbIGr120MWp3vrGHXyIvVSeSITr5tCtVQF7P7km9J2n36kYOCSjZzeyH5Ptn1fnIc56eAYNc6rx9uhRf4Aizj1OzIYgK08UbEvXHojEpDBnLeJ7BV96T0Y3lf5A+8p9nY3jlOWi2OUoiPiO53dtdqx3ofpHvP2roXjdXbCFHDsZFFLj6Lta9DCrwWf6NlKbofMGP8E0GmNe8YncyHPuAaOdH5WmetgpZnbpXCPkAePbnjKc56a6UvWFeAEVFnygSuL1Bdsct8SLaUZZrwanZSXGoX0DDHRhD9zpRZHzCMmAIfq1rO9OhjpjWWEUbR25C353C4sKNzWT4zlDPEBKjyjeZhfgY0ehaB5ySQa2TMl/dBN4jV9mGEsSROTus+546mzNpuAyt7XHBnhGfEYSfeDtSEDrAL/TYf1IM0DQm56I9+uoGgM413ICKvoTvvC0Lh50kt6X0Zbtw4/oTfe7Ebc1L9zH132R5goTbQ78KKYN5CnMDFc0/G9ya5y6rSwfhZxZWn7UDJ5duLXu+O0H3MgP9oCWyt0G5sPZZwmRQQwkkl+tLhXGzOn+5PlL/G74epqVWZZwv1BtVheq86VnzZ7fwOlzvWn7gSd8OBhZaH5Vy4964sFBpf9Or3lajezuIYsskgvp+XOc0j1WPzP6Im8YWUpRQXF6My9zh+E9h4Ln7xqYovVcuaLBwN15BNdRhQ2/pJWpDG2DLk1LDrMK/gdgSjcsi9SfZmPRLiSOOfcdFm7mWTAIaZemdFsUwvfSPWeeG5z7uarlpphX3sSO01lJhoWkt4cK9X/hFvWuyzZ1a18d2DYXsNSd4w9P8/r79P0gQLVSccy/X9AHnOsVRmTuKHwe//3dS/ikTfypl/fXa9VeBbnk9VCkv/t93xiIwb8JqRT1OL4HUdJooYnHr3/vIQNKDvsEEtQahN1d7c4xKw0YZq/k9CNVJ4duZoufp1palBgCMYa8A3SaGK788bEJQnmCVg4Q7+ELn6r/lr41sIZAlBMxkciw1Uwe16rx/eo/ttyvCjuzwtfkA0OzHIStmj1w8RiLcVeq8YIDEwuPRFtd/hEaecBTdXibJ796xbd+6ObrTWmLU0Gvf4n6iozHa/nO94fdHnXZEPJNKvjvIS3VMwUA7QBLSTWK7WGeDG/2Gr50fytxO84Qd0uIbDKntXHNfulKtZcfl0JLh2ko3dBkfZfy0FxoAKyRy9lvldiWwUgTTU60pylCSlh0MYa8OhiLPpkbxoAz94fbQi6lwyEaQt9ddkqMLh2dOkaWOnl/gXBSaLfPLIPMME3478EcW0ejW2xiJ5cUj7mlsGgrCahz5SplDwbKksCdQi3E1bhLkrkhE1OscoE+34kxOsVFEWCyzWGUUQqATkB3xgp+z6X0RyL+Z8RSzG9uAXDwQFHb6+q1yhqLf42Zu/ckqw69e1iXqFxBPwul4Tr9f4vQfiKiD/09G+rZ82P6suaqlZpprQY0qdShXVPz84TkkQ61SagfRCntJUdNNQuWHW5N7pa9iOWvRm1cR3l36hIqDeWQ6pDRyqPZffyKTho8iHEbWnEmDdBMliCYIpFR/S3nnMD3BUYxdoB+xu0Db/1utD67L+kXTt27WqsdLEDvJGdeu9Awz5v09bF9IU3HUZKzhNkH6bmADffjh8eppoAbzznFCYAssaR6W4dbDAnib/gGjzK/0CNuHXGF8lAGW6m3GEdYnCmCNTAmrxf4QPWCLkKFDn+Ex4nhlxHwWMsgIdL2lgkMsAJK4s4zeBYb1otH0w9QXTE/Poc30woko1i+VXkyCZTZPKdPSKqgb5BkYYWvaJf+/5DqRvdmmFXC3ZkSaos62pcpIzSBpZIwWBdbm++opjvzO26NTXj1NeLDbDVPZr/lY+3WdjU9pWLJztXzx59XiMEUgxlChy9SAzY64SvuCCqhVc4NPbZnEZaUGp1f1truukkVT9GFgsKGEessyFeV5WUZouCf+4dSkXWtP3c5vb5AbPQwoG9bXqd1ebknWS2/2kYEn9srfm9uMvpO3GTs/gL3EGjTVCimuSsS1ScOLu4UHYrLoEQk683ArgQ7TsyO/GjN/Otuj55C4shF0ZJVGmCMsTaoX++louTOob/XVCnxFm2xXO7ow/Ieip8BnINeXKzhTgtXW+YqeI34AMUjZrE9CIiZtYl0gYJe1j030jUyMCo43Hh9b35gvRH0/bUuLwc+YYxto4/B1wi0NE6eoT2Gby0Q4Ro9gIL4jQSrRQbh9x70uWOSmZhaS08PlAd3788UebkoDcTZ9Jox1qMo0I/U2BDP96EI44rCGVyu4dlG/kw+eIybF65xefFpsj0zHml1qhGip6Sk5mWyIJga7soqQ8/VRnq3TMWWnK+5uuEbTBU9dXySYRdXEVKbbUOrFUV8Vurp2b+EQRI3nppMoGLHX55F+oLRUb42JsonYmXTffYN6Rn7N/WWHX9j9QvCJJDH/u2BQ83yCsbG760XDTtBdn2BxiT0QVA5lgGmN2/jpzKPm2mFsckhQDo2Cxv/eUn0Fs+qroQYXCBGhiBtSZEM0+jr9JtY5thG7lj5xai9f10ltD2+rC1Ggkvmgs+HNOoTihHMRHTPbQH9WYajKVGIMc3Jec/ldl8UqxRzng3ojG2+BQDabD7t8Wv1NtWXJuq/HzQSRIhE+THU/Y5ii5HSAManjgA288sJN9bXSpuPokj2IXxeLn9fe05ROYZUYnoPsUU/ltnzxdAY/rixRyA7KxchFtaa14x/3lJ3mVcpoZdReCYvX717s85pVGx1VTmRjO6YMWQJrFioXN9eVGzUEWr0JfU5hKr0UQfRbMOLQKzhzbHaKSvQY3GYOo9iXTbe45JsSFm4KpZ8CDZyiKhlVh+6dhvStq92PgXLbDCaC4zdPyqWM9v6lG0PaghmdIGxyezEKriLdlm25FDUOQhiQ1EpH+GNiFyOEZlFr79TudAc3YNzOxpKKrU9J/lN+O9ISxqkUFwlO6YlTTzN+DT0BcOmPLw3oOSriq8iA+9AoNsuhZ48iVmftPSCH7VHSdMVAcoBcIXc9FKF2W0P8navZm+5ZSJLGdBBBsfvJcpwHabvvVv0jewPjMCKU/te5JVzcjOEGhGZxsfnBWizgx8Srp73R9qjQ5XH6cE3MpBGPlhh9plla4Z6r5rmpKfPwNkm5boMxzTP6yuZGfWELN3CyV3YKHkFaXKuESWh9rZhU8mXJMA/xunPVsMvEv3NfAqLxS9bcD+3D41zvHEzGYQRQRYlIFMAluQVv1wueBGEgt4YDXRg5e3ccbr4ZhJ0/DnT67VUzrJiq33/5ncQj4TV0HkSYEMuFfoiaPQgslDoplmRGKrcdu3bR5g/M6xnPE+3A3LvQ0SYugvpQ4PsPbJFnkRcNYTtxjc+qVNEgUPi1JtAzTY4CFECDUMJkgoCoe/qKDRo55bblP7t0z8lWTbEhSW5bLe8qAIBuTZpwdTGTjMUPSkelPWOnNpbKIOmD/wtPi5zEaIK9D2XDN0wRkLO58G16CgGRgDtLkdQ+lTTdc6OwtqCL7v11Z+kUoF7FPbgtjGfYU5mAaTsMKRQtlchS2Q624E0uedeIj9m5GD7NFUxNS6Q2nkf0mvsNR6D8+DJJIsUNj2VdX5ddZfU35uoyxQpdz8vYIllq8BZqR8zpMtQRNrgSPJ2FnuQ+v6nGxRLaVyeru/LTsT24Fd+0YieAgwpd595q2I4OFu8ozjFbzVCWTP88AfzOLLLIjGYrjAkBo2IMwjyzKcMV/Pi7xOuLQ2vcGXHPIr9Z5hjC2NpDVL/vrpFGFeCa/TMwAmvqPtnJM2oclen+Qymrx+hY5oZNZz2gncEwUbuB29FEW9Zr+4jFpVpVwPYfpIaDHgcsm/yI7St24PIVKYGRPxWbKxA+1ZQEc1nbZeY4Rmt9Z5RaPAfIdiwgGT3kWx9xbN4YG9/LyaCC89PCK+SBl3WhyA90F3PxXYjHeDYIWn3L+dHvALrnWOv+xkPcjvzk1DSRzTRfa+WCxybRZoK66lvehZpRPaaq8B3EzBWTTeCRt/yw2aLkPKfeyquRXaBexwjlGxRRiFuaGSYJKNHx8K5eo8F2dAvPox8AcQrNLf848ACbRzrSUia9+1om3Oq8j/xN4NV2E4vSnewmKtkYDDrRFyLoehp7rNEcTm3axhLs/ErL2ZaYElU0mEyDsnDXB1b0Hyr6ag/Hvf0FooXcsND7A+vV0zhYomyIiy6eIAbXGvDz0WbqItHXYMPv8sjhUU1VLW8GUnqc4l/I8pPF8vQOhQm1wIE/QEYxJuYfLd1wmIaIPhk5lUJolYygR95y5nCPvTqNOWg6G+SVuR1gb0iPIkHyOQGcY3ZPLXNn2HYbG9fGnIExh7eYi8tmTVX5R0Zy5L6kEZQysBOe1oqGmN1K1RIMM4anU3eePaIeHTK450oA3SQOpYLHGrFiMkITbE6KIrDrbt6xUkJYqdDgDhllGEpM1+smBDFUcaBX8aF6uVKgq3cFsKT+fsZdYz1KcVXJEvEaJnyhqXUyQ+4mDUvjDQ4N817qwY89OEdCXMWhvE0HWrfvu7H0n5GHDiQMRtZxRLlo4NmulwIZKStfYSpWe2oOwcM6AHsMPI9OErZ6sExZr/iTVwCh9224Dxj8tvUhjQLPrS+BeklbhqW/uQoqNbnfl5WQqdEOnFD599UOMPexaWim/DmJUxUiEQ3jTZEo1D1XwrqUblhxPrbrcvCnw+h0hmChqZkORp7xIx1YWrGbsyDoO4FXyw7wax/7FTfMbzQZOXaNRYDxlnKcuzkK1zWn/E662UopMStq3qpnBbw3HE0v+AtuYwyURlsPREc6lJX8w6e02pSUsuJ0r3bSSISSpdPdT5c2xs6WsGBovw4e/LCctgJ1DMBj4PiMfzFdZOxMvymEaA6Sdi5oDO47aYuXukxbdLKifuVueIFVboZPODh+3f95uIZArtla+sFJqScznLGToJyofmD79LPYXZ/WTIpg/GDb8N1BSnz83PQSGsdr9Cws/8YDgD3cPu2oN6UFIJ/NrOITkCIX/iNBQLF1wLg30eLTOpvd1MdjZloSYMhtVqr0Dp5YkCOSY9ie0A69wS1v6IjpJy5whzsT9hR2NVruykCPjO6CSTnzzCJxZhK6KTrg4sqUPtY1lZoMQldNirYErkpyaPTyIsrBKB3rc6U/KQUYa9I0wYD3Of8XM2MdDknz6aAtTeZxl8II7YdDhR7t/ydxoEilV5CStbflXddDLUFT726b2+l7bM0QSYJ9QY11M6BfCIHNhoQvbtr5XIKMse3lMOoGMyqQ5Ab/uaUtsPfWiA2hCWNAcg1DBtrBcpeuhs3HwmSVd+00PKa7ktXJDmGM4ex5S6vnSGD4JdbKPu+EsVv1LAKWpqkUdGvN0qbEL/sb78dyJwpQD2rUOoGWB82/z2KRjkQAlL4CMMFByvvgqPkOGH0BdscClCxUj513Nv36lXTVwktB/q3E5HQ76mFdphm12xilJndGuhyr5uBsSxtumiAqkL8T3OcSR6rl0DqUsOEjndxFSYLW3NyPZwVhg4xtI9tel3ZUoCrv/memTVRVi3lbqSnYKA6NdYcoxwPbGZ3YN/Qq/YgBGu0eNX9QP4kIW68BIXhpyAZ4VlTKd/Hvg/LOmHOGiNM4BOTcjUWHobe3SrhcmMXhk+EFZG4c/wNdlWXZyd+ioIJgGX6tDdrXvkbOeuio9q2X3eHI1LWOgEgIeAtOL5es+8TZmKqyyuFdO9NtA4u02/sIwzSIBhSoQuK48naYwQABsiktUYm/if6RtaLX3lUS2YjgmLOjIVKd7AKPey1CswUWIT+WcXjlwsToKfxAy0FDy4mm0M/+48+uCt0twSevX9gpuAInXkm9LSC5jzH2OpO1PyevBftVEZH584KdofCLtmXsk9hvhtMDgqDesX/zzcs+YjCu4PV2c1wFu5H+F4RZFDwY+H1me3v6PRvCIOsCn2h2ZLLYHSYowastEQjxdKkyOUWtquQeqSBjGAGCjxcFylOhCanbAsilwJQ2z7ngA2f814EQXBJITnXOb2iJRDwC0caFBs1z9jBGWcjASZgdmyU1UjiRhSznYby/oK+HLjwYiCtpZ9YjF1x/PxLLpzL+fa5uA4HWnMliQn2uaolpaFLs8+BnwvVn9srv935kHsaG4y78LKnOBQD7IJYDKIp2Jg5se3OyN6AiGaj/l1W+ciSrkK3T7Fgh2KH9mCg896CQrRB0zTEvOq2XinJg/nc+1EPDKbfaCzhtJAoTRTXJWIYEa9Zwie+SfOsVEmL+P3EoB574rLmluzC9MVWKxKsA5RLN4HQQ6UHX6Ox2QZNLCzCRCVuFUE4jW+dWhG+HVtUX7UOnqmWA5jh+uflk6TkLGA4+VIOSMQaPZiTpsBcpI5f9rgW3RARgnc3v7xlfu+R+d7RTpdkVSbXQ8kEYy8NuO6qQwRJepPIN1Jz8ECWXsDra4FZU6rOnPrn7q8yoSswxNY2KepFsgQCrZzgEJKMuIv/uRhXofxaZCzBA4rDaukd1dN0aXlwK9Yndv8fvM8N5WQQs8OGe50H7wPyD14GuX1G62QnFeLKlXSgJfG83w8PTpdpPB9jSxUN7yzvHd/Gq3vmHuT62WuGlWylaUVaMc6qUVz3cMkZLl/17ydHv7JuFQS6ugjodQ3wchTHHEeCkQuQRH5TmS207vvOzeQTGlR2CEdfbAJk9Hm8o9Y5u7y75Tuqo68j3maPNdtr3qM0dkNmPmlJ+8Bh9MhMW4hOX89rcppYGrzW1pmgQ+HSkzesuo+LNEM69xCC3o2/MBGm+xYX1fQSKbHZ4fSm7D9GdSM0Sv381ON1jyN8aPCVcLxvPxUY/tg/GwS1WtXUCqZJDeTotxQm8kLnOCH11uddl7qiCjeLHH0jMQc0AJ7EPW7q3Wly40YQXAQGASip8iRWHfEOHO9TSFwgYBSBrJWIxSrzEI49SXeL+J0EvJoGiZK5hYjfRCmLrFARGk7FK7Vz61IuENnDvSYLZw/AVGij/47mgZVfifzVTzKl6zzDTogwoT3PnQ7MfmcFUcOu+c8AYXbdWrob5r+aIBbwYEzD7I8J2dhCkPIsHXQaXbFrr7UJdQTllqF1Fv+blkRYoyURWg0hkgi/Pq9ranqM6L+7/zMwYtwf9NFcx581OZ4S+v4um5v3rJTITS82B6+o13tE0kGVI1Piu/wHcMpU5+44UFdOpoXIS9LTubZEfjjQJ6xNPfOXvZdBasHso1//oOasUH5jf2fokkOolRK7Xp2U0RIWy++devb6Xs653D0ZMnJecuB3dxFMEcYoJrsCuoAQKyonkJR4t9z4e6LsA4Oufh0cUHjlLtROaJaLjBothxwAyM8CwkM/81Ikf2hw9T/inXvodUFMh9tB/aSyHazF5bwEVfs1LRCrCNmL4rII8yNepOwLmM6xnqCX0NJYv4A5Aag2Q7klLA0PQG61Y7yG8ohjEk9qBbssqq3dLX6+Ch5DPy5XiZoIBasA3ZsXVZsskOxj9UWiJ5OYCJ5oqSyM/GJCfQtMkIfL/3sC7SPIPvL4ON9CzBAVz932smtTGDarLrkV0qK7Olu9mI8lJTx8Asa9e4w8wwY7d+cv9VO+KdN8IsVoPsE5Ym9tFv/HmmLOKIbs5GfPT02QWdSKxc8AYLIbiaRL6diB+jBsA6YJMK7H5nXSLjkWM2UwRfpWqcXkBy/rBJ0omNVgk10SNuwW8wM8SMsHD1kcEdG/QxqQ8zzP0pd06nYepmfdydDzMHQCXm1Acn0BoOhVPU/avwqNXmFgdL/jO8i1Eaz20vKLX9XNDXcKo985HTE8AeB/FBKyqgyYtGc+UIgPvIn5rJ+AzNpq9PofZO58igzA4DmX2HguyhhoK+ffSqBbOtmqWbv4IJAdfE9lGRbn8nKV3/q017X0zh1oRZSmoU30K8WjymSsHp4bz1C1CqZlfNRFFqaehoKe5yITFREXzhzh+IWwx8UifG1+SVlQgzsU95NBpiircCR8Uj+OkVcTJY748gWzZjbroup56KH4a3j4OndKUNBaii/83LeSUq7DGi+Zr1zeljz313mOFvWgJk7fbM/aU0GqFFzPqcB8EtMhuTHLXC1XT5E8jhMEWXh1d4ttBcKZwZduIF4NiWYjIG7SQeBI0zyq7Xt3k1whzr4peq8Bb8w6G1NW2564FOjpZiIGTnjaSSAUSHo2Fj+KZxkqsyMD+MbCZS8r8zELzZkl4kFVbHhnMhSfpcU7gAcULUxNjyGdeVwz91KRo/xS1SwuPvbcOmEsj2hdBicHmtVb0Fp/VXZNnGhzaCQn0hhU42D9FoN3LGH6lmgoEYRgo4qW5lg0Y6IQU0i3Oz+54RHjRfBEHqPsrSVIK3C3ntvypI3zOV6F+8yxjlXuHJpxZUgd8oazKdvyojKUVDqqOnn/Q/57KXuHyQK9f+ychJRqALd+TTNqRvU39Cq5ADiiaof1NsLPQj1PyNtwQKMwQhcqGGzsoj+ZHfREuCP5VshlxqBFb/hxhPpr+XRbXkW5jF36dqsIZdS5gNkiOTBO++kHKeoOBGo/S1+1/j2MxoGtJyW53QT8wPKh5OjqZVew/DjzjvWdps80v72sfIlw98OBhgStDijDNg2YEJR0dmEn2D4exVLhNjbPKOzp4oCNm/xRJ3AhSsinxC4UQcKK49y6oZBi/icZzHvkRmJc/NBiplnXmZZ/y2vW/J8V3bwG1gw5RGy//NjORM+BCwh19ch6wqQdk3UsG3wAvyax0dyKcH/MkPLz0Cv/J7KoQB1VPlXrck3gUeeO2aKUb+d+NHZZq4NtzdPqo9GDLYBKSs69ypgdbIc0XfD6qq0LLi7JtP3giwi61O9DE5eqyT2vlnw25o4UB69iZS2jPqE136A3Skf03wVEVQjSdx6jqpVlN2r4M+Zjj35/GpSVcNuPnVjvf+bNwjHJcs3gdyXkLdM+7fNc8xIML05KrjwWnt73UYOiGei97ywavQrBcViNDzd/SxZqlkMTCODjLJuXGCgYoF+IuzEekmvX2LczXoACuIZQZWsK2Yclm2cmaiyB922Hl32xZQJQnkCPyrCg28TCGV+lKM1imYzDVSG95Qs+UBu/xwYFesQn389Z6p2+Ag+e52FIpVjmQiAWkoKSeRQgUftjZJf5IzhxkVTNGv6bQakzlGXMNQXe4lTpHwGc8+wZj30KL/YuS98ygF30uLf49241T+ElNITvw1A1+DsfGR1UyDSfW78Ez+LxlZIuBmP1PT51PCFmKhsTqQsOUSCvDBEl8G0cmjY6llltCXcwZExvtjLGoFfVDJSXVXla7/TRxwMiGrTdCwz54hp60XsPNXtDgxqGq4ZKxrorWdXjbFAAdWocrgHgbvQKHGBBe4aqWCwHZf0Bvsm5LldDGOg+kbAutbRZmWbW93ELlrM1xxRhYsBqaWbUWDffwM55x+MblN9XtoqReEdsW6O+nPiofK2ysAJ8ca/riY0orObqJp1qo6LKIdaL2AGWdzDU96N9BjmsmioiXeAQm50DQ6p6Kk8/cPpqgHVKHcNL37q4wR/M2oKu1OEXwYVLT2uf4LwlBGNaX0umB5zEoicj3YqP6mbLBm6Sf/eVqzfgqFS2WU7TiwBYWNKKCCFehrbjM+2e5KG3VRlFO95u+jW8Bl6a0ksWg9fBAhog4SSbpbnfK5pjuVHlOPpJpLwkRaz96zNg43vwbA5pEsGkpvvCci2+rwcPSQM9KgnNDYW0oXk9Gpe2Z6VHFiwZc1XyiSqkAvIcKYJ8SCAAhyxP3cRqXriBJao3ikFNIiGKhz/wJg9YODOTzEggA1ghQxcLl3ubY2fW0mpS0n6Io3AQTb4lS43yVVkp1e2J24wE0V7DfRhQA7q13V+xEnPEFE7AZrytp7q6XmyTr2AcsICpEOATklEKcPGALt8O6/hn1jUVmB7C+j5F1DezBj2NeFEWsV6zB5tcD0I56m9Jdj8lzn3jhjQAJinX9puMeragILn+hJ5Al4u1R7gpj8riCpqewGnTn8xndnV6WIJ4vuSTqs7O4uRniYnZQToIHRlEro3mtgnZl0IXMTHjxxBCVR/t6fwp5uQw3HtmezerzURdkhXSR4r/Co4ALHaw6+x3XtWdOQsOVbDQKUxmbgzIBmKlpwqiA8Gtg8iRVgrYmA34gW6MJRk1W00iHIZIBCPbDCag3y4K8k1QktlfMFACyPXArztyuIDVsuaHHx4d2DmVlseETctoQ6FoxDumpzDSF6b+s6utd13Osr6M3alDvce6E5IH38q26CklIq7s+3ZhHOXJLDwg9k+jKg9GZ8fukU1nzwid8+KiPeVwHaAtLXbmVzRJF61Z2tu6jCk6Sb1fWrw9BAlUJGs1pTLQsspRNXD2XwtT4hoqg5Wsumk0on/0jrYDEcfbTcaK/khc5wUVwbHaq+K2uXf3P/EBagy3rwnw5U0DgaPKUNmCrfjhR+xDBLWE/lQaosJusoRdjUGca5I9Myhipli09FfnCC5eJZFTqHhAxlCSlY0M8prqrsxBg3W6HlWsSKNX3a4QSLf1IBcrEw/epL70BYKxBdsnUf1UZYgGTOVnx+CkEaeVk1Hx3ztTo9YCZc2mxXsjjU0HP3eqscJZ5awLJnwehfpJR5bKULbk4C1PtfmMp2lDbf1k2acjKlTxyzCj1zziTQwqiIv1zKWe5zy/kLTAOTUeIMSjCiyCiTEqZVzR0keKhE5juLZzuxLQ/yQLWdqp8r3Tt5Ssod+BOY0EDMmEG6cRppGIk7UQe5EVdHdNhkZY8ntDUaV3FztrDQ9vfmO+VPKht29TIagLhKZ3OguutzJLlNChcHug01uVoWfQEH6A8IKueQEcyyqvGTmB30mcGw8rc3UXzpVIerr3Gf0YfykQGLDL3uVkeXOheEL7KzSrkbUVxBvft5ogC/bSWNzjvjgwxIU2L7gpUm694Vc2jlhzr1rPyFbpUfssGpjZ5fqrnvc71nR7gZOLUahZijd+X2Vs2MV4ppxY58iYGquW2/rMcHGUGeiE3EMpeXTJdUszCtkTRlycI59I8+4gDk79hudrAenvbp6bCFFMB9bH4oPLBmDWqxW4h4Df2ApnASHqEJyr6N5aChjHgD1X+HZvTSEXRLks6X30ScMDA/m8v/klfIYtRZUVDPYv4joGDNOvZOTVC89emcdoDbSESjcv02ofNFZ9STRC7xvleThyeekdfnCeyT+eixFUgujBNGLBJJ3G0zLYL3wlEdf0LbP2Atapdf5Fj/CD6/HSuIlE31NlyPrhTpUxwaOpBrH3z7ZQEPlQDECD+KfeQXj9kHpV5mHh7B0SSBcek4ERzvixbZNn1vnpCJZqmWI+loMcYyFq8dzZMwOKKwS7Qkgq9/TgtnlBBnYm3UiMua7Oxiqt2zeouMRw4Yb9IDfkWzKSc1m7BhTa69ErCHzYQpJYdZS8w2fjYzboJmypYb6Sdfej2lxrtcclXH0ve3AfkaekMABhx5TfzCfW+NhW4CnCQmPOZzSKPIaF17WEA2KSju4s9lrJqmT4g3woyLVuB1LPW9TsvxUmJk9xacRqZPJwJ/i9y3P4bXufc8eINzC1IiUPKp02/aRFUOiQeIsBfVaxffiqRXQOgKj82MCJDBQHAZSVAWqBicozE6XMxgrLVI+g4l6R3zUVrVSYWs930XnvzAw+cYAi458EAQgsc/yT5MHz6XNXdGMj9fErOiFxXAegutJm2D51QylxDVXHjZbd3SeZkdhU0xbOTKBNAqdAzv99L8qex1Pks8p3QEwOU55zvAb0aQVdwJAxvl6VAxRp2oeP/xjUYJpyaByHA5jYxsSL/GKc+JMTnXsMDoUS4BBnrFAWzY/sgnlK1fpbNwmZ8dFzefYPmk6ymp9aT35HG/isu2YKhrGxsdhVDPJiTq6FS1umw4AULk1Ivo8Y7uLmxIfeftqOn7IE7gqf21aYQK8XR7vfmVQc1NiNKWZv/tqxHV8/VIeLUBIY7dsNYCr9ECnjHXfy2kmZgDF9CWB5u1o4NBnW6QVmX6yerpCkfGkjlMECJtCBQl1DXQYbjYIdFGOIj7YBVg05j+LdIzJMEYQbI9ze0xjabzTZq/yAHbRlXU8g4Yv3g/x4BhIsRvoaNA5S9b4Cz+zlHfXga9WBls/RISwoz2PWBrg2omhEWGPpw5yxtXB/0iCw7sfqVloHxIeBODIdhNVy2V1LdXET6cgWPMZ64PfHVfRWga4YLQgax1a6v0ybsZKSXja33W+Pg8iG6C2l9xhAcVwa8sL8rBNOO2Rb5IGtMjYqNwcqkOofy5Cye4ZWlJJ58docZOOG2lZKk9GpP3vgzSON0tDV70aC5zUs/cr6azTBPW9ry4RpYX1io0J9s/jxul1i0w7orTj7CXH/jzpiKINNwM/g+JNRVJfcv6X40ezBazPXl/csZD+677jX6pVKyLye0ybwrVDi2lMF6oIGITbLBpRMZ3eMW4Cv8jWWPr+LWOjvBRqayM0ifPx8gA3mhjtsZW51CoQvn1zBgBs5zgrfanFu8AX5Bl/8A3I3kL1B4Qn4c3MrrGQpar45aAK7Qp89Ho8Piu1dF4Ab39Pam6yYnIW/Tsp0Fo8Kl/Rs8CHpC4zC2voM8o5xHTwCvNBPjQXEoqaL8kYEFBdA/XOo5+e+CINyd9XrSDbwYl8GKfrsUcU6gRw8soOLpUQf3ElgyNjoWfJEhbVhfK2IcJM1XcdW/b5yDVA8N9CDM34iwRP8JjgBoI0PIstp1BO3nNdGoYbTVccHWk2qld627XqB3Z37L/+VZrHzosxDJOvvLbBL217TXnJ3ERNuOIQUSt3DGRt7hiVJe8vd7wC9yTl7hdC0OtfhDW2Pc0qjjherDkfAI5i3JpjFoZ89+4fRZXZZdm4i9L81sloXcMEQak5BF0E0d4QIe2qjSxk9lt2NlugRtqct00tWxsREjvB9xp87FoTp1DfGvhfIrsOqmV/3b8yMazSPrWw8qAJNuFuO/TfpxlsKvNP0papB1E0oppi8/pHcuZ/D/Lq6gCY18/u+sftWS7O0un4m5stSaeySDmaBimBSOgvX6KohYsnItLPK/y4B7pF2XyX4PfjQ+Ch9+jt/lXGfhNIWtVbc8MB5hAfCyoWMgjjHZhf+eCxikWol9o46kugWUorrabDAKVkEukj/baXkCjtrvdwyUU/XgVXCbs2ko9rj4r5EG5gO/YImef0SOjfwx74xbV/UN1KsNY5swAZLDNJqAZyVhVRcSflxh7PRCKLxjMHgwHDRB2crVNEKCn2y3ABeK7piAtrnROihl165Oyzg3P7qSm046C/fbeONvtoGN0qC4ofJnEGe8+HL92CWH4OQ2MZqz4+j+MPIS77nFo3HMprIAF7Hk4uo8rNYk+e5zxOkGaVnyXN+7tItdYg3q6gLDqjPX5/NcM9dXb1pTtfA2nC95sraWu/3t/LvK2dPrVigON34jAKKlCjpi6jIjARFGu0sWzpxfG9fg7fm4Cl7kMYYFoYmBpmEG+SjZXiaTqcZhp6uAVLBCgpa6fuzfHJKIvMbw5uHEYMz5uyfFw1oGb78sqoGnID7FGLhkx58LWYi4w4Mm5S6D+A+spKdqMvWf8tMQ2I2keeKEAsjH0ZnpCvjOiKlxDdM25cFG9QK9qxJvV0QAq6U9rO6K21aVLgfP+LorHXwkb+antI58G8T0/JoncYsIySzSjoTRjmyVPWg2LzhsvDWiNhXTk7IC3zX4w65Ko3N7CD02MoTLHSHywu2dP/sb/+xeMq5YARfVoUP5Qrbt0di7fb6Hkd1mgcvSIUlNG+a4ny248XYioxdgMJL3W3EF35yFnmzX1/d6NaMbEM3lYXETNnqBfD5EMm8TG5552rUxr6GH1PauqVELw0Rl8vCAF/g8ImXJAWs1iIlGdadjsKaaAcHRRVKyhk/n4cmDG+MDB2LHOftvbUk4vwGCEMpbh378n3Oz1pM9LHUADZ8F3ZhICXH7sjM3+4U0Gjr+WHOsW1H6P0oTMH7+n6n8nd41XXzgy5YCAQFjCxfao/9Dt1VAkXxzIjXjJwiiGgOx/SEt92/0qyYIFeGa7a/TkrRcuttUxVw/YZ6u2WUTxjNX6vSZ1QguCfKGFPT+gcplQmxIdWjqSv3YkEsMXwwjZCgYeIug6vUK8sIZc+j4wG9Y5zBAPcd2mq9BjGg8z+Kgb8/Zvo3aUZQzI6NUqOWCqGBzoZkoiuB3Sh2554+TSgW3Leuq8HqdNWp2FrhEJq5Q3NBpTLc4laBIUDQyavC7LA1440Iqr+q796mznur2nqoF8z+AgZaXOPaR6TL7czPBWdfGIkTlXkpJ3VWEmQHBgEmzi+jjsYKZu6t5z0VsOT4ScIvOWtTNBqiBwV41o0kHIUrxITVBhPOY2EVALbLuhKQpXWnN+up+6lEWGG2f2uoRXaBbS4VxUaEY9jTwF3kb/czjbvJZeaQSh4ZC4zdBva/wYjJOrr7wAQkbthBtR0u2FqepDJn9fq9AODPjX/ctTg/b0CsymMPQe0GNL0tF3jGahmFJep4torE/dPnN4jB3xEaRf3ewklZNUg/hlEBAxv8pevm7xghrdI9GX5f1Dy1Rvo/RX2bMaST6ue7jJJ0FtcTsAiMuSPpHFLA7Vj1EOJS9N8e9HKwNCNXWJBUmpatpM8hHLz98MWWCHUQrnmGlGzhntev9DNZ0NicFnJ09vcNRKvE6nh02RQpVKi/GXtEzssw+Uz97t0YhDPtXdCtgie2Rc+jk3nfzhb8IX0a/5muSLleJAtMEd+vA4cS1AR065xUyjDKIYVfNLmZHJLrIgzhEM861/sM391y7QJSOK3N0AcfrLpD1+gig1321TkZdhfa8TeeChrMzj6wpXge5eQgj0b0jGnBdhg3/9lXydwjL4dwjX2woNy/Ps31ruYjEfYrQwPPDG4UUbOzBXNm5+EhLVlQY9PRha5f0s8vMAiEqovOdmecTqDeMNSKYuawLrvHt0ad/Yd53BkszWNFnDp27ek+YxCIP1qXa7pKQmDXb8fVnv5XcoGC1mKVgr8O8mraR8fbvnnr7IghVCGAmmfU79gBF0X3avJg1naiKofxGcKlreERMNuaX5zxzzbV9Va3Fx5AtNa3hgCMDasdZwP9X7PRfclW8sl7AOnFUSfau7lez8VTnkPdZElPLsqOqZ+gZVw/dgWeGxoNwFbtKt7dE3vS51/TJ8jl0RS7XDjiM5pKTuONObTo4DzOqsniuO8UmuX4AeiFacOCCH5tndioqn243rXtoEBcCwDxV5O68MpxR/uMyenadr9eMKkW/MLDhWfxtRbOkbb40k2i/SwvaPoKC92IkRcOEusQxhwF6MTRst6r6jUZzuTFYSu6pCtUQhymZhq0NF9cubwEsaGaxHAcNCgO+tGJUFNy1QezvZljvLCHO10pKUQjJaTYWhb0ygsFUIU6JTAz0B1nKXsx3irQ9NjRoPGHohuofYAZ5GrZXaeY7mYnKa3V6wt2A4OQmgsBxfI1PlbgO6rJWEl6LZTwejAYqw4TMn3U7HHcao1l3wDg+n3O/tUEFkrPOBIqbIz/rfMSwQKPqUPVOigkpD/OLuXTy+jwYR0yC+D43i0dstj5hnj7YFI6GLsfHA1HhgRqMHQxQgKQXwipI6WaEmdhAiEP435kfZDvQ0TDCJ4tYrl/bscRNe3PCNJH592CxF/RP+ALWboeQSwXjPtJ2ulEFpP82NCQGvvxm/RUY9sM+74cRLSUtuPNoDOQ/19Fc0B+yAWvL/+Hkh6GfeCpb0gcxsE19iUg8ofOu61NyIIidhdxpj6dEjAFasM54Yq+ye4DEIt4OuQttDHdvrElnA/w7NwripKWhWGFXDZikDlzSqfqFnfAEyhaVZUF4hgNKyRCIoJPfLCLBDfLdIO4US/XzqNcpahpCwpupmL7qQCKNvTQOr/gXMowDj/iq1o3NZ5AD8lE+AmPT4+6Eojzq3gwxOFOrDLkjZK2qXyf9/TIZKZI9uwm0SFqfpUw9N4Rxph0r6+MmzW0T8YBvlfRwLwJsuTJzQnUsuvgkFR4VvUnT6RYI64OqnjoGARn0SvEFCM64zoxx9ZE7xliQSCLlifq2B9x07jq7mBPfmd4T//r7GBxSzUQa8XBB+pkx+Mx1dtm0dqh/Fc7HGIcXhr4B2JZSnKzEOnD4kMMXZtV9kkNxmEMY5/8RWTct5LFad9Z8iVs4y3QXpSj60WbqtZtxey46GXj+Z6V+qgCy4/70KqEZWcUmbu3WrxtpFgYANal52a1GND0muWd33ytRpGMU2e4g1srty3qtWMBfQYEXAaJ40723dU6WV9WlkHmPsuMhjdb5RLXbF3+oGeawa6XPQn3capJmdYG2D3sDLASxaqTGeOLUtlgFpbWS/3df0/gk+aR7x49x9L6i5T/lpqsHcKhv/rlfefvWVHdfRfXxbcqIsh75xcD64wL0qJjn6bx8dhI6RIXfGgJIILdTqQ8EZrEuEv1Nvq6E4q7K5fZ1c64I6cHv8XQBbQiVQ1QnA0SBRws+tbXxbBVSeIGWCEvraKiDRiHx86pKXF/kGtK63ahJmdKZuPl9CfgY2NhwfBAfRcQ/xKWK/vPUDG77U0n/q+iJ7umzilFNjIR5vwL4/u8WO+g3m6Zwpu0Q23x6HEdirxyaju0ABgnH41g8+9aeq2a7MNcqTtigRGmSYbpV1DO1FyuoDhzIxR/2SAv6kf9TopqbtmcUIhFefbPZ2W7f6vEZyQtXFLjvqk0WTs0utEjj1wwAwq33glfKmNCjWFLEeuZLT6IYwmEDOpPi5SUaX5G7eWcQm7dQYjYt1cTzouSQ/NAwXmWK48RBsBAj6At6KQK02SKkTcK6qsrUK3Ae0BdzWF3LTELmElK8C/ojmlKvyRvZZPhWfMnZv+48qIzrUyziCKvaZDAK2VAipqQ3eT4TlaIb8g59UepGxLEQnZq1c1uMpL8x5qZiPj+LPLBE3bGxy77zlg9HLpEiOkbLn9Fobmxg31UB4pLipTIHEyDna/nuuCYztpCmJUaQacODUactcEEImYypmqnP7HAwKnWNi5T8awSNygkTPLLUeP+4aFCg8xXngsuPdSfSDjY1K2uTtAHSbE+qqa9J7Q8pFCFI+3UAtwyPfmjcRAtubDmShLz1+gQLXcgzwUtAbJLzjO/ChHrMs76ueZnQgJaEnWHWOet/fLVQhp890asKYscJ+VPvCk82ZkdssMMMz4QLLZpAggm60/ClXnoL0H4FJm5EMULQkY/2E/3XAsCkJGn4koHJCJvc6dMcmfj0MjPLx9suTvCGg7UiBs0mOLPuRi327+VUiK5aY9wFP91V8mohvovO3/2VLkCY5HvnqGf5vHEh7hU9LOGzuBVIEpvN3TyVPNKuVjJrkoqSosnI3kFM44VPwfqMl367WUKQ2xuGClAK7BkyhCv1fzBstJ3ip14Zmo91qFcusM7jpPkU3bu6ccHXPzrnfZwpI8xfLc+6wQ14eqMdaSPHlloMo52dWejodgxCr/Wu/QhQiJ+dHt53Eb/JS6kSiQNGwuVoOXVob61m9FOe6bGysUd+UHI3r/jguRzoMIbTuZrb0b2HeyF4bNUlRKkXG0rvFoc+LwrtlamhO9GO7KLbOCH21yWfgMoyIfB66KZjEXkyyw47rZX9uo0pCcvcyemzDVw3AQNk+4qljIs2C03UOQTxuagNBGcghETik+bDgIbKN7NkB6ylcMjqGn2lmnri5igKYB6vktxX1JGASwJxf3VC0lYfghZAskXdF/GjiCU8yIObedPLmUH0aDKUPlzqRlDl2BmH5Repjhx/SB7S+CL2ow6AatXhtC6z6p84XtfkmKvLRxL9pvLZDt3tF3b+b+lZMon7UWc+H8yz1sCdmm2EYxuz6TIBZvx1qHTMEa4+t47Trl1u0c/RYMOqkr0/uFV3uBzJNarN/vqMlE59xG3X07SBWlFEVzjNUgLHprXgrJwTOZmd+ZOBt2cRs17tuRZk8jZN1uoQTnzsplytL53Ygd6bcNQlLFlv21vB36TwxdjI9sh3lFSTWrt+CEC4+ugM0lzzf9gtTsKkWDe4b6gs2CNJY8fRGbRaVam8GdxaCiAGtLyIhFc8ETLiY3KnZ1GfYpXh72S/CLRStLk2cc7MPSKIT+H/GVYt4J3wBWZX5q3/NckB2ZoKVQko+J0hqmJEOW1iEl9Tx7bgIhZqQAn8V4FBFLsuDhNXOFIGC/K81gcMm9BO0l/Ag2Jg/wU3bMUBtxNxagldYrXfmVW1tup4/dtnFbNqmFV6YolwX73s928yOqcytO6mLv+1yW0GhlAQbp+nX+lQC+S7Y1vJbzoN7yWQhbOoi+OgQU04e3diCIQpS1D4/1XHXjorHOjY1bUp1aJANfZa5k8RhhnAsCdTN9skpm9k8xYPIDrcyqeeHpaLjDNetgTUXaOOJ8crwfxHncXn+8RULyB1yMdZ3I0Q3oetlooKRPdC7rZL/CYGr/2VUg9rq6uCEJC4tqa58Qai6aycLi8MZQvOaDiQyDetnkJrrbM2FAMZvdOueVxdNUveSBQ5lWNkAhm5GBjDi3dzt0R3qI192tlyg1jhG8qYLNcyysb1ZghsgxFOqNfDdGeIXVNqexZ/+31UCFFHUWcjH8Y7g+pO8eXMCIDV02rOAbm6Uzh2ZFDfaLWYQMQgph4MTP10cxwJuEWQrWF+0ywghtbxWOm4x8pv7cdcujWB9I4pkrUz8j95Ys495Ll6n6jSs3QL8dDzstUnaVjGSYkpALSY89mXzvcJCWmKJtS4AD51tE0Jw2GGj3fC8P4pZ7pD+Rw+8FsYT2sWecY/vNz9/dbPSLPjEMV7crXt7RajS13cVEzWyfUEtI37jl6dtWjLpvID/CZorC2nl5OzsVPDzZCu6iFJ7ksoH5q6bK3RKxAOG5toPr46aOIRc4H3duBhpZncc9iNwpIMMzzKO+wohylcHwTJZB09gqVngPJcBncVYWc15GwVjM+qTEF2nhNOJHLOCxVD/tFGV49W0nFIT7NOzTxGeiiDbJkIRrcbzEMBGEvhuw6UDSKctaqXP1EpC5luC+LIAKDt3MMyjE6T1pVVCIZORJUDvxqEAILp8cmB5LQJDYgac/FQPAFk+klZRqf17rYyko7745EcEnynRIE/nAzfG4qyxtLdIaTWymhoBSZICJ4YpDHxbQBytruTChbMXpMojeM7rWENJbGohoDzylNg+qwDOti4nWPCzXIq6mlo7GMQPh2D/TdwuCC4fqVhcurLWXuSrS8WoK65t6CTUxB4f0bxSMEwTE00Y1Q3w6dY0uAgMhji9gAv7ohHVj9cE/cmjNU3FraKgSUgd66w85Xir0ebdKNOvgFyy1Q2GsDl2FZnwCsTDyQppdP2Hg0P1teAMhx9wjB3zn979FiueNg8PvUsMV03yrV2jz3fJod9Ve1465FG/wyJ5KMVoeGGIrdAXt57V65zKQsUSMziQC7yZJM0D3jjt9aD+Tjs/FeedWJl4MFlP3TLDGrCK9Sw7L/jqWklLRwfAZUWZXZCbaYy4S0HNbNZetzbwlDBrCTg3nF1xfi+/2Y0cuKN0PtPvl133Ruj5aLnQSIj+tdd0wnzV2kAKqqVVVzSvpoiFmREvrAzcKKAn/MJbEAr8K5ycLGwEJMub76/QXrnX7ZEeOWwZFWd1WD9hicQT31HxKVxKCcAizZQLvLKEyWYcddKKmLtY+Q8KQ9o3LTZ9M1pYzAvhebZuxGB8zKhQejnO+MOgFPk/oUhTjOXJTvAuL1HocyH3ywJdpiIT9wRV7IAIKgYNP8jcxE9jEEbEoULF7rXCkEzDlPhCjNJ11tBA7v/rYZ5umsX8wBDhKxCepUVs+aekJVjStoPe7Zso+R7IeJyD94O4B14M2C2BPkgB5fSyhSf8GnHSYePfUF+LwXLtf16c4+2Xnbf3KUQ1jJU7sZNl2edE44S8A/YllsCasomlmPTjMIIFZd0qj3jOmVTmDwk8Yp1+y17xDD62r7uQ/RLMgUXJMKYdrR4k9TFGk+ZkY88yeURwYydkv8+pQOrw6Z4d11wKcbvDd/HRUmyvsZkG0TKEDaVXfwBMet4piOdBUWbgu1MhU2Qwbid7WifIE8ATCL4ILheN+Gru/Q3HMymGBUzhYLAdw4k4pgl2j8fvJybCWEKNn8NvtavSSPJJaosxHS+KkZJ5Pb1VOyla25oeOrJQ2dXE+6l9nqI9kmss1KIDxRO/cosabcuzukXJZGTf4vjGWXVzN7lThu3+8brYMMBbSFyzQjeTZ9zHsxJlP3UQ2uw/M9jCfE4gF+oO14nODUy/vw3qoozpYUwOiJZjU2hoiWLbrDvWeXdZ2d36klBjq9hXWIo5IU6Ex74VncvvM5zH9wB+j8GWAO1x14NETFAjJqmWh0SE8A4LIw+iGCZfADLmXtj/TBeqiqoz2ouCJ+W0XlpL3IqCiHjjJy6uPsry99lowNc2FuELmkqCJ4CWTuzxCMGBKAoSPIMr7UaaQ+zl6Z+31YGdQEB0C3eAx19VMFNNo/A+3fXyeMZdhBztEkqcFZV2RJs579gMfz7Od7G2hoNjKgS+UX949FLQqqBwB2lE8/6QISQlDkBxaLJ1YFMUy39dXsFDDOeuebROxr5qZCua5TmTyJ3InQ+a0NXpnR1JJb9hYZG6ckp2SJeriI3znCRnAYV2HyLX0GfrhraazMNG8YoiV5Zbj+fHova1yeJkp2EbR+IySXrK2l/N8EOVZXPC0B1Vaw2AfcteB8xJ/8BWQpeSXbXb0PPEVHwx3R4f+D8Hcs+0jUxmG1QPuu7SsTgRQOWhTKe/Jw+LAVHZ4AqdXgyouB3HOEvI6eqvbx8nzzp8frrCcbC8+PcPjv8GH9pQphUZH9MnF31085iwTTf9ztNZriP3iBZDRZFNOfOL1W5Ygr5HPWFmv0srKEzjYnqorU1/h0fNX0IMZDysfhW4OJMwZ/dieRuHB/eIQdhcgubgN93T9VHlVskZ3b5RpkWNsPbp2PeciD3zvWsKj6Wc4N86+Atwz2N5NXO+mlomHHoYvOm4CxZ8yJK95PzFAvA2IoOL61EfXLvJzRa/audrMzEvVIUOXfZ5Kih5BtWd2fGPscre3yihXWY5myR+hRpQZl1C5EfNZhnkrKJsUdZzBk9YW9UfyDEFBujjrSefY4qEyPVpzlhX0YprtidCs5b5KZaN3fpsl8OAaUMcNthNeVHMyFMufnqtKaRyOU9MLm7oS0UTfNHg8Y/PMlzAM1NAyjoNjlJPjvS19TjiVuhKgGtBMxwLMa1v3NRmeW4OBd7Ko/ul/BgtQYAcqo1HItmshaZi+H4W27xrEXGc33QAlgq6LwWA2gqCorWjBtdcFkN3F2tcI2lz+QKe6pX6GQHJfPQw7VGwi/lJVopJ6v3SRbLE8cHR1CB1br/ixWpldN+5ZQkMYFLotfcrARAtQkUhMfOz5buQVcjOi8EBYW4pgRVXNmJWvayGo7AZ9qN7NPlVEF5PAhUh8GKtL6RTs9H55GqA2UrHEeJ/PqZhLd+66mDp7ASivqIyQAs7Bm23xDVfLs8hFbhJtQyNELY4CTbby2R/sN3d6fR99HdJzYPDdZhATx8hyEmHbZ0psLoOb/yIZcBETEilomcwf7FCQWMzrJ03690VNzsOZ5Xs2gyvG/LbkCOiYbl68hj/NefyC32YkxQ4Pcv0fIkW5NTLG8Ypi4ryi45Aiy9IUjACcE+NRxnzStekwhZDOwOUXe2xach/2pAnCIlpxYZrUoedkrYW4n4CUvMkXRsOMd+zgBPGI0jlO9bRpp1FJs7KvdGKhSPs1oGqwyzvey11lQ+RCnH7pwD3LzXLIx7AzcgwFWCSY+CLpcktIgV3YtVHlMki6BaZX4jxfSxpqUYk43u8zY4QD6hHRlaejYWfjPEDTaTW8gyhs5bwrU+hgJIgQJbDaBHRb24VPAskU37/IT6wp1LoudCOXj8S3hEAVOrUxTrwbFPl5urf5WgaJIoYbCQVCaEcr0kTW8CxJDE6ZgcM2yvmPUSNwG+ZAXq/YZSu76UqizwTM2G7nWtA8jw108X1Dl8TQkof8Igte9p6gLAtVNwUnOV4cIdnpKSv5pEblI3RlpoEoLBHSgWJGy5NViRZ5tSjbWeNP3bJ9pugyUrZr9Z4ZUpa10UviW3ZyfgJhrwdO6Wh4ZKyDpzhVZxEP4yykFi+A3BHHgDR1ayBndvP6Wst9xntkQpt41XXD8balwQ1SywYw9nHqpmJVO1fh/x0Tm6VNBekANvIvsfTGUwXOVgPrD+NTeGCew5zV4v6iAli3G6xoQSGbiKP8GaGiLINeoCfUL97uYZXHLMDts3K5J8tH5VyPbq0vrKmRpqKJ5n3PAIEwIXh/Zx+n+P3BtRmCbL/YsXYwn29tsDtU/VxNjL5zEYs4qn6UFp6sEA3rP4otgEO+mkCARyX0Y1I+NBz+2CPjhm4azXucmPVgPDh1iEu0ywe7VN0jg5mjm03BHvYbaVDEbyWyRPeJvKBq8IUvkBXVs3A7r95hWNU08vTStEdmSvLXtYmoZtRPdhCy/N9YaACGmsDLxMC3aLpzo5yxAf2a/+8dL5EDSMsecPHa0RuBa18ypuN8FkYVZ8+eVm+PGqbUT7hx1C686oQB1gP/u7qEXuYCYT7j1i+IUwZkpqTlxID42a60LDm8xkOzGjAzsRYpSikszMcSy5paMgBP6dbvEWkSmongnT6i9trxoF0qExuynDFdtbvBX6Hr4vZgIk8ssK1fzodwcHKaHR5OVhW6PyvaRmCgY82IMsx5n2TyDLFlmC2itZ/yfu3BKBtL7Wk7k1B4bo73FmWiIVqAam+PNSTbQozTakn4EA+CDZUdLtAJwxnbETLyALADhvSuOaD7HuZaurHqAJ28IBNHnAqX36HRSJEVD7FhwnNHnAhWLPNIZA+qjdtI+vfqP7BDV3km9Ryr9oWAm59trLYS737D7fR9/mhZSBNrwt11X0NVwhhVjJ3yWwMx9CgsqAWtmUAswpQUhNEZ2YbnsIJtl4VJKGhk/cvsWItLjC/MSup6evsTTTyCl6BjvwHrf/++EWPn+qgGjDCF0Ny8Fo1/O9bCgleAeEb5YFav/iiU6J0gGIL7Tla1KFIbFTJi7KOadQd8tpz4Hq8go1wQ3aNpadeQYPCZb0Ibv8BE4//9PFiXfmiD9WMFb9cRt2uz4PiFeR1+CIVqChNLh/GxkoCbOWnp+4Vj00qd4zTMxyLuwJI8W+MSIeKIQ+e5gggBRneVZx/OBJLlN72fuc2A2JOmQvnaaXGNN3llpR9+TYoWL+XcIT4+r5dqMYqid+rGKcQAme00keS/0rwuVZJUZakEx8FKLgYxj31gHdLiFeKgnfnFNboMRiB0s66qWvAkNox29+tQADq8JxI92D8q3Sos1mM7jIcJPGh2ZMeQiie0HO4KQdZ8b7Lx1h+XROatMMB2WzGhyN0KBTdsLG9QbYzfj+on/g62qLAd0Io+9+U/OT3f379Y58PhC2iHWcCRmE36QyNFaNgMYa8FSuUv7oy8jGIaeJ2v4J3W7d3H0mRkc76E7HHGbHBWcoczCkwwtWbE0KeazcajwsG4I1JucLN0jkTI7ScBJEg+WIGKSZmuJUg44/+GmXDJACw4p8iMEsTQXKHnrS9MNSKKX/fe/KTPPqIP1A3S+9TwZWSMsFXWjACOXhXc2Z59XSbtV8mjL/A3Qpeih7zDCB6keUMbAhF/0/nb30XtcD3Jcj5VgGmg29Jy50E98ASIzfhCoNOzHQGkPmdAVo0IzvjZBzQF59lvgOzQUMLo3Q+ctmjZf6nfT5gJvXi7xQ/4hkm/qlw4BUytzJuPAg8lVynWChIIG3rUIRpipd/Wi+G8BaR6tzSKqicRkIdXhsTTxUWNq+Bk8AOX4e+EIlxhYyPowNqjFISGrzk4wne/uPxegHWfKj1/KNP8NjzbDMAfMxQVIjtpttFSG+mAdD2Dx2kBtzKkcBtIL/iPmPb5rMbFdqKoBvsxcHihyyrI54RqlA/oattqqYIo6d/1N0HnSNsY1Zj+4H3Hndt2+DW8A403W1blXHwBSSSxcI3s8SXqcEvrVac0T5P26gtQfHK84sqFFfmN1pY4oCZRucNzVhRbw5KKG66DwvW7Nj9XBHfJG7ePwjbWtjmnLaoxWr1ClsrpPDlQXfWiLGqGz+4PVBJ7PKCehM/29TU7QYOKAGCN8BXy6Yn+s3h2/w5ZpaAnsoJ3CqZb3dgqek+DiEbg7JB54DboE6uv1nMq5P3TyW26PqG2Rf3/PDQwfGwXzK0vuw9YO6IEEjuvg0xzHDPrFcPJpRTvxgN9Bs4xIEOjVDrw3BSp3qM1hy8uP65pPeOkfQEJJ5FCSGOssAPDbrs3ZW/MNUpS3wqx5FT2l/KXvjUmZeHRaua5fFpRHf0HOJwLDqmJusJxhIDYXXemBmT/LUDJB9z8EJIKtuzArufo/75uIcePZ6RwpioRyobO43yJltv/NrkiuaIdLdBW5BghHP+SFZrGt2XMMo9SKSy5JNROw0X5jmMVONcItdXS3zlLyjxE3zRRva+e4Cl1TMd5a4hBjPLOmZqdtO8pbrtjeh2rBBTObdvYQejFYft7Yu2JQdU1ztEV8WuXmYGUwTl+HTDPj4UvJbmfzDE5W4W0z3m6Fn8hgnMj3Zq0zqm9t5AgraEoqTwOEn49NveyWRNq9R1duRMfPbV8ppr6kSpHWUFaOXtYGvzbm4DrN2ZVnkyT3zbIQ7wMOzhlVvBiJ9YMShU1hB2V7sV/vDYijX8it8F1AL9QT77tQ3X4GjmloLibaBo9UURiEgYDXsicSX59IZcJgaxhAQmMWxwuoKfe0fTn6fcRj2CWbuC1EVUoz0ijNqBqNqeXhGQJbDBTBLolzNsyFEgSMXNN+V1FbfMCBgjEHEg4uERgITPekhS1UYwuGshVkxkf0+wl6GEbwTU8zw7TbAJ4PlwUbVWAkbx2pGP7FN57o5nY7hzYdfN3HEfr2uJYFqoejpHjIVteClIf++ontgw5PVgB2cGbVawxteS7Ts9XoNMulKF2Ae2nagMXVLaDwnCoHCIBPdqJVBWPNl4vaRaAYCsYv5z+ajfMQGgT/Rlp7ETBqeqXkvQVewMkp+12ua3PD/baqjmyrdLZ5WxrW7lnCF8MBZ3kHL6DXovbhyS1jV+87IsyO354SJCS+4VdCTKcbd6rH9KzAZzFV7WQJOecAgTIh3JynzJj94ij8i5XCGmw5xhoyM/pN83utnOR9JJ9hGHbRH9+5xaqlgRJm7xLHntQzx4gYraS1b4xKk4cPGSWeiM0Flm0prpD6twnh+ey0KbhS2yIMQZhJ6iBKoQ8bAK/rOC34xupekVP1mZypEmdavULWjR750Oii/IT0JtHYOBCIWoZGuL3RMXa3gswG/YZ58fr54VX76oz83ZZXWXWWEYYn4h1Z++qCdgYXxJdXhJ+m1Tb6VLLp9vuf1zyEfBkaQc7qcjYQCWKXDRWE0wyqOfV4rBma6kQMwGZ/oUS+6W2wS/BMPoW2f+UiyRQPQxnuCXqtoRa8haCl9xlhU8kiWNQpIfJ3we4ij3Ph5PmZz6LTPj6zA2By2fW8vrNXoxfLRV0E16u3XILuRydZp2wOIN97S7KJHQ8IhJ2PwhJ4Mo0JMl/eda1Aar7o9TGvI0KZXVqLUC1X3ovSv7xwEmQuMwAkgs85uFVrHGe06YxV/av06OI3GrlFHx68gefHaEIWKPuxg+1IiS2dGXMqycz9uNsizSSuGl9D0O/JVSFlblZEbJz6Hdw/abB5tTS9ngbMWELhJVyGF6gkMXKoJJzipn+6ZvXyYLCzbodufxT9QzlXj18QdmeIft/4CW9nX0Bz0JeHotz0S1xbNhCysKQ5nBjT/rS3FutWEKu8CJ3c+SUTP3I97CVU8puh9P/KX4qooow2Z7vWzK8I4c7ff2ifwn/2s9D2CszEBeVgomAhPipSeVpW1/Imuv6nmvuHbcnNVsn7dDBUh240ZlKiOXyFcpreZ7++rkvPSUPvDTkssD6vhlcIxdF4GqslUDQtJcl8/Y6PfUR4UCqabsRyP8RSFv3NiEG2zqds7+4a/+7VlWm/9g7ultvZgE7Gb3TzgwhOIo/pd5mQmWXZnJ6/+4zAcCJk2xcBoBMvCN5GZakFDzT/PiQuiCDUo1cOLnBfJEwCcT7kdWjXCYU6v1JvKVVpPLPSEvU7wJC/p2MLes3jaNWfde+hpaQQCObxOt2akrBlkIqeNags3qwkJ97D/Z0Sf6ShjEgVXRfRnRLVjebRkj4wJ4IPAznYonJwRPYCyxoBZjRoZ/f33lvh6LhX5Khe9+BWl/nIA5j/m0zym9lZP7VndgWok0sg9aPF0UJFnN57o+Ejh2FjHf4BnAx2DcUnYUXscqJdEofMEI+w4M0TWbDg06RYUX9TUQGyucJwllxoGZEZBqaB1MYa/1LwGyUvUtb9BL7TwtaBcASsttr/RhdrRAcElA4aUJWc20+kWRNzlOLvmz0vm676m9jvVrtkTyKDnlH2zStZEIgAAVMFzsBdKDAPF25EmQs/nWxXv5AUWqmyBg7SPe9iRXXh3ytXg4pHmQeTESDQF3tzLaQY5u/+hrMiPX1NvGBCoTLRtfLjOt7p4O225eV5DLOOhxrvC3U9vfvltL58Z+1OKtwIcb2SzNv5SPlLquO2zVny18hFglybYqXkTp6vQ/ILMjJYXDH9hpwjpOzmc2y7EhL5iw/7KxzECStwr1Kk/9T+pXifEHuzY40iUheuxAMUQGZ7PWSAa0CiU1us9nLK/nfYGJyuhUXKCNEEV0WPC/8vhFRjVIfYHZD68t7OlAAdsVyCB2iWjlaFLwZfmwUeEu4XVWbhBxT2ghw6Qo9ONqphPSFSB2CeXLmmU21obUKMBNZohFi6/17OwpZkkdrvHRffRK0PSJz9MasBuIzvQfQ4K6vSXb1AK20J7S0+l8bvDIj7RQYWF/nhsXSEdclicTiB8Wn/OtV3UyDVtOAQYRi7KUdzO6jwlr4bLDMUstRBBsAKp72U67ieWvd2TYemdYit8fVYOnXh60BnJnnguORg8UXSZr8z3Zsf1T2JqLiFHJ63jHXD1x8o9AG1LhKbqfZhemGrbLqPIl2fu2iCfVaMCRZ7/+bYNRnk5xZsDhZljNFJJjxAiFqOxUmTEAYNk+MN8wEyQ4E/JVBSd/KvEnoGXN+HNkdJ6ra0hNs7932BLsBJsfsX5SUaoOKtcHlMCCmWNOKhYSfNrU4v93rVW9ofDxR4JinyA0xSHCCoJiRYrOatuBh/4gS3UksFzwr+ic7jE/lTpOqEV4wfye9TABunfhqYtKSa+LAICTxozKMUhGXtVRqUkwYAcfDJlHp3jCc/16FjK7u/mjWk17C60Ewgv6Yd3TZk12mB0zZiP3bnMRnbvWzsh8Id5dNHzkZflP28lOjLXiyjZdIQAOiPcxRrs8pcRBqkAu3QVKUZRjrdMTAV++qR5kWMB2y9yuasSIIe6fLVFVRTRTIpDvoVhxyZqWOovQBEUuXMMo+ZEIJ86xGEeIM0nunxGBipS7OXMYU3cIDQDbLlc5VLMrFH8mkSjTHbogc6J/HH47bnOMMf+q3L3pmwMGRFg1jDeJWdEsIq47rHSv8YeTfPhbvXMAN6Xyg8368SJQNCD/PmIR3wLuV+ajxVyd9nUw3kowC0Yx2rHf64fgfFnPLjVY4ojUlDAY7QAfE09MQI4R0IKR3qhbjw3119d9sWsM1zWbFMNq42AqN7kvC2nuV96Snydg/7u2d4HbiCguAO6GNLRSY2EyH/GRfqVdO6UmGfFjmBYV0Bg+i5vi04GXg0eCrCRLr9hwCoGvnqe8EuM26KoJmgPbDLbbQxKbXKvzxD9AcT60tkdtgPXnmYDo6dK9xJ9u8wKHhA7auPMju2mRsDvzOfToC2C+4LIgbz4pmL1FcnguiH5tT9RbUw4f69HvKQcjsfcE0943Rz6StKihqSfz8f+ysdfin5gVrHrZHc74RTJ0Ryql+wPc3cOPeN19mrQ9O06brCiADIpOSrA6NbW+7EszhXi3qGRHLErp6AW5Y/EhE8zOCits5VERMIGPvesR99X2Yz6RbufA4UnxRKBPsg37u+/oo1vV+2czxAdGoDLCQJQOzhDIeqgTX4ycXXzt2vW0i4nk2wF6KkOT6EZsDxdqGnMA0G9wDog2C0diPDkmjBa8HLiyCJBYvDoyQjkAkR3BcFmMoOK/X2LB6LCVjrWQQZnjRyU2lDynIqcHr2v0KWpG4i2VTKdizUbU8zelCNECq0TyJsbkBYPhgEu4+ggSGZg4Lg3szJdolMLTcJpm9d6WMlZglhbUco8ekUwmtLgr22CkPCCGaW5Qi1qRClytzEaoOkeepOf528BthKJadg63x7fEl0ZCRq/jFOKsgBxnhZwcxdUCe2dWL+s6STq//0uSbx+NHCyfk3JgYdQnxFqaOGXxBoskhHMwYCeryDD7YnRRAP4GpLKUKbs8y8QGuzpxLzKGJD7IsPiUI+1OsyySqVogA0q6DBakhqo1wJFtPiny95gGFnHWRf2+cffdA1Rrquh/EuiPdAQN/hltFH2lGQTUWIzgqnbfq2eUSPJ7xmRayqxYkmYfG0ez6UXAIimLO+X30LccmiyZucZNL1+heCthBy0XczQcVJHnQrJ4CDWfLdua8t7cVldYKCLqkn2SXW9cojeG8g04yC9hmaXQl027GhB9ARPF12Hx6IA7JWfYIfaADDCadbOkS18iF5rSYWjuZNzz2TW/GXWU3Vsb26KDa98nX7QwoHXx6uNbcoAOHFIPgxodx3JKEIML0cXArkP42nlU5/qZlA51B/zd1qNwisKDTpXHPbwz183mDrVlp9LhKvJDn2/Zi15HEynhKuc6qEHHJkMn+2G+kP8D2R/9eyflmGSjNCguGfur+ML1y3E9JAZKNX76Cxm05kLYeXcsQwlVSVlaZcrv+9o3k9ZxoD580NxxMhViTihTKeipKBNcLNm5QTPOv/QdLd8r7AVn9p/7gq2SENMKER2ZGzkYhKN1wSnosim1+pOCi60/BclPtLaKXtfoA7dRd1bNeq0J3BPBmjY3W4IV8oAdkMGpggG+83Db/dFcTID2qXWa9cLAkwHf5r2QJxqw/iplb5H8nfj4H3l74Iri6DWxd1/NwV8DewaH8JIhYCdQpIuVqbyLpQ4hOUctZocbc9EZedwEVmwMgZOcz4UPtLtyp3mQUJ5bRvdWP4QM+vhnJ8wzux3q0tewllJ4rYB1xBRwo/OLq7tP5KEqWz5cYO4SuZf3JoqRzhM9t6wtt+mc9p5WGmBFs5mngFHXnoWRrt2sVl6ivSeSTh09XGoauz7ZR4aJl8l6RuUZ23wp5iu6xgkTs/n/ikjN//pRu5bWhsCPqAulJiyIMucWv81gYX7U6nF0RKdRSTemHevIiMxkzs7dRCaY0BEzs/Jot343TtlGM+zfRYoDX60cuEi1Zeh4ciHSCLpf/cxMgO+v+EoZm4WgOXW3Q9347fAPR0W63LbKQNW6LPkZhdSyCsBnYV/bL57PuSBmo2KnoM4cjSPZ6DEIxfeSPIIJUWq6jptrL9XTjfh0Yuu6eqhjpdcOsx+5UjKGyGMp043VQsoYA2nGWjBUPdlgG5qTKhsiqzZRs7XP9MenPs3UtVlrOlZ8pEGhvh0g9ArreKovuDBy8M5j7kxIEs/RtCu80beeE6h21LQWK3exUOlReUdsV6DcTC0MISzdyKkYa5fZ6eUM50jyIGKtz3f3evpMCJez8VUxxcCPLV+oiXcTS8wspot99/q0cRJlf6bOqFL+pJDtBLsjWr2+qhOJorYjVkCTFM6+qwBhoUo5yMAzDZ9NJLEFbCGjcLXjxv4Izh9utcHZMSFelxVrKAd9RWf+ArpiZm7BJSE4DHJoNLFNYxmBL/putk3STw68HdQXPsBmsyj7Z1auOBvohx1nOxA/NRCe81MhtBWeL8qIBepDTAtBTXmINPXMPznxbhSf2j5q8d70QdqDRlC+SQdM2ibAF9LZKKlAB77ADTn+O4dklpqCzzatbHuGJdvpOWnl70jW6wMEe2POO9ItPbKtnfW1HLj8ZVSktShQ1rebRPkd2sjTa/KhjCvoiGtUMWoSo2WL9OQ8hvLiM+8/hPqbC9WCXjh4fkGELAi+FOH4bt6vfEnSRzsm8wtmnUxDC4eXdoBz3ISNNBJB93b3rYSzT8D56N+AGt6JZcvljXFuUt6g4WudLYuuf5JI/L9PK6svmzlrwevGGGLEBTh3RfnK8IaS+SPpGbUT/38tV+tPClYOZgrsFJJfuhXaP7maBBKWet6VN9ArCTt6U7pR1jXnhVKJpr68QIcqURonKl8FzhSm5Gc02tv6z74GWnup/rcygdPJYTpSJbgELvEPLRSzqQ7vrUfd/EFVhEBezFVshJDhY4lpBbbYH4HtBeaIf7dbDN00NLeR1wXaiQ5+wCtvFLw/BOI6Lpexct3qf+T2foj3v9Q2Rc5rqincZpKiOkfqmR27HIl094bKIwvSaNGkaTLu2SWF3B9KbOidMx5V8dgx2tKHmb2pO3Iwte7cW+GzCguF8enlouWYHEObk4Xj6tQ7wWeGHZ/19JIMZfvvHYmTnALCHxgDh9AO1egv3QH27GKrbKSs1wJRM589Zxm7H5c6J2aa+7S1jj0UTzKlGDhuYMwIjriLOED7Y0sLyMXjZn+TVU9wCe5NEJ5jm5T5EGaSruHmmc2MeIcK5WHgAf5DZ41KjRGM09J2ZmhrbkE3Zs6iyYcBZnWt5BR7LPcz3WFrM4NQtXkDaJK7iyvU4/RywcBEQD0HUom+VSffbZHQePUJjxCEePZ8GJiScxfmnA6ffqqHHuC2/K8AL/Hc689xmrbu7i0Iu0SEX5qFOPd/ssqyRt8syY6Gj21MaUkuhSHPykLqjhLPu+heNI0oLl87/cb2Y+D6luifNlQErqKsAx+im1w0Gm8a9vXLnKnnJsRBF0TQQ/yX+X+5Gv7j/msl3faZ4USlpaf4YgoApAfwZoZF862fYj3cpMoPkPPBLVytvDb+N7ON0tm43sW9bc+k/hqLyFIVjB8029i02L/Zaif1pWMtZbVWt4JDa1jzQC9GouY0tY5eHfmQU+p1dGR4sPmj5MdQy1gl5pHSgIWnG7Nro8ZCO7q5/xpyX3yqtLNOAH85sAUDuQlypbkNgkZ/z7eqGtPHR72EIur6Gtx7M0Yd7Vq8yYgf8R2ygf6S3mR6bVFWIVRN4UXGnYjmCr8jKMqLlbBo0TlBVbek7L2tpVxW2dw+DnT7XUVtGtVNw4mc9bu/YXwqt96aT9gB9q/Qz9llWAZh+YBcfomD06Clpc0iY8cN76Xl01ehjSlXMEuDB0mrazbLWdYaXpvtbVhT2FkXjJy/Dvw1pS2nC2ErrGv9qtrEzbT2zzgg7kzzRKwqcooRkHDKMLRIaq2dX5/HqU073OiwjZLmI4l2xH6g3Reoso0iSnX26flBKft/1C2qosQ+AX1ns8qUkq8dWhY6MJljlDmh/75ubwvZVFnpfthITZVyUwcTrOguhpvYnNKE0JTWOgRyBwjQjhgDhT4jrv57Lx16XFEXSMSfHQuvw3lxrxeKUrFUOEH7ECNlZBP5iTdVHOQbVpZpBVpmkm14yTpHqL905hoJKL508fAjWmD3WxLgB+J6Hy7ZwFslNveadP6+95nK6ANgfz36AYLzv6KFZh0Z9uEElpu033sN13Z96XCng18qjNNGM0CmPU5/lKZ9C/8Q0sQHHDmmPvyuF/x3SXamovru2hSEQNfFBcVJBy1O4+BnITXpK1gaWWlZ6fynbKl/aCL4UN0+5icawE4UJ54QUPDtKkfXNTtOzgaSW3POX67CakGR6DvSm0X/Jev0SrtUYJINwyQT/jT4WC7B6Zwqod5QcOgoazsOV1iz3SrNR8pQ8doHY+EsrcKu8WZRMZ2f6flZgihuv8GJzRiyqwhheGC2vmxnXzO/2g1yPyxMLcUzxO/wuBZjIiB8Y8or95KZZkMZvcZvZUkllmC3j2roB2jzh/2uKqRTI3+d53xlA0IsiNyHazGCNcmTZjVp9/YeP5u1SyG77CrhKFg8RKgcTacmQ2BCzpfgax9CPyyxceaRKb3X2X7UB5Wz3IzgNndup8RUw/vdbGFHIm9wRYlLpBOCJKv5CaYwCGHJUlx52WztutpLLr6+BiW7Xy+pIvBPkoZXqT1KH1n3g23hQMAMhaemUfMW3qcAzMqgWtYaWZfdfrDSCJmAE9/Og2jg1AVpBKbn1XUUNjAm/A1qa006SHuyXzN30IPhMPCKb8eLHJbNHov605wR0t+as3SJyWgwZu8O+xONgSs0H0FLEtBJwE3sWxHWJv8RTR9zqh0N+KutbmRfLX6c5Np6bjXj46uHHNGg3tRq0lvLu3SDjeInVYcofaApaazCemR4vL4y2SASioH6hGwlLStUB0ECcS9F+c5t4+/1J+oLLYtAEQrTijIPTvBmdWG+Dk5nQBfjU5kwTs0/wvhiUH+/XJDi1pfPsxsnzJk3gM0UN4eMQJuwnKvv7h1aNUlViopp5hC7jJmjUTMJyYSrEgczp8ZAPB8z21Dp1oIdi/Gm8IRlEefscERBVxdMvZERLxKwcY97Iy3yfPPbx1ZySra56QIuBzxZSOb5QB8NfaxLwEiXheFRSPE/anqPteMQq9ipG/ydpBIo0qm3LnPTpLPuXcDBMrN8v7XfxcJmrT8sOU7y1AszMJD7Hdfuxpp609/sVVV38FrsU1hAa4hK35aSgm78DmF74uoYh1Hk9Xzee5lHwTyJ1IRpjkHZygppKdiTOkqEp9ujC3wcMUpctykAbrdWy9M4O6HZTOJqRxWJBWbllIA4uPpmz2fJbnvBBaQO8LSkZhmxJqtZhZkFMwCtPpzTW80L8nAfq0ZKX0bOTdlyKzVTHG5HUdUyNUcHolS4NPAFsuMbq5I5HC2ueR3QNYFuXeQ1bHb+wEQPtBLK5e7Ke2UrpxoDgQxl55ghNemDWyBIj8DTv1cVAxO5Ak+cu4ntrk9Vij4j5AuSXvM/Sxzs71sDCknaxYnmgIkVuFNWs9dy2Iu+rWm43gez3qMQ68Vbh7VHOmvfiuvT0y4sRy/NDKnr4SgcmbyZnZgPW3eSwrAZVU4Kqcsr6aRTAjmAkYIiqtu9fgNez8CMhCbjgVm/qMjZL2JfAnJL+NMvFtDgygCtO2qB1XoGcpzVSAYXe/nJqCaVpv5TKS2bO7MRNjRlV9q1ADiPBdPSJO8BGz+yhxQ0d2y6vioYjpnMKeoozbaUuJtuAuSf3hWuTexeaUNkkCobuwuRXALISCHi37rdXiJoJeShTCp1Tp3mmkFszbL20agV1eMc+n2JZn+3h5zw/MMr+qyrRUX9GQ3FXnr9v/Ta/NX79jNeSeSsWpQm3+zg0Knlt0XoC5nW2CLBTuGKwY4LnCyQ5vBUsMCnPQXxABZvZzK88PjRw4pryLk76RNjghVcaxlZB+raEmcjioVW8/c7Xc7Hdwxqr0J8nd1LPmKsvsXWCkaqWpjvgkG4u40p+1rs4v5+9P6wiuFE+1ACdIs7YQGkpdZ6sINWEScqNzxo7YrDHLyMU9yMHC5RjO6HwbkLI8BmI8OVlwrts0BmkjDTOrWsA6w1oc5j0RO8YkcNEXXGyv5boUrSpQPTeTotkGnKY2mVBoP3XKrfitxkI1GVJNsFstqxr5DFduV+PNQfF3tj+knw1P8X4MKHe0EglqHYJMQuOBfC3rfOJu1y9y8PJWVU2Hi5SXI+C2rRwTU7czjtelfHENHy4qaxzyqF1J433Ya9lSFrICRP0/oSzXmtD6EWEk7W1T/xtYsDHUSEDOtnzSbQzDBHaAJqqkRFtapGCc6a2GVppsyCKT2Y1ZMh7gRW8l2MApRRsmO3pp7NEErPWNrHQcgXDXEHch72Vgu06BYSAEy3ia0aqFNWm1PISrpbLCgLiW6mp6kGkAK5hD1fBBiqX+V3tG4SOh/EerIkPgrGLFDQ5nH5POx52QbrDr+fYVzulRvZ3c1zPd62MgxSGBIlbVzBFbbzHlkJ76SJkIplwwTynqL+Z+6Xqi3eKPIWw8PVjPsQ1oLiKkyyKhvlrna89gIrmwLnNLU2cr6A1ZgqX0VZWRb8A6qaaz1VOZYWHPzCJNaxoJR1s5//6tby2sW4rNmOTjAftJj7Tx5RjhSFtKd0X6ugSypGtmU/9hQXxYVkmrJjEfyNZ2Ixg0W/cdM9HnXQ9SlcsDdYKeX0G8g0rLSJbuNPxvm3y+foK4sFtKlzjO+DOZGmFsxtP8T0/w2xHR/dvLi9xMWTePekzOTQUgOyRCf71PHx0XpYAAPtT//Ur2QgXaT5ZgCELvJrnLZPWFzeLBFYpS6EYo0y3Wr/WxC9650v3qAi3Pa53gcKNxvzRjciQrJM2+8Yz9LKILRnvc71q+OeMnu+KFL0Li/JRLMstc29q06XljdNkeOx7ObfegYurEjydnaTbwpd5X2f5mQ1bpszZGJ/Xgt3mKR73CWmzH6QZZZIH6dYCzsrT4hGWGEicc8/XEuEV2bu0OQ+MKf+N/tjk+9KfSzJbIXZjbn51G1W0T+9GBwvYVJN1nxJEzFs8D5YDxvKAQUUoi3R8ILszZHyMtU3ycnBLNlbpqDZddt+SBjicOG49ixULd+0Y8FykzlLcZdc832dIMmGvvwjcUebCC7HWKA4QUnCHnr8MtcyAqalATTeI7jiGcM/fja2urmX8YepDXhovaYkZMn7cADPU6S8aON+DLzTep2AP/0KjCv9ZLptuwtdXPk/en7RF1rLEjHFaLA41vcIjyOEEqQTnrQkjMfg55OD1jd27NnI/qDR89i1+5P/T7NqY/Ggey3J8RiLf44imXz42RBP9MY31j/flMDoWD4kwiYgqjEfcV1Uu5+vWPF5k8l1DQ3Ea9vPBQA83o367pz9zSN+mfIpvk2QH0CIo2FGanM253UGGROWeRDxAnKY/FEVLYrB9ssb7dH3/1ATeBFthuOFLOzczx5130Oy9hdWpKq1JSfKh75Qs6mb8LKtlZmZaYdrTZloIWMQ8kPivTPY+w3tOqDjeJQaZo26LW9qQrNbmk8oDn3UCZb99gr33YYMc8Lo+TeqtlIOISxJ5/azgupgGOxvndOr4jjOnvG/AlkS4TaGWm1wkKVovJPnG595ma/yHKSwwNu3QQ27DIT6W74//g+p0fZ1N7pxCHkfvJLORvneb8HUF8pY74H8IqBZRRlfRKSe9OKGt4BugkOx7RBzLfN5B/WicAue3AQpCbLfkwRNcME07ov7kzhz0f1eJfY4GXy2CnhglgZXLbPIhcZryy9rOUMlUrs9sxAoRyGcUucKyyW0J3jnQ0U8rTgLBdPajaY1DHihI/NMLFedMs9svULtV9Ro18tHDdk30Y7C9Zg5Q26LTsnao/tpaALDdDNZyPHAoAH9VHIHCX0XqFK4LuR+z/bFg/BdzsCJuSuxgXMzrfdDwQsIBkr5rCfcbnCzSxkqt8czW+b3TmSkb77sUVj9bobZsEoulCPGw8ViGGHOLErWM3Bm7JC1bXV1QN0p2ICt71SxLEMmp7mh1Pzj62jCYtrCK+7WvrtncTmqYorGUej1vxb+97fV+PkP8/qCKDa//nib0BGujU924+HzZMC6AzkPd/X2bZVcWF5MDp4jGx9G1b753MRe4z8jTfV8LxWF6oBjXBgOiRC3+GCQFKlqxNJsBw9Mu4nOWp8fS97Lv8uOd428alGjSncqd9IVRwnfgGugLAiSX5letjZ+cwQAVosUA/o56RT5pfykRbMkH4RyNiloqqiiK8QgAbR1N3Nf2y0GNKmCDL5kIVSUB0/6GufY02TZa072QyHZWk8dD6u37xiyX+h4dnNKHR7esovCU8DLmOPgWjhZcHbfCCJ0ZVFdzn17Q6BtV7NOI0xVRVl/MeQdqUxIVrMpWV1dwMFP/kj+lnJy0IZFvACBOypU0FZLoQASn+0WqhmlAxwtLL/aJ8QqX6FvE/ySq88IRMcHG5nh9Uz2wMGP2BD86Yb2hBO+ddDAM8A55f/Eef7qZdY2ehWM3XQrKXPnJA8J9oqNgTRyyOQWZz+h0gJwU7QhwbgIhC6FNP5mRVfjc4jqpX8Pq93QN097JOvX5bAipssJtzdvULV20cQAOg29sxvUzhOpU6GymOmF6v5eOgtKfZGozhf02lWu88a8kHdOZklweDttQ8rdoEIcK1YDRHV/njTQDCPmyaJ1flfqOebh0DBarYamKO4plEpD/GHe+RfpNJHM26pU27D1gKD8sQbN5wL3bw6btsH0gy0XUzh8MoPOBzup6Ld1V4gZN2S3cIh0E0amz1qu6s362upw5AlEq84KQjTv2jr4NvQ2A4QLkLNJ2+uGlc6ZxdfZ+UBspdGWd2NHJGxXLHQ4UvD87dkf1XJvLU7Swawi3JvLRvdzM7JiJAtpoH6456MITJjFOway0ptd/43NtXVZ74OCpK78gCATpHWmYBVqZSiM7Y0wVm1EasazA7Y1pfNpN9C4ZYaC3Y/7HUsKKvBK2In2g5Iyb8yCnpEmwzGE03ha8h+DnK4Q6xq8q8jOj7GMUNP/jCIp5IJy7NJInzU5+12IQAvz682HMITNuTINTV/ZvIojwSMyScvMEEMEWIX0iZzXgTMXWkiD5aeHM4ca5LZVYz7ljykxYmOBjTsHVB6r+oDA296hh5pBCrDd1j/5dixDIX3E1KDYyYrmmoxoaTvLmb2d67ts4AoQl7V37HfZsFO2eqiiBVGbPfdHIuzZhyykSgdlbAiOb1DkskBbO7+tGSpm/ZmPKyQbFcIB7LWHaAqMfAh3gdB9gnwBOtNjJeDRpHPWvsG9I5X9Qsvrewj+8dvZoBM13CvRjaArTjXEs2Z0eXzMXjzVO9+QR8WNWuUXmKcIxTWUFGukcBPnkfI2uD4xtDqpf7yFwsd9OWP//6U0Ix6H06sv/NC99iUtq8ysxaINC42HOWvpaWn65g0Fm3VqNE6gvGGE7GB+nly7Ype0iIB/X7UAos7SPXZgwM5ETv2uxGz8vFOnzZbGTSYUBnrq54U479F7WRKdmpEYNmI7chqFZt8TdowBYyiAgsaLDurQovAe4OQS4MoAv8ia4/G/WgqIk2DqIk8kxgnzuBMH3eJh3IEpm4qMEsmNSJRB8Br9tM2afVdqnqTZhnn8IzgtjfMgli+MqVLJ+sALFTl/1eFsZwVoS1qaSJWDOLmwdKtfiQypZoOZcz7iuOGI+VoBpURSeosi+zQ/UD2Eglw1sMtFZ1f4Mx8dimYLdjeRoCnVl7SnPWwqlvASkrnmt2nfgCdIjNTmfbwdTOhDiSffw/p/IDneuxbTZvyn6XajJ9PqkKtcJH9MEZQfbGOzFYYYsHMOeLEtOs4qPH++V4zzxBczSX03gvtXwLd1mDtCjSTrdS3wdOBfjw8X+ORHbRxjpU+kSYt+VzVlsIVmPTYo6fpSYPsJSDODNZnULxeV3uzV1t0MVBI4su/xXpZ2eiQnOaXskODRWRzQkDVh31VRQwl34ROAkJ/xoLDvjgfzouQ78hDtJNNWLwxLP2MwBtfAE8FHCLbE5hjSFvuGXADI2MR+Arpj6hnmbKujZBn4zah5DtIGJk5y/WqzdODbIuL96tqGwlcxaYjVAntuQxd1CnEPLHflrSxYHreDONXF08PSyYrGfde1zHOt3q0uVv3Tt6cDR83G+1WyVYlmdk9Qsz0YPn7/ZJvpW4BxXnDd7y79QXt+NvNGbrcK8gHKx073sOAA+V3tL+2mHsAvG8huLbdfIahVgc9HJyLe93UuA/DSTaRGCTijdEySITThZ49C+WQKXD8qhjydcGsxXPp4cT8E1cY6Ub6kYQvycvk6YGdpLApAdgQtWVACHk5ss+wLaUzh4xM10KzZ0GkDLuVgIwReAS4VbZIvCMbZ+St8its2U3I7cHTc+EIupJERdrFyMd0CcHkmUXWVcsg82UV0J9plFZ0p2v9ZoK2uFZAH1d6hdNvNDeGhaLZpgwB+1ZI+mV1EOkqH/OyDpydZDDjvJDI1UOvxXL0h/jA7cyAwDNqX4uhZToKP2wJ/4UOnSht96AxrvdItr0jMbBCtzZb06SQ5AHNWWzf0chLKnVa80WTtaHtWfw5jhzKBeSsro10o8Ve3E54Zo646nJdK2DxcfLVr7tanqFOrXM8WGC7ax7EpeliFNi/4dMlqKPOjAhrLcNFXhr4h+dfP1obHu4LbluTHVxAq72/g5Im3Ud0srJ0OZV09WE3fQ8Rcf2gTsUKjS15ESUvJfmOWMg7quOQ5HAxCJe7l7SErp7cVTG/tbwmoPT3+AKtG4tE4urpPLLc7ZY8m2OpNhPC85URKeGqY6AhyHf7eRrxNxby49ZZuiK0FEuwNolmqbNGj+HsvRmsStGnWcG6/qU5zCYWKWRhWj5FefR+EkdrJw9VakRHNuQrrc8EImBU8zKCeUATEkKKsz7llZzyAe2JKetR+URO8SwtVxW7ttCsyh1PBQEUjx6ntmDTciEpGFSlnheOPR0F7TNQFHzAzi/WxJOOzQ2DOC6J4NyaMMwndsoTk2AfmZvYvs0jUiGbSPSwGCtd6t953LYbAlqCcFUprcRb/THQFBfXd/7+1K3UcHLfIE7iujY23sg2AHb/pgIB2XZeoLx4OYuDOmoA/6obeM4l6Bq20jiwFHs0b5z3U2s6MZfAHh3DPphb4GxMzp5l9wk00rP8LBbCXOrzLfTWnwWz5gh6RQkpFciWEsielpMcO0oQlIrEN5f96W9LtbMbPL755Dxjv+wlmfkA4n77ME1ZBrfqZ+dio3782UA6anKK3cAiVKH4wDtpKfzBvcUkqla48Fl7UtK1h6+DM3Uw2elLU0sILtEn0H2IVBL0P/CQTy+8t9N3kHTeq/TioWpcIpVthdkyPsVjLPbnHJJxEJwvZ++PkcHI93tZE1Jh4j1UK6oaI7HEFVGApUCInQrMzsbt8w/MNOdDGI1icGQHUMjycUiLZnRCeyWuLOKAOwxNWoaSm5xwuObU7iNQmWYJTkIs8d6WHvJp5g7JzhGBNa/u37HI9z4hHFXxPvXL86UZZUhuX6CQezvIBR7K9bLDi7njzfevj0+guc9ApD9z6y41i7IUEwWShI+qcu4LMFXKC1wbGl6I3QeOmBo6QHJo7OfFMTSdbSEExk7W4SQfhEwitClxeSWEthOhnweyK0cOZgFjsNUYGcjhxz6Aq+9fnCfzxL8PUXZDC62ZN3Y4O81tScUFr0vUQpR2JUjJNUMKW+YfghP5qtvYr5etj2lUkh/Swp/GEHDoXcbX1MoK8UE45RimlYw2KQAvD5ZOJbXEmqC97QEBjF6HAjzrGnCB0+v8HLH1zD9iBQMOUb0P14l8ueg9wJ2Qtf+xExN1b1KA0Y1488YmenSo3TQ6poEPCAbkijUz9MH1iPnH5YtZwkM7igauvnUHoT8QizOHCzGcaRKP9zOP8OJL1mYWXyvx9mYag0witqLvwJSDO7X3yKJFrdAC56Z8mWfLp/8Wl1eacTS/mlbBAnQiDA1tel9elfNEgkNwcQHCpyuOQN4859o5jdwr0M4XynE82iiB7sHsxWlEx7w491P+PBXmsOoE2PYwxtpQDglq7/nK+8quVbIssy5c/ZM5u4H8eJ4mjwERP5CEKtHShBMZ1JoPnH36Q3BV54Bj5Jie5MfAZTwawPDIRPiTRd5Ht8hoYaKmYwn5YQm1kULg2IP1l12ZBn+vABXzS2KJ1T+sMAu4NY+P03yO7sqR9azCfdnafkoJEitd1pK0DbngVxhwFZbfmDssWKx6JeVrxs0SUvYrByButenYtNQy1mtlEADnbNbHXnQznDqX79Mx/fivxBT1Nrn7bUZOhrS+U2WsZaMUDca1AHiVP4ah4uB4auLpKjhogq5RcVg6SfI3T9c1j4b/yy4nkqLEs76sD8l4LK2yIn6pg3rjttklwPf7KxxQ+6ydV/eBLGmnP9PCfbagQv2Bqc7QRkyB5Gs7B791OZvoLn2o6TXNn2FFmqeNYiXU0PL/Y7R695JwA9qxcEbZuKmrepD9PbLC1DrTvmBn9Eoij7pAP4V2mYkYLsUKbvMV7EKjfTaVC6sgH4TJiz/2/9djiNQDd3iJYHyEUsUG6oHll/+yyAY8dK6UtyL7xZMscu2fbFjer35vUJsfO7uqkbkzci1xdfVAwdES9nLj4iWK9PwGay2z2vXWbuy8QDaM5VITJGqX9hw9uBjBz9fyMlikHB/X7SnPUanvaoL0ID96BdgTTBYI/tNqB/yRBlRlNEcD1V+7oycDBTM8yeg1Gv1ZWTxq4AENfXZu9qmFSbKN+n9M4h9Z/DG/8UPYubQdNUW11B1OngOiYCjFLScd1yYFDMaIZYvPhKdcmqlfLz/vx+wQpTLadVnuTYiHL1QS40UlPEoxQ1ykSE0lR/d1gl8c+i4NghgAh90f11+r2dbtwV54uIfPVUIYJ437PPuVx9yxvFxVUu53BHLW7YThDXO0DIPt2/gA0vBPqVjukanWIuDD0dIdC104rcZrMVrSEwIiYNBFDP7m9WsP73AV6+vWHLp8WsgQVIzk00E/4UN/Fjv8+2CaHzLfZRB8NvvwKUdx4vlAdJk6biRr8Nuooh9CJciEElVDMmPzz20ne3DPVHMJz7Cy0gWNYs5dyzSj6HL60sI0iqDffCfNibMgaZ2Bh5b+TH8iBRKhwXCrYyYk3a2cIbwRLMHs0jq3uu0R2Y7151JTxrXEUacWsB0S9Dp7pMyXQlWJTB9LGSPbJuRL7MA7t5zGOSOm+3as8qNcoR0Z1JMjRDiOE5W2VkvTGHfBHYws/VbttzCW4suz6l4mSsvo4qTfUzNj6xCr5/y20EukncZOtPXgEhSdFJKVX4xRXb0Rk9gHLvp5awbZkSMuEqyAS/ufSwTXKDmG4ASxcV5pq/BePF4NqX6cssuPPOElxQVPIhGHBpoVFUfjUix7vuinZ/xkNv+lhXtAXMEjwKlXU3+T6/8O7AUSF6lzx94cgfzMX7ZR9uzqami9uNbyUXihgjSiGNfSsLNX9NT1cLrpIanfNuqX2LhbpGz5H6T51clxa865Qh3F9ZcNUwMEYmSryJ68gnprm+gEMVVC3MjF+NzbePoY9xjsSZofUl6kSxjatclngEwIOjiWCIuw6TMbDAeVi7xSYIMxnWFKAmBUiY9lkDdaNueeSFm5UTdWdy75FL+moswPBDT5+sFSH+L5JldNP2BbSr6gRcMeiCSa/WdJN1KtmjOhJZfAtQ6sVbzloy13NiB8vlCggtDLtieuU8/ryUr8nDE7m2BkIjocOeIn+qcX/1QJVOcxG769qx/tw8JSpMzVgQEgSliWlnHLKteA7Ni7FOVtIxRzZslVQoibS7iutHYyTfbn6/ECyuJsN9xnR8GWb436IpvhaL9nni6FLs/Cwj7CGjIsR5Ej0yDi5fmz1If1jOJGvLroBR4b281vf9EmsvyaS9iqWzCgue5fN6qK7Kf6DZJjhSDOR0JYtJQaftBnHbiKKsiCwUQaMD/FVPbK/07kAcJC2ApbW1IkkRClXGO6d8xPF3ydEEeReC00QEs3TIrcaNfZ1lzm1CoVPxhdcytb6kmMEIFk4BQW1KkH9ePimKdM2r8Z0Iwr0CNRnvsmtfT/DlgPv2cxjE55PjoekHLoQXV9oglZU/aDVp58pR7YMs6u1YFOrj/bBgeGX92DKC9qY6lfxGni+At6Dtg4C+u4sJae6MtnMY70r1p4gi9EG4ihc4fe5AIKnv8XKtiBfaSMSEuuMw6VXpOYueeAXlogHsP96opPyU/JKdTnhmbqD2hjIYRmgT7AOL2rKCFIXxTsd/D5n/HcVtYwWw4NeD2EWmnYV/tbmkOvLwaqyE2YGR2DK38bOmdAiRGp/4icIaa90HWcm+BS5SFFgi0/b5sUm+jvsXRAW0i0Y+NcSGqeLYdHgxoUdtx/oNGTA/FfFKzAVA4maYgtkHlSAbK4RXeJ3z0YF3UEbHrxWXRgoAt3ElQKDO1tl6po2ewbXqQ7Lwm44rzDgIRDHwq+ePFbBfmlf2HS5iYV7+kbk4LnDqedx1VL/tWFGUw8zriDqWGml2ce8mgq6QODSvS0W5/8ViUrqfPgk6qYFRsMqWr/nXpVoYq/SC3SJw1cVLm9Z5Rzb997kRHAMs4WE/d277JdVL1WvEvEvXix7sVC6z8/5vxduCwST/jEVED4OdbLgfykMQtBgLyqwsViV5LPvGYYP4A+bIY6rKBt0iLtWYvJKgEgFRWvP3YyUeRUH1JVtzfQOHqmOKpsrpi91yr29ffo7HUZG/yhVEk2wrdA/mi2sM0h5Wr1TwFX+ZSmx67Rg6VBktyopPcbPdyGIER9kxeONT7fn2j2ux8TfpTsp0cgn1y+5SNWdEPzS81D762d/UuYbW2tc2jyJUMsPr4EMA5lZhAPLd9xOwbU3Lhfra+x5WiSGM4ODG/EKSPRh+FcKUyYnqhbeiI5zjRe6O+fTh7H+gEJiIQ+jqKJfjIxuDyl2VO1D6b2ZPcSFyJiZ5jIYM8LnbiQGNg0StqqYOeB/OwQD1ebgCyBgj1PV3gTMvS7PISjC06dTxUwq4MJ16btiyID5i/sTeilfjYAwDeeBhXZXUG/9JQpFVK5/r0j38dgRGPY5qETKx/byd88kGx1eAGYITx+Xv1G14e4pECs/qVkiRm0skbIG76WgTeebi44nhCJ/GbOAZFqJr9S4aRUvjbNh0hMccrwMHn+GFU0JoNOINTizNAuyAv2C1rm2UXR7yHhcslpJh1WKxmX3oJmSTY7E654uqgDKrrqt38rsHsr0ZEYbZF6zst8GhGQ8t6L38RIprmta1d/If0XqOlG9DnHhb/8cTVMnXUtioFDDz1I4UupdGZUIRHqQ3LpQZEj+i8IArhVkWoj0ZYYjIJKqqjWWB274cQmNnooQqz0/Pk0xFlD1Q9d3onakTqIDERYCJtwNt5mNbpiPfkGIyhcsPChZCRky8FrJRQ6LHCx2RyLwluwi0eAno52RO2RKZP78v6tYiH2kbjb0TmCDTdXls7nfx7dXZJ0msVpMKXHw1oKr8IqlorAk9VH0/6YULcBZMOxG6u+z6BdpnoAD7O+TvyEDhkSC65ra/zwT6/FogghgI0+Cjqhv3vOL8r+JFTqHM0Q42uIuITRSX6dpSscjBUniQVJS+uvXuVQ6N+fBEl1QRt7Wr8pxZ8dgRmS5deeiTU5XA9mp76yE9Le0FvaFNaKl6ckDClE2wqyoRiOZ9uTWVfCIyHC5lIX5zIdRL1Xhb1XGbaqILJm9SKyAUU5FL3rTtasKnB7xbNBcdR31t8xZrabITcM8CDhwTjOIa1Xg8TNP324/Mi+z0WnY3n/M4MPWWb4yWSBmmG8VeEZfhn3yx9xMH2GmqkHyK/wkUEY5Qo6xCTBX1JUW0/zSQkk7p3XHFyfjQajcreb7CyNqemmsKEqNTZi65TKZG1Ax7KhDLrKOnDSfB8gtkh+s+I6/pBDpqGK7KbGWlziU7hWDn/vxin6yVceCyei3U9jQVbOSf4khovs2aT8YHUFu5mxV5mCrhLKQTlKyB2GyXm/0mHp5JgNnSRc/+LTEN+Y4iubGF71SGuOGbDeUxy09sSD8CcByZfBcyHnckR/POe15JpZ00WxQCHeFAMqzs+KelYwVj0XYFcT1kqviSJgcdmTKoFhZityRcoxIrmESrT3CUBqp8+8UwZ8nk8qs4B215lo2YGYW/VjMFeHiJ0uAg7AqJ739ZrOObaY5Fwztsp49I8e7JPjj3zJZmn3zWKSOA2QIlk5RewuMfxwb9xhmzgaIWmShzGYW3JY2z6LLsCrbWQkQnE9RYcNE5PZ5r19w972vfocCGjtQrOfjHPTtAhHTFUZz9pgOaA++//7ls3V0wRZHkmKzlBkzAy86Y/yDGZIwirKxLGXOzuYvpCx23M+YytB54dYC1wsfFZeKtDm+7J8mLmcGBZjUGWPYt00dT4Mphg/+iZLxpyQKqVERS+BjQlj+ii3dTxd/pq9/QHhxR7JvcQ3c7x0C1t4NEalwa0xEEmZrQsXzXPD9LLO2W5KxozUcK+GLMkI4suzamWikZIu67sWVSRmXbU2nWrxanRFDgERqGXaPc0ugRnWZg3Ij7mPZu0R2U1uqJXuG2Cj4kuTqN55GuwidrDHKvzbP965onT2zQn8ShnT3YRng7dZUwPdRYXJtkS8//4VF6Vpuz1e5lZSsqdzNQ45uqTLWUCsK2A1vcJfOHW65EJiI6UxU7Lg3Uc8LwW2r3oc+pJtaFet6rcdihsm6IjGS3t+F2f+YnX79c3oBnFXgc/WSqjWow43HRqEB8tCB27IKk5ewZehSItdv/yumhobS+PoK0bPvpxkA3nw2PgxN8ISrlvliykfu6aMJHn0gq9jqTP0sOaX06qKw6z3urjpJudf71dNbqy382biGQdGr95ZY2elifUPlO+Vy860BebjRmrOVB9bDv3vFq5cpHZNgtgE+DaevdzIuM4xXRlXIuPVkiHrLY8E+iK8Jo1Y70RVRitMZ5/f+dh6l8uoAXoI/xuu5O2b4skGEVRV01u93tLitEVgnBMCyd8K/7h9tWVgz8e0xgS+5Y30kBaWFzj/MSlMCiqC3m/XB8oeJYqL9uirfqi64gXI8i+Bf2e7d/CNnDK7mizneOFDj8wzUS4BpG5kwiKwkXSwT4WJTmjgBtpncyd/z2rHmDhZJ4Q4RigCdMf7LaXC3k90eadKfVGg8u5sSm+mlAE26xRXvxFM+MSip/iW9pSbz4zv4CMLEn5RoIXjFpdrrg0CrezsaJDYnXRwhNIahKYXm81XCmqxHUL1Ke+zVXIRirF+ClSSnwimYZnlC41uKUZmdJfG61OugWU+9gTIdXZvfrPRGnQuWnzU3FnqfsYZyROdSP5/Ni7cD6b0yXMxPbZMJqWLhOxe5/mIEY8hoyhue8H9ArG2lIZ8yD96XQXcZSvkgV6AvY/d8zMj5jtjnrY0SZZe2+cZVki3i7BF5AUdtgtsxKne83l0tPqZ7Tytb3Feu3zod5n1Odf3qtuXod5FwZ75RNA1ONd3ipEq3LmQvzoSBZElcAlJgHq7diO/epF5wuVMIG8uZp9p0ya65Jyx2fNkhiQwIjCYT6HaPesY6bxvJ/vJE0IMPKmWkVCV/nYJvwhyBCxfdn7NGqAaGHE4Oi7m/FhEQ3Wn9RARLS0dXsynzQYyMklPRcjrSJiKTo7l0OAY3/8x3dwkoAeLdyScaT+QwsbbAwJKr+XqMLpIhZpxt7dDi4iFF3Q45qPUvqGq1ElRBPn8Ca77g3s+nBTntSu/NZQBxqPeuk/imTL5YlwnjvmaBbj4x1clyk9Go4VOcLuEOGsmHRvIDgDr1bKaupeKdNx8/KV8QI/9YWJ4ULvKnNazO5MPGf+8B1zcrZwGOkKbWSTxCWy3MWDkF7o3Be/zWRWR/iWD/NuCAoaPbWF/JI64E88XwgZnz8FzoQaZSqPcE+v1df8xm/rDIdec+PPUVMeQ3FGcEDLhOJnVlbMh7R7Y4WAfse6naZ1YqlVA6QzdltYqYX5HZ8LTHmpRCYCHOlrC70Vp7X9MOrtwWJFITf3BaDxFyEq6XvFxKHvaWSe+o9zDPFgMvAyYrtbeRxT6QDtKu21pRO/5dIRXwYO/kESTGLYWJzwuwvKpch+Cjva+9l3rI7n95M/t3p81uoepxFwDppmhk+qkPLGMxbpwZ255VffycThdp1yIVwOi51FmbOmOgxhwrUiSZN7+YANYYCFLsnbkuTo/+hdjrYt5TmRRTufr7ett74m4tTYJIoUexfHwVvHUsuQtTr15Nc1Mdvg9vhRKqU5AaihyoA5d5RH0RHTIGv6GJL7fpPtA8zFsdCovzMcoC5GNgTuf52HVlnETd3aBoIKH/tBu998qtOCNn+nT7dXoc64Wu9AMizJ/K5oC18YxtQUMthnri8M8Q/uX+EQ9w/dzRn9mFapdGgsq5c01x6jXWJ9TV+/GDaDv4RymJR++epazTSvOvSZFBnNmiewz/oOAbyeEAK1qPFq4SCRQlKFOfeGL91nosuKeN9z4NJ6JgtbjyXhdvsqcB5Oqn5URYmB72+bFWDzSVxzGERPYqoiAw9oCd4Q1CcuzPlhvYpoY5+fEaacESemQOe3G3s4mflLZk3e1kcRSthI/Yai4ygNOL63IdfH80p52bU3lpgyU7ucuki8PbuQVN8l9GVishNTyizryD7sUTggj1pI3IIl+RGFP1uB/XrHBvJmasXcM1iCsC7f9uBvV9dZEbWNqxKT9AxScEGMrbH8kaGrwXs+TC9Rbio1WezuK2C3rkLW4YOOIGHGoDDeupPRjoFRtwMMd1l7VDbniF9z30kWUUQVqypLOf6sWeB8cX3ZEhncXas70t2K1S6zCToOK/3bah8p4sUaFAbZiRZVuALaqxbCSm6amkYUQFk5FyJnjy3OChReNXmucdZJv59Ef/VJrivVPPID0Y10M03/FWTljgkvQhRsTxQvNaXKXyrDJUPYdKJsGHoofirFeAuS9WvoqjlDUIbbmK+5utEQIi+Py/js5ENA4iOvIi4mZCU6VsOnLyjjJtsJ7kkw/FY6mjlWd34Zi9dcaD/ZP+hgTcsEyqd0YRdz3Tvxyp/lziMwxwZUH2UvazXdWsPpduqClKeDtpNzAIgdJRWEM2B+Hvx/uPWvZCoIHm2GMlHEuU47PPm6xHvhT8iqrOODZskGR5rxeWqepaimo4H2pae7sgA2WTOUE5AJ5mt2Mgf5kqAHHMdKz7ZB42Amfr39+PXWlWaiGYoN0nPA8XJ6te/SXt1UBKAHJhip9OD5PhWrZxbkoe/kW9g5c60dhGUyVKW6r65NOeYBYVEeX8NgUrDd1Z/fxuy0QCeY10tgY2i5fAjSKHCU5wTm4obseZUG1PR7UlTcLbFV6DSZ519LOvIXBngshme0ZAeyRrComGwqBBkxi4RE5lSap7pdfVJjXnPUk6sim4FlRTq6P5fSZLphBmtFF5wBKdy+aYRDlfOwsWIuj+HJzO26fzxJHckFvgpNxr3LG4kZ53B1zBQedurwzF7MPHt5/SwD7Zsb4O0FGyj51+b6D37fw+YnUfclRitVuuL1zq+2iNG6zBJrOMv+adIA67v5zhlRPku7iekFQa2s1AtI8r/3KBrO875HTO63Zs+tVFEnMSUo3JFgbyZPssVHU3UmsoYfMvWQeHwyV9HlW3Kwj9CAzPoNivm5tvMsO7FjM9fh+34Pwa7/BnOya+BHcdx/BzX7ZPcScSEblyz1xD7TPT3YruL23Qj5/bSA96rFvlXCdtfx00DBTGxsJIKgt4hThKJnlx7HY+Qqvu6uxLrarWGz13EzuWOH40sD1TLNk0s6DlsSsgxrZKSxOaYwt1rnCGJKbt4yo8ObDMDnvc4QtXPamXWcMYqvIXBQ+cze5UNacYAImDSxcZz1SZnqxM/LU262IY3qxA65JoVWbH5qdJ0AXjFvs9n+XYYbq9R1e1ZMsz8U26ieDTXy8H0sfoGoATDUZmU4dBV2i59tXEqEf/mlFnNxzNhzq6eu9wicKge1aRv3BRxlWZuhnEOL8RftI1HAOTHm9ltKe4vlJL58TYllscCAg/ttO4GneR3XQYSD/KfxwsIcBHet8IALcBF7nF57xmbFsYXrVpEztWezTLSed85CKRbB2hNGxdzHuAV4VPC0nSpWRQ02rVgjt8JI62F7HlA5i5lr4qVMYF3T3x34Cb7spFokB5Nc5O6CTCNXjNnMeVypLOfLKxc8f1KkoUAtlV4S9ZaHsLhh6ipUMx/fA6KruY6MzTs3HJxUx8bLzC+bbBs+60oOSSmpfgH3ZMw41Ovy35Z/8wG655ji0+hMJISm/aJR75wfabddN8f74l44Z2cZWXn1ywrUeeIe+n7OWmMyQPcf2R5jT1tygqW4qnaAkaE0bQIbPU5ZxVn0hWXh2UcvjSIM8WtdNPkNga80Dfmt9jBZ2izBbi9k7S0aI6HWi5A+D8alFy5ewjlI45X4Ipq0FP3GKTqYdqREbLYC19fJ0kDkNzqKKXdrIhcfNjV9xoSwh80XaHSZENOuHF8xXQO5k+G5FcJkLF3fup8OckIwR5mnrd2nnToplzeeMpa3HVogYxr6toYqR7MzYFvkonyqTSzb+aFmRDDZ742fX4rxn64RS3vUJZjzY0lsm39iB4pWdMhsNWQKRQ/YDuw7cC3GKqiZ066A+YY69UGgO/hG9qUATKBJ1p+A5cWUVwCgDUItXHvjUhgpkAFsjXuD4/dEJL+sMlsEvBLOnCd3S1B2dPd79f1V00bMKVGsrgZTXzRuX8KHL2aJK5iseIFh1uj43ikGuHUu/0oStBVOT3JG9DRldzR0IV1vTjCy/es9qNSf+Q2mGbeVduEvmBBj0wmD88gut6Cga25f/hFPel8eK6y/M671VYkf61UhJwETXQnlAg6Dm+bbiJytNBh5D7mz/KR1o1FELQGIchyGTAchAGiy9VFSTLo5qc22uqwXufmu2Iksq6kQi9IQQ/h40SsYugj7UcNaSRL3/7phLZ0kt1edRcM74LfPeXqbRZnDf7PdfZ00GMpR26gjoU2aZGq+W0A7x/hqXU74C4YizNmMaUbqBEhKapto7zgEaKu7dxNMw5lRg0bYqaJKL4YIqM5RO4DzGhRoSi2jsaUNcnj8QbQgD2qed75F/8HxABLQH7o0WEBZ5/YCjEvXSlvIvWk04Ww00R4ZvHybSKpNA0Xy0tEwOtSdvXIbJMrtrDlP+mr9O8erVItH9IhhJS5A33Y5nslAULOu5YDzYD7OjzS6JWcEvsz0tXmhpBmglOy4tmy1ILBPq6PphlsMr9vPQqpOUhWOhdBEGqnY/Aop8IUYrwffLHsZToYPCBLiquEUQZt9p4nJgUoEoA2OQ3nMVwqeVsdzOqSNAPHNWPEGMKvh524KbwQ+zn9NCLybHQNiHPS/rvkLH0KfvMR6lU7vaSvJfrF3C5w2NI9uX60eY+UKjdXSVKGgdxgN4e7WdQYUl7BrSmjOQZF3vGruhmpgybb2Mf8mCBr/LFli74a2rqIMcZ0iIkzHfwd5pXRHLZZ0qj63ASat93JGbTHs/o2CSh0uKaMXnS9FMPrZqc2Nqtit3NcWzc4CV3VdTHSmaLB0f9gO/xlrDdszFLtI3Wa/wekTJL9w89y1miEYy1pSyc9WIGvqvNtqQ4gxCAOqU4a8Rb+G3fYehj3GqZT//688ZG24e+oafwxT6RplY6JVG6RnLsLWVmot6Bc5VTtDlF/0ymSMwepW8YPctCSewND8HVm19MdsaysPgr3jIanKryDl8jUxqJLzdXqmCsrZYPWxcCvd8KpjlfTLdg3YzxYl2tUys43RHroINk6Kk43HJdwJy8LGKgfZx+rPW40rUyXi0EQDiIveQ6kBScT62Sfc4xFP7ugj59KxQf7KICxF+t/E1rstyEGWeAMPLANRaW8URWrF4Qg8COcDcTdzj09Kv1pbSOwpH5/ha2mKCevGW901ZuO2YTS5v0dDIND3w2F8yxBjtUGpFXoARCOT3Eb0KTUCG95vm0e6Zw7IT5hszSf+1NQDyTcH/L5PIl9soHpVzSTVp6wl2YjSWcSH+eDljY4E1AYb4fJiFgB9KahZ+P/mIfcW9vPA3rIIPt2EthzkERMZG9HFqniSFNSxkSsrDKCaFmoGvSGBtpqYNDC3LOdH/4qYSx9e+Kn+JvOkTFpC5wA1ETBBSCDL6MPvrUb+NfuIwuRD6sehClGc1O5X2Hel9iE94kf1WzPCB4JPiWWrbX1rvdB+K6mWJkBZIGBsnV8/CoYDcLvKRQZ86CSgzfTxupRjBylKo7b2jfQo2NEyv2ZfQITwLKOM8WFdSKNupSeKWoFCzfVt4LG9OdJ8kBszmUmRSO9NBOXD93CuMq6L3vncI6LukJNe7r14kwY1Cxdm97WF2huZOnIUHQg2LaULqNpbzWxuZJetY2XcD83ksLTeSjCUXnxdOFkIHCkhuQydgjs1yJj/XPKCdW//o+/3r4KMA0KHcvbcV/+BlsDc9tuvF37gH9s8TDVrZYe/HFiQLBQH5Ew1wd/CN7Y2BVVF7YqY6NOOjQ567A26uqrisQ+BwxT5bhV8dlQ2aTpUPD32SGLKb/KsHcDiDLON3tJAzSYks+1qZ7C0nQU1i1/JmcRemZa7y+K9lwId4J0m1PztKvkFFjV62wtbyKKARhT6ITLb/BWTRhEgMOqiAR4i0JjeFX05u+IcqZYIqD1hXahAHUVM8pve4SiFe/G8bvPtxCxZssKSMuvMnleybMjcF7be1Yv2kJebDA/cSGqGFUHT6zsD9EHLRyidkTId1OB/dGevEk2JDwFWguLmZ2pF6KF7QXrJ+t81OCoU1RbKZSkvfIFXYegMqgsjSTjzEJ603xzgdKj+wpHZEuJQwZz/vofhcQLUj/EnzpM8fNkBi6dPD5ImXMoyVPGkFjjijByiArU9HWC75Y7cdNgC9SsbQuPjqJi7ErY5j+uY00M+gi5QsIcKud6/bJPDTOBIpR+C1Yseyv6JIIUxoF5u2WacA0ygTDaxjOlVzp1yzxHpg7gPKrTe7qCKJmJJdam6ILHoW4TwTNMW0eld98zHiUDRFW6GcIs9unGlZJSCzohIf50MDLKQb+4LTvO8NHKaFUvdaDFc9x2Nd8nuH0CjsKFqJHKS17vmyTEAYHElNyPFXpbANJsYZPH+lLLaJkLyzAB6EGo1ICg+1GlZZatEAemGlyu9l66dyGKDUgcZpfc6rwZ/GqxjsfbUWTPfMJZSFKjVIC1piKA2mzFOHRWVP8ytE5J5Pd7kySmwNjRYi4KUn7VJ35UZx3AOM/7GEu6jqBQcDYQ5vPMGe0YgYN5QDtuZRpF7c1OT2H/xBOjusJQIuquqkBthukGDf/hf632jgbZnAyzTEN0hmjC30MO4kZUcTRITgcVv7pBeCdFPsh8bnDzntu1MdZqFxuxd6THYB/Dx3S/pSkm1C8aqS/yYqzAPVocUejOwLMcvA7elUW0b+SmT80RwzN3wesLC8OYnv6+IWgG9V7uEQWyMuF4MmpdQ1U3sQ6zyX5lJVFZrWj2s9DGTFhzzfou/rAscC4PumjZgXHxLigG17fkjEFq032fjMFYgT+PO6jFXPmhmm1z/mFCKJqtOK7ZfO+Gd9lMa5ahHkmKFy8xCEeRC/qERbPEM0FhwR1PaTR+mQJ00bpV7dSSB/sJjZjwOV6KXzg0Er7FpLmim3z9+Qpnrzj99k52YDkvJ7RFDB18tMnMpHy2FFC7x+m4O9NRD92BxBO+uF9H1mwX3ILYXlIQl4te1HnPHIyx7GjYaLj3iqUuT/GU7Pl+aViQJumiGNlApKRjVxROMqXIlm4ZSK0Vw2OKawFSQCOjJfg83xh2SCraWUC0JrRWEG90Ztxa95eD+lFM18TWOU4DEdCJQMQ5m85bN7oWef1pJX+fhpbGSVEzrr+FZfhVXcnYg+jeGR76HbGvTTH0ngFgB4e48B4wLddKLztL0qSwrmMY183zLcINEZAKogygTRAN7/l8HJwVUQi9Tqc1PodPJ9M6Y4k6tuiXtw9HzlY301xUykEldtPYWfFZ38CZG3KkLbFEAsbV0GVw1TrDZsoWqGQC4OL6lQuHvXRRroLpwBOb2LZGccsnMvsrEdXTlieNFpwNPaFL+xas+O7owCz+dVjWBDtCqzzaOS8NY4haIjTpKPZ0v//YedUpGH3yJ6MwrRq7FYTykleSVK3EGqVfcz9u6XfCdXeKiF4UfVBquaP6Y4NgQDkRkf1scUtZVft4wbUpMgcMjXL/YvNiQ5XKQgomTuwnbUbvBRS5ZAQPNP+Fx1z7DtXIr24zdLUO3aDt0agI6mLuAI8qaqcWPJyjM020hMCaE1yXAxBd3a7wV6CEJz3QtjizuxPH8lUaee1P4qk1iRzxeJ9KtV/i4I9kw/fHLV0n40UsxoBDimAkr1shiVMH3BphgVLPFM2bohmKs0JUQzjHGZ+moUH8A4efzRFjjEG2TNpOFPYS47ZDPcS9QQNm5WaUA2JhqKgufZFDvArq76AN3kUnlmjDUGUBv8icKCKgyUrYu1tukR+szyciDMtgIBSAetez5JqjLxCagsHaH+WvLJ+Ch/7l3ZKmGgLfKb8Of1aMdiWuvVe9ejDxyZBk2yxD54IH67gwy6WvfajArsaahAsqxGWapMQTh/zqr/Nom9LLOU/0nZJYyIkTKiZjXICm8F/NiVZhr3vjHyz0XNhplgezwsvRp7tIGnYfQB128FUNx6QcWnmhx+CnvO1kisgJkv1QOXSamS0tGSdNA7htU+6fAlchAwlTrG1FXFhNheyjjbRh+kJ0GZ1/9OmWetHWA5uYRAAB/nzAZgVyw+9xXl9dhXZRYZpN2c+anaz30oHMRwKdxhj1mPRbfhQfWzo/BEgB3GQBADPsDAbD+7zquuhjlJtYlS5cvZ8Bkw3UevKBqqgCroMLrm/p6e5ZIbizHWpc6LWV30dkXVG/Pb1ufQZ16nZHn5eAwWrY9QXtHkKK5HU532oxVejNlKZHLa9xE1dGWWAWFZHfiS4xMicgwcXO4RsqbJtOG3oJgw1dApzfgy+8l/kB8BQVWrSiDrB7z9G8g6ClZ93Qr64PPLGJwjaXP0hrXviMZjlJ8oBzjZ0wHjvLInMBONgnGqcgWAoImDHs67TTt14SFXmnhs5bljG5I9Ij18WiKs1Nll32yAC1B0FKD9vBhb6hPP92tBFubydTWkiCeT05cLxwjsD2bjZu8UUuh86XNOP4rjiQJyBr3uMjTNnuxUS+Z6lcqNa1jHLKJSLfeHgw7ENkvsYwD/EP+tOPinhQwR73Mi2g/o9BK1Fr4zH/am/3qKtwqFtFFlUIkyu9iiiKAeGht8vdgAmSFfUOWqczwF7TvEpNvSfoCbV1/t77FQtr5vxcO2Q/+d3l225AWVARjbnI6HrcOkTl72jsdAeBx3CMxU6b2S5GZt9JL/pdeYW70ktl5KVx2X4mcZNAiRb1w2R75SIvcGUxzkdf7Z/pBqJkSkTlJ8hAySyisWt3UmfcrwmuPPZjoGvrsyz9ECBBmfYjat3tKff/lTi+cPX26L6/tuZVEgrG0GQ/eXty8BE9cb+igvHGItFM8N0CKp5bzrMR5Ge+iaGpBPDHaj5AXY48lwo6/VHb88MDRCdB5D1Bp94pYsySGyNgkJlBwcdvYa+H4ifRDdZUjKUE0gYslp0JCLWsxrDRBA3yjKSFXO1Xetm1R6tWAnu2o8p9kSxOfABrvWeGLOLX6jsIIZGhsccNOAKkdVN4YLvFiwrwkmDPEohcRhYH9zrSISTDop1U0f2NJcp37cJ0YF/owQcBrenrXizTUFeWZWZCT1hR3chnlICve4qXqpC+6V/DRHrs7ji6Xm5hr0LAt3rSXz8P1P4ffNFu+9rCQirYLegxWZiNch8o9lVoeQjCQxqymRVjZGKIqgFu2MKdnsgZkWcHaQll5eY7lQO7xFx3aqZniE1clXVblG+mx1v8MrKhwJxElxSuQCswjGHmeiwV4IqzOBW/Q90m4n/Dk/p+ipGFhrkeb551YVdH8gc5Vg4oF7iUewJByLetaUWb26vrMui4cnEn2JHG1wrRFX/vur6lY607LmEsNaMu8NXmcQ3/7bzZsqxpn4GOGZSHCIsEC2cU3bGcd2niuxQercOhZnJIVgNBxbpeo/dWaKxsE6aMBqYG0vwNGpEudz9pO12dXMOdYUjzZmV79MFPBAhqL0qKmIHol+wPAar06m7Jdc45JPdhyAGvOfSo808g+jn9LMZE749xz9A1eSt/M5EDi/bvv2GpBcU5+NHF8rU1t4RQ9sD0SIiOQVpLwEtzXptwxuWUs5V0mgzg7TBO4Y2hMlP0u+xdckxkvHNNqWfHFcP1B9JBPaFad5JsUrSDQpiggPQ0IQPQ4CWYluwPR5LsU68NlTLe60M7aBeLsN5TQmnXQUTz4A0PTKl0H3qm7GPScE9IkHtfqUHG+3u2tIG5oCqQ8nxgNUnyRpoDA0ShIE7gYGsp9iwRJUw0kv8LffZSQze3lC7WFxjdJiLHa+zb/MIPxPcN8otOB11vyORSqXYjslz1G9rO7H19HgSihh8ppNMJwfhVkhvEDtSDIlbcXjZLcKEoCpB3zKj2zmJdLeg/f1MEifzUF6bHzLjeuPv/KOr4irsUXtHVl/J7rQnGp/qeoutjW6O7+vRPhuUTNZVgf1HPswzGqqIxgtb54OsdXrRnYnIX4TFFPWYaHyrj4Q2xnRpJAzS7BeFs+aGpQmMlQrV7ipXFdaOudxr74V8WkwNNwQKLTpmStsCpRl0GDXhTuNzIZUHKaP+mxBQkc+QC8Elw68/jLDrMCzeOoqvdo2TPUEikss22moYS/y0T9qIAn5uU869pfdcLaJKsjJx6bQ1/sv0ul7JuP5LFItRB/e8jAAOISjy7dmgPsTKkF4BOmPdKY5Luu32f+fdZWfRtRJjjjDmeZOg6EM5t3uTsz+wWXLiS39DPvV2zQf9/5xx6On3Wv4VgxPwfdsfOCKZmefGePsh7qFD0dskg91G9btxcc6/aHEvpJrFPrlCwdkMCktY3W+3oAtOE/CXN5TKQ62DUT2RSMwCRBjOemMlxf/aisHxiZvFwPdl+B1Ty0h+ukVhzpHDVS8lsE0AC9fINCVkqtZcUaNQ7KRy/yvwqpfz6z5kcrNOQZtyxJRKWN5kd6tOTZHIIwDD4PCM37OYsTf6/KpZh1CAn+cfEymUebs5xi7T1HOI7M7Qx/KQd0jkM68uurpSwSVSPIaUbaYOAaKRJ5k5O0+e2OKvm5Nt680Rgk1CPzERDkIK0T0DZgkDD+9G5WCI9w6xLkltn+fQEzJ4jDM08SXbDzq9nb5UIwxlL5x4mv6zA7hTauaLAr53xk6yX0YlcKCyj5eYvV7y75X6ZoHATPlOn3ljAGhhdrFpjB2vj287NJ5krkX7y+lXvxcWtB6YbHg2jj0P1DhHFW/FiuSxrTxZpokDWy1jPaLGT06XVPNyWYgG1XaiN+wJm3Cygoifs9Te9CRZNv4V3NVSCfaVFL6LqaIsrHYpLJENR10TOEHhrlC2F9pgxlOc8PBSR6P81w2GHaec78+3sk1rFnYuKT8wRLWA7+4PuV057ooMq8KKYjuOG6Xc4fFVs34GSV4PpiOl3u0GiECnuMGE4o2hcyH0KcXdH+pDVpSXqwbcbPm2aLxQd/Bw0zVs23jPRVJMmvLks1a+T1T8p8ngEqqnXh4nOhl0X2po1ffFBplyxsXBkILCOMPkvtgfCYzLJBBmZrdM3skvd0j1b81orEQZnAnw7C1B/iHaOXRLQWJGGbDn739dDaRMXTq3PEtrvndlckdZUbaHtDpg6UbBBBB5oYTN3w4tx3hMsWb3k5S12nA8LZsuRSi4oDE//qmP/0Noti+hgFrIVoGxuaLf3oe4rOU3aMG/bD+cGnwKaKdFmpIDzv2Arv01EjaNlHHtyAF/PfSv2TPCJXujw+Tkc+i+oJNvDL8ol6cOn9kDc8UnLHBh0VTph7ye5lJRaWTjvaZtHB+OIbVI3Ar7B+VQftJbfjPoGJZu+JrzHudptpZ6P+rpKefks8bHM6jjn1HBYRlROEmwiSXfbPbzYaWAy+4uiXI5DAvan0z1LjEDZe2gAaGLnxjpEAqa0ePKrM7biBonLvVOYKtNNF0qnQmexIrL0XtfMtcV10D+IE9A0ef3PfSOSCzQBg1ZnUmSmgf6AZAX4dhi2QR/GvMa2jxheYh0kbFPpuguqcNbCLvdB6p20PsRKjy/yxjwrtwc5MazK863+fdbIMChbUhHzxPbM+/rcxaOdB2H0WRHdwx5VdU/moE+1+4Xymr7yi+mu5CSePHuUZQyXFgboO25fsNfVIJWL3aeApqmvmy8Iz72fV+Ziv6dRd8Q3bZynk4vgg76uof4W6OW5T+jPA1Sa7F2tmzzUkBr/kYqttapfCsz1BcDX+lPWZXab/NEARtdlDf9CPGmEWU64t8j3N1p6rfbEXa7lNBaaOk5Tobty4lQMwvc1/+PKfYsoMnsm16c4+oy5mgWYW3Bh3xRst2PSJEy4d7D7sTQj8ZCMEBLpu7u3Qt+uXp1cKbZlMd8JYfYbBAeC5tta8yiBCl6OzajXYsuTgq+Ie9cfN/FVlZFl5Q/9oqo0i1hXKYn4kB1FVsaaM01XnImIHku+CC8Jjd+6WLfMBmJEM6Kcy5bxV/4xwDJGpeOtyGZEMm5TgkdLZPSvAt32oQPp9M6dg8GLdMBPmILHKiiaW4SCHWTrC19D9WWuPHYZ+3cL9geOdpRTtxxrzDecElFBab5JgjWEcTAdW8g8kbC+CvvWkOA/RIG2zmTxuvYm3dB2Cx0FUgnBldxY5q7So5+ekO5tiQmvkHtBqQMk8zP2Aoyz6Bfe9LqcRuISN5yhOeaI2FWVc7zcQqkyg3sW0Gegcz8OmOQ2yaS6sXiKDCLJkDrRTff7F2ZFNnTMrhc9pX7ttbhnc816EYur0AbxyKMFBlyqnmilHMPPuJRa4Lrb54fivu9vTl0RX+Ld8wgCk+ah/rQeQdgErgA3YGeQLygcFlOSXzFIrhVv1reYRKUQrPjkgP7fGMI0ODk97NeKgg70L0D/SA4DaWUsGvX47jyiDlA+9nb9irF/ht6M28skRIm+eIdYTyUyMppUZw8+n4MpgxngGwVEeza8U38HA4Nd9HoaYXFlF58ly7TOjVrc54vAhj+zdr+g3v4StJZeks6vH5lupvANQCmMHHYyKA2M6Pi09VqKwdw61+jVnVv+h+M5g8PSyve8IZhMUlaYz2QrAPA+WzDhxYZka1IGNWts0Vf4lZV/ff5yXr0TeDBQkaAfDtNv6JgCaHD4MjCttVa39/C2yHrFB0iNBSSbB2193NQNBOuXcROJfGmYiZdi8bhvj2Y0VbgWaQOFkp/lrFyp4KVJrFA4sNU5Ec0w8kn+iEgQOwVQKcHt2yRx4TyvPEfgHT/MrDRQXBvGrxc6VxHxQ2ZLHUVOq7D59TP8/+l8iKoYHxNLGVIQiCEluTlyKhz1dcTbjjepUIIDYJxA/7lyhxISS+PN7NNYGRh9r20T5pJGefAOLu7/1rlzP9Gikm46S6F7ioM1sK6f1WlyQYfW2tbu5lxascyVQStwqU6MwFIVzwOc4lqHrV9//Ob6npI18nvHfcnfa+bmj41sMAeTC3cO/L2/p+tayrn1D6ZjJvlthM5DADegsocMaCJRbnaqud5v5h05kpZQr7HafEHGLvqNXHzVFij20MwLPKhNCqc4IbNpc3KFO0l2ttvYeWZpY02WDkm3rit7Se59UuIDiKyEjUE00kwjbaG/13oKYfW1LjV/rGgdSEer27PemBJmdQlDAtTyT2eZ1zjc6DP+m6zbjIxfJiAuEDHil+PSZVDxjcYsC1h4I81WNDTxzBKl6io+U6QsntDC0lcgL7dASvPG7i5nu1wiHIatzCe9tqbGddaWS3iK5FI2u2ap1Ev0poU7Jpqwpo7+z3j8qAtLsqqYjmnDTz7ygJnvnfq8X2v4Kfu7d1jzXBe9ZkxJ6h5GMLkoSuvx5b7GaCIZfE94UtIVkoqEtwoCn0F/s792xkPxnc0dbPwVeYyC40lLaF/nfA1G4XQbOc5UzjUoHHJoMgS+V6vcpEMvRZZLr7r//R8Exu2Iq+OyDK3AJx6mzO/Jx3vNVXhdY8e/sgR4xzQklSRKKlnzyGALOziPv9n6kgupAm4emNhgqpxaygT4/lIJgv41xQ0EkyrEpgG+2XWUt3npYiWlzfwK8DIv8G3pX2+N62htlSdYAgwEqVLakM2ggEguWFD+qcVVdhWvJWCqST7ZlPaadZHD1GsEfRiRnkLMDU8ZeGfBA4sCN3biQRRLriGbtxZXAefII8t+CS3nAxXsezDjwWN+PZ/9fhB/19IQeDtlyD3Q+TAa3L2c+/38vEigL6FkaEf6LMUTLhA6ySOTmhQQzpwu6wLAJSiKvg1SqBFuM2txUhmOx9cQLS2Ry6MMnM4ZL5gC1xPLUgawshqTrnq0vF3jZdMpNwLImPNPpQyj32kxLg4QOZUs37dyL+tI/NJ2JunFsfFrn/qk3FCcs4RlOr19UBawM+5hxphJUYohWWaWRPIK3teijSXNntyxG3RhffzO9dK+XSKJ6a/GQeORLTjMuF5TL0NaPmH7v120GCtAMeqZJm4rcg+cyBR+G1o65quR/qM/F4lVi5ZVOzXya0c6UAMu6e/cp9gOQ2tupt4RCEllhuj5yIX05FlVPC7Milxa1pnbplnZzeiIAFdmoBf/AyXssgs1ULW2zB/zdqvM5d77XYrY09+fqKUO6YIgYIQvD556sQMqTXD5FI9UXcHXQviE/aK6bcl/QvR3+FyYrd0vHYQMSFYa5AVophM0ZBt8NIoN17BMeXlw89GZpSXVmJlpOVPKgr9ITB1Aubz5hpqh0ELwHeWFES3DsN3RowR8EyjR65/RWucBf11b0ZriclThEAklNBJqO+6m+zsxyP/bj0x7LqF7VE7VmCVl37/Ws7MdYGhhWReKQB9/IMsxhQawA+zVoNep4wHFUtW44p7nGvb652GQJarVJpBPWi/95/6GvRXJ97qcT2wkdrkuEO2RD7vD/MopxLUjU4KmZgk+SHu098+fZfqop3JkB2Cba9m3KixNHs/EcYx+TC3Zv1a+GOsx+Dc6427OV+FvzTiHBX0EouJB4sRNcjV5QA0FDaLHybhp9dSjPe3xGax7stXSrV44t3sKFogPIZ8CtVGn1PdOe7lKAK0ZUuAxmB81ebsVv3jiCHpXiGpXeqD/WeFjj/6OVNPMgLtRbdNCiauBgnTHm3suCqSyHHRWuspUsUSUNINUzZrkxxYb9cVFkFPpkNjzp8FUcwOtM2aiAY48s6MwWM1ROnQti3D0yadczDS88xW6+KJxtUrj3OuBz8tpmNC5j2m8XcAjnzighWRhew2w5YctXpQlD5KIjyr8boSZkuwZzvlv5VIEhEnwBdvGJWExckjjIXvqHCns36WNljr7XJ7audJ5Vz6VOTKBKWni2BPuM2xE7VHgSC1eXntuXF/oANbs2m9tImfZ+5b707QCwyHI8hv1kJwGq6NKmeUvwNT5B69WLISHR2v4SO4jThe59f+ZJgIONbpurpRtG7o329lpH2obMdh2cn4BFobRjCMytxTAhGMqc4LZY2nU0ZvF5Ktky/uHTzKSnEwdEqqo9eaGHCu31VOXjC+SriayVkyqXh9O3vUKOgp+mM8t+l4KKUbFpwGSGZ5aIGO77OOcnhsI9w7u5RU+KQNWKpHX1LrCcbbm8Mw3UQAcjW/IcouPd5hZQ8iE9ukc6Pxz8/ZqMoH1mMnX0B0alaKvsPVLE+Nm965bT0J6TBr2Tep+66hnKVHeCNCYpZi+gRhbYc95kt4WyODrxwS5nBiBZnaitGEG354JuA3aZeEJqyuMR0UsYa2xKaSXzeYOWXx8FJJl33aIGuveqz568dQ2JNiD8o5dP9ipz19MMt9r0EvTG4jxSmNwzRAp4gd4ZdgNU9fYMo3uM1aciLHtpa6fESc/Px+vkxlJNtUTTiHXAwHP+2mlKtBUThbkOkWqSf2xXaYgu00x7MdcnuWsqUl2EwaeZz+AhFlKnOEg2t2yLQ9HyQZtyprdJlFlfK91nxbUZcibhjq+grbOJE5BAU9sXH4lWfokudLaM64f/IIjyrL9j7YfCAi2rfi+FlUqa45gB6ovB5MSHKgwQhV9sXWBoF16JvpOgCqqK/mO+1Ug5oJpJ6I1X71jRL36UsgZOwp4TZ80/irBdQLX2HRLey8MRCUV7Y0RIuqM9+Dgo6ng4xltrEWAw6qSXmSFXtBe/mnRCnK0BiLltZ8WnIeheqRlfoeZEOS+wokGvUogCKSUZPzRKWtHuKJ3RrIkeSPCr1iHpG43V0JGKo9PamRYWV15CHG99SY9pMFfe4ue/+Ne6Ry4VIWwmo20EMy1IHBb9j+bqub5F5QhB1cC35St21kCfFIbogFGQUc7g/Y9U45LeQf8kjPXnqLZOYWxB3OQUzii0JvMgbYbdBIdetjTvOs7lKN/hbaQFHx3s05SBSfMCpOg2G1jOt4vgRIlskfmXEWLnBOaRpDMA4hLWOXFNK5i8S5XbDTgGiSLiYtT/JRfIN/4WUoo3Ff2annI4oDGFjNgabFvFnjppI7yCWHwLorg0nc5wojVNByM0VoEER9EuIKLgg+UTFDh21AxfvnJo+U2rV+Yer4h5cEfqN3qlkMtQdPXtjUFxAP/YwXs/4xK6gzicS78gJnkvu5zDkFT1iks43W8JFmtGGBqLuNotlY7vWJG/Lx0crybDhEWbRGRFxOIRt5nHfSoW6OOGVk2nOyFsK8tZrgCYWYCTHbiZ76xSa69q/eHrnvBFzqIBxVw9Ibk4ZsplbZXdUSshFMLkDebBNl05XOUexZvgSJ79GG+yoP6WxhDN/Dqur5nyUnGSTY29FN4bUfWSg2ApwN17QL6XOa64x1Nvuoejj+MbOtPdLHHZQtoxvF0Omqp2sRNakwoNauneQx/0laClQD0PP0nxvlQBMOKXNvn5DzUTLs5bm81A4iZazR6lIcyJ0keSOxdAbhKbSuFdCgqTzWBgLCE/loTSxE3C5x0ovkJqYhBvJyRGcmbO93cvcGaLmB8dtudionppOioFk1AIlRCGyVCLtzvzUU9GaDPG3f6ekWyhVqX+LIXWV2bGhGyR64DhR9qc4kk8kfqRPxJf735snCl1RVQaGRS+mSNybZt0cjV9qe/ZMFAWpcqhYLySxBm+qzSYHujOq+tonaZ7g3uYN1we4cX0Vgv65om4I3rsxSuy5Zc5J852gxZAOmtt/AS3NoVBc2t0p0L4maA3LNeiOgwWjGVV3R+QugYOYJvxOuK5deiTcLg4u8uWRv5q9wC8L2aIb+5B5MYkBax6LofGy5eWXfa+LKmOxczC2CvRIw2n+tnEvLwGUqs+thH6pZAz9J7RSyTB/9cVjL8+xsFUrVR+2OydpSIKZpiq0CsBHrYjToqLZnvs3JzR7QQ75A8/phTXHKNFmgicj+jwvn+4uwyT+uycHnsYI4FtqKGPPEOzcH3w5UHmoks5q4V0i0djkTIti0NAoERycNgwP61Ro4jjI2RHxXbX12yQgK67GfH+uUj4KgmQ9pTeaQg4x1F4B8gh+TBNZt/Y5Vf+SzFm+NqFl8eeRdsCXncWX+Agu0+FgIyWIDmaWwRUxHgtPUAMzyz8BsAJQucuR88qjOoTCWRgcv0coiPYged1rMkv9GQKEg8Gy2eIgvT9KQfs93qgt9g4+rEzW9anfdmOvQDDrvVP2FY1WVnSF23Rma9IIcKNa5WevUCwqvOUgJKMAbZumCq+UPPE+vMNtiYKjpW7koJQN4is7oYAULGP1zDqdH/Am0ESHZlrjIM09Et9EGaMEW1rfBgTZU9QI1mUa1xvVCjKMO/Q3aB3tStL+JrhdVlNJRFSl2Fcbb4Ql6OFpcrddwzpBbftJ8/vQnIQOICr+wsDjKpks0CoaO7DFM31611JmXhJQ0BMwm0iU5Nt23luTcXoBoLJoQtQdsCgLLRvTqEphVO2j1oFE4Q0cvI1fR7MsR3vNrmig8oz/xLZlEMIDc1gesW/25zJ9KKGqMm15gJ3qZf7lH57GMCWHH+8LDIXuBB3Gu5+Xb2+vwqFMl3m+/Bh4Q33RiuiCnNLe7LNj53dQ79fxLDfM/uFua08PtxKk9rO5bvH+6yeMBTyL0poCH6gDViMSO3hZGYP255DpRuU+zSdtuvV4Ie+1CyK8E7wowQMbPzIvT1+2voB2m9vaUAml2YBNar77DD1Bhkc0Tw0zvoi47BeWBy2WhdxTSWivbFbomjdmGYOfFdK0b0MIEK4/BAML1xW0UFhtGPtNgeT10g8wkgCmiMQ2jZayBOCTIcDZbaUpf90a9RNnME0BPYb0x/2AZjCKJTsEAE9t40/2JChHABMwR/hP67qO7VWzs+uReZt0EiiATcSyvAanx6SExsA6hRjan8w3j1Ewn2NnqsL6zamMMUv9UEn8qBMkIVknqVlUFgoJk7DBQ7MDmXuTe7zlW+Wg5of/CJsOpT0Y+96+ibqqSqsOqW1Mk29+m74XX/phrO29PSmtBMXwfkQ28dDb0KUe50w9XTcoExuwpXGDrUOquJTIeqHgDxQGEYPNLVlGs+pQxyrvvloXkhyi1JVbYi4C/zyoTyT2lZPnv9Q8uQR+ghcl6NAVOZlAqhuxr/6w83ccZueEdOUAVSv0K8/5xZEIb0/YKAiMb760w7hHXK/0GrP2LDlgDnuyC5ivJjyAj4KKr2w9b8OWZ4/dr/5H4/ABxmXz4UHXjCPQpi3bMZRwf6c7KcZ/3vSCbljmrV4Wuzb194Paq3f0rMqOjt4HH7SlOGlxRiZzIwDcX9n1xQ/45XngewnI+PoWyo9l1bwkoREOg6J0Mmn9hErElC1MUzaem7NU7ZYa/Hmd1vldbp8AVX+/JHMqBzWNtT8JZ+lRvortuOrbxJCbtaO/meMwU2g93GDuLSh6PZ6idkk5u3bEhrvk2AiyCMFn65+CyocV1m+hH91F4J3mTQmjhnH8L8Xays9zWpyVp81uZtI4kAKZx9CkX2J2s6ibst1HYuyCHXbpSA0+YR/LLHKW5zFicvsYeD8OugbLzkzfdgPAAuDlbuyr+RMWB3TXy6Q9O7zE0BMIBo30a3etpJvZm28f7SwSZXSHapVD29DVqZwUuV08iSaIR5DGCUBSy5l5okGVlFhCgRoAv0K6CtgPuBCKG9AI3XwEB6JzC2Hb2Dn6mHGwditkhFN4ClGhrS/dKZGEGF6cr5NOAMm+iG4nMbBAMGxy1x8eNJn2YXIcqfJzMx6L2HG6uxEtd0uFHbqs3Bl7ZYU3qsBYsQkN6Pv7l7ZfdZjjokZDXzHVhGUCicH6yv1kuEcHqsuUZQTw+vsKbH+Ag2/+eD85JYt5mMtEOvorzuUxf+3QqU3x9XL2rDAtMROsJjCm+7gQWz9nA1Lwz1DKCXa/USSse9cg3q0r4Mbpb18YmLCvc/bJcgFQW36O3Fr9IN/TFnGZlGI9VMwWnMECIm7Jqoq1Lt8nRDEGKcQchfBscptm+U20WmMifS8jdwcO2MUeGlZkxUX7XT/KhViXQ5LadK5KKKq0U+FYc2C8k1n4YVkZohVzLn88W8o9Y0cqjgswMIGkONczH7Z5yXxZciTeDMBU1K3Rt5dthFWnv0UjmpBc8YCyLbuNEkwqM5mmJ5ac0YZfkdQDbGPiOVUZAdDdrMbBT8NqjhoB8RVNgaGaz2rulHYBtSmZ9z/TQjTPpUh5r6gNumpaEwY6bz9q4fvmBTKIIl4ue8c13OYzhPYGsee29MHIBJpIYPB3FbgF7fudiOX6sAGeMfloQn4ToK+5mRuvCxQl7dPgeXE/tuHiIbLCO1hs/geohAvkVKLMoxJwwMKdqFSTXWxsSX9NrYgk05zhGpNWx2fJAwnFgL/kOJTc74Bi6tC1eg7TXk46PkhsVMDaH5YF6MSry5N4prp5AdZgDjUKwfnz0UBGZCklwUrHJ7Wl3H2PxZFaqUcuSjJDKLIX/NGU539Cc3FKJj6dPbgCwTmD4dynGsE3Ykiexhkr8kdHWYQeeoSNorgGP7ckgk79UWsNLMLwJTSjx+Zz7n2MD9/4BFRaacOXuMyzY7jASNcm4/f89wQi6UyC7SjUPGnOFDP8McSCG/tPSt/o7pVXqMNXFPW6/9bmuoaU2Ag2/xbOF8Uy2ojfduNjp59L7dSqod+4oLprN+3xHVll+RdXPYWqmIaZA8lqtj7TBtvJivchHZdmnUr1gWdOCU4Q78TWn770kbXjyEbOTs/cL26dMQqnjlU87D4NJlc1Tj1bjfAzCCV4GadGVFkzxzDtfFw+XO7SWrfQVD7ooXDGyOJ+K7MjlOlSg1z1TPYEtxYYZkG3n89UyfV5rqUZb7Tz+4jj8Ir0NW4+mAv32IYwRJ2EqeKpSdceggKNdYF/YzGrB5pxCx9xxvebzGtM3C4wDFFxVznOP7oYgfr78meEvx3jaLuIIlY6ePeg/htCBOeshlDuCyK5MUpQHrrUg4JedKTQsoCQeZR88e5CSHyUD22CDqlt2MFhaEogAhkAgZDVA4IIesefvXLSnllX49RBgTJwfSg52X4/6qevYHDIBYyCHj9bXHSzJHduY4TU/LwgDbt7aRwNBtDJkhvxD+vT8qwNk+hIzMpg8fMth5efOQtJ32TfhaOE4PR96psqzS5hgrH5pAM2MfRZP37SyNO/3hshrXvuL1kRtqLo50nZ65nesOlkFTyC5SqNY1eBEim9luWBbP7FVFogCFbIHGLOrM+OCIs6kvGOm3tC12soS1LZ6i6VlXgc9WNjJw0dzNAPcVikq4jNb7GOPMvERDbPOAxV2kUO0Sj7zHsYyE4GIO26+Abr5ippB6d8jbPdiCmidOXnE0SAFCIUvfNI3oDng89Usgaz33geeFCKdTEQfQxn/HQmqHR1nFiStILvouNSIP7bVCQM0wquBsHqCe8HjmPJ249bszFU1iqyjewOMe3N5e9snDo4aQIB3GjPBgnTwQ/wd8Lhte44hq652D+Nq4Lts0sYzeVncSx0XpUW7ORpEjmVFva0ZYuY8jtINRhV0qXzRlAAhSrfWF46BFzqjJLerT4b3IKfBJcvkVKSeHKzUmSDc4oDNxWuvJKSTS/He2wi48Mt46scYpFyfAkWx+F2zizRXLoM49SdZTJbhQfF+fe+lgVoHOGlgsJGrSqcpsnAvAk2ccnwN2nipqVip6wm5+oB2hOS5N3OIGROZdvY4lSsJMScE3J7NIzIM0i7as+fKsNtaF2JIJ7krTEfCG5ZzLrpYNVyA/vRI5l0mw+58MqUhsypEDxollUn1t7uXXwbnF+35XGR93DM0Gy+QXk4zJKhcFNbHoAgkUihXw6eT5LYfLoKtLKIlHdET1RyMhanyaTfQMfGVHAxwARL4GjJeD/HqeDAdZcF4qJt42LGogc/2KBMPo9SbU/RnByqHf5qUqzdbkKpPUklgBWApXQU/xUhD9GFDywmgF8fnfB1qp3fY6SQdMNdtiKubrG65+GrQ3rWWGc+Hj8qPDy1xtXcGUOLr3MT44vBuSqdqAXTR2d8Ibyd7H2V91E0xGjKfJsHB5uYPZU8M+foe0SFbQ6Q5g4XfFO5aWAKlU8TxlbkgoMFbKQIcZF+B4TG4xEXWtTT7orBix8Kfjcn5UfqXA24arCZIrAPJaJX2YOKTmOObpl6/tOOnnidDubvcKYHe6/uUOQm3LLmNo2mbdBAb783S/o1PoeTdwZQQCltRxytbs1BCru7hCwRMyKRfzjSjlCXYR8GIc8Snb28ZksFO8i6UoCoQYmVIO8iHCQdJ1eF9KjSPJLyz4fQbRg2AlA5ZkNLLP6C4kNl0lS8x5OKOT0ns1wliABCohps9MtDHIwmfULCac4uI9z+J1X/7Ft/KJgKb0kCV8eRRLlrMaE/mS93RmfBpaB+yWoTk45US9a2v2Rq5FC8O0TKbm8NGE6dytO0fLtMUrP2LXZm3ACdEu6ZgCMsX7/rYQQCGyV6xmnjfnqCC63rGelSkQlZyZSLXxbTdSkd4FJrrsmdMtp/Ue4y6J6IyPfibh4gDHxU1o/UA+Po6PIuz4EXvRzcI3yqB50P1k3vJE7AdgL6hpc6weMp/pDnyc2l5oSNbmMYV77MZVSsDn0Bogk1oEfh+Mos72VoRnfrVq24XtO/AFQR0h/GgBNu/+vOp51YO/ysnumVMxOB9wFfdnWv5B052ztD0R0CdQiX7wHGV3hoGfZCnIOvhm3dsuoY9OkpfSGwZHLchlLLjOTtwnJ3KC1XUlMzG3pc5TI4FDrU2TCNZzSTOpphxbbsxzVkaGEZShGNquxKqBpRmllEhOJ+Yo+zWUbqNGDC4ctvDNDy6TS7oStd9qHRzAZ5lur6YbfFlR/1U4HhDfuHFNjKcS/J6QN3tIw5NbDYGPAYlBtBUGwp/XGj3G0Z3wS70iRu6AafTC7wcZEJMb1CwP8wme4Jw8eR9ttaei8x+KTArU5Nbi1x8WVw7h+Kln5wQyc+pgLtQ0Ml/0dDbJhaSyGqH5YJX583B08p1JfFpPGVh+Sda9yiw2kyostzGjQ7xp7uL6Cr6Fu35gtUUOTEoDbH7uBGbnuel1qzlnxzxloiI+dMSNsPZvoqPN/bT5XhXoYZ/gCRQtYuDLx8VBlxoH/FULsVTznKIzmyJg3xomsQApDYZ4zaCD7aaX3hCKVx7ft+MiQlooT+S6tOFSXd43dDQ0pYIb0EzduWoeyC7DtGIwb4RgKDq9ggXSmUgipbi0Zsk0WCZrwVItD+3oYax+GqmhnIQVl0k/yZSUGxUrIZgR71K2l7lxZYmbI+M1ouk0qpY9n5dQsNaSWjFdOBNgXt5pTH39cMTvArORgUhzh+4d27k7HNuD6A/32coT2C0jLUelRYO98mHGgfnRPX436jbJ7/GKQZjVgVl2Ck4Nw+K/jAPLndh5exSWJdNhsddjzP/iCy/yer2jxBTvntssbuIiHJG4JXo37mKFc04zt2NpY/qSa/ELmE6kMMBC13ZbVPqfVLm45loMBT8cw31mGoqVBRx6BarIxfA2rEFu1I02QNma7HNX4gXuGhtBZmUjO2OhcAIkdDQB0Wqr+Gvq/aovnfgi1/QxM891+lA8bO9OhL6QPGWJSRb1BVr9WSrRdsEQ0CgH8D6qbWkKvVTrnmk5ZuMco1TSOO3w2R5vMreVPeskMqiTXu444e+mo6poDzS2jXcFZ96M0H+AotAqh8UImpmzg+W2K0K+sVaTFpeMPiIsXw0Q0W9f2uigAeaKiZsM0Mw2pfN8mi1zORtI53s0GJQRN0HIA/634ZidVAxvIGKXd9Te5uZ5VWeP0z6nmmadFOD8wsLt4FFcHU+cUQx30t1j70P/0rvkStDABxbGdh8xCP9YBNAlwz6FT4sDumNT0Gir1hleosraa+N1eJHF55deXqAS1aR0BiIpERHimem0EyVMzBDNS0eI9jlrCG1mKc6YH5fu8LNx1EhKQvdeCQ8iH/y4iF5E2Z5CP2FWhjHfQqON8J9KnNOIJ8oMazq6rqh5g651mG7603nx0E3LbFgfqXvMV8ETUm8zVewkcRZ4nq33xVzctERGvzzpFSblsZ5/TXWtRWsTm+/duHjVbzDKLLMevvfnP5r+u/aGRap35Aj1ckTIH9XfJ6+fo5CGxOEv9MzvdLntwfOPFIiKyIY9f4l+CoAVokcrifZ7TBuFIECRYgd2PGND7PnJjLDkQByTK1r1JUEQT6HLOkVuBro3T9A2RVk1aQ3Vht91OGlH8yrD9QWd8UbFuznsMWB57+RRYyNGu/4kKlMeKpwzy//eijuXRpHFyaDrCkDOCFW4FIwco4/EQ/easJFGn5qSaAFT6aq+bhM/cJ6BshkkdUo0R9s3SqvUoeD+S9N8oCoUlsNzPCDG1/8rnwIJIshTVhZd0Qm4StSf+vVXrQNbsk/BnlVr1kTTgJczvngdxCHYJJkOmgdBHy94ZD7xdkLHYnHoBjyIBCsroqS2Vh8VzjgfLU655v0P2jkGrh28wOVcHL2IcWURwo7WUaN49oZoZwbbeWTAO803pndt+wbBKZFpIJ9eI8yCz+hSiUBqiJkB/DAVExZsceipEPHxSRLr9QE57QdHJXNJ8gX/uICkBQx7bNV6s7KvhEqiT61CHtKeM8C9TUq1aF+NKVyntdVzk9cDe8zl6cDUQGisr3Bakq50bBCZcnd9bMVS1UKnjlOMyN/MTntDLK2ASWY5q61uNBC9ESsTc+uemEx129B2zH3pMLO8d9FRprJJFc6Y7THi3qIJvxZGjyC4LQ4MzO49t/8ljBmSV2ZgHJkULYLFf7RFdxuKmo2Dd2JkTS988Aj7mRwc9E65V/0cBjqjlRHwyNxytvq8qBqfbbH3KGKgbiUe9ma7DiW5uN9rkxbhIBMpk6MVYcmG53M0tiUBEvpc9dSGs7+dNudaLn/zJdzcOAugEzjEBGOjw+fgvjhm9Dnn9m7nsaiFdvTPWnJ8GbcypLVPJFv5xkG6WUsy4f5N+goJq5z3vGRcWHkvfw8VwW3Xvk2Toe7C+AFeG00ZbVAisBC1dJLpdWYHUEbR47U5xgdZxQ0zyRGmerfcFXrClh4LvpEAXGxx1KrNc8uEpWjI5yCDqzSnb3BUi97Ffa1VTBAozX2UM1gstXU0nt3VjIAMzsER4JVwT1p0RuNkDAsNyHLoQzLBbxLktLakAKCYZHyED3gODw4ZqLJrQ6029Eci9LgGorkZKQMDtr01JEnKpKq1PUzk1jaSnQoyWDRluPrWu+eXl04AgSSmSMzZBvFwgppFtoiqeC9C2BTCOOMo9MK7oAoUhDjTZ+3zLyomOjnt8cFWu095uliM3DbXAWaKG4+qQYLHnHeBmZgsUBmtjDSFYtw2a35s0UQefQM04PubodRXiAtf2MpOWvfcOENMhTTHpf9MeHXp6se49I8rFzdsU8HMCHm2Mvlqk35O0oc/whBhm1IAGo9LmH4Swj3xi6cawqBRmrAqqAlCfSE/mFjvCPYnumLbbkPqJ57cQ9u0xqaEgQp7IKvO9Y2CDP4SSPGArLH1PPg+kP35zE9UJ2kBbDjtSCHaTyRG6bgMz2oaCSMxHpamX0ynZNbA1dbD47ClG5ZcKu92hNS28JKY66/nSrGHR658l1fFq3iH6wJi1K+dA2pt3ROW+NAYqqEsX3qzPIrKMc2m/BqhU3fJt1ZBpF2ZmeNdq0DadXauhoD2X/fUM7P4O9p7W2a/zYCqTkb34W4pf2MOOXhICOyrgo/L47VVl/hKRp9ApAWRhxUUYPgtXu/DXBrz3/lUTaOwNfdImtsPL7hkb6xy/GA4mhj/utW/+ETydQMrq9uUXVikmm4FKMUID+hsU5usFN+w045IVwAvRSjT5uZbTK3x5op0JInd4/aT1n7hOsJVy47kteaSZiQvXjT1dkmKNiy/ygC4KG3DVBoxJmTUb6Ku7Lb8ioWvKqzyej9jJgbxSQKU8HyjjFbHLC99S5am4SfxmvSy6aGVsZ13Zl/NAek8jlGDPNiNmMn1YabFJQWxHgIqscPf+NHlUaVN+95/F0FNOReOuwjlkGjrTS7EQDWNBcBf/IEoRxAvjrjILqHg1I7ca6NE6bxTFj+PmNWkPzCbRH9SjJPBB9rCaLq5vROfPep43e+tpmPvuj9+KDd7NR4lezuvDJhe2rPT0qyPFvCDVLrEHAmnwj5xDw2FqRQOiZuOWB0zTrqKY6Ck/fkqWu2dBlgBSL7CxOSHxtM6QFSH5uY+5BDG+oNVBXvXm8vIGdg4Z6Ff1ugeSPN2LxP3NP2t6nJDghrj0vm/hKURTzeS4mBZFP6xEDRM98pjm4RvLVMP/d4QGCOVLSWz/t+OLZMM9n8G61J40XSEnWtGy3JMGAZFKIpnui6WginpDTzgWpxVoah4oXNiI1KoywSWTamtZ8F8MgSjp8rkRL0LhFoXOm2Bq74UO4Y0EbAnl8XAgIRuQjS88tHR2wDC+s/NBdGikTdEtsusjbx7SInXSpZ8kBNcMzNnAyWdWnMPKmB/t7hZfkQVPcJglrdIrX4tfp0qEVitXeS3fVWlfDQizc+eldyK6P/6vMzkRgMusqndktdU88C7zWW9R3ZBiwdvO4yzKvTHnR4BDjqq7tZaQCxpuvoGXU5VSerZ7shJqeS75C5kMTSIxExoKd12ulHY4/+TwKjWnnoxDNdEDZlAbz37ItBzUATuigDZi879kuVF662MoeXByu/9xKwQDKh4T4Lj942vMDDTED5AbwDS8rGKiP80+cT0iaFWRmSP3l9vbF7OdBJRxUQNHnvt49cKIZd3ZjJo9s55UCwg8YC8rUntpWO9z8fdJ5MLUDQvy0W78OqQWCsdEMXfoLH6JwaDJ1MgWKc1alyoZUTchzDyOmsyoOc8kC2CglCjH7vmmiug10ahoQPDf/NPfc0Ua38AqyJ/oDRzM3O4+4GaDR0tDBPIoOTLTaVOkhvqztnD1z+qBwjKMo9OPHODj0QLD788WdQKwz2mKRJ0i6F3212yiZvVPdNK506BSLt1uCKBVKjAMBjdLH6REwCbJhOz0Uy/DKQ9dLy2mnYNuyuFjLmgmZq5NGdqHUBpFNvWEUJr1bHXcHzvsbwMdMg1b35INnUBMz7Ome5LiqzWT37672qI+z6GRD4BruryavrErsVhfirRsYP2SCnqEf01CIOtiSthlpZdXjbqCFtir1hZbCvoUKMJZnvqsTOg3ub3NkhW9datmN9IgQrheJnIICj6ZU1IEoNwQP+/aGU0Pe4RlEHU2dRiqBAuPuUP1DK/nJu2JPIdLtn7JMj/iB6WVVf4l58+jAp0l4IF9vyL8i4kpSO7pFWi/j1z0pxmysAc3ahKjsAJjruCbobfTKcpwLnW5KfMy36VTCdOcK5a+vb7j362j6Dkrcs/iJ2hJ3olD42PcTKg4zvYr9dDE0wGMcXMeI+FdFwxbX68nSuUCIkeBfw6Drx0YPFpXBx6GiaaDjDmuAJyBa+35PVInZCYDwOuXT2Aq6yfmS6shGLxu4ZqR8FCvzciG8vEeIo9WMifercbC8EbEaywBM0G4v6iZmsHsdiJcAMSbZR8sTN7DeXOjtYVLAnsL6htBoIS+hEb+CnlPTCZ59H39YcF5ngOk6Ku1+/w92yq9UWL+TouBqCgFL8CzKveeqElvjmLJ7051oujEGEkO9wx3CnkHXCGr2aOwmxmhM14YubW0ZYUQnLG83LO6Wrnoe28Sq9MB+fUU6b1qBbnTqQnjgsxuONm1xrwgSuYDXuL/znd2cQjFuATErf2qys9QsqQyInCAcvdTmmLSTRY+qjA9YE071NVyizaSx509GZUEHGB9MWxcVIHftZA1dA6WWEYGOsRMCSetY7FslD4lNT26mTzM2llE8fQqcDRGJ93dAHMyxMR9S4rUsCeiuvoYCARBTwock8OE+BwlGt4tYG07GDA8ZIDHG1i4TY72D6PRq9j0e+kQ2BD4tJhYoTHqyc/ZoNLuupSA8//NNa6lVePjt5AoUIEukYubTZ2nDUKKM2x1ihBkU51QTyLag/fdFgM+fXH6L49A+iBgpkVKsG/AoLM+wQNEAbAAQXPmEzXjucMubZtk1Vu63qn2TkKaqezYQ+lRyitdmLkAlPp0pH9r/luFb9dKWp2bExwa5RFfm2IJf90B/ntXdw/4G3pndMWWlKCWllQwtboL9LQNLR2TdlD0pUd9vi3+n/fvTdn5I4gtnwyUWRHgU5dLq0/1wp4Njz2JsIYWkveyNtybEFTlPa3ielXuleyNhMwqG/g3nPW3yAAPFI/xpEK/ZG9KkQLbEj9DDa99LmX7XKUroBsQLiYmSYW50hddcb3bjoAS2p3UJsP+5qK4VNdCgkOALu9rqKmY76jHoqn5XVevch8qyFsCKwIxW1eAvwHIU/tE8NF7h2D2pd50QTgQy0U54LdalySeYl7SrLi57x+EFK6ek5RWh26LvS4nLx/GdAT1oAGIIvCUMF9/1PFbvPPxIQEfS2eX7Hmo4dR1P+7yLaKefnHUnWDcUoHnV84SNX8+0Uj4JNlARM30CzFhM+lsleQ5tj8DdstHieBQ+/TO6j29Zi9H36eJYMDgaI3Hol1yfP0O46zS6LdImhJj7Ni7ygdouMtmtu66sYOm1wXYtNPFCJbErRvjd30iutUlAzwAkeidxFz3C1oNvI18+RbBy74JyxZFQxlqVcotBIKAWQ3LzB+vIdoMOXGaydCxgWmu8vS9t6rhiVohHqH+AFtp6OjH8C7vZPWgdyMQdmJyw1YX7ubL8L30SjdwgvtSaKzjuDlRccEqZRpAkyN+V5tO2Niwa5frz7rlClivhxPSmxycKFdeTZkd8cOA171550S2h+kw2e4PzjFG0KTO4ebrphbP8knYAWK3EFGqlqS2wJIK7dxf096E8xgBF+VcGlbEAWSJbSa427yM3KwJu4/dD3/u3FRMw/pnGTMZSJ+YovONe8CFnqUi+5Cz52kVjIIHETEEYoB7/1uSUZ0tSN6N0zTT3beRKxzveZxoSuRQdOgBHRPvd7LqoUUE6PjQlNErMZsvWdj6u5IaVOwu6aCP0QXmRXKsWEXTVn/hwT3QwdV07bNWLExVGCPyD8hR9qAX+JoYL6giCR2lWEPEW8bSreX7CrNJgLxaRfTO6GZxAFR95ENZqzn6M/HR9dlWejCO5/9imxQjaUbnaLCPaAgQNn3j5dkzlh/HABqpOw+ZjnvL6I7TzrhGT4a3COzuv39BPv+GNFzxaDO4rkWXBrVtHTWEgjNAoRJTcA/T8GNgle0eMSqzEsU1r6hqRx02v79QrvDGRbmdv1z4TNqmMoGn3qU9BltKDPbZFvfIo5SOjs7TsFfKR9INWGt0iioj7RQvp8/Ljol1/tcukRvlO6sLL+5VeLsV0hc2/DxX/X1E6mveSOQTWQMg/Te8XDLg0GpUn9mn0vKjgXAUtnZMq5nUGCrN97OUW9uo2eg8Uoj+0OEe4fqjrRRiKDoyke11aBKZj8bU8HNhAwlLggdhtSlM72CrJwOQQuvnTsbNy5JvohwQM/lEFU8l0TPNT0jd6oQQzUJS45iPrp2CjNOh3as8qPJBjXA0Upd63rUePkLnkBldfKjcMssgxGNYtpseo4n5uNhhZiRoluFNFmp47EyNeWQUtMPeLLOVKt9uaGrXQ13mkosdWSxq16p4rEsjKEukRB9G/Z5t1DaCUrcBEVuoVrwIMtJ3rrsO5C5Qmd4DKOSx5O0CiFli3U0CNAMF9BwDamVE+LeW8jv3CZnpUb2BtdzibzVlv0FPgbKYtNKkFJMMR6W8l/FwTzukKZHfUi2xEJVSByqNufdcXf6WscGE9CRCtHfktmMKISQ29x/Q466vMU5rzN9Ghk2dfmg5U2hugfth4KGeSk4EsYnWRmdAHRlCXuXzh3PQGEuSOOCg9X3e4fuqHSdPB5/Yx+UbUGomXFH0v6mLkDbDOHJZxKH3At6rDhcuh7wXyc9nboYVS/TyBklBTX6B+00yTtXf62Yk6xJnfVPyiD9XkA7uhCjhwN3g6DA1we1xq+ZUpeId1Ld7p/f6pYzN3mU5/gwFA7tDnp793FdqWk6GUiqa0JAQYLLvbVhJNi9exUjC5jcwyo2qQsf2lzsFJO5FRte7OzgWiVmOtzqYgxrSs/Ndc/9yKxyb/iUwJGweXLvQGxdUFPjLdaz+oklrPWiZYPRndkwxHroMMivm/SgEbWLncr/EZI5c4VmdKa+tr4Lgil39vADwpKBnGZpCRIpWe50bOFrI0pggluhWxS5x4xH/NCAb4FV+cBa81JTVc5Kryc1hGR3bK23IDNhKGWUcmLYt05iJ7xrmXPVITcUZWmAdlz/E//jnLfI5CTy/ZcD2yY9Zb+Pr1x+7mHewPDyFOgoS9bQb6JP9eVd5m1Z29kosPoej/HKG8Tjn/EQ9mpKqOkZbjnusThYXHGH1DWjRyaW15mccZqgesOO85BIN3flHxWuXE9mPqRqT6rRuHv+Nbo3gotY3aV3sHU58R4Qr5u5tDFFN9EN8pGqYMWNM4qn1KZReWEzXGtgNCM7mKRC3uUSAjWd74BDXCgGIX3vVOX4BeAp1H3GEh9i1KkD8gjY6QTVuXS22/VFAKFBvjlt2I2hsfPQ9vGwoAMGmcASF5sJZit6noHTI2nE8jlMDvhkim93Lc6KFr7EbKAZTH8C76fUL+/9nzMkRgcqNnlzP7c7kZGgpR19i9pb5Yz205uoVT13Ff+kJ5vuWSyel6tI/uwNYBuI3lIJ/Y1cTxXILdNwT3jcNsp26Bsl0mFQO3inF61iBoVNvdCLu9nPXZ//wIlbxMURc7iR18LIURf0i5trGStH/yhl7hYPO5gGhlS+yQpek3z0T2s6B/bXnyTlSZsepaMrbPbKm/YMDnduRmCzVPAnTFWQ/O7yEWPWk09reb9uDVGPKV0dMHmFw9c3w8ldSpFsy40Uj+HL5p6jtK5N4VHzPPbMs2GhUDlhlmEYWrMVOxw673xQig0Wc2z9Gor2Qnv5/KPfBXzaFSEO9uXRUwIa+D5PnMPwovsc4Vz21/OaCuoaI02nDobSWsGMFfevy/tu70cr4UpzYWPFXwXLttsOer83VTFaiRJv5XxXZMWPLaODBJ6dNApc7Q1UnKMkFn5h5r1nBbLGfAMQ2Mv7yzvSeBTN/q7r3bBuFhU0FV03VH6Xx2AD/EnzM/NWxSts1/HRwzlRodv5eM/8Fr5JXkKAjBeMCZDHnRrP9K33FSM/Pclw5a1IRBl0pEeTG1igU/FxJmPsGnO8tqTdbAx9SMAqiO1+rWH6BXeiYtelM9E+XfnGRkwWPL+WCQ/VtzUx5vjOvy5GmQD0uy0uFwDJlnzTcgfPE+SDUVlDShN/rmHDNiun+QBzWhYk4nPTZX7jbl0ltqU21zwbul9fREDXk2o7d5HUSXkUYwIOcqXLknR2wFC1D3v+guv3CULtps2j24x+fgU+mxmCfWbIpv9L+31mUhOe0UeyXyZNVUkEEy1oeOBQyzxqk/Z55ZI7wA5d1i33b4abdecRfOMvpVwpY5s3SekofEXepcINZyp4IpSbzv7ySKWWtcnfFK98hPP7ToX0uAS7phOo9wdd8hQ3TSqGkH6UrKmwr3Xjb0RuH8QukP4hUAmMArCqTTOvqpg5GC2QlsX3IDIdgpVVVIemi1FpoTL0W3XlrBhZcMZ8BLcEAEASUTDsjFuGKiLmUPK8D8A3jmFypxfNds2A9iMAOgfC8DPPAIHmH2cQ1SNiZE05B/BqapQMcZnyMobQyT9ECKc0Zk44yoVcOfkp+/18r0yvJAYaYjJWqIlv/ygPbT8PygxPCuAudxtQRgvmviEsWP2OKhwpRuvk/VQ67EPcUco+BmUHM3VgVvMFgVdE5VPwfyD2XixPD5IZaEHcShTymRa5cxImosGKM36b0OGXCMbQL4eqHfmfxa1l0fKGqXxFy4qf3a++vmPhB2XfEcpztVLSLbMlJMCTxd6WnIGJ8Eqc8IpbunU3nv5bJsFE6VkdHV3IVmZK8NYxjwlQ8QzCsJRGmlwfHFixH8nnvRdAp5ifYHDHieg9DFxM9gdheL6N0C1wh7h3OYgfgv1CsaO/ExkP/MCi+YFofaIj+d5p8T0EoSv8xEl/bpSHPSJlet7wrCUJl+tRlFj3fpAceK7KZH/VGf3M/aC3JU3LJPos1myhmMTQhvFYAaZ7wijRSlPdCmLNMsnx2TGh1+ze6gXS9VUz4kPH7bfu/TAUWfmif7iAT3wV6cbC1/Cifj8XCOzFtnwQYMrjSh+BzMOwz5q9qTIb8nwM/laiZ6QVWCcy1jmhxzrOu4xW/wfEsd9SH96gZ4ky1lkhC2IchRXYKAACbYIWy3yGBqCIfarcQVQvFSPBWpvd+yBN4Z5j9Kq/+cZrSKPZ3PB2A4DTHfxSSa7eqHj0qP95JmTgZROqfkCjb9HLBkabm67cbTg8ArtHMuSR5LGNvfzxKx1TCV4fCbV8mOGGOpSMQ5BQ2z4BNvnBYsFDDcIRIgFd1SagxqyBrG41mzmFTfSImKucWUIP5pMHBVQyB12+8lVZN8T55KXUm+sfyAKfUS71tSRpbDmyuOSS6rRLjBJemRW9Q0tTGfNLIz31eWKZrwXf+Q6fF85ZdHoXQA/OqzQKnXb5jiqwN09YkdPssyV1iBrl/K+QqvQmC7D/muV3EYNzLkit4W5jDOJzaelf2esAfvbmf23In597KIu5Ja0BO1/VnYBHSbhm5VSEQ75ggVBX09+rJZfrfHK9t4j5L3KdYizJD5YNHrD+ZLYgyh43RTaZpiHo5j7+szdjbCOhfXY3twVtOatnNauTjKhWfB694t6OLHgmGKOAwQ5z9PQPRiuuAGR7KOTsQbgfBOOaTJ9O0lKVFqhH0wo0Do5pqaDt6WwQXuStIEO8LwgvIt4dvoQy0TF9dFfbM7J56QmXRKQBmjhw69lp6M4YFiT0RePdvutKIqtyAmCevTGOhsgksYtBpn0qnpk2MCe7QIkP3R1dWooVRrJwRA2zfwqwx2mF6n+ylv2gCMv2gsuVz11Ti/5XmL+4C5yB1RxKgsHcmJAT70IZ8JqfyiJe+Cs8hN+WuuC5R7ZafsAUJtysh7nKgv/JWXTbN9Z8G+g9mvLDKOZb08dxAFbgiYLmpDN23igLsN8mlyR/N8ajFkYN0ZIqBixseQOqEfgrEnswoe7YA9QtpkYAn3olV2oA2c9zocSXm+F9cgKgomsHol6W4kV/z6KAdnX8tviASQVqoqOpgVLos4qK7dhs80r8I6nWXOKLFl2EqSBuvmufUZv7WbYWW3JvGH7MA77qXg3ZAVldkCXaNG/J8wuGJ06PGhhmOxLmTT3zDmalPwXrdKDoZ8yqzm3IirVeZUxmWfqyPZkSCx5G2oT6YfyDqq1aV+8/KqDNaExDg4UlGFZm4Lpf0Y2xVEVBYIJBPw02DLECxDuAoWWMouxsFKPzHQ5em8vPpL71KxDwBm+bi0v/6UlQtXBtcdTSQuIZ/nryChZ3jX8K5l8WDmVtuO4QI55q8szwuAQLZmcBW1cLgagM7YDbVyJCjstkv1YVeZSFKtkhojhLeDhDM8N7EEbKBXskZmLvT4AZeuMmJSYm8GDnJFv0N9E/W2Z33QxLdhTtmSGaFk1sTaQV0mPFpz+RWPO5W0J+pfBCwJuRdLjXwnswrgnYy2Lu9aSGiazZIo20ZGSucucwTS2D45vNl06TZgcfRRu2MqswTuuQwVstnFGzrerAsVTuPnFbDYAWbrCnPhD39pQCO6tTt5sdxtfoa4qriitp2BjfDp98oup/Y5MZg/AuT7ti7PGoSOkdzt8sg/LeOrC644atKEtNxAgD/9OaVpN6Ox1g9u9JtyPZCaghXQxEFe72CEHxtcBq/NjRaVETQQFYXIHJBmO+IOBgpQas6pKq4BPE56bC0GHRWMV47aF3TSr49k7jkK7/rtPPfYBc62Vpb9mcQZq2Jj2kmKy0uh5I3JBpOk/rHiwXjSKepO1+b1ud23s06zafK1us06uqT6QYk4UCwBmddj6CJvOwlADXvZYtVzibLquacYgZozXkPgYcoUI/HyOUAV1QXDw+l3kyHFNbONyZzmShJbJ5AmllGJXidjhi0ZjZOT787T0pfW8UaUUeRX2y5M28cgiJvCwEqpYplf1LTJUsRi8bSbqe3JXrU+YglMofYqAuL4EqiCwq/bKoVDkeYuVja5baZ1Leu16VE2R8vc3g5oOAhBuxAC765MhcEWSYfDQWKMXr+cgUliSAdD9QZeZmUDPXreaea4aGKLDEtWBSR1e1nVhsooMWV3LAm3AaNY/n00A562fqzDr+IuNGfULzawZ3fKnyVh3AFRZoj28OvZSlvCx3YgzU1e6Hf7zYhTtSWyiPKx/jtYtLf01MvJiD/OFKboIqikSaBskNrTUh8eCPwQbOXweWYzTeIVDkhcDzZdcx+1Usp6mcK0zyXrAAao2QaH1z+3TCy+6ftyLRmUgbOrJd6Muhqf+lU41JKwN4XX8oXSWI7podeOf82v4IX8zn+40qyG+DzXU9OUcpt2fQDff0oWZVBOxnlOjqdDBtm8BquxqE1cR2GLu/gC1XYMIjkETr2syD2lDudWEbS/QxU+VthDHikuS8+dlk669by1WdNNvym4b+lYN/ioH4OaupPjL4XDfeA/t4qYurwAj4RLzVKVHnlka57h7R6xVad/jhBdyZm/mjrnMKZ2dZVsvYoJlOVB3qEVuis4qqdHBQNWaqFGQIVpCxpfnf5Q2YaKfPAFqxAqcTCObnWAPbfqROELMqhhsa9Z2UshqsBzYZeAqnt+5kv97EG8HeT0zLIW85kduhb6rG24F9aBTYnN8taxsJrZV+ddX1LYlZ5Wn3v0QsXpIyVoxsIq0hs4LJxlRPT55M72X0M5/5DIGaFQ8EwjvtpMJ8+uOFl+lOVo+3AVtRwAsRfhZV1I4oPOJeBRWdbzRzyI0FZoTBzlP5PtDUb4rxk3JUPXsPdXDZkJpAIn4yt8zpRF4hlkYZZI1ne/FbNrblXvTeY6oPvkuQRTAXuYzH4zvt7NMkz41G/Jj9Gnd09Ho5DlMAJKo1whAOXcB52pX4hvG1A6qyBtyr5gpOYiEA3DkWxNsf/6xxfRKVc6fjBKFhLiM2aDG6tCEjOSl5SjM3jfFauAyxmY4npTQskhH44LUkHwV4rWTSsxRAlLVU3Q849vYS1Z+JSVl9Oe2hdDkGKYDzYKp0x/MklK2xynSHtZ2NYNqOdR3IBIso6G6PkwLV2OXfEcdTwvbVPMLqgUrPx88TWsn9bPOlzCMwxCPNqwRuxtRgKJMNSb9+roneH4raLiS1UtF072IBpVkRiX3aHhE/liPWXh6tn2yonwDWnjbqomnlXk6z/wJ5LCSMPlIz5QJiEKwh8h6pzGYNBxktgY4NXB2GX0DJoXa8CqEQsrCBD0fisBFls/W1QfjM8sNTYJduclmSYONm+XMdNkDBRdswY8Qnm689P+Bfu1XSBvOPde+0Mnse0dpQ0lLAUCX5tezT5nUDgr+auGQeyYun5ILg4iO7Piz5NsB24H2zLOL3d8auqE+YJVt2lROOKBW8EX7mvn1He/GGxvNMNGTjpd++0zehZ7wLIRmUIdT4RGwfPuLw/cac3RgIHxV4sYjR+EXoJwNPWb2cT7G3YPiOv1qR/AqDqjvhCwpYtl/F6LvSFb8q1YH0B07G93g2/VtEE/uzFxjo8xpaSqctsOJmUYCTv+XY5YFtA1T5sqz9tkxE3h68LgT03DLpzZHp0xKgh/sk67L2bKEPD3tuGT7P3Sev0WjiJmvlC7WmFyp8J/B+j9hgZZMlnrsv5ScnPEuHzlMBaWYM5xIGkINg3GaFvBfJb/+4IuW5UnBLkMQ23O9MeES8XQKNLvkkGGY3yF+XFvMqyMeo/A7WcygvmEPIWw1lJfCcBeDitwnnyEsSLJXl0U/Mf8TXIKE+fCXeYCQH3G+tgc68jxKiDl5bj3UgZ1kBok4y66oATEVX5I2PC85D8WRWBZVZAPHMA9CI/nPBQqch9bM67mqARYPvO5EZuThGdO7IBvNOuLzAfblKJJBUsWjnJrzupFj2676UzwUsx6kW/oAocj1Wd1wjj1RFppNJooDkKUI2auGb2fuvSD0cpedzJ7irx4VUYB5zIaogu9ZFnRfqdWA6MuMj4FP6lUNzDPHKzYhz0pBGvSHVkes3nEhhi1attR51ZYCXNPsMcERoo8WgejJose2u5AtdViOojM1JXP/Csg4q7fFHTBL8LTdQBPAW/4W8czaturowqhqSrNYE8AiLi8wMBdL5in2oInJ+vY+bZAa9oQ0M3ltv6myxLxH9nBeqnl4qnNV3RLpd3vqU7hsGL5y0mxAtjQrmKTMfqCdaUW2oG3uJJ0TtmfYjR63voYdtZuIAxB0+nBdiHwIyVSQUY8quKl33IA9SSBM10ej07FOI9nLhjAingo7nqqUhvILXS9Y4QsHbn8SERuj1W4oN8SEV/833NOHVBUKLoFPNhMnCOCrZPOQroLtva+0oFGW1ywW8lCf3o3eI6XbYB2JtODL6cP9/ZPvEUfBtJLFiJKPRQGJ0smYB4XqsjpU6sgaDZgFPhOpxM6xVGQD4ILNpjO0g/4V11Y1tluQ75FWNOMbj+UAr7zYWikllyvoj/xerkYyKGyhJ8k3Bwrsf6iWirWE4RjShXumFAvNUOkPT1p861aaqkrb7OKPrTsx07n8KTPsWKLFJrg+27aXx4Te624zvU1PWKztXvjSiMyFsfNivKhQHj/rRhH9OWIJFqocV2OOdc1KfLMH40ZiBDHlQ3hU0bWq4521C9twG1oBHcAfoOPq+YGXrzx/HUaagqh1GHiuTkcoFtd/1E6Xep5Mtt8H6+9RMsF33ewgG6megcffL3rUCSTWLRiiVa01eUtnCSUZ32LqnvheJ1cwnutZh7zBK8uCS6sk/qf7Sai7Eyx8O6+aGDIj7BNi70qzebykftlToTrOhaaz16j4UB2zaQtubJ2QdgzmZJqDYvXj+7xejClAO6rnB2yVDDBvhcdjk8VvHW4rGNGwxHOimsFOKW4Ylk614PEpStXXnCk1eh8UcB5YJi6wtHP/XdB1/qazS57dhjP1Bh3ANzahvlXc7ubSiQmTrZTRA3ApfDlFGRE9av5YkozvUYc8Ztuke5bUcdLiBWVuD3InCj4DSkIIApMhoMirZ8MUiMAC8s5cM4MRPBTBV7yvuAtU1kKjrzcSGeo+TzJ6eTsgQ7/Xmo5Ce2Qrvas79ba+zdQfPdEWWQ3UBq3PMw9h1UK05Mlf8USJ7GJJhJkeg1WqX0+dKcqvSuBIK3hAHOnPZnXp0rnZEHQKtwbnG9QKF7PQdcxK5VnJMgFyc+Sj8y5IaaLI1vy6EcbAJnRpAA35nqgQrYyx0J3N5hSH7oVDHsNqKg5QEfI8z+kEwL55hl6yozEP/ajecsOnyecHAlOC84ZArTZ0zHM3DCySPL/B0aTtqT4U6nsyKahuP+crLL0DJTsFpTrtbCgQ1Rtl12ueKSTZ2IZjjubHydQK/EKiaEWsEasrNLaH0TgkifX4EcCxCzDMHEgXhKIo+7r9FErm/Ito/mg33pCWrcrwv+KrR+NNLutvRjdv7uXu1OJQ1sfkYDTpACKx7OKrkDR9c2OVsQg45ERT1EQ4Mmx1jzDvszlmjZbHRKViGvZ+kH9/mfMlil1cdYpiA4fEG0VrY7grUJKNLNJWwsPKBU5ZW9471IsD/rVQnNgYjyioPdFhDRoJoQwRjAngeEb4NsHV6G7mNhia4hqkvTs56FlVENWj8J6jFT5nDOoKW5PY5DyXEj7uo8qvOO4it5Jo+N5YMfpVdbRaWe5TLyL1gC2OfOpYHIS5x4PRZzC/Y4ctSIOckF1kTt6Zr66lzqq+gXqPDBBaBeqnagrwaO0cjzWdQAjcH9kgpakNt80Rfvj6M4ZpWc+su0FmfKvNk+/pJUrcfSUIWVd2NmhNilp3B+svWyML4ChcS2bWWnex7w2fQAYwLV0BLcSsktbxl42DkzGST2Pqvej2Yq6xgAv1qvnsXWmWCmuDvkJAGbWD4fuwXUm8vpTxLLpxdCalIVRtOwwChpy/f3ddnDNvR3s6HOwe1EX0mA4H3GwYG3f1t1ap2zFBJVi+xKZn+ZnsEc42v/12N6iDqUHDW78hVytRkbLe++NhCMCtooLrAANNk65JKXhuZw7C0d4m8qw9JEZ8X4ezeWSPlcIjCTV7jiIe8GlIewM/n/CYKHZ+2XbRBAKxwCaQaw6YywsOHPS6fGVPmAwaEM3QhplredKhJYkF1D0lHK2XPJ04DEY7NCjYIiIMlCHTyn0tWd+mDw4rDLs2eNoaDGTweRzx/aYZUSrXLg24OX4Ti9z0nJQ83nT/cufGHCBOfNHQ9xJTWZUtuhdKzL1evrC66/DZS45XBq+X0U84PAW/Mily/sZgQXKFwt1ibrffcKPKugnu17pucY/gV18eH7F+FTUROKufOoCchaUA81+Ft7NhyCfaCGWK6bFF7qT4XunyJbhvuZvf4IR+nHlaHIazO7ymWYw+MZnf/dj/BurxHyFv6QrQb1UyOnR8L/r8fQv2f+rf5q9AZSslimh3PX0R1iePEtGK/jBlYHYJC5kBECngTIW+9tUkgkJdptkC4XdlFYX08LiW3WTg1PKLalo3QNsuUOAoynjFkoYJJBS0kLcbQwYmSe8gJIQWM4j/lB1IPOu0+wC1UY0YT+9Rj/6EZgzJxuqcfs80Izc+ACUeAZ7bPImOWw++e6yLmGsdJhkJhamSYvbiIapnz7lwGN5O3hZKGAt7IoCjo4iE3tvyWylGbEC7OS3VATE149utjIb2T7EbgjSQowOE89R17mxc5yT8EbU5lGrkKPL28Y8s4ocRjgEve73i6SWsCjcHdgA8AHGdG4kxJuNInu7p0CRevSD8IeoBDBSti5np/gLIItKoDPiY4atxgFW8Am7zBpuqKU5ng7YOhfNye8sFBt55qqJn3ig2UhgMDzl4UEbB1WehjYmLIxI2zvKf9XPNakz53owxUZg7bjm6fQhNdpV41doKrURA4kWzVqBzxLcWh7459jEfFkCkCyg3hzhMlo7OTdWEPwAj06z6tHL7yXbT1fwreHdspLkye/C9dguLlPqAPqvsaqOlIZfJqKTaFUevOhaET0NHh5OAuyZOW2lpLALtScm7PRfE1hu9yeAA4jmC289Ivg/xW4gPDsHIuu271PDnbYjCg9fZSg5pKDMPcw9EBgXvvPmgJjP/fJJOV2jc0qngBQmTEjqnc4pK+hGUhzgFYvnpByDk2nCJJsJwbdp0ADrktKLRR3ay0DOUC83R+ecxoF2lNLG8EaBBbdfv8PLrZ3mS123CaKH+93By9QDDgX7Oboh1e+px+0qo5tgGcLn66i6mkePyT9rgAkR8ADgMqyfXPqDFHGsSXzAigUY6XUnctefDz96tb4yXfsEfBBHZ3IYPB1Cs2Qwd38E36un5296rwFVqIzoPQ8xUh5YtRzRKwVFABDtsHIg/IKvU2f1mFcQZqkUvGv/AYV1DQwNdg0B8PYAh26khXd/76h7Y/kiHZTK7Tb00Xvi3BB+7XP5Bw14vNThef3WqiCW0d24adjxP4sup9BF89Saf6HNIXNjSf8/R2qPorvexD2PDED2Axs4VtBGEjsOcQec7UPUu+Fe5+Iinw1bahumWL2AIquWpAdhT95XWwTZzCs+Ucg4xs72Vnm/Vxu98oMXdKouQktyDeeJa+w49yLn3CIPYe0eQMs/1m5evPHi+WfWYYfaTYkeiz9fPlwBxQffD+ZugY5CUm9Q5qCzIWMgq9XFDKi1VZcLpBjGaMl2L+Dnci+yGLNXXmxnXKN8AGCZe4LnjF2SjccO4QkjUtTBbhkdAmQ1lUQBGVH7ZIpl+Cbstxq0tFI2H4hdehZwDqgoERgQHEgHvmrby+2sfthOGYUobrHHQedpr0v3UpSamZk0AhmMPOYiLfX76k4qgJenDesJ9wfXKPj4r/O+g2BBk3xZ5L2dQdzMc5zHKz6P9I1/dkgJpvaU5q8/kcNdjrqJzL7mKsU7nbNojarUM82gPlNz/5TSw0TziMjehY93aFM+rE/FaUD3SnTfw73FeCpwZUgH/BTbNrmIqKfD+RxI8+4uv+jfEU9BKQ9NUCLFfiTi2QtH9VpEXOcPUXmCM2QEgObv/C0b/SIw7pWXNFSLFcvNgeZfq6K37aHahKLwqwc6sLKHJV+YXX6w4UZxC6Z3TK7PTrqXB/FHEHCKUGwUptKmpJDNX9kZUK1XNwGVTqZSKvxHT8CIuaEftBJ5Ckb1b+uIzkPAae6ZiadJOmRGk30CdzpfipQ3Talft5SIKZU+HuCCn3Yj/K3/tPVe/Y1YcXunYNhbICPHko/jXul1cECiLgAMTwWY4Y7+x/KiYdP5tJ2hRZWvD7f1rzlY5YG2kFT3/8/Yibdo3jhw/smMe0ur8Ps+EDu0Z4zClVcRCsSp5OQVx44JyWlmHdK7vyVWAzFZg8Tt4n1xwxzeFkv5yA2tdAGzPSaO9EmBR4POEbYldzGUujm+rqlbiO5rogLdaJT5ZhWbwSc8dnH79o7ZKHBknw871SbHv+blvWT7G5MYpNXtExuDUr86eBh4j/p2CQSxfwyKRvQZqC/2TS53p10aBdrS2mvke2Po0VADi8IBDP2x0LFpvvzZFE2lc3M46C+DaHPs49XTnyLG3RsGjXqMi0fiDrz0vxZ4KiFGO8q3JJkohbTw1PkljdjanHhKzlUWLQn0E0fDFAJWjxzAgVLDa4LxeCYyBaHTbjaecI8xKPdxPrr5tgtLHI5bS6C3J3ATPwQcI00wnTY+5nvnBWAUb3aVVCDakuGwe9LUrvXrzSoQ9EC8LGr0EytiKLrlgSicS+KvHmIlo2rAfwbIfzQ98W4FvBLFzKbD7xQk9XOQgTBkzMZKPckvn74H+OuiJeTs6oSwrP6u55ERwhsiCj+8tCTziMOx4oSFO9X1vXbiI+XrTtyXcHizbfwD/xiUQDOEkeix5Sdk0ZyKY+0ebHOzpLHdaYLWwv2mIWxfIAOSp7G8OZ8lf1cqwPsbSMxjTT05tjKsc35YPQJA1dwuyENXp+ewrDKFqqLSgq66odsW2y6KJDVtZ7SgA0P91HS/TBDTPduWzi6PZkn7yfAXpoyOH4ZEL0qEZzx5XdHlGCxwyyV8VGho3MyUafjZUr1vAmWFEXMbiVpJiEkksXGCb5o+UqL5O/5E6CcuuNEhEUFEoUzugJdk7ZkHxlPJ/+jZU2W5wN6DsT92nEHoQ6j/pfWHBMYzKbZVvN6JMeN/68YAtxrfwz3deHnsAAStoRicFdFrEnID4FiEiAPBbJU+TaU0BTZNyLTNsd4oiCGLfDZvXd7NKQCXiPzyXl0aD/bxafRtOLPiHiMublDRDxfbczvD5Z3iIGIOxfhPsYvaDuq8dKhyvay2eR5nmXjju84U2qx7Zni7sq0sLXYoAsmILNBw+EjAQIOfLLYxFceylYUuKQDm+Wt0vJTLsvPDhOSvP3gi1PnCPzlr/7KS+xuyCfPvN4W/A/ZpS7sOgy5PBgQS4DWFjkbqVQ50CF51dEePFI035tU2Sh19zhZnqCY6hL9j1rCyr7NY5whGY3a8KkItPvh4RkqmX3gcoYOFTijEilt3H73PDF30uBltIA5F5i8trqzDTUkxrVKG8sq9MHIDV0WzDaf3tsr60F3T6/ef/wXbZJOpOLxQBIoci/m4RWdJkZUb7jUQGgc4x1+9Lag2PQMWXPIENREo+3OnMj8l2BMEeWTd2yclZn7N70lgSZGZ/vcgBKiX8tQdScrOrpS7cbB9wvpvw9LU+GztcL1Yc7KCdh+ZF866FAH+sJIF2ZA5zbS7q1WivSTfj9cQD2rMX2qwCjr2EXkbb7TmT3PKm2c9EAhbyEkswu4D9eV05Mh/pxfzJoF+UGLRMdlnwV4ZP9bPLMyYw1bJVuzL4wczpsopFLKKMh287BYOmggM1O3pK7oxs4mCPKl/4ec+ZOEhE/7xOa3dZUYxDKyhNDCyjMQCm77Ic+3xzzR12T3bHai+kZVLarPjXbjZmi6416HoKn4pvtd+wxEuu6QxsA3HHib0A9yDyghg69T3YZLmge4AUt8Vhcd5wz9kDfN8Ge+9zDw57pwmlF11P9ma6TlyBQqXGWCAC4X6M84Ab5B3J8LoAACm/beDKoSI72qOmbfW64wrGnJP80/zRQnb8mdRjE9nJ93rILlIYSVJ0ZUs3aDRuT6S0a4aWjAPZJ+ZTA86Uth61Li6cO/P5jny5oe8ISeAMfBhiK04m0f6L9EpBnmZ0FOu3w/kGVlBpfH4ikHngLDDOTIz/E2LkXH0PN3S+cE75BykMjthVV8iuo42ohneKZLogC8hrrFSqX0hSm4KJlME1kN1WnQTcu9X2AQEGF2JS8OloRIeM1Cka2f2HN6ppYOGAgbqt934NS6XOlJ6HhoRtWhiOzb+S0aUUIMt9Oeb018mP7BSvmqc7PMQhUAMXjQOAR4Ez+NJGlFCHtNz2Ufb6FsZqe0yiCczas5/DrEd3hYJ8vjdjOQLpeUpd6wWMDMQ6tJuc2iognXx8aSbTXQoXtRkooTffhDTAb3RSV4fJdndLG54lN5FILT+53MFepmdw5cVFxpy+d5SunfnHhsYwMZCw23r8DQje5RksKDL0hE7peMa6hF1xEuIMMIDlnMEdiRinFf+aW/vBquQox4vIE7FjHIyWeKWHhsR3z1AutSb5Iet0tl7ydykOaMd+Xa+cwOekJKkW6mpJy58eglzTzYsgAcKXUDJpMTWY1hhXFEKFkm3ts3OenHWgoyGKQrHEdjwLU6Jmwf1jByYbFEKmTfgQ/sCWc0HkvCFPULEj4dyNJhK5kXZfQg/mf4us8B5X/cnKFEGddKSfW00nc4CUR/KNuo+8y0y7RFx5D9XIOna7yBPL/65Pa08yl97K+jKaCiHWhZwhiCd6lBDFDreECYghEOgBlvvNaFNzr8hFpyB+4nhvrZUEto9TftNg7Q3jDmZ1qF/y7qqzZ2St2/DsClQNbBxIZjC4G9D5xQBans4povsuTVCV2aovU55Rje7qx2AQsRCM+In7xkOtQkBeOLwCsp985765BwvKExZjXXw8GCtYYzIMWo9uF6A7lfkGB7gSe0t/AHjYT7CbcLt+wAf3muJbggnLtYhUvC7Zdw2Amoe0QKsBE2vTDxEED9MBlRVzYtU9svpjvzye/xN0vN7N/sJyqpiaHXbV6g+WXWXZdHKKvz/x2bPGUkP5TtaSnbY2KktP/ATk30GqnJEWmOqOqWZBh94U3sintXkwWYxCHAYfwHHfSIZdL7Yqyk7BtH7eESJ9JyrIS0p1U0v1w8B4k5u1zoYFyiOagFLm/6VeekUp6cSqspEhvp/MnAtsPUVikbfVMTq7C3gaMzUuGJK1EgJQL8kF4Fh+ePCJdobwujSUuvLOswRkzwNJpnwQKXidYxoGfa2MYkAKYIWUiD9nTdAMOkPJkoDpIu+bCVs1fOFrgdz8VGKM5irod1MPHqMoGqtYKj+QegkVtWPvXUepu5wZzaQLStOQZrEIG3Mlx/I/BPG3l91CzBSPPsIQCF+Wb2f2XVvvX9/KF8+PdDMjXU+Io547hpmHqVIYqxN4A/ZtCrFbA3Glz5nYnRatH907vH481opNBv1L/3fPszG25p9nfjzryEvkVpFVjnwoQ+zeRgas4XTnZPPQYklem+p9sItHx1il8QqNhZ9Q19tx8BifGO4D0arVmhElpiw+1zZA+hZozUfSudC+hDZ3D8bf1cqbar35mKHsJJPKp3rOrcVUeBPD0kCAZGj9UOZYeIfahpzpaDe51NLKs5yHSeHnuwDYYns2tw5aGFd+9Gbak5AKCN9pb/bBTriAidcnBXeh7MOTDykQWyEMcqe6m7Jwh69x9V1HHGztGi9/Dy7SBtgRviGYy5NKZv1lwgvJa8ul8KVwnzMD4LSv91XxBDNgC96z/+UFoJqux9TO4fxHK1raL28QBM7VfpOpiZsaBoVjjJ0JWy2Flc78elFLw0E8XebfmQCVVWVw0pd5FEI82tSGRl/Dwe75tGuZKueq397pmdiSks/jeOWB3cUZJCTwDEDPzFCHsnPzDNxxCVuuGuj8RNvIOHfcRYnqTIsUQ2KoyOJaOIrAKdJhKu9Shz9S+oov0w8ZxjOCDKVqHt1nX+iR0WYl39xrp5EjlzJNLe1nIFdY+Qj2oem/PFkFL4tomU4f2f09l411xJ7Ij+AUV5OgIsLkLeXJSYEE0OgMzUCeIu/oUx1j8olVuaw7m+c92RRz1G1o04+hVacOUb/peVWmByU0MWpYKT0eMqLWrLs+eLoOEBmVyKrSwz+r0AAglwzpz35ecweBZpNYIS1vkd15oLCsVo8zUbWGVTZyY6UZxzU4BeCUgtkK+4BQIW3D5avENJQDN++MkjmPVEDZXZqwjesm64aqrl6ax640zSv2mU8yMJFC7mjJe7anoDiHttBZfK7UIYFW5aWEeYwF9nBsxkaeYiewMSobK/ZXAEVmmbgN2mCzOUwpLqqcLzDkg1xVpi/Acl+NHAsVHO+NBsK/6Xb7qJiQgPmipszVtMkZi8z/iDSvLbPy3jd7OKjdwv0KBfEYFQFlAboMdWOGqcrs3deB9oj4MaWb237vsLNjNG87TLyycVW+DGwopILYjpFCtTlGBvB9nUZZ4ATRjE+Y6x+Wv4ZbWCSOUlNVMeQocKx7u0UUgYekWWHl56b6Ha/1hVU+F+Ef9/7XOhmCdxYQrNxzrQGCy3buDaDtjO1tUvY/rCC/b0al+XXkHXDwZUt1zlBrUTV0Rs5+dZywuRe2cc5Rq1ggVapKlheJAagunheCbynHnx6O4rCW1citMRqFnkKfcaOK86qvdmGQ/YpMbBfiuDQCOVNLgbv8zLjxcVksTucZsKeSpPT2+yD4MIgFhC53pB2NGS/Jm/8F3KROZP6eKYm+eHaMzUbs6F7sWLl1V9TnJQXPWJhoF2zAeXcUP9wz5qxL4NpsRd6en8Xh1xTtz4TPAQn5SlS8AAoeohS4pKYcxzWNLGN91WILk7tLGiDm/qKx1d4r9GzqCkI80uSDHw39+W/5gTGiXYPLngYgO2sfItUfHChWJPNhbkFKRJ27rOh8r4qyY+aiTpXzf6q6TjeSOFtQA+a3IdCw6RtcNjztGB7xhug/NRbaYqwjg+eD4+gNrxh0GDmIwUwGGKULotCH8n+NmCqH30JrxicWvaS2b3eBcxaZ1z/3ysIkHFf+JiNIKshcT0F/1HLN0+CZcPin9IRzA+KjZhsGen8m5fzrRHYhlUHixXvSplKkMxjHntrmEbyYJ1q9AjYSGelxYzHkvg6j3EWJNISM5j13XJH9nHya+GfeW8tolDREC6ADhHrcIUsbaa+FmHdbfzHU+iJOC4tn4Y8DjVGh2VvxxEppdYiirc1a1cwXMZrzVLhg0txQakohF6rM5jHt+g2fkmxtNsIYsmodoq6vDzEzOGz1IPQKkodgCa9k3jgj13xaN5FIlWPhjWDYyFRy95q4yeOe5peBv0Bgfko2J4371PvONvlJhQUfZ8Id39S2gJBO3kzOrMv1SAtNT3N9wlvmya7/rKSVTvVqMc5LtNCM/RNNMG37/p5PswBGUizlU9Cqs0UKI7Hne143riGg6gkrajGSmI1hl9KVgItuZVzpIzKWxt8fL6Ep9A9XA+7szgLFSwArXWMuXmNOk60koQQSXOyyJ4Closs5VK1zmEFqHDQT3JCgZ1VE1JZgMq4omerC5g9HqTdPoaXx43AKLz2HGnovtjrnvz+7Epc/UwLvvIiC4SFEFT71kUrfZI0Gv3z92zcIEAJKBbiUtnvbA1xaVYjNXz2BJIPndchJVUDUqTQ/5zmcJ8jxwoNNW5fnSEyPCm9pSXY+XY5UQRU6sDUHWvZaOm7GMdvuMV6JwSDj04m7m46+bWpSUS+um1spHQdEX7Cf474ouveOYWWiIQ3mwcqo8o8KF0vxfpwPi3oUq3aY+lQY8nOW5F/G3vr/cIPWJiL7XyZGZ7gqkIL563jFwPP2uk4dnDkLUe3Zwz6L/JzNOqdGbKFGESu6+mZXypsiDXex73PC7OylEEoBiFLquH8Z8TrAoirSSSd1tz4Py2OJowfhWE5cKny2N9lLZJw4MPjFPGIzwBeQHUw6SFa/yqXsr6De7WQTgpUrUCfwss2Q+fo5wb1TLW8XaUhcZTVdBHpVpW8foT9O9Z9NSbbB2MmhctjoHwMm13bTY7nAXKX+AfNpL5Dl8b/Fyg0rv+CICQJsziJA/fEJKz6z5Lnd+F7HCYuCOAKcaYIk4XpKUNDV6BeDITsfrXOHEoB8sHiM5qxZOOowxPwA+1UpvSyGQfczvyYAN8NrNO5PdnYm95/SHh+pWeZDfgCJ2dBvmrBXHoDnz0Q57pCX1EjsxVs7l7OBO8OBNspq7fk9k0K+D34QhvFDihGXtvVMXoztA8gj33stUv0MvifH9SP50PFv/VphKbmiaMvcKcMaP9rSoU7erPZTGMT0xsBTUO3EL/UukpePXY7bJQt0okXtivZgUKIHTxhijEFH9h9l63vUIEGR7DFKbMxvCKddc5hWj3QUYrdWZPetCpLYUi8gRg/OADZS5Gzd7BrMlgT/QKZUYg1fctwZujAIHpgWIerdQMZ324sQZglsPFgjdaM4UL0bm6q6wHKe6lrP4SMHQTY1S6GTikqIP3mwTLKaMjfpwsaA8TNXBl7K/6M5OfBGzLLyOtU6XjemYYgt+/KOjuhxITIwUoYROW7yUvAV2Mq/1lCc5NNuM4Y5Hd16nF3ZpjFspnAjgFi2fRsf7yFudCv2Dsmx99dLwlb1fQIv5+Ttj2Zt/SxhN+gbi6KJ1Z8Gm/ZOXYHPUZ/UC959XHMog8DdEJ++rwKJ/lW3JAtKaKBxodlUUjf/bmN8LPno4Tz5u7XPaud00GazDrTNOXddf0PYKbrHv/VH/meHxWzyBQlpur+NAXJrIr4w+/jGnqXyPItnREWji8GK/IxpLCY6rSz4ZdRzlD6kQVQTckadM2SP//0DTwE7TSNJWl0caMCBFpGRCe/Eo653SZDzQoPHMajH+wJlp6LYgElPNx9HZrfkOGwIGvPjr2IP8/bXyh1CbgfjOJb5IleltH76TmU+6Aay0MVot88LE8hf1CBMVyBelIghide7CYI1hmX4WL+L9zXMMNR7IZcdmcNqzfsMamTfCGmLO7Az7vAe0AEdusKY8v3eD7+W1czmV0SQs3oN/ByuGDDaHJOc1ytVIhXzuKEREig+AlCsNxxFAariWNR33X6PFdS30PdvlwpomaHqKZM4sLSqQK5QTzTEQ/N316GfnH4MwlTl1YuSQ4k1cMRhhBeEDRJH8CYrZ4pTSWOq8K8YCbyFdOPd9Hh/8l/DtVnKG7RJ8PINCJGQbiFE03zTUYHnwPReBJBtEdjO8ZVqrDGLRE/RL2dczFyZ0pXPNDlR9bgXnc9NZ1AjChSmea0dhbP4+nFpXrZ1MbC35vxwKrO97RfpcaUY4UYG+ObnOo9tzMAG0jlrxd6Iqft8axA+VJ1UBCFwh480n6jeNxm5vNmwv+hioRhNMtyZUmyWsIKi/oUAicT1nmVpqtFoMDU1qV6Wd9b9qoo2qqXuQaU3LomEg+JSaZx2n3cf/pTQsW1RSXhdGo9e2e3wdd1+KnVy5zF6gGkjZuNSgWs0YK7+jPzFUHcWMYCMDS/8gPAn1dCa75Mj4c25gI9Y0OlUwhTO3CvxmuIGpQDqZ1s+FF7C4eD9YqzHVrS2Yqk/TamjxabEbtI0Y+0kIx5hS/Tad/udke0WRhKuZp/M/v9MZXKoVp4EUBiDgWxJhrzO3iuT/ZsQgVYVPzF3sboQzpgyuSDUz6XMtJ/0JpcC7RtabC5fz3Q76onnmfXgZILADCXKZxV2I6NW8f3rzLhxjpeep+VdyxMBH2JHfkj7pYRgZh6X8uQKdFj5NFj5Hi8QgUYhb9JZ0fPYziZrsfhrbRGs1dUKdqOBHdHUmCBTzOSy6hoFInCkbJvB1KoSiGX1JiwCHlL6xC93vz3GhfAf/JXqJ0BHpp5Ngh9ftizJKSuQYQCyMbi1+Tm80UHOPm1EUVh0NdUdKsEIcMXL0rIbRZIYcTSLE1tJbcolvkhzWv163L7k5ydB3dvABAosUuSWqmvUF2nmQP0IYjEizO8CfQlItllcW32HGCOSxSK2ITZyXCPAxM0FXs5i1wiUV6EtRk2Kn5o8AOvZ9f02PKv8l31/WjStHodDV5SapUqFYWm+xFlFdHWvUPm1tMp6R+6ac++H6+/g2QP+Z7dyG8UL5xixErQx61XEZ2z9SPATIR0jECaZDswcSEYrBKZw2E09irk51sibWVMj7WIF2y8cjGtEsKUw6hFX7wWl+f9xa9ayxZnZ41Gs5DqkS3j3Cl/d6sYLF3Z9AN1Ums9rqr/eq8gb4q9sJmFv1vlKBH531bBnQuhHHTCiFc6wfED0/xGQfhcueFVcmps27cPfFJgTD0z88a1G6m43hnlkQCF5IQ2FEAGu0/r9jZW8XyJFwgtxOOK4A6TrSozekaBVkHgl4ArU2821UgPu+La22kHBa+XhDJqU3snyWkyW8tak4nZuFeC86VqcIYNAz/ATOi7d9DHk907vQW0NbmwYnZ94NMpIii1WoxSXBbNB4djRDiUqQxX2VagZB8lO8C3mlyevG6tEkRczQpTa5NpVnweefbJ2plBFsdF9kb6NuzQhVp7vOykWjIZeiwHH+UWpC/QGwWzu5Y6TDrNbdCcQtL1dSIn3HHlHj8NClfcFxRht2PzuYqQd5lbs/0t9s9wZwTvcdKMyWmbETz2FevZIo7F8h7N89k2+BkBlx2QEl4X8ldLm3Wu3BlViIGSyi8FsBHlKSJ0QGYwfGlKiSP2dTXvp8iWOf48pcw0UA/4x6ZIOI90PVnuwGIxO2alg3JKPNC4i35cvWR0z5QF/Z8yUEg6qAuj/lEr5G1n1FZLaq5+C1/8SrdqVgkYstt3RwEwPUZ/bb/M7KhdkwWaieoWRJEAbxzX0pT+kaiIYolRUj3n0mgP6HvU4h21DLX4IXf+i8dkJ6rXJJhJuK4JJQ/IOM04cB41pzU1WX+4aTasDBoug4AzJI6tHRdl3TMX2i543iN5nOY4JnQ6TxKX1iEDa0hJyirIyjr7UK7cv+WeSCUz2Q1qkDA0rf1XGPlxE/mp/+uTuUIZ+ew6fvFUnIHGCo3fU2Mb6HoRqJahU66QEKflBkSW920Z+R+fPBGVBXYBUbk3DMh9Y0gNw3ASsmynvd42kDiPSM6yXT+SfRJnn/AXX6e/hEaFLijGTQzcoMHS+CSZwqtVkpK9wdVW/2/gq19a9yqv0e1cowkh8QdHcLuF+VvOrI+OnsxIqpm5b+X00THfnMp4VJiQ0fC223kPcv2fxPwwmkZqsKtHWGyj6CzRgf7odyFL2t1ONngp+v662Qc//ToWJDvxPXWUJQn9onbPBmYgVOMwzAljnR7FT5B1gU+hn7caVcBPwEu5NxkPkm3cV/elcqvr8ZNejwD5QtGvaFUXbMmuP834bbqNeKccshpL3YCedaFn0BS2kDN3jYivBkVPsQLyOW0oNLFZnERcCAAD59OHOKKOHTPg4zk5yeoDc+68+2ngZ5O8ln43YV9AkiMhKw8iulFrJZ732ej2XI6IUE+7W0vlS9wuZxLCp4sSa75kaXR2SiJwfBheH5xvbl4d6z/dbsdf0hyadSecDiwPFTKNt6dgYI5jbGyuvlON/A8dy4Tlf4KqqS9ivXghnuWzG8WMOohrC62z9WMJOLqoviWcJ5a8Y2+pEoWe50pm+Yt5eLB8o176Y6w7zwWjAAcR58nyy1zQNxhv7/Nhvdzh7PH1dzwPHErkH65BZINW+udeqzQKfaw4y0XXCObGO1N5rE4WD1J+0kcGLpu75SdK289+zhK3oDPyxtV0okcCUoKmthFko6GZrPi08IxAsdmeungrLdfCP9I/uUJaqzsHYa70wwR7yITw3S0sFr4HwAhpu5+C3K0EmCIaN15PCENLLqUz1YOZH8ZoKsG/ZHdCrPINgMulYKOI8favGP9Uj9S5zg+cZKSznFQHTsoqzXfSxb9WaYK7ydFQ5BhpYeWb04IiIcJO4rh+ZBZnV/tcNOeijeYGyld6rXjuVH8k1XstV47YwHtWAA7oMXUNe+seM/Y/OtbGaQeEF4jaOSe6OFGgUq/UsH4yO8w2f87suLZ42h2oe0b9mgx02PSXwDMnk5brR3jAl5kRVlUwdOGSpg8X+xzpvVcmeJ17A8mMUGhBcvHmAJnF3bDhxPyUxXLOTHWHoUE0p4dO14BQWITMnaZ1hKBKwN6tp9Lmaciu6DVtDnOIK3kADsvmu0NKAEnr5qtnUYwuC6vx1D31kW+FsUAlZd+TwjLvq1yP9420NEQdnNnp0WrBNycaZP+4jHtoUc9Y2qytm/8RdfU2HxTU47buDz3SAb+a99yHDh4GMh+kMjvxQ88lTMQSm2QIylEu9oNCuOFafbjo/NoXj54Ii0JUhsYKD353ecJdlxrNl/Iy9dNjl34VYT/UezIKjdU0pVPqCuhGem1dMPVsk4MNSZnULjNOUf/Ye0M9XoP0ktQw7ZFCFTd01ZMHhBk35BHVGZKseAYWc9iYmP50j6SBWN0Dx4ex+MYREnr0ss5vMuwcPIWig1qIb9gtOruXv9OxaEQlYPc1DcQ7/fVyayWL6EmmgUhw7n4bVkPzLAoXpg09ckJoPDSW75AVKjWEwX6NHABrR0AB/uiIKYweHEp9yw2+CzsuDwNqqgc6Hn2mAjATUykbIJ6xWyxDp4kYxdJdh0HZ+uq1N8c/WckhcsrRrL+QQ1kclN34WlcEAcOVkTWIwG0VUziHvATz1vdE5gBsSeMn/wMoAyjixnJJfWVyBc9ag0hvWHaoUwJ/QHaJJsubevjobp+Svqd4ACtq9NugRCDEnMZQGzAX1O2mknu7AjL3qerAldg4kyVXefyAsdI1KrOwM9k6nbEC4gl9O3iF3F/n9+r2b+xo3dSyiUadvT34BSj0lCqvbHczM6aauggdZJQrddd+Re7cLn4ZReVmResCUJFaNdPmKJImy1B+xd/1jOxkIa2XPwa+StIEOAA+LbktAOyudagT3aJLv0uyWysrtYHCHKPIWdADLsETcigGqvWedz9djqu/PUIlQWUdeMiKQ4dMZsvAVqv/g5I3qwaS4k2u86DrDqw3N6YkRfjvciQH3YmTSt/j/BaQ9v3+WhxPwuAhTwbvH+gg3Y295BdBcllM2I6rqv7g+/aJ09lXrwHpVtEw+JOWO54l5n2vsi/gxKIjPK95BKvnLGlCA67SSV9cidY4pIOI9uQRKwbfqZb7DSRJPn7QGUeMhrLx7RiNjvJVNLUg1Wn1IoqBR09iyAdWLqYH/NHOhFFrQVveS+LuScUPtKKGLKCj9snfe0K8H339JsSDJK73ARi5ntAWYbtwb9Wso+2U6RIZumLvsxiI2WvMVdUZbMF81cFnvWd+2G3g3aB0tyK3VsVEGQCYHmD8iFF6ouKhDe9WHW6WZMJVcF6GAknjDDTnDj0enIat8IlTOvqxn9X3FM6KWchFRSKg3iGGoxVrFu6pW9iM7qO49XYRAetHXJyeSKFKYvYt+LicMyLtTfzNxULUohPoWsjpFJYZ6mHTpzY095YlUNE70JijU2uFHa95COkD7MljFOlEqhgArZLkce1Oa9YTU/XGh/QMK3IxovM+ycR8fuWMvloA/go0/WGY1ybomydGu2JvD7VMrAW6sVGsdwS7pBwzphXe9Ecbdj+8k3285r+/P2eFQ0i1KFDbrgynaGmdKSRKwBe6BAAH9r7OUUgxjIE6Q1Zpz2xwYjeVQ73Rd35nu1JjxDOAXG61Z7ID16ZgftvfIYw+sNxQfKFaTtXyks2qqlO2WIPEjvmhiGYFGl535gRX04UkXNzqIl6tzG0IRtGQLaf2hZAOp3bhyZeBs/BCboh4WKwDA/rFA8n3seSyxv9HM5d0QrfP4EIjHeeGspz7qQe8JG7CLr3IPShsJUtlsbEG/mINRf8edoy6X0acO1XKKG2GUZcGIsIN0QH0V3Q4xYgjpWmjlhqpJgPCKLCd9l75qfIO9iNL2mLJvzDqBgyK7R/4zpVN1bAi6I6nOol0tuxsiHrlObGO6vDTa5EN6KT/yzxPlUw73I3rGGEU4TSCBH4zg2NnH7ekaD61RS6Uocjl6VEppi5q/BATCd72L+UKkdI2jlkESYw2OXO5qOIfLBqaPRXks9q45SdriQAT0P64T8ms9mEpc99/zP/VvzP2Hd3wk4dnXjhXK2FwF43gAjGdltf9r2TngfJhZs0UlT8icTj25n/j+1KSUvrRVKcnUve6VwOo6fvQNCVCngFdhR2F9QNJKgPvRtvI2vx4Wa+LPR8oe+ASgESkvDQWEMeymdIvzmtml0eyUu8hGZctC82PyjdhRMBdSUKqjGjy7rH2tnpfWqmKTA1SJdMG3o7iOIgDEJ4gV3IxIU1KxXDGhJdEsjsc+0ccGSql331VHL1oSnA4q+TcnSuJk1FAVB7/RmFEkassJhcr11jGf9pTnBLW16Zgnq8yqUtMbBSLiS75BEa4YTkfyFsgkEGHSvDgv/XtIf2RFEtD3RGuaY8dZGqRUI6lb/g7mTtlgEimqM2upLupEIe9SifxfMySY2YqKTWMJvhf1p81EM140zJe6P0o//+opXAc6G9L2lKsEidpQFFamqvaUfgXRguDkXi+4SMQxxxwVvR4YtRfUDFmhMuy91axYWLZCVQZJjsPzyJnG7egcAQ27mTAbIF/Yzygz8vdANN8v+5N7j3A/pZ4Sm1DUAbKX19E5+BxLuJ4aoERG4iKnWQ8bvczI4DvEwujSKnFakiOOoSsBlILBFBQnV7hG7Oe5KkFmSsWSmEnB7iCMW36y2rB7UYryM35kLIezMr6nsrHnRr72scXb7Rg7cDqTDCQRTPIYvvpB/TWp4aKwVNi+rqKfEp0zYih/4k76Z5cxSEoAD/RkFOBCKDMqX0G4dR1ayH5OScIMKHI+EITfODycV6mdpW9/304ut8TLt+6fY2SxROstKhfgM6lq/C1C6fk7dRE1UiF4HZvxUS2HGasUDa0BHj85ENT270ZvPFwCL9+3GmoyEe0kUWNaWPOyL01k1Nz59Ak+/FpL8y2a3hO31Y3970C0idOjvwV5TgZ4Z11o7d4Z+v1FqJvnXsfUHLZBK0GmDPyV+69NNSIt1DL1duPWNo4phY6I8tBm+BF7p4YFaW/mmruBgVcs+lCzRRVqC1z3DZGQkmne98BS5s/0FnsWUsS/Hq7+yQtvS6T7BLqRjuraQHXbRVa8ytWrRPCzXaPN1/mk6O5PPPHoP7cvQK8inQWRRRhapb4Evq01W+2Q3PQCesc7ZHO1QPxoQl4tFB662qAL1K94YocUEKMO7OqO7x460GqTMo9exQAq0hADQ98ezlzkbeft7UaKitzmb9hSG8RdO7PJpPhiYsbluYHlmwEudoDdbjtdn0roWFAjVHB8+8f9RExk2NlOkl4ciPKE+s2yHN0J/tqMORKdJwXzRFtjFyKY6PghIuy/294OapBZp5a6zNp7DP9Soy/Ia1J12kCWE9N3gA7WlHQ8HjtsOMEKDs2uGv6yGNjXseVR7bRaeuMh0ndGTgb/lYD7B4LVLQOIennl1miWkvLt8JSb+oDd4ILC6YOx8F1EXlQAaBFYcNTJIbvfHRBwbeO36aG668Zjdv8AOPipGX+TdKlWLumq+DcPBU3stjraFb4HeGkO4u6YLF0vM+2RRTx7Ux/7gFWY8dzLVOh1woAYfYX+n1TMs9Nr90WoXaI7ErUTA+38emY3JKwWkldAuLo8M2Z2h6AJ+WlJJKGkV4PRgQQjaolre02+p/zLjEEkxirXDk3IuSVgwzMfAyDM51Xi554V1tcVZTbhhc34cjoQKhZDkMRdhN9HH3/T1G5I0Ud61tnK/ik3J7/Rtact2s8y1pJvxYul93Gv8Id8Y521rAbOVX9xeD7VWYlXDHTkCDxzbZcL/1pWwb0Xgm0GxWf2nhvvem9/tEraHTQ3AHQp78vgbFitYX0nlvrMWYB4i6eJv6FsOKyuhUa2z2cItDfMW9V2KtACYuTHz9qeHiSiHYREnPrjR1QjxutRuiRtM3U/NHiEbp0/Jq8t0gUbEUEDTZFZlaijFzCoQO2xqoac/CKNJHhxMP/3HMLjFTVohbU8GgEe86Y1YxLIqD7nWR5f+Bh9VYC4mDn5OrHJfawCJXc3p8IeRtAqcYtgjh0253TBfubutl0FqIOV9/g4cRAhlP7vCtJXeASXgwfvi4Kznwd6fkidbGkVvdBN3XmC7W6rgwrl2xQ+bVhJJIYtYGUpiw8/vbPICXfZ4py3msA8z3gDMr/aQCf+1Cp/a+Hizl7/ahCjLUBykPIa/DUx3FaalaENOhN7bmhcWD0hqKojGnFW7BmFbXjfS9rXtGlryG2zhXUed+gFOXKxHELjfEUl9lmSFbkZnmCjhpDMEEmi9AdVZX4RU9QJhKFnY/qGDkP8K3cOicigkLARfm6BvYrHJ+SSnrzRuSFh7L4nTwtJuXg4sveyL7cA7I54/INGljElh9TgBAut/0lbvMBlzyVzG3pE3SdqmqzPRWY2ko80LZySv803Vy03TLNuKsxWRDvO4knnMcVB3fhk6NREfAgDt1uQ3PuWWY95Zk0YyH8LvGvASOlDAg4e/m1mLBheHz8c9K3TUAcPJewxCPIAnLzmwtA8EXPIYNKBO51oMMS5SgYLCNKbtQZv207JjMH7BibXnLNp/xBE1z7EGU+eiRX+guPZBBVYzW5MV4TD7KWEplriRafoxEYt7nlncz6I/invlbwRj6eQXkZ8MFlAzGV/IyhKbEc1vlnYKyzqDJG7c5mNU0V2P2Rt1pYHmijQowDNQSfJWyPFf8tjUPkEtwRq0I9qUryi6Etu5d5r7E2MsfABWvZVD+B0kHcBl6gRY+qRJVv7IX3dOX9zQvQw0AdfP5bndjaS1tV/JRJ+zRLC4ZX/2ii6m8IPWtBPtgDHzWZMsNHD0oYp5zZJmCP0la7BclFoZNDC5LU71NP4w8FU8FSn5E3iA3zg2NTGnKC5umv9clz6T+z6nKi/Fxm8nVkD5lwkOdpVJa1aeZBFv4BRZP6wosakMN/NQbeQQrc1KAXyQP8RLxs9tUdQOh9fEj1Uqj6gzCYG8YkioYYt7XAO53iwKVZ+5KE0GQJYW9TcEBgjySiZ/qZ37DuZTlZiaDcIkcG08unRnVxsqmXwo/hKeDLV9yAaz+nDWGjv+aB/G3Le3xQaVrauHyfpCXyY36m35O7xTWUSYX3tGs9TBqJXJQ4W+52DthTyWmTZTybt9ZN4sorMrVjKDKzJBGFl4mitKmU48BKMjbUK4Jqc9RgfGTLBDgtQRgazEo381g+wmg00oI2x+2My0Xzxig7vWzXQ0grL9bFpU58bzXvdKNkxVaizimlBLvQKW+p7MLLvLTPX68OEXOJYkXfrazsYvN0cCOHMFQHJXCw/j3VyZiDYIkUbHVaXcC44F4jsAJb+CnpV8AqZWaRLk/aAncjttOQLxt0dwxYhSxS3v7isV84Y+lfY8zeV6beweDS+ozxvJtI5foU2aeu9ywlYIbDf7yEaZr5mWmVETqcJgy0yvyQhcb5tZ7sQzDcA1o+P3DXsegDim1nvGcE0HBRn/a8sUi+am7e4GlWVkCoPdcCCloui2RxZqiWFO+burSFS9nbTBVgFmBde7TJiVjdyEBdlqO5m9cL5tEV8W/ED/CDSY86cMZXMjycNCpnIeTwOqrvxsZNwEwapBeoaPy/mFWiryOLDg0Y+BWKUWqE2E1udjzrxzF/e0YnXQ2a76J6ZQDwk8nsYOVX+F1pqd7+tC0NIehW9pPehjAx00pgBLmaHmQQrB7nRYe3maNP1IUSqLc1erKlH0HcBD5W90DvfFAa06VgsX12XZx28dg4ee1TOQI4F4tv9ZTrnVgW9M0n31y2fHXVDQGEPsmGF77zfkzyCALEzOqBoNFJz7C6ZM7ZRTD17W+FuaI98yfGFuGuf+oXuXdWswjnDRs9upEwhsHkD+iHG69stI/Di3NDpBjCqifHM8ROpfzvS+zCuYzZdX3Z1m4EFT70HVPb7UazjakzJnQ7LKMH71cmxQFvQpVrZSOld92iV4vZGBuI5F3n2DPeSzPCSNiHAB+6+GdWxfmXkwkEQzRu8JanP4gY7Hn7L1R/AOnGPZDYiN6UddWXJRSeV0K38CVmYHJ4Yh1hNeu/k0al70PqvAHOpWYbYgP2WFS8v1oO4spUW0Lwsw8g2sqyTtkFzbdGOZ7ox/mjrnk/Vv72P4KWVSPkTM5GPhX92zGINxsk2iuI3yPpPH0L8skCxSZ8jc+ekiLRC5wcOULkpQPZ8ID3gctpCSNP8Ny4yd890iFfh9s4E1Mv8JegbB6CbXMjEKxuNbTy4nZiCo+CAfxHPoP8Qk/miGsROez2lvZi7AhzFhHUs5z3EobvR2DkMabQ9c78cFkuu9ZKna9E8n9CGChoD4cfGPljN5qsW21mR2rBc3rNJ3Kj5XZMTfWxZsiiay2yxIB9Kmq5aKxgQc33/nqe5n2s5RwWZ5SlP2EU+2Xl5XYCeE3bx6qxyN0gYYoD+W/ZnUqnztNQBKb/gyFmGPHSpjuM2CERVXS3I0XwQ99q6xGyQ9mD41nwp3s2OPKOFXvdMawlGS210WmCI3nOONmkd7r8wwo3+UrnYq4mfqzNyAxnbXduAlb59gkjh/JUyBnYIENn7zK3cN8HBsT2Xwlpd7IgJ5STsirK0L1wPq2vMjEJsSQPhQl2ZgERXc3LOppqH0QGxwVXbKBJo3iHUx4XAqF7VhxkUdqO1yqGUfb5VkQ4hV47EBUOu0iQD3ibq5rvaD05rNxxWShf4BVm5Hx/tqsVxc8ic25kxypSMNkpTeF4G3EYlBqAY6Wg2itBhwo4GKuiu5x+OeDzM3LqhW5cQlcI6MJty1JfzZcJJwdWp6VY1Y5Dws6FXfcFnyKUiN6o1EwtFpsfEeOSqz3FNo+vP1kAhgtb0ugCsVwUiwW8061IwrtXjYADsbzLTdUjly4sj8gQL9DaMHsPGXRyNQqXPu50Px94wpTfYGy+XOHI1UHmIWMQH4qQgKv+1tkQrb0FXt8+BTfd9BkrndR8hIGLFZwIFmczPOVOzqRsL7SOfxBCKomEYhKnXvTRFSnkEiwBlkbu23gpKu7DklvBIRqB7JMowtSYt1ZsSHYXftAmZqTKqRtPJTjLnVDgIzwnjxkx0tyonMqp/ySLT5yekKRvgZ2VlUR1BbG4mDPMu8stkB683CbBmrix9N8/mKn8syrmXvdpceOBvFxYRHGGJooUzBRWR3Hlt+J7ovAfyQySCICBg7ioJme1WqJml1fiuyVBN3Fi/zJybOwzIGJ5CP/ts6+WOtC5QOX1gUe29Lnj64JcQjjJEAsiA9h5byZTLx1zhMXwISnVCFXKIQMR8DogCvdmekLRsbrBU3y8mHcb+8lo18sCRF3L1x8wH4aJfzx7zDhWLPGyEACDqIqs0WWDMtWU6piZQ+tqmgwryhhjIihWOI3kHtex/uVxP82d2R5iA+we7h/pIGa5kvIKOfe66ABF4yfCnlPo0wIyrBV3dvOXcx7gFFFAi66spvB7x6o6vRweewCoyAFDLMcLnq9wKjvSb1nXjMGrnlcnP/RtXjsx1pmjGac07NEyOe/8VLZMH1n5LnPUy9+Wy8a27+4XXcnenWd9no9SMPXdI+okQluUBUATfavxgF4MJEa3hJSj0VCKS5WA/iUH9rE2UuMiTK2yHWe6FB/hQYKdqIuQBrRk4r6f7hsOg2sdU9Xgi/o0dqb+v8QMRKulrEZmpS7wBX5D5OHQR4fKU97DS8ieCNw915M4MckcyrG9biQ9/k1f/q/IfFMcit9WEvr9zC9kjIdCL0JKyUPmM+YE9XZyEAWIRG7K3z+YbIYiR6KEigF4MUqtJxWdiwocgNrZ7FbRu4ZdXO0onxwNUI8QwOLy1yHI3NR7FmSPof5HTDuWqpr/Y9nmqctKwn+TJmLfNYy+FrAuRCWrAoYAEBG3Jm/UIoIUjQqY1iquURWMF77KT+dx2XQAOHEvOIdq1JG9yJCTNOiOP0maRPBtf45jpdqsVmpedxVvnk2FQVAZAyQb6Kw3anO/Uj8ajTXB4kZ02757JUlBOuFVVQ995ba3NC3UBCUJlet5s9W9uSucRZfRYQY1BfpIH9IaFuGyurVEZZeBZgldgCHMGkiMRhXVs56O5S14YBP5C4xU1zaYCALgSaCX5aP+pIoOSe0a/ijNnELsqsRkv/QJNFkbL1gB7+hn0X3olVihxzjITSX6/nM250F1pfih4h/NylevarkpaO/knxAZrxxI6xxZG/Six/nsGUHDZW3JsO8y0RJDQ8gg0T7C5iE2cIGITiXFA4BJ3G6fqndRrlxK1bK6WY0FKb0TBFYIX/j2rwFFZTY3EWtugwV5++83G27wMjfmdjMzMshRsMc+DTxkzcWl4DJzhslWlgm+NQi3YrlYdy3ZX7qN7sJq3qxo0v8e3Vu1yl/lX4AqSbt0mkRWixQRjJN/4nnb4Z5bab0sCOScXRZyKAYIuSzia1Pbo9O466wNaW4FKNC41w3N9lj5lIgDCZSnhiE32OF7UCk7ulf6rHhx7FggGHXE6gBoYbmBZqC5zez3hblapdPw2TYy/hK+jdVW2r7fxMsqRlHX7qyuHXOaNlnkG2JAaqQoJHNMzYBtdwzJVHwsYJ1x82SIuEY/Q5ItaZVELcY2GiQg45edw0vFiys9VPaKLCHAE/VIV5jLWZiKYZKEJKQoW5Epl+sD7PjAWsGjvwiVvs0H+Kz2CHDOEfkhFMuHh7UOglfyNv7q19k4TRTtJ3X6+zv/BNkvXuMZgb1+nikz5VTPRJwMYMqDqHm3t6TuSed5rJ+KPd0MpOjW6rGvYBSjfje206lXni0hkAh/yAfjU/QawdGU6Q/qVHRxnlk++WyRWsO+cgcvH9tiFjA3bSnU/1Jwf5qvm0ynuLHf+KX3tyww0L7cZO7guMRe7+t/ImSsWyCM7rKKa/kHFRstn+hmbpu3PNIceWne2hK8OKs5hO/F4qbAz2VCE8ZLlDpgssGUUfPIcujU5ngtC4qUSLF5eO4SwSNOZxzXfEEIdLPY3szkjB7imkZyA3Mo2qD36FZmogE7MC5i8uU6wUII/Wy4Yfsa1p7MGMF+LmN+b0+MCia3+wsS/fLP00T2yyO+0CcYqcBNj+IDX9l03JCE0kiXIEj4sSPWlZqkhqiIdE6w/JqfY6wZntZoXINfnhQHteDC84AOvqjhqQQ/zY0UhlYUKcimzydiWOzmeboUGI5XdMSkwpGn+UUgwBvIVqUDkQpbyT+N3aywnAtdgS6EBSiTo6c8WTgXF+EDg8avOMeNG2K/J1tziKg89nrutawV+XPJREAP24ndcQu69LnOq+q0u5m/g8liP2uRra6K+rL+emF8VQo7IL1o7+5atx3wCwTUjxdBe4f0rIUTOt3XCc4HL2BeN7k/5iBvRYtYffc+chKzxaHV/plgW6goJQ8dQNdc9InpFCyQs1XAMKzqA6+s1TPHTscBMzK/SRcT0pz1bVON1T1z1p5duR63kV7U4Q7MNcR7z99hG+qM/f0yReQdPCWLVyMOD5wqj0+nwvVsXIg69UA2La6CEcyPywaqO3QcYl4cHqxmgzTzau2NVSQTLvHLIkKLf4IWc7BRchajkyfQrmDSR7D+N6zohdNmlsqgBV8Uk4Em8M4RdyMKebjelpNRw3MtJqHZ7J9XKqtmjpDq4hBbL5ShHB88g2TodF+8RAzefWULHavYEWiD4569ZYHvd6EdZoPAxlB/uzK42XauRngiBBML0ZrffPksU8XpwvJa1cSFdaryS/D+6x/xt7vF0cpxUnow8NAEEXYPyEegvpJ5g32LKIuJhlSrjQhQVMMsA+qgeNYCVUgHWPT2AeB5vBkh1c5Z0fhPoXAj6nFNz9n8mrmWSN+ZHA+f1SoLTMLNVsNy+w4mJcIFY6R8mIoeq1oYb486Akt06m7WXkZ7+ec6mBihEjM1HumyeFIfyXswI1IEwoi8aaKJG37Ab4IDwCvNNPCQU2c4QQ+eEybeZs8bYosjV/eGiVZUN3uywn/j7gpfpW20gNLQEPSnhXOMA8njWHMHxCbSv/dfJ6JKK0Zlw8cVLHaCE57rUElI3AOWEktPozVRLBgeDj8mbbQ8OqTrws+Yg++7Nb7nKg7DA5zGghylVkxjlhl7fOzzaL7Q+YapCg9kJ6chuDcjcNo8f1OzsTE4Emp+5dHObS+v7vHLuzh+B5UDThMvlF5bYynIfAAMo1IizHz2QkllTG9UqaKsmwPOVtu2iLt/4Fea1JJCJRf8flJDhgZS2d0GpEN84DJBehijXnIVa4RzgucsvXpxoP43KhxEUKcd+ApINz/drKeOYHlwZJQirWTZRrJKcuHaopt65ZMUdIPL0meBkO9VLmbT2I95GbNFKWduhjaVyUc7t2khGwr25Ad0bVKBo0MH+C/tP+1o3RZRMMbEJSXlMDnYnz7IPfmEClsN4Af6PXtwEFKcIfiyhBj1YbP46aLEpZ4KKcoxu5oD5Zltwb2TT2WiSZe7S/VoGG8xcRHt63AaQAcASkdmlaR0HFSZ1u8XdtngHVNCC8anDN2J6BP43vJkOh46edfKNb7aaUNLUGHOKOwzBjP2AD2/KRZwy/o0wKlVIG3vjabZWLGaQjiEX4pmeEeznohT8b5Raqx0/Zf4N/uNSIK+8cAHSDCwfgz/vgv/r6iO0OoA2564T+jihP797JPmBVa3MCGL09XohtnxscEyNthkUAOnQUPWalGSlevAQeTMABhM4U+etuIK48+kwf07IgNKh5h1AWhknvg3wrI64YmQvM2L2yKVVXPk8kMXC5H5FoC0r8Rtr6bDvb3PNGB7cONfWKvE5xgZRj+S3lQBxLu3rnBLMDTfgZ8o2vTHLFV0BPO5gqO+rwGCkMunvTbmA5is3PSkuSgBSLkXXFCZVAHZ8OyKdjiaywGt5HlaPP270U0RM36Awx3jn5g1sjJpWveU9mbMjsmJkm07xqilgmR2fWpx4FpiGhdyPWltulrEu1aIaoDKU16lAOVH0YsdrCW0LZQdUborpcEujY663EhS+NHWJV3D+tAurPEqdkhPYi/sfo2c1sIb+6W26SYB5pXA6VKOImHg5UG6KD0lhiFEcfhhGcBTFD7CRLYSYW7XUXntKqRugEFvkwmV+CMYM2BqJbZLSrfN/qDToQobEQKhJ0LKxqN+I/G85XsuAKuBOrRBnl5cVQRlYtZB5nzsEecO8kiCouWV6Oa0nvCBWV2tYGMqeJgOT2Lg2IIbh2r5NLNfgeLmQB3UwkDhsAgDz5kpiO0+C62vXLO40X04jSjye0dX+qqOL8h4YkZWn83XdggH/dfYp4cI4aXgQFTeqZVSjQvq0e3HBiy+CvhCZKa2xqVK0lxvG4ZB4LHAv4/yxPx4yWGYZN9T/On2/XBWvUSIyWxXrfQhbudhb7YiRg1YIIkg2rNA1yu5p4DRfCPAplm39krCA4tcZ65zeaO7lrkTktksIqFSMHgDYb532nPAK1nwoF5EUa4orawTcu4sQ3nsIJDb7jRjvpL99iwk3MWS0pBrVT5k8+t7eZQMMJM3EnhSlHt1UJ3Cx2hWuzonzI63kKE9cggMPs7PCqtI2Jf6YDEdPu0V7Ccl1DnQxdIrIeSX9rEjSzuEudOYK8vleU2BwmpsbCP2TxrJmEoodRphKRCr4a+ZNZfT6yEcLpKGjnPwu4cuHMbp27GDV6gp3WBIKM+Aa7wBBAYeCLgMxJ/x9LNh3OcJZ1P0+dbz8vh0KbeN/NeecXrSKGSpuJwJNknnuOc74ZaXpaaMJ1NFMGEukxML54JPCpyAzql2rHnA3Qu/lAH1CY2ldNCPk4dpxtOdzrzkjHDxJK61V6JrN/hCtd4HJKGcXeqlDcNsFcGMQiWrmR0GM3jwQefLm0HXkhYnuJq0Yri2Ou3ySbi+um1l2ILuHCBkJ3q24BW00zecs8NLkMDI0qFThvROidLSiNUvskChsONhIhO0nYaKqsBzm8rgTit8JM/we7f0RP89c+DlxFQapS9UDXyEnmrBsTcULvfpLdo4GYh6ZyBPvfmLLnLko2ZHkHQmku1j+Byi9MVz1U4ntvYGcPVUTpu27R0NN3SGlDsBO+ZoLwiMG+Y3UGwORc1vH9nfc+Ka1A5HVoyP8FBnNvFWwZIkumujJJ+m0g/qKcH/hhEHgt2/PBfEephNpe0aU9li3xP4d9DxXqc4wMEWqz+N5hnTmq6bPw3f1cklchd2R6x45lSsld46SzfZmWUAmnuqvhUyg7nSVerOZyjkOA8YOUdD2FT0nL63jY5+p7gmPaD5eCrjN1FZWsuVqaG6iFIg4xYbIdCHX4mHyizm4eOCnMM1A6DEgFKt7rN/dGhFUXijHSxIgT5cFmhUb0iaU3AMtGyDJ0toGMUhOebal1QkRzh9914hlNMfAuruFHngoQzE5AK3Q9+G2vXAtPEg0FudoTZiI9vSIP5hSAot/seP4wIgXoW3rCL8zxWh6+q6JyDxmrpbbj1KAdaL3KJnIyma7oNfKdVJEm6gzrMN4vUE3K2HQUAz/cBNKq6JqIMZfI9DChnT4MDkzm6ttuimapLA2s8R+TjyxlRwm9lsKCCPVyV+TJGoGvyS2S6v30/V0EArKSki+N9/C6Wtz+ht5ln2Tae5K8P2rwMjMNifVP33p2yeXkCJMGzJuom0SndJRCLnONIvdsnBgsVkp/9A7ifTlvcdLTbxZdp6hbUM9+E5Rd/uUnUMqQImlbZYp6SomQfS9vJwvd/LIyyeNjINpgEV+rdX6BlegMcxO/UUdLbJdTvlEppqF7zf6h+edboKA1wiG1ahchr/z3frntgX8GQ/xpxgL+gWc4fz3AwwNMvwORvyDvbHKNE/oL1jYDDAI8u75GBve7FEW+OthFctCtzpG8GAjyjw20MOW3+5mxdz6nO1NZSSUtcsEq27gY5bL5qQhEqMqxYe807dc/4tb0WkFqv4sTa5dU8Ubj9RS0hQzXo25d6Z90eGU2IIXeFH/ccsAsHLIcHrlHOacnqaP7n6chDiNzLnIimrONlWjSVhyrVx+fcjWuyhLjJv81fcRwoFSmI3suDTSQVHD8uE1X2PgrfNchc35wuq4GGskX+hQ50rujSzb8JjCQ81IUu3hGC1u7U1XHIileZMXD34QJOFzO502u+MncQiwmroTDtzSiK23d4orrkNPKWbgUqNJyfRSnuQyG0sgg1+FIVKu7VkepjYusuuHx6QU7td13+36zmLpm6Shz+tdCytd8FZAiXzBmOB9G/ve+Z6y6m+HZmKPb/1qXL9DxP5fo7sUEqXyQMj7T4vDm8fxBNNowOVgd5PMID8c2RUJ3qFv74mSyJj8VLWCN5ROs9cULT+zaWzvqkWBQwozT+YOoPvP0Eg5Np+Oi79FmI6xJSLNYi/MbAYcq6vuf+877wVgfS6byPPBl/x7EVVXF+WObfGeX2IFKFY9JR2UH36y9+n6zD09YrAKiLhH9sI4wDPZFOJn/7wm2CJ+HF+VxgMYzlc7Y7/jgJVqMPkPT2D6OSNkpJrh1p1o0akTK1U3vekJ6jv3YWT3sVvMlC0PG7EDjOdmAzqdil2soFjWrxMmPk/7LwNRWFUBsKaUVm3blRuWDUiCTailXpqat6G8oj64bIhN1n1n/dR1LpEVMv7XvX5eZ9Qlb4y/YPSsmyrLvpzxVLA+Yg0uwScZURlF8XIO356PnHu/HQUBF87m0kUsy88XVRzbq/pK/ZRF1Ue/8DojbFYY+9Yh23ypgZBmc/7/IA6HaxmxIgF9sH1xd/PbROpYSTYNnr5BS0aNrBLFsTUdHkrar8uqQC0/mWW5lln0B6ls7RARHaR6IVRxYNSrA+D86L9b15SK3qsiAqKf5lbg5yOt+76QUz3Xg8hszpCSGGBrWfa3EaxWGFzC0ZyLC/XlI12ZmL0f16GJaEFnlMvWCPVEKvmLIZmjq3MCw9HpvxDeIFTu9SGWTs7iObf8/+n12fwUlA5OL9JxS5xLE8Fsx52QbVaUNQHCgxraZ0Rp4Sg0H2ubfWuh1AoTqXfS0SK4sw6qjb1lLUxwLzHsfCmu8dIS97s0pjp+i6rA58Be+uFB6KhOVyPICMsipey15U9XL79y3+dZTDLshdU7Fuwjq+7r58wfO5YWEZtKgmO3635FxP3ai5CNfcde5wlAptIX4DjCl0GTWrwXYzpmOPtfUx3NOoTNKYPaLk+jVccbMC1LXiiZSbo20+swVShHxgQZDeIsnnQSjeDWsiRd+XQedt7CHRHzBWzjzZAX2Ml0Q4D6ZKyupRrOmbn9OBgzyt7O4LiwqtQ1wPiKecob2lwY7+scvpjs4fqquw3DAf9MQIb/EM7hUyB4XJmauY5d5MZ8vN6bOUw8Z5WzyWKezE1OkEOaK1btvKU6j8LTnYA2XXZQx+ffvx50/GscuoCUV3Rfb+BIhgpNZq253hB/T2pnvTGY07PUtTWIxjS9T3FG4TGcejgebKk1/J6QAouz2qO0J/lFX9BRWZtUPXAJfhrIWCN0UTlNtp52DKn96KYysY+6e5fddlrpM7eS1M6F69UtHYuDu7UtT8vQnuWlBlxjY3TV8c7S3/4y6cQHR9Ymp5aIXkE58jlCCaxweS4ZwD1XMCVXkKHIo1O4m54xeYtUj0Xw247/GDCuabC99EkLj06aH67e5XkKomC5wNrukctj0+/u1qxUGtYFHbF1Zt3FjFofksFxTr+or4JJzBIJ0sV6CgPthAqhEbBTc+Za4/X8IvWLIXDkRO0CTIvcpluDD3IMW4C79l/ocKr4RNTjtqT+Zza356cajRhGES/4/liqDEVrVH4IAnS9u66aoNigtf9EK6M6E8RZXUZ/Lu0AeVw0tD1qzaXYwjz4kIL6TrBNjkjUOVnrh+CRo8Se4KBepB1KI5PSkRQOlZg0970hB0v41p2YVkmFih/C7uHhvPxjIpnTTaLmFOwlWIysm/m2m+C689ZKjjl9UzsHTqr/T8HC5qTFGAaqQ0ehUhoZcnfwlZkxK//hhop7s1u5DGwcBRWPCTIxj+QB7Rt2ASu5LuVhOL4fMOBgld3WUixi0QnAPjMA9XI8wjX3mD/BAhLbvtX3Jy2znDF3PT7IX93bFttd1RTcpdcFKOxEyvmz4JkeXQaLTbpQ1GubjBOOxAv8LH2eZfFzLXRG+gOseMkEm3ViUEhNTsGVz3LKviIHNnowJPkmTVxCrDOpwIEb2E2t9k+xPP6IweSDng6uolEwe2bT74WFIuEWkgiEbFKBAMy4bqZUzolbh4jbS/+U8Px4ky78OO1DqBc6IPj0khUkcKRqXqSmTjYVa1yAhX7AOjMQdKkcfd5fXYJvGQBAPI6+gnVYZzViKMJLQnvdp6YrG6IRqhmvjwiLD2yCJORf+7SwV2qnrUihMHQMRji+5rKw4AP4jvRfMF5LK6o+i9Wm5aQYbBK4ZJfx71gIxnhIf/ltHFleYbSsU9HtPoDeSBeD4mQdxPi1gDbVZnYJYPcJmjnQBBAGwuPSAZhv6RPobT9g5dGeseQ4aOaJ/dJZfh0jyGqUMtAMh3Zct5jnpVHQhUb53mXfuB9TidWw2D/vbmGwo2c5BojLWH4waaYtT4gt12+DPipskKrE5jYWy7k/q5kM8BlPJZOtdVtM3h+VOPLlZmZa7ESR/+q0UX9BnTqJdoazui6joZSeQf09I0XAmjPx/D3e+5wdhaI6R43ejtViYJvKQmKBL57EO8uBQy4RC9VuRIOsGEWcC7PRAUt8RFtfB0sRUh7ns1+5BmDJEdQWR5ytWSIqzkVlOG1MDDIddpYTUiAb7fnCUcIMQiVkUgSvsAx2EkhJ+tif6sI4igClY9uOgh845LJlZ1cehK2MKrL1L1ZhuvWxhd+oJFgps7y2iUBGgitxnnPrGf0U1vYvrpChMCXGYhCXHm6Qw/qS7DOVkkOFkKIuQELz/bwWJoXe7Gz4hTsrAeUpjHK43zVhJL+bQYJWcy1IdyCkQp86OFyKx364OpKCQPEvCN8pWCOjNNyPDUmpEU8iSrM3TIGZXjk9z4xSpeghxNkoqdg5jzaux3sbg11m3WXH8rHCRomYCDrh8mgHNGfibVfqbRRnq2+7Z3H7vM23EXNg1Jvtk6ZOrnUbKNtbNCxdhjAK+p5mJOJSZ0gLsKCO2JSc260QPxPr+Ouxdsr+UMsTZE/+tpZ/3O5DVZeftAmgsxH9TFEtskwx5/fXy4S1S9Veunp+R8qZHcBotR4ADW2YnfB4NF7PDMR3H1vsYqiXPHCS4GOUHuuATUN8RDCXoI5aCGI7pB7lTi5ptfwMf7BKD8lBuKj5h7bJhJ6sM/qjd62+Leg1OvNhh/uKoLJbTckfjqhTOweAtf3DvB6pwnFHhOWzJ5tgrtEcD6mrUHCzIff+FQ3Hh67ORqvCV7j9mYjboqc5/y1mNBy3U7Pxi53Jmxcrkj+ZzRlUtj8K51lpfQDmtT8ynFtxNhsQZ1d0vr8+PKmD4PCSCjEhbPDxGFZk6nOplGLf7hgZXPs3ZU5vBFXVcjd/NNm4XiF5UgjH+8aWj7z44GNHaB2NQAdGV5/zsoAg5s7BBYRrN4gfkOT3eP2YMo/MMCc8d7OrR1z+icevI/xDIt2hqL1yFC2ode+I5NDe7c7f4OZaoDEhqlzqIJw8pXD/ABcGjidL7XTtu2/YQU1fJSDXiDbCw3b+rJ74UcFMWGWDpJek1xUCKHxliPe6pY+q1K+iYPmCj9KUVeeKkP0ZQHOsemlm6RU01LjQG8+1fi9JU9rb6fRPANpS/2Zz/U4iR+p/hXx/WdTy7N2slR9gqg6PBi2wHNjpuGKZH358UFJnGQ5tQar5VQcoNgK371s+O626mEHuY5EvSHmAzwE9T9EMO6B+S5/jFIqdyA0oe7orHnzTSAI7GSFSMSj47x5ukRqrKhEdJcZMnN4yd7dYzTZXaIEpFd8qNJBjyxtxdrQ+Jx4pAmOaiHGVtgX7NbIGvHYMiM9LegXycAwQ24BLH9bZJ/bubTkXvAnaGhlnbwvZZ4CcS7/klj7dFggwzmnpH8mXnTzFseAj5hViTYZTJyPX3ojegL7d4Xq/BWsEvn0iZbQDXr38j+zWrKz3RPLoejAWZnM5Ds66f9YJ3jmOJA+E4OQK+FR33DI+8LgNfJ5Olm/U+b40qkk/CMfpVqruI9AnRhJeIDqTt0uIbHET8yverEKQasDFb/AHFCMiO5CKLgwJ6L+JQUzQZwoOfe7aQL24LD/Xc3gVbjnqNT0bRK9R5a1KzyRrtNInyRKomAdFHS4ktnRKqHTTBbo7Et2Ju3txwDOdNHRFWQMiKFR1LQpM/QSFgbTsuDnWT540CNtXpmO4zmkPo3nmwg8XiMPSHy0+VSA+TaA3YOeCY6IveCnxNkybabnwksKsk/ztriHcfcYbP7NiGzhIxyoVLovfRTW67KgLOt71JSHEIFj2muYtQMd2JCVcWm6lwMJbBNjHlix+i4OuOydlOcmSPBDdtlmjlw62StsEda6pNZAYFC9BPxL8lbYmzdxWMKyE8NOUYZtTv+SNY2/QiE/xlammrUobZIa98N/4jSTNWZ4B/6kxcT5LpiKuyBmPMgYQTNvZq++Vd/shayjmgm60BpUyLAE6e+4hvujza8nmSSDt3lk1WYxaXKszO7yjC5cTM8sMJcerPjIcceERs/umXOdaQNhf9i5Pu83mq8uZfx0zd8c2OQOPD+2gPS1natTqZI0Tffyb+ubnEoZPJetZVSuEc6gj+I4ekEz+qCtVMyAaOGUewBUs65SY86ZP752NTj4gS8Ua8eksLjxrsfQXqzN9zgm0IDBrloal6tPZYLLoIKPmxsuCWWSP16uncCktfmmRDIdOJg8UIK31ERmLwGICIS/KA/gZIHXaPi5JpQUU6CgvIm7HUHIKm2drw0jQU6Py0y4088V8pD4hyMwoFc8t5UIVodFcv0YN7TwAL7iq5cW9sMgQXz9BkNC7miqPWZn6zkQfZteHi7zUuFSHRklvHJdO20c1rRdDGxU/IBpUy/xFCiuFBsTB/k82slzLBE5N/TOfWr5upSvj8S1R+pQwNEWX5IUQctvfsno8FJzyuWAEPsq2q4I1RKRKNWeYHXkvN1gZlSYzXhPPNN/eyB8fsrvvVx91e8iQR6RUiX/lNw2UqigyXLML3RSfXQ9XwUMKiVVDTVnnkOaZLJOys7ttvgJmQ72eZy89Xn6/YwlN/QUQrFo+nWZ2a/eFK9b1z3UHhexd16Y7K4WCV2IAFV+55buQ50zRk2cjTx6TGdN5Z1GX0GcOBidPmTSYFZL1EHF8GoYhu574O0Rg8ckys5iJF9EFYhpZYcVIaNoO5rETbn4jc9cri7AqfCouW5p5+XNzAURGzDJ6HCuF43mY7uL3H0c/Ep171Is0S113rlbteRjUM7oHhKA6riF40LYjTvzf73dak6Ag+jMlfImrQodI428ByzBGPXfLMNRb2wIChuPxnGCqo8YlPjbOQao8nMV78/zd0TGBLqnvnfI23Q0uckoYJbtIW6s/KzHMCJc47sa7RqUqvVIIv+U+gKEpSz9Tixtb73MyrcnrO8YW+QFlZmDnEPDCx2JHNvKypLfp93AWWeQYfX6HC3i0zgput4rv5c+wXKS8qFXMxReCJgJL78y9ZRbKYpvr31IpuXufJx5b0BX3nO6F5u42w5qnDk5CKfwclIr6E/8UU8qdrRoTlmiys+ybfubxgQM2MCaKOVbJfPc/aYKlK2UwUQsKlSRXKSr8mxMFanJzLzqagD/fxQBfu+Go9h7CHSojALoXTE7yu2i2DmOuk5cRkbxO858QHXqou0sBXzfeikpmdRziIENL7aI6Ynq4lFEF06m11d3FrBnTz0FwOjqyS5NcL5mm16goWEJPuO8ayKY57DWbJjH6XavNge7vMHnC+sa5LfMpWsW2+vylgkU1S0m09o9IJrl/MQ+USHKsBiuhEbW0eq4zCahiNLsbmwlYKIZU/+pQ9B1531wtE5k4dUjaEJe84DAPaNX3T7vjqpC13I0Lkw3R+ktioG1+0U93q2hN7NL8uUpm0Q4TYRyg76Pr492CyM2eMA3GjttKeGyuefElecx0LUdXGaNtA86ouR/hat8goEw54s5cmPp1nOZZQlM7s+jSP0CGsILw/0XIHR83N5LO0jG9//HipzEPhhF0m9kMBANTwVFBIGRItm/OrThl6unLodAmUxVqR/8VvDtCVakiM3pXSPs0Zv8ZiV7Dnjf8SeaUARnQ0A4utaVC7L96v1xeQqD9qU5Wxo0mN52iqtBrua80O5Xlw4I93UACM3clzu9LNV0BzsiH0lR39aQ1nme1JV8zeB7JpmGwtkZUepx/b+t2CbQqcPFvRMvUU+xfoGsFdn85WTyytkkItFvtd/75Ab11TR6sryhIQbGF78BvUkG7Oq3Z0SO46y/X50oW96ZkheYgA749/mGLpVYlIrvhx6z+IoRUxbSdx3El/GNXzR1WOvoCjm+bdmvmrfe8g1GLDit86n7LbPnJbP/5MwUFDQqhLws7tnkV4kzW7G6RUa/9NSjJlLfNhWvjKChlow54O9n9vTF7oqLdre4aDjfZh5NdeThiFBoLydcJLdXmK/7kd1JMESiCyZ6HyeE38DuM9cN2hUSxCjysK2ek8dd/q91FAlSnEZ+Tn4T08HeZDJZUnojabagLBt1cWtk8+0deih3IB62rNbE40kgVLttHrB8KicVBPF2dXLBN+uuSlxkU12sjm5jdwhEtv2llYPaTo3YvMJvJFMNH6uzh9IwrsUeoHcC8ugsI+2LowYmrgrRuFkToV75yy+s/Phr6+r2XDEb9bhoh8rorBxcoRNCAswv1IdBcNZqnK6vAnF5cwBt5SjoSIBlc6yzh0er3swHBl5cM0zkXs7sSeLykHMy1vC+a+mfNxtuQrH5w86LtKE1jr5Vc8nsNpNw44fomD/ot7Z0GDMbHgX2SoM1rj/Ay7BFX9DwwU6GPrrbHxgpvivHmQPgJx2qCfRiSzjc/GNiVffL8rfutdtvCAjUULka5aZ/1NzJYlDoKfJIN6UVbMaHFpA/hW0+67O6Skg3LltZ0lGCgB9MVgAu8riheMxGqKCTim9GU8CnQVcyvBFAyRUoqHXbklRf7UtZRbNd5/CkiBhLuz6hk1/MfSJbTtPGjFAJnRu7Og0i6AKzagqm+EisSJFYSXAHviITI0x6qFduDXyK6uVg7LiyUiSbIFZqHjNd322lfiCzIRaWpVUI26lF7IcVGEVdfh3Cjn00lyyvn88EQxWRTgMw2WfT/jKgrA4AYwyoN2LCNSuSmHMUmERRCFpJj23Y23x0nTj9cWTIPkFZii6X5PbjARa5IN+WneUUoGDot8SidF/sRPmezIjo7Y2yZn+GkiZvurE27GTMQQPXrR9h19vf+4NBQgX6xTM0Mw97atCu56N1YQn1zeIUl7TgC8pT99LK7/5gGs1sUCa2NLa3HIjHKerOFLOJnYMLjXeZrug4S3gnlGbaRLxKQ9FP67KS6xMQpWEUNLtjQW1nPaXkp6gnMcv5KmbMCTPrj3RjNQJcL6+K6S3/OTwBJI8KPH3Yls1Jq/hNkdzwIC7cK055zh7pUfV2lrCkVd3/pVvuw2dbP752CKqB2+A5pK0joIBwAFgJ7CjaqZMt/KA3aSA/bqGfQEU5sNZTJNDy+pPSIqRh3zF9SmliaGdfw05Lj+d2YowNCpsJQqVKBionmjQNMIDFIdKq9j/6wU7ZKvL3pCmhCMwe+037O1TzXB9k/Rw+nPhpvN/Jcm7AM4F7A8Mqv8qRXMcuyNDCHjbRc4kiff7MnwfiStlV/kZqGAYFDWbc1dY/oIDlggUxzpIvYmd5eI7nyAxU9aaWdNsAyoSN9uD9GQckXEk9YzmDjKf2BVwiUhId6ZOB9bzsG0bh0oJnvnpSYU+hc5VyGPyLZNrKNpHBm09Wqd/y862uUpFyXC9nqt/BoMV4omiRy647S9SqPZ+dc6t8G9KnPcP8p9sYNaC3Mq5E87KMTV6wwmszdm34W22KGCfGp+Gw/xS+pvDcibBp1GIupS1lPNCkYgr1dC8SOmEZdEMwkH5nxTNtiR+pKFZnIYD7dzTkUjP4EonxdIChRKAox638wq5Q2+ou0T5TNXCSulEueHUNe6Vd3Q8qV8KgyMdms5TlykEkzgnRzyOr+W/y/frVMWPZ+r0GmRzd2dK5q5kBY8wWW/1BgTLTda0QIOpEV3fYG9ig9PZE36G+za5RDk0sIogc9vdMEytL1njMo06i92yAbJompE0oHqz4qyrCHoCu8JO4sAYBYGJI36ke0ckHDmxN9oqPygxlN4WDR75kyLtENzD5JBKbIIuElZRQIA9DR55AfgRwsuU4kGYzzrPBz3D0mTXZQZwDhrXIYyqlU1qFRKFh8QDEf2mWkXSZ9dS+WHwBEgZYpY1JSspyH4XaFYklygWc9XUSOA9z7TjpPsGME0agEgNk8DhvnOXxI4cTg3epEy07o7frSfofW42fK2RwVYhxybiEzlS2xtnRVBDmJFPtcL1Mw6ke9V3DIeHpptS3ld0xiU6x+pEhzvg5fidfNlZsju7LpnMni4J9Fjso6E3u52ejEkQYgAO8Ca8kqxk1ikfN6uR0HDhygFzqdVyVRAqmhZ+7DND1OWPSV0/D9ujT2RSLblgRpMRW513Vro5oMsvF7b+yq/8THpO6T08IQ3znquV2l7x1oUcTqmWJ2NXhNA/QhnSDsnONKarC/iHR2ahy6SXPIVoEwF87oPTqcxZhtqtZPp0xXkKJbSvojWqyYVoCX0DIGgbnMeIpatOtCRXXPY6ZBdVkm2DifdxkW3rsmFnL+OsQd7XP3kNaUpHRhP5o0NdrVfCaOW6bjNArE7k7/Cb+V/HwhsQn1ATqCzmAcfXSOclrm15sbCrYTBAL9r1RmNuiHBpCjkP5VAIDKY/e9sVRRxInLkSe6JXIbrw8gmzyA9D6yNNizRnZ6fM458bjwCYC3KQERKFvQ6T3Ekh5xzP884eoQh1K1QbcftJB/bsvR1CkrejtBV8SfqyGWlOsGh/Ma11hyiSMH7UVeYQr593G+mBZMBZqaOj2YtKWjUuMgn3/dU4xzgZAaqkWzBCNq6zC5YDdXYGW24IQbRFxBRVllaIrMXGGpFt5YnPshHxC+qosrEBLpBrl+4cs4sGEqRwMnTZCEr019Vo/YARog3gpv41Y5TGTl+S2LKueGGvffPCai1xX0sTiZ88xfBxGwSZG8S4ryq0ZST2CepItg3kKkTJG49BpEFCGPbfYBjEJT0u4co8PO2EDO6hSPBpfg7nrl4FBi15Fqa828GsSDTKXAhzddL4oZ4SvsSYsTrJ0dGNDxUG/Vat9TGJHqdaY2QItGRvq4NIy8opUEumXDKFy/ho4bfSVLLCDALM2H4v2hoobyly5ndgBBE7yZqYQkbfZ8d1IXadA8HNi4Ii9D/tD/fIZev9B4nFAcYOzoF3k5+SlpPauQnL0XsAA2usjuz0wVqhxV3x+4lpO5UyUoqF4uAv45jnmg9k911aeNcParHc/KccsJ+2NSdx74YZeM4HRbI7NndKmpEYf2ZvQGlWudzmOf1kKxCVC9SUhCKat0JROoc0YIsWJA3ldUt+8NTZhRaaFPY8sygqtY8zlF7ksucKbkm7nvh91LePwZLOTAzEEHiBlUW7eXugN+ACCdsD6UjSfAZ6N3sknM/n9Sae9XHCaEGYSX3hwvC3Euaa48gNJPCioITdorEYFSc6GSze2Ed0Gpj1vsLGHmd/v16h9l32CekUY4rQjgiWOnYl37v8tGarE6Un6zh7Jfaj9cZ/p4jRTBq1rl7zdCG0w3UBPNSKczebyO7Vi9Mg20gMrK3YgquAoUlIpGFfHox4u8pAQIGhNWZvv2vpqWslTrLQ8ZvvYF9sufiJtoyQxRQYpVJLVoZWDe1ZPsbNFBmt0QzQ2YeDvNLdhzHi2SC6AgcIXctEpyh1NgThIRwK5uHgMQ9pYBmdegErG3YkZO0ZQWmv0eRqat/3wFcBTpu6RZLqDgz85mm1e4IKXcmiRkR9kuenk+Ii8tP8H3OHPI1X+KwmT9aQrQTDkLfEKDJd3L1q7tRA/BpaoNOfNg7OjhW1AtzM/PhYb+MAriGLPZxDt8VhDhroFXnBvWYckug/sgKDCWOIGzB87vA+64hggof29pXW+QPauqVd3k8bJzojgtYhJ2SIgAvjJ8J5R0jF0sIdC4tQ7WuRL9kwmxebOf7Tm0gBR+QT5HKVB/WKiE/h3yf+FeTY3k6GM7ls0dnt3CPF4b+pWEW97bxZPQ/SAwWcCgPye1lKj4XpOdmhqUcCLXHo7SHQJXRDI5k/CazBu8teeZwpTtNY8IcX4Nb/OaV+2/PVIajQ3e947bMh9/wMQyzPHxikNVtxCuEysEX0zFnDORD9k2Zln65zGxp7s86pXz+buFag6LUatFNc71bbq3XD8TY+3Qj0YKPQjnaRYUWP+S9rGBGGyjBzRUfFlVaO2OZvCQ4LMI3LuwMzaJCbYNMCPqe676WJnApbEd7+Fj4ygUakaOWqVdyaxy/kFf/t9HhlWMyXLCuhWEzO49c7PERkMWmJVlBhojIDDnkeouVain409CYcdcqLdzmUktcI4ls6KsXjK747Fjbi01Ujd7AUGyBkdMrTPWp36Yb06tgpu1rlQBccnaZmTKM2Zf2SN+nQgn1+mFdg7/alNUt/61pOIzHXS1tMvqMzStzwAtwEGCAV5J4RMO8Qk9MhHlMWDsYmrrHydB/R591MR5AE74jyFn5XEa1k+DK3p7aa/vJHL5hQhvQU08/IEFbf2DzYD90N9z3Nh4cVAa6+ZqAkPivEK2EjFWHfoXcjpVMlMxzmkTft7Dif9NbafNYJQ8YIkLXRwEYtr19VmRQAcx+Hp0eW3Mgk5YXofUX5yWOTKo1T7yoB69dgBWnTc9IBd8LNc9Qdb0QPsItrbgwTSueSFS+GPILisSfdH1agj+v8QGYGLW5UyqvuYxO5kKMJYKcRgrt0/A6IDuXcFhBjtf6Cb1wpaQ5kfZdwYsNNyOe1wIr4S1Guj0T1CSa/h74HSxiDBAY5JBechttjM+RNABoBqJqhuQPrjgsuYtSTQyD7U3f1TUWvn+nVYXygtb9xH7RW8KHPbl0aAUWc3TjhdUfuE7iJCzysOBaTni8Du9LxB5lO/cHQnPztAyf8Dcsy2c1n4N4QXKdFPZxlDbnwZcyPNOG2cwAoO9p4XVLwkH5KcQ1q4q7nh6QV6f/1J2EA53wEqLOSTT3HKUgSmHTqcaSizQ+XybzYCqEvjfXlc0MYV/Zz/FAcgwfnsZ0Tb/aPZLDwHOQ0LsPG3PWxxvSZqb4ZBC3h189jdBGH1125qjPMGiQb8bfxWhQ7Q01RsOLrNQlJx6uoPnyZtvH+qRlUdWTmyLrZO0IM6gWYEMaEDNVfuS+Zb2sLY8551fa+oxB5ZciPkFb3DaVBU/s10tSEZe8qDeK6E5/EQWZKZt/2N8aA2/OM6r/sPtW32L+eewbCoFZn/1Axl5eoU2pEsx89LCtksGWvC0uEoivqqaVBryPbHyIowrYg+hoekSmlh69Y+dUfgzn5neDVUzNWhFxwHc4MTRu0XLK37h6kJBI/KrfGYSWHBWTcGm6gnZ9NV3gq21lRTld349KfUbtSuG3x13iWeGHZfehWYoxEVVrWmir6aw5dOndowLU7ZRfcCPpZ8fhzQHqY0Bp2DY1kOlOs+vc2DKtE0YqW6r6HBbyayNEVUw0O2Ex9HSgudwhbbRpVOfQEINarROqPm7ZkNLnYXeTdT1wP9Dkr2/W7Q7kAWLBKC60t1nWTaxIE2Pka3StK8SCf+syFiLTMb0y0DNE8zqwcuzBxa7rPyHB90gKjYycJG/ljYC1yKwoRAwOwQ17v2aBtxWoqanXyiDVmt+eF5Z6CcrI/CQEKJGcQx8RBLsWfsH1FOBwPNqQVwutjR7sHzRwJiXdJG2lIzR7gld/clRE6o6fHxpoFLusIqU0T/WfUOPjVPwHC7zRNhS4rEgAWLdFvgA01eg3T+8SlJrT375Iu0YVAHMwF8800/R3uIhoXW9P2YCmqiJbhjA3ygjPklePQg7XZuhFzZ3bHQPfTBjyAayZcLYl32ouksxOjvuqxLDQxb/m4umSVn4ueZ2bB9P49vftfKhQo3L8qbnMC05xEiKD/qt9BseGesLJfq7jF0oyOJimj4z67p8I+3d4MCQAGXNO0KyAOPyJ4OtuCt4jGK+PrwdUADYf9a2Duau3BLIA2mCH/wSHkjWJPbdVKLwntko0V77isbPVVZW6KBpCUrJCf9imu+JQiT5dd6WaRDZ32owPf6X/QZZBV/ShhWIgRj9JdxcL8ToTcEH9f4X7bfAOILNCHfChG7LsvQpQDBAHfBieq0S5H4aiOSIkiVNF05je/4ekx1mXLZsJQuOS3Ne79wIHW4gIB1WsiTj+2rSKPSFK5JhtNy974Mh2CfvZuR4zlO1bSNZRwu+SY7hSbHXSlhosuHVwQhxxj27Fjgi/0h1XtVOsSytjqdTLEH24hONgwioTOYcufqV/8fMy0m+4pVNtiZ0cL7IWIkHdLGuGWM6hZS2XpspJiiz0O2JRjzAdFn0YzMR+CH96/vtJr8Oa7olDVfnxgh4XNeS2SeMbalGR/6rz6r2NkP0sS9fCr0yomyEQYZhcPkx1QtuAYNAiEGqHKmjdvsa/zVMwC9jga6f3e1NXsKFOIYkJys1TcS9rUSQ51N8Y84u+zbhTWgKhNcJ6ZQGu0TazqU/5HBia3gjS16j1t64u2wUuhwT0TBN8JwRKTNgpfHjsdDfEGv7P8l4TEA7SgVyHTwmOsWm/V3YvZSwNZ/IkZus75cldxjIFO6uXwY9vaNdopJTPC8TjAy4YxeF9V1Hh/ykNw/XcytGuRqieaCfDXC5I7meI8dVpNTEWtVgmUj77TKrBbOaazi9kpt2+y0v9NgZDS/9A2NisyULRWXVhAR/leM9PHfzNGeOPDal+UoarrQ4m+uFXZo6ml0R94RaRvW/+rx4O6ZRbRzmNgOIW8mlEUlbawebZpT8GPYFE09+3RvPdeI+nB1LlkZAJ1M7WbqMJj+r7icsMjjbwf7SfliYoGsUPrnoxYc9FmLRkplJspbrtwg0MjE2uvW/XryCUkzYNX3iSPbH0tEEJgtpo9B43WAltqXosp+GGOmwqYkSLxBkZuLdwGWaJegIh/gr4J1QaXmEz1/Pz0lbck4AsPextLaLjO0Oiy/pVszOr8yI7zUdl56LmG33zqsLFmAU21vnH3Zpa+I5oakJHb82ddTJpBQ19sPQ82iTn3wZREt3yz3c/GNAU+xlzYN7scQzs/78GEc2BMxL2q5eoeRJS/67Gfz5DBwt6UXdkr1jxMYrnvHJ0DmqRo5DHWrycz2oczpPGGIt3SBnEtkwmEJ2brRgZaq6DfniHNSBanE0/jUejTViWPfcC5aaUmaeMkpCXQ5aOPmAEhqGf+21HSKuY29Hvr4dWGJudesuPqcgGvDPPFiAFnpHkWf+U6a9QjEZfTYvWOyXKcETaC5VgytSJp9AX0LnkiC46C+M2crNFfhDFs6E3FZ1tWOADT/grjmR+EiRT+JzzDan0pi/yLjd81rbZGKzxCDMTA1fPSYHCd51fc/eztyTDFHlIvLVAqqUILZ5H23OMvuSS5c+mIdIiRMUR8e1+/AnU91uEu+mnbeZF9mfyVlwGeEJkkdcQ11VCjFH3xA1AKUAxRTuZGumaBYEACMSZM0wU/iXkmrTyFC6ruNH2jWZv0Mxo42GpCNPg3qOBK4DUJGoKhTHO+y4Q8xWl47lAotddZqEjW92rNx6oBIa2aUqaPRsIfKQgEfw/WFC5idduE1l/NQJG5lvjy7cyhHUva0oBJCIxr6ovs7CeP7u+d8J8HF37aK2vY0Zfts41tzSps027/ryqKQbpq4gr4Au3h4qUFofydrBEmCI4nPzpVxhQsCCztv2F7Wi2BeVRwbSvK2+Yob1EO8ShQXNDQXboNwjU1HIg1brec1qW2u3MMphfziviwRzjC+VTye8bbj4iU05wOXkw/zMR24yZNXQBCh/6kLXQylYjaWqHrDup9Dc4fZ/Eyn4tArya13c+/DghVa84gB2BrEbba/R7j6FNXNEW6e4rReOlcaYxieno6Icz0JqushIlEIeRrh2uz9ubnXB6ZNedSNXSkDJFrUKn4i7Nzkee/7ouIrhQV6b96cSaj95kEb8/L57srqMzG08UEyz+8fJy7Dn0Pq+U7Cs3mrATyLWpJ7yvaJWSam93wbuc005YVZg+3zsED4fMo6CKtz8TaYcuLLhSvyADcU34FUiI8UQyED/U0ulWdbQL8Ub1w/4Z3RSanFxCB40AVXUo4ks7pOCCXEkRSfN6SsXYHynbDLYhs60wzYdImYFnqjvUdvn5D8eRrD+mCGEmL6e0isP4j052gh3m1AyFBRN23tStDnJUHwor5k5EncZbiBr64+1IPxtu30jJsMrAtatD/Fk9My1XpeldTbRGf4ZR4eabwIRr1mdr2iI/oKxkJkY0Y6npCexnVLODJWbCZQTOSKayLYYyCH9DjHA1l4DzE/t1bDUxVnxVAndPI8AFQGGFeZ+3p+oCR6xWHJbdAARveSvjfNlugJOHJjmVDaibacUjFedfjJsU4s9fhFz0NGUJTeESCHAWQQNWVnW98oEaHcXtonENH1KPDxQhsaJEzqtYo0Ux42SguZPjosD2Bpcf0CjxVtaS/2+j8AwjlrT795qCi9+pEFC42+jAU23vNDaNAoxMsw9FwXLyGg1VxRf73kEdFl1s03v9HVLoqfYvAWkpDspQ5S4herViiKiQ6qSXaZPaSfteYVfzzFweXRrJNeDCzcGy5nViWBBviBBqxEXfkqVstVsoR3NauPJMjMxUAdSsgeGdJVPoWyEcuXENd+4kKc9krMp1B5UgI8kFZP62yHQjeKSXcepf58qw9p039Sty2Bxr4mGecTQgzmctPlbeFp/iyDKqsaPwdtL5oUfHSmJcXaTxIkRl+V+wkXqeDxT9P0YXpZJRpi/emGfXDKAWsdj8rEiNbrFmbq8tLewzT7H2Yz584/RxXhu07m5u8CaT0VymaQG3SrhNDF/NUSjyMkLcKrk/xIgQX+mnpK6qEy3FGIrXwhoXRu9V/CKzzQUfwSnqP5gjH6RHzH4DLfDvfcbNIJ1CjGM9eRUpZ9lFw41fnTekZoF8WD8Ki6cKFQ9GkdLrxhqFwkYi2pbotd2hDg8BxZc0BdeNTJdjHf+NbjsN4ZbQoTO8UkeEkvDSm45/BJPxxPtA9xTXPMHW7nOzpjGMGFexzxbIkLZCFChu/m85sb/FAflfC/zlAvYEBEpbnxQm7MTbMB04o4lt3LpqH1+Q5AamCCOu0jgEptTfiIufGGxPhW+5srWSWJuudb1q41N8jrGrCsW45tWi3978y0098nPCCE+/TmwuH3PeVTkOF+hEC6Cp/3cGiKm7HkcDAr0klq9q+LazqoGjm145xBhP6prhEoAZ9aZ/ADt9Iimo+S8zlFekvSMwh+b4danH4TosnGn7yuvYsKQa6qcoxckU1oFf11sfcKtq9h+ClJQJ35SJVne6yDluEn1dsD1vbXOnU3xrcZ9ad8hhymI443bpUvvWvSL2H6iZesKAw1+paJKz2laUZgrvG9i5fNJc2KpyMlh5Qg88zXUHIVgE9nKaDQrpnEWMT0k/tdOPJGL1ZWyNvxVmt/BKmC23qXIY1Ct1K+6vhXnqwGAo6o5qfyFhCBgN6u0wvDuJaSoS4xxe6ug5sQuO9W5g5eCvj6TvMDpRw+Ku3ucuYgUM1xr1YustCqVXG81YdVVKOgdrq2sC8qFej/4FdZPwvTZF8XYeIOBuBz3xyEOKSnPhOJFoPRS5yDxuYNmOBRqmdIF2xTcIrVypxyuFSGqyZD9pvr+J0L8IP/ayC/3hie/PcMMKZOiwnF1br6DX2e53pmA7c18p5pWJQmwNsQq7bc2g6JeIG8PJ4QPSaj5XaC5Y7yIKD/ijGl7TAPqishkHRhV5hE6E1nJLUYzHCmoAcKVUeBt2uVLw4uF++ZLWCw9E8e4d8YWWkxOdEj6VAal2kqZz2LFRnosdK9YTpgYgIoVl5LapbCFgR2XLsngrHgjt71nQBYVM9hwqhKWrqaEi5n2ICUR/1BiuIbJWUf55mAZSE2NOoJUuMKRRXWOYqxal1E6/KDDztklqC/wNvI0aV5XhUm6XB4QjsJpRXU1TOgolBzA6JIp6J88T1uTFFn1kyHlZ+y+aRl0joqF3WeNpy/Mssiv6iG0BFE2uPRnVGWlW1Z/+Q/Soo3PI1MlXdVMCLdm3+Ldyjqs0CWvsl8X8p2ZKJKeWQo4sAhKdDvNZpOnpnit9ZsCk1PC4t3qj7dHndtvLGR3e7NnHA0vGwXVEVj3YMFPYGphh6B7AMefbciDR9pZTRjcG+y4NzuUD2F/Z6L2REPOnYyzSSOhMZe/Trw+NFcb+GlgOIhwf/CbiQQnSj4XlZP5VWQ+8LoQb1bJZKbhJ9xpCTX40Kx0c0NeleIGdNbYNAAxgH6OoMJkWdBN276tvTpm8c5+eClfUeRl9bfsJtXxxggjICU5vX6KJ+GlFXYDi4lg/M8QvziT/cwD9vlbi+7xWDocQHKQIXD76h4EUCJnvWtC9JtQ0o6OaVpRQCx0LRL+txOkSPBfunpMaTvrfiNJ9rf8P5xq5q0dtzbB9/n0rHsrduKCBlnF1bBe8pG5y7n7h08R00eJCzMa+01s1HWoW+cj1u6oC46xbQWFbtA5R1EDvG1RvNofQmklK+IFyz2Wp4FXSAZkwfn58oGWii20ByLsp0YzJr1hMLb3dHebCT53X2F27oj6nAdRRZ7JMEDlEeZFwU1NSp1XyBfcwWRF3PCrTeecCiRJYXRNnCGRks4St/mUhq/YGvlbynHwPeZjCxhf+g+eU00JHxRd4obWhdSdh+aurt2KXHT/acz+dIPg7npX2wL3XRzjbzIRvTk9NJwPZ5S4OtEijJOFni1PT9qOwp9JTuEqlwBWcD9K8fkoZ7yipIFRWSl80bdXh630SvPhQVZ5abXpRaE+ogJZZyC5G3AyAfEM1KD5qtqdqJLOaUAxou6/GOuX7oyWtFVQFzC2o3EFr/1IenB7TKzgzVUqk9WlSRwVbjiZx7jL9G0HtoJSUXDB7afwYR2PUmRTNNwAQltUE9GRy5lf+OBg0vxiSccCoL4wifzLFkn9xF5oKi5rrqnM+428fFh/oq9HFwdXuc0oGzl8/ZwICluZQl4N5L87dM6IlCG7UHQIp2aVEBbnqjF+rvrLrY2MpjygGD3jwmwqANy7g8P5IwL6Sa/i5u/O2h7mqEmBhAVLei+HkOwKZtHQQ4HgQBVYIiwgWBD2zS6+MIrW6ZznO8MXBwTuC7ccqdnVBPHFkzZWLgbOdDqNOPSz9MmDEXkIY+CSMLrofno+nhZSkW+/0RdevNkx6hJgohEng+JtXjH1IYvvxTOHFPc36YCCpeslUoUMw9QpVYXDo2pZ+2tiwW/6qoRzxFtZhQoYoR9B2u44xUyyv11zOSMxkgmuy7VPCKWM/tt5jiqFZbZVEbCNn5HzkLONJW9/EDmOh1WNjACQA8GKa/nTzr5udDnqqWLfMO05/If/pc+x6zasHHLx12aLDM+PxxIbBVhV0bk/lY3REHBX3l6zusOEsn4JaX3N7t0bWwNY/q+PN+shEAlTgWhsZH610usxF33wAaDxdSsiELkgxuHI3U82kTuhzxjLfbIAgwjbwg2hERwuZx4ReufxPFBoZh9h9U1LJq6lxMVv0XoCLoeopkFzFIaMECI7gGjZMZR5ZfBL31Sefj57532FCKd2PWy7yRnvZTDaUWAyNuPpdsSqh/ZtFkEwOHeEjkqm+8FC/39ryqwgNhq4glug92aGBZ9a3VWrBQoMPVGK1ciVyv11wLJZjmdgcTUl01wC/mBbyvFb2IoWKr85PWllN1HXSD+ip34oadWomwg5zX1BRrsT+j97WZ40FDwjWcN1Tv6abB0UXqhU7HCgUGbcQgs6RP6lXGyV49RbSOtNvs6gqaWcgXlXadFz2mKAoM9POtvBJdmWlm+kIwC76udGfrDN5iUE6GeCGxK0mrNBZQMY2KerMqRonXGr6nlyTBOSgVKRnWSSSCvqGKsFzmdUQkp2drp+VbVzXi8JabXwky9jMm4+UqOXyHpCs/+Xo7UJoD9nv2UpxNmcIq7vfyktiN1xxaOZsqMpgYvWbMmJ+jK0dX9vLe8fQxPv1RP8NEK4VEowXOnZ2gxUkgc+Szc9+JwY8iywVkx28v6BHRib1oQXTEeVHJvs8Zze9Wdjulpm+MnF6Mlb7ck57FZa6fknTUewSshIk222roh476vLPelEm5+0iIQidRUMkWtmJF7hiuKRQA/6EigK5KM5FamAVjSL3VtaPf1LCLZv8B6pJypIRB5VxESRxBMmsrFqPsEtKFuyYNcFqsFzasvtGeiFR67T26cREyI+9PrG/1O1+CJpq8W6l7wBczTM8srv52gVaafgtjZXUbWvGO6zPerx8ciqnhpwnWEVwjoNaXZ01cECxLZrrkdX08dqlpCPhUuaC3bYk3U9tHxOgShb4JdFNdXbVgCAegab6RBNKqSTaVAP5c5JYrZoLfAz4+0GBHoyz/yzCkq6y7+/gfU/KunVIoYeA34LyyY4xztnT+obSZw2uTGcjRX93ew11oaC/6YeXFWnDMX7phSDOkwJo9JvjD7UjwaF+4zjFbxej8JZq2BJ1pGw3RFK1VMBaWyNWYYBe4CJpPJR8L7K3JnCdnPj6HbfXCNm28Wx4W6n4XIexfL0SDl52ggTwD4uFugEaYenogmM21ks/PArxXXkpBdzJTfyMxYejQ1+xMlrJU6a3aPt2tJ4YpMLwTTsQjnPVUDh3Nrawo0OQgFGE4JCp+e/yDK+R3WSMcFmbwKj3jUB+0cqJ/MfrNpvcXTVw8aRmHGm2yYvnHlrygWZBx274177YkByXDk4L7UfeoNsiTb07M0SwDRw2xH2nOi0sFltOLTrgnEZUMkhh4QcQL3hwUDPdvYhT+DrAd6JJDpfnLYCjDnoyZBv644K1E35k0o2+4gsofjZXtd5icgN7XGw/R3DHV5eMSw6sHxS/ahT1rJBrAj+hcrdm/JEhZw2bCOnziIAIOb5dgr/yXTZfr2IE3+ts+zA//rcaKNekog3UtpwLj/zY1wnkoiISXU+z7cp/PnnEZ9cq6wHogzxtqXT0qI9eI1DmaavNTyh2DspwBwKf6NFZ7xXbgM2/TYUVmJqMMiYVx2oqjOQjrJYbCLfphGKFwduIcMd+iHnvdfm1IePdD9jwBV4QnFJFvkdAO21JuQmdmlH6llpw5XQJ9wfxBTiWHBKHLFgpByGShTcA0kzBkLZ9S8FI9fmmWq1dUBX6YHmrbdMR3a7CnLy03g3XZIHBYij/t/b5Yv0ccEuX7yuDUeznspvcCncKmAZZv36KZtlsOMlXBBrFiAr0mfecivprl1ZW1qNEvee4buvlOCQ8ILdaFN6s0qT8/ym5DCwxUz7dIZfye8DLemMU/ZN97KLK7iXgyo1sDhn4F/BsjfdJykbh0BeUBOgj+tAjh/h2YUMjlIIe2cjWZWLFkm1bCXxHhNtQV8vGyOS8c7y2NTcbZlAqQQ5ZEB7qpvTYDOG5RtCBZA/mOrr8IfYdKwA2KYM8WxPUFDL6n+gHsuJvWVUWfl/3RRnW76KgYlzphpFKSM+GjPUSvq9vOY5Cgn9WosamYpSYeCAYGNMZyQaF+S0hDYbMubBD1XyXV8r0GsbcKIa1PoCQ9ZNQDIiQgp96wALUaTa1G5+m8ZRjOG953J9OJhHYtwGcfhtZ6OzCohdPAVMdVpLgwGPryMTBuv0+OWPIt7DeRz0a8wll2Dti2vsRZ1LmLymRDtW7L1c8gKTAziprVenuruXohfgfOqDp9ro4sq01vd1HTV8Wfj352iiGk19h1A4BBL7GsdRknmQZyYy+lO2WHVjwkPQgYyN+3Bak1Nn+8LK0CigjpQqnpDj2LYGXozrKHMS8iZnhGmPZgyDTJ35a79hfw1+SrqnTvh46ITAU38d++842aPv3syBmasmDj7ik+Jiij5b///KOnUbNbpRsxNNlkSsFwrF7m6/9plj0lzP/xA+27K/CBIGIDsGZ0wPXJEBd9sKnUBQ2NJivwixG/I2dkf+MiVHpMgxwc/j7YXQOnN3xqQju3UwIfO43Gm4IjWEhKB57a6hwpwyV5Wvk1pfTsHDU+9ORz+70o3411pkaJoXV1Sr5BgtLMJ/xWeP641aOJWlX7xpiXCbFM1o4GVmnrWl9BYQLQRhXwyiecktPAV4RX6RH9zEQYWP/jMzOS8hOCiE++QP7jNSAS2hlVykWk0J86sXfvwJB+A9crRw3umqnHc4RW2eJeeFGG7VLsu5Ld5zCskVGfAurBZrDWdNIUwUZeccEwhNReG5XGhqEDW+hBKbBntW4UXa2YcZyABK2mRYh3Dmy6YGM57EE7f4AfnbG92cHqvbtOMVRJeY+JY8ZOke/MZdItpSCPIk7kXzVKc6CE+srxYygFzTBHxffua0uF71u+dPBhZzpGLB0Ar2TzTOcxdL8vQQM5T45XPIqHTnP2NyThilKI+82yrlfoHoRgO9EYHSq45nIX00fBAF1lW2r1uYeEfr3mIjGfQY+hGr9asYkYhKPma9zs1eQCDyqWVDpLSYiHM7PsfyjLjrkq4Qzlt0qe+SMDby5jw1Cu2OAepAvuPntaULv4ybDeCgOFzk9/WYryBxgFD7D+6BikaD2/0oWC5L0A009vhgKmnUD+ZvQi/jkUg6whDYjievnDOk+0B9+bdH6TspYf3ChXPT2PI/nh+jladRbgYD6xQPJBioy0SWQAs/yNKWpzsN2BrkItmO1tONp3Fs9o20nF9sg3oP8Fha3atISON7TW1sx3IOTpgl/9Zmias/QJ1Qjgqv+wqDZgEEhyKNKPlAtptreKNQzkAeHYCMcXiZtdLhCJKLjKhVXJCGK/rvXhF85qUiZqJPLxFf62nId1s1kq5+ZPHoUdonsov812axK16VIfMSfD/VtqhdejwTCMT+eIiax/RJk49S9V7xR52IEpC6MMyLXbPvltHpFbYP1TzV61+KcjIF9UqnjfWyvSavaG6leucOV0QgZxmNIhaKjLX24u4eAINidi6jiTXnH342J0NAIg3PKx6egDp0dNykSpMw8HRlI17WFVp2PoaIgkpHLzoesjyQXoJ4mAuicgZaDttsQbUjAbLH85n4cBHfpAt0XMKdhEFBtTT2TYsbsXT4dr2rbO7w05s+972ODqoCi0HPA79ohYJ3+E344tQ7pRZ2DF9VWyB8O67fY0+lgnKGb3KIIijtImna+WX9SggM4SN8m9pt0EMPLNz+KUapie5/L3XfivxI0nAGE7abKBzLw1ot3r1DEuoqeaECydjgArho0dpvjn3EPwjHVnL8kpGLhPcENKCFIHKKkfqejDCF+6NB2WcrUOzVsbOz1CSPOLFGFEu/LUO4uxonL32ibBN555MMlE9d4RkgNE5XJFljRNTWnzqSYIDIEgvpsAZNB/Ss+gSiTbvpSIOWUNZax/EtArkcaqsPwIEsPAeTY+UK2jWeW0+8CF8quYIyWJEP5yFPXeVFt1HJkx2BH/ppMmIjcxCJUtXam5ak4VjeFkhkO6LNerBUpWDOeySQpxyERgBIVwoLAKMe94syl7+nOGS1WxAEyu3fZLqZQx4iTydmQy4gicjjB63Wgcp9aykCoLLAHOcm1iYYysLVf3hAPZoC9ygXC5fZEy1y+QwSZsv+aI4WSNhKZqV8E4IiACLI18BKTnx7YEe+WimXQc+mZdHFGcwGXITF/0BcH4r0MLi2d5cwv6bdVmQozo2CvmWm1a4DxNGiKSPjAit4GQtiOdXv2D0HszQTqarwk/TevGVpynUGFrlOjTBPn2U9SipFsRoHTpAQ/AVRpU66Q3OcXBin/gDM6GiPCIKaUWg/jqT/Lfg7irlCEyPopHtWhwxIm9eYXaQguG5Yx5ojXG+75zfOihaL6Zms0aDuKGqVNKNNtO/97XDCl5wdQ/O2SG9C/JVgxGq+X8LO0dVFYl1BWvRV6OGhY/FRvPbly++uqvUas5Tq2kdi5Qe/mQ8B+Fdvim5wVrboMsQ1tJuiiDrTt4J2kISDTGgSme5S+S+wOA/Oz7HLRf7FSqs8YEzxtBn1QZr7h5AyNumzsNj54gE3oXuJZ2OsvTjebSJxctA4ez/RrquZ18vSzk6GgGWWWWUKW46JXqD4RpxjbWK90bXzOlxNnEpQ+29jf+CPksfvldYKVLmtx4ByBpMVqMCTO+9aWdZlS60W5iMlxTMwuncbRXMfauTPteEnHjsYU1X/UiwQ2gBDLmaLTU/rj8TMkjBmn+20puCb7RpTqUDRCgrR7qgt9LjlBpNmtyOsrRkO4yHcNbeEX5TeE8JBYTIj/PeLe2FQ0RlvDki3IsF27LReQL5R1fv/2CwUHZ6nhzVmtML0VVuaCKVpuqU+pNa717G0HLZrA7+pHBf8X/YG1onW8dSq2v6W5TFqKCuA1t/aH7uryDGy9Vv5MYjU/lNCiS+ZcMkKYYvFLlycm6tquTeDsmPINa3gOXWjK9a5gqj9cUD490krVrVPNAdSdbi7lCft46SLFk0EWmfTaBlRQL6e1Dg055pRx3ad9LvkXk+NgURFi0bT1SVOVZx/hWw2kfmBw4QvBgTbRT1kGGO9XsEcocMgWc5ANLzXAQ+4J3foYs2/OfOVQuEO0P/JbsUT/cRYDqX+zuvwHt93QEZ1mHJsUAiR63n2P7PWiaxeeFGTc5VKcOpInbKDRXDcdzINdxe6n8FJlKVC41bQdp22Itxf2lSnohGt9zrl4i3c/QCbt4hRyFEg0SCEOa2V5o9JV0Q6f/lQhS0oR4ocjS/B6Tm/wO0Y0+i0EJBhZACVW0POboyaFPzeP6CkCSS3W993w2h6IvY2a+YF1omPjFqItTNvGIyvuE6VWOOZiVOhQiuVBJsyQvHKHtz0QmCqbMm8tclDoAahflY2jXC6+qK40UpkxZrLckuIElmYB63WxCxE2hJSb8JCki+HrLjU5nGNgbmNrvvt0RB5caK1624aTH4qodKhtQYTd7v5X4sxoNOFatpLPyaiPcV/hpk9uBpFgSenSNeLufeaRqKCbYtGQhbB+Pih5U0faMWjT0+jncLYxiIgiH01JAmRbs4k7mOCRTKFB9BoFN17e3IjUs9FhaUzr/GEmg93ozlUGKWLnC8r3sOVCxTfBya1xC8mc5SvKpBeCK6WYx4V0TfTCMXf0K5YQGUxjOsAbAHM+ylzUg+19gt/B5hj2FvfhmWTmwsS35HEPYsSVFabONVhiLRRJGqmWFVfgwECJRjq11YXcO4IxXbgQeWgQi8MQKZ7iRut6DZthWqgl8pHtzeryZz4sggYIT656QdWWiTZl6WAsnNG7e8D/XhJ4DB8A5gaB54JuU54yX9huvTprHTolm3SFbj2WSv/EK/rJR/iZHqO8zJTCm/Iq5EMJluT0Yg21VVAZkQ8yL6hf47ZD+C4E95TEle4IDFEnG1+VVHs5MHlQiQBTQqPcESbGQR20gNukzfWH3QBgDVVHo271zbkIaHAJHUajaRq94sBSFlFg7jpRU0zYJ/Ll+3nPlYvQs+zUg2OP/HCA5uAixXzVUsx9TG/D29dRgKQcT5FxgttgRn5Hiv1ivPOjj3wgRtHgScRDtyVbhJZyB6kyiPK3Di8cM9uKdqqgQFzcBTeKoOWgwZGL2+U03CspMy38MPmnhicoe58u7J9bBa/lo3JY9rMj10aEK0yKBQOq8snFRVPwYnDGzcoxw95qL7Jix/R1e9UkjZ8w5QebTSx5AShvMUpri5vswrvLIt/oxz//s1pT4mBCAiytgo/R5sldeRaGzl9Zjk3/LtPSHf+M6JI/xcn7CWN0ZBb5qUKzcS3Y+TzCL1ssS1d7Xc9psy7/LoHVsFPB3tqbsBVyXdrm10TWXwXVb5pVVXrL8p+1hheEiU057+AbKftxvkF4nmHWjy5kKy5nkD59OyRxIpqHRcYU7ao7IThYSl+y20HJjiGmwRj+pu1JXzXeF/IpxXbNlyHQ/Gt/uUK9OkFKg63KWxC+T8vH9LdEk91hlmgY2efkXP/zcsMiUv/hGD6DEu+uKdKMnxVZGHf2ZVbf9lACOigmvXJCXDtLZuz+k2R8ST+0Ei1vlryfT38duvAgyHJ7LmrkBPUtwiDKjsfdEVUrYU6GM1i86kYWqH/+d72LVf75EojGVJTjCP8GjPqr3ZpDccm+denEGMHTOsnFiRnGfl5DYsJC9cIlEY0MM8IeBHbZL83yGR4FHW9HOFt06y7s0y3xSWcT1YiH04tGxCbd8eRNfOYbB6mxeCSHTLBkEK3EqqL2Y3tIBA/9hf97b8NGKokdmxQOEctbZC1JqH51yr1A3bXnjSkj2D6IcwaaZK920EdfR2p8hCNFwCVmfBkEwKWxx09wVkTODdFG3pop6q0w0u4bmp1/UR2xTyKVO32bpZ5j1Am09Mut24A6BRW02vCdFIBO9m171r5KypjwksVBAFK7oLZA+xJUrrMszYrgxE1n2wa19DTJgWXSgWYDgjhaGpn1ylRLxfdLcelMsVltSivvTJyz3kzaQw81IfW4/2aJH3v4jIp/QjAcIAXCoW80PkLEXWdko5hhiVOdD2kDeoNI/1i1WK2Kr7gnmaG7GEG9YgwSm4MbXU09iTsRfZoBX9mKoDMX4FYV65LHAfQLmPDbK1EA3a+8PEYW2b8ioYsdRJEGgJSRynioPqg4K78tRR1hduyzFzowoYn2NxBxwZWAA7cLVzhluizqBVy0gAze8YMSTgcZFVaiTtsRGP61lRkhA5Xy11mdrHponhbTRYotOB2VVBVsLX4UArDiCFIRPlKKyHXjtSc2vXG9s2OyYtN9KUnVVykdo19iBwtPKeSFKM52KQkXEdbrn/5+I+tPpobmW6+zFk9l9jhwNCXyPJ4ffVPCCrmU7iDtoiHACUCIubWgxkLvmw+CdLiM3betIw7mGsoFpQBGsPuauFgmzye9qnxJej3TaiWNFgLqsFez7HPd8q+ah4fteJbpEssp3xaE+hM8r6jOumKcOleIbiGRWNzVakKt+MhQViY2hF7S6i8/qUfQWP2irBNH+2019dhvFCl+SDZxHlZRbk/PgvzCMEO6zh3EZlcf9G4Zt/aa7twb+PK13HbqfVSqXyVrQCs1VqlRqHUvJx2J3ZosUP6QkCPebEfvd7J3QMLJu/9x8Fl6PcbyVv6VAWp8nmAKD/un1+gDJ5zK16CzYIW02Lt79EX/uMobBJHfV6NYtq1X4xx2RNcmrdKuCB9Mp1M0YRk5QJTbaENSRVimQhYG8ttX5Ffl5HOaJH85um8fgYmsrvMccE0riMG6G4nbEWzdHxc892U19jXHNXdNYsjIdjzGxquo+MEUdhcZCoGnpXL44kVo14rvT4zvK4GejPAcMXiSmN0Rq3OhtmywXal+PP6e1P+FzYdv3O1A5jnXdgntsR4oz8RJEOnzy4CwDnEwPx/YdqaMRfp27Q2Lvlkcl828K53I+paelJOONnxEXxSup1xj+Sywp9LUHfKo/w7zUDt/rgfdCcpDIei5YNtEUMYqKPVLEXyPbwY3O0gyJkSSq9he4AehqfcG+NJxabuFokV8H6SLHwgS9NyI1iCDFJ3rLCqQMWJbzOMQw78K+udbFCQG2a98+JzaF9CeyyyX3OXfbwhJBXkyXNg4W0gwoEWpSDhi65mMMlVOJO8nSc2Amej9C4Cfnc04tD4C5fIPTE+EVLd4H2pFHY0kiWSYn1dM/7o7dEK2F0YRcRBUOxGQAUMY9IZtCvsYmjTXucM//eGsjPqEDAfqhfDgNBAF4h16I59tGVER802F04/69O7aw+NQvlsO/N07zmjujRNEon2nwO5jpD2onEKBfIM7btOPG3k7neKkbGpziLKetb1z4Y6PyRbic6XvTNUl3nJ/2gOS3SFtDfz2WF/w27PsOmMEFoJImPI4Ww0Q3KhswJN/R3Lw2+9YhNWsy3TCiycv6cqpufmhNM4Fxcce6VCts59qrXaEwXT85ChN020blDZiAxtn+I1iKLb+W1jwHoTNZVU5KxnatV0CG7s+3K9nrmYME8UNllPMSzCMAZ3x0A/8ZjKc1n1qlEVvEcEkjI0jwGmx6EfKFqIaY3dBokS+FxaH3uY2wdIeG7DuG3Cai4s3ZDOz9Kve28amIo0HGiGKNU3jxpKFmCTXLEH9Q6VtwBr7Q989YX+EQASzJ2M4KQi6r9daWlssh17zJLniLR3adcVSPYz2HUQ1bJ9m6lfE4qZSJxOy+OvtLI/knQ2Fm29ujAnWsfm2PbZKSPY9B5FmUuggsy5SFVrOYQfFpR1padmI47Jz/eBo0bbIIHObASug4QiOiojQXqol+FHYSD5wkx1CD+QlhVbY0tOb5PuU9JBYd3Fv5/KwB0oVYaJMPoS55Gd3Z/a/EN2qSoi8q/q2lG1e5D0OYq4yhHVZ5Ddro1VwNe8gmH0pq8o6EDKis8WTLJ+sIYNx1xLKm0jNdqRr0AupDRuPGunuVkqI+V5MEBvTKRrt0+0pk2sAInMDgF0L8bzxSCd8jE7X7u43rKQYGHovr/3mopHHJm9LT0OQcGeleJgPjE9dh+1lBHMseK+u8WuX284QtWQ3KT6iCVMr15GiHoGhRTF6IDel0QmTWU4PPCUai5SKBuGJ4MAsg2LclHY5cuq3Ej22WXjHLS1RBlpFT6txegTUKxt9Pk68OB5KLXJmX5PXyLy7z8aRzBlVyACcqixgtutroZXGamZCakwyba5crYaYwPREXWgwci2J60AT7YqEl2FOC9mnIGUCfi1YLGx/bJfrkKU8lazqH6lQHVZMX/gMck1zwbwGT1rehmEDTLb5XPAF25bi3rDSSJE9gb/4bD+NFFuaq7kIzCWZ/nz1mCEG7db8536GhSo/qaWYQhqdIyCnj/WHymDbS7g6bqqoxkwd234x8b1yBDVRsIJ85JYutLLvQEieGkEvg1tEKbD+N/x2TJk/RMZuRz7OM97McN/azboSZ5DnSJlty2Tqds2iXuzFSB1cdtPpuLSvloGrBfpOpC4tlBTUXkY3HziRpu9HFh8vLfIDcUCofH9wTmMAo4euI6L6eieItSl6DP1Vq8VmyFz1gikbmIcemtxGqcYnzDKzoEprM+p9vU5jcnsTY0eCyjAhHtuedX7r3FstTckFit20vYdKmZBtuI70davs++Z0gEnBip0DNmvGbiMShVhEQCzqPQ8SW56JfwFwj34cjv/g+nIiQ30fXb68KsFccws/+UO9LquBZkR8ZixztmowcjnZpbr0iXXOGFm8AM4g0cnb5yFA3guXJ8HGcdJKeeuPkTsKIeDmM5kR2LXbiihnpBZviMNWEKHBZAnUCr448kCTO0BoICmz1DM0YWFH0PuORguVg7D0/J/kmSXyRhuuSI2DuQFih0pYD/nwJ4c73m59rrsVlbXVGymjVTsPy9IpDJBj4opiFoJHAAFfpg/OQly5yrVx2wIhZWEghnkLxHI7M6eVr+fbSHoCzUgdel+oryvD1eqXDwlXf4RBzjQJXeJleD7hj2HjSsPj17aMbnVIuDiftq4/WYBC/0Exh2bzd+BTykWwK4rALAE9VcUmDQMNN7Hu+8l/5lHFMXT/Eeg31lPM4Ec/hyHMPruPxQTp3jnl5OzjNWVc87gfWQbX45779O75WKbpY2rkgvIPvcoF68FpjzR6WfmDPh5mJQ/S0vowXa3/XeIzNi9z13+UyAxHEP1uBfGx3K6ktpxTgzdMYc/cfOeA4M6nZXEZNCeF/IV9g9IRdgPvh9vRoPwIHr0Doh9e3hseQbL7P9u8QWQ2PWfbUCD1txh7aZhUjniQ+acanifRoPl53dxYOJbyL11YA8sbF34Ax7ZPnn/tQ1hzNu0XOZKTl/4nMYutCPZvXs+fOwPUCriQUxmKE42GkFTfdolTAaJxLQi09f/MAgtSlSglXVulyCMLUqrAQE2OQ9OzIiZLXX0luj/Ffx6LzdUKChnYvup01+RW4B44TTYyuAeychYScehMQxiXNIUr4xghEi2kWd5IeQ921tsK4UeRwHeBQnGk0Xu+z4G8zmWr2LeKNXoGgUipm26OSSSLYLIODn6zvx0VHWVPXDT5CW737PFuwcLBfT5tQ/4rZP0pkXvQE3PCsi1Aba/zFBp+knvQlcRwThRHhfJEs0MMV4MZakqn77U/BwM9Ee5tKb8GfF5OiIzpelWRkG1JcoMP/b1VEzCQAbv1NJWAeu0/DRUt8K+cRR4L6cpOTNQpmaoh2GNDF1c1Jp9VHvDh7v26cdRb//5JFi/cY4cK1Jyr+G3EaXf/aSjJOGU3F34cSYWIsP5uZB99GMWW8JrOd7z+UU4sl+V5DnHcV25O+5ci7mLsYP17nOHJ9rYhCkxPTrmqPsVcZjT0ha5B+snLG9t/TX3aHz2QpFGtoXvfDxQsPkasOp0MhMY7JkqGQIhTxB0jOxv/t8PF+0zkz64E+QKQnBMPTeMhFYPlje1dVIN0V/bmmdxs0TJ1tmziUK02EttS9ZbFCeUg3CvLXe0sJb09UAT1E2X8Hztk219Tg5FcoD4tVgO6fRIw+rIxGRpYMXDk/R8Dmh6W7bscJFCMT4uGteDsKWb8t1BHln6cjtH/Skt0YS3XLIHSq0NLazySWFaag2UcZGtw6FNoRMYbuITn7+z46V6ynYQyb6QtqL88OAFwWtZVTXxUHF8OdDON852aQKvdomaQC0ZRKXzOB8SyGB/FuF6Fe/onv/xmjpiU6gGZKBSpY7/JTLd/L9LGdqab3PMesfUPpNglbPXcJVmMf3NYZABLIkpHLIpyLYbeiMRG/R4O9H/s1U4trQXU5OC4lre7ln/hapCvTIWPCBj33SM+1HOPgCybGR2h/mnYVoqQudeJKHzSpt9mvKQEopgWQj4ZFdusc3M0ZBEtPH5zNOK56nnmXjG9/R+M4rEMBIs/lLMEcth7w+YILWupD9FpQRoO/EoJqZSYgpII5x1EN70WtvrST+HzqgjKxECb37cV041ZY+Tt7Sy46nycaKROMI4c845ol/ihEqexjAbQa/NnW2XQ+OKFSc9eVf+ZLhSYpt9WFSe5sOysJN5nQgsEvXtHXfuGt95gOhrSTXPcXuNW6HbmuagnVTbnN3AzzL2xGLJAhZv3u1CKPjOMEFMGme8vzvQYwY7d/Li2wK/0HkihUpTR+hTD+vR4Y3wkXjWaZdY7ZFLhnagd28aQ4P/1ai45MzNIh0ZvhMhnlYJ5ZNMOx3C8LgbWkeeptgfN3ncQkkBYuetm/LdM2bL5DCMNQzhIGMXh0DquiEReBaM+MCZBTdfiOGe1oI54bbLm0RXHDDVAvCPXkHcEGapa0U+7eesetRl6rVsKjKTU5QsannokH6ZxwzfOeOFWp6ltqJMT4KL0/5p7t4wi2De/xqSwC+5D5oFLaEExHwf/sN4x9QhXI83vq3g95LhccEaUzWqtZblz3d//tgmJ+NJJs6GECjn2+mW9gam20PZuBVdXutZ4QEntdQ3dlz6tP9CNsvNf9vwN3+McDbpeG3qliJqaTJUOMJFGkC+EFTjOVOQ0zM5aSBVjEO0Jh25zL3cMwhOgAgsRMwHFMArEgxgh01Z5smxMP1ePv4ReFSMJXoPrly5bnsEzGtQYs2N5d4v5P0iQw/t13hx4Os9D6Jpf2uy4czJVQTNFrpeLZT4e+iLn7Bt53a52ZoS926XTt4lHuOD6XhQXtq0u/1MWEfPpwN5SyrpFExsercp3oaR4VNYDn6JBFhmRl/J14bGjW3V2jjLxrgiPt23/vgf/P4SVJ13wrAfUUuXbOEpF8/2Z4Eq16fQGmY5wchbzByWolZfpJ6x+7+mq3NjpTEGsgjwVxxs6nIx8EGuaVQ/KRSC4sHXbLyfAOIkmns7Eg2cuEWHY1Rjkn6h9QBO6BEnZdlg8GhZJOYWtSqsRi1a9J23ZQZbfm/5PLyJKUsVNOPaW8lPzK6+5XTz+Gnr8EmfjmuN0lCUOb9zxaOn0gvGTx6Q8w+VUCzOPRUyUv/LNNhnDMnanF14ESExWxkrYZ/cG0S/Dh/HWMM2MKnMrYsRuHfd6e6l0DGjO5SDtK6JvQPHa+6gkdSWYW2WGFU70atWtnobO0yWEf17CGlcozzgxSgU9PmnZWMz7rgVB+pNjW4PADZeZI+J1mVbOEjAX3yKnVhudFamY1wb/o2CQXYuTCJPSSY79M595lkuitQC272jCzjSsGWN4197r5Vet9BnXB2gvIvJYUR1zVWlKhO/0bb2ByFrdnpUI7wwAHRAFO2GG/rfdqeskAA57yfZM1P2qbX00W0VvPi44ZPqndMrr0ze1geBSy7TMn1rE6IJ2Q/AitNICm/d+abwEU7Tvn6gRF1xerjrSDe5LdjinBEcwK9DJ5pJ6Sn3v7QYVVez1oVfLvkr0D/WQfWehI3asFQVry29SuDp0/EG3w6rxQcgjBbRU/M4bmn9ujsqMHK9X6pPNtmrWOLG890S1pnU58Po42keOCZ6xiJI5cFLnZQH/VzRweZtynfIwKeuiCct/CK2ZaS55Pf9F44DaIy8XxBolhDMka79vcoPjc3oea+v1dlR621o79pjxSZWn9joGarGfHDvBhj8Na6Ks+ZvZ2ZP/m0VEBdeknm+HNpX8Q+zpMW0GqwIbftgdoJnUAMYY9uWXEK390udw7hkyOx2F39tdMp35KGqM1il+JQkHv3t6v/ai1Mf3a/iZft0Z4x1Vw3NxES/DEG1iP64cP1pBQi0aL8zQtKgfsrnkv04IuFy/1I4zpNy6Q1osYZ+mbeediOc+a7zuM1brNxFPa5bJqjjP5C/rGuUp9o1dWWFLpchQgH7oPzTXpdl6ogeQm3CykXEWP+UEkpQY7YetLau7aHJjRPKyDD0g0uJpxDY3eElorDNk/yJ5NVcIySBxhMUIkvQ6uRo1NJwFgapjo5qAIKy1pPRCHxdlZ4oUESHpm8fMT+09ffvUJhBEhLFI611PSd9SdkbcLg0kQGiemog2KnXAXYkWy1cS75OGNyKtCmi9NR4xJeg0JSf5Yyuhxi/T4LCWvl7ruKNbhfRhLRYEo+/oPBSw2xrz8NtCY1a+i8Bvswfczek6Pe66MSCPOsftwnpnFUov2Mp9pr0tgk/ApCqh4Njm5jb2x2+iFwMWDN0S6LluMovKSdaXvMOdC5JgrfyK0vM0LElv/7Uu1Am55hEK5MKEdY26IJ2glZScSFtPtDIEne0pnrFtFtuEvjWTnxmwT11edkqqFi+BClK+GoO+70D8EAK4SdyX4ImWZ0onBbsTc6fisTPbt7NShL0l84P/jIB1/sA1wQpxNJ5kfAXTMghfrZ8uDgcUajiq1jzzyppPzGe8Rn6wXjIFqGgU8N9v2wlk8KgilL6j6EQG7WXmzGQLCTOKgbUtS7MnAhH3d9U0BdFxEid+wjfK71JLe2RDVPRSIuRa9t2WSYQtOY/PIn+6JhIDwgN1x5I01eYRRNS0phci/qZHTs6zFLLv1ivL0ccxGNTCbZpCdrNNQ7eLdo3fgrE8KwbSzdBFYFAmIFvhD17+amImgTzZO60BLcqd9rIToWhScQoKGanBeFMjXZVqx4amQD4I45QqIboe2+dzNkRm0iJKjsbgyVLZFVP3YpVMLK9ZxNqETK0TDBgqHszUj0gbgN/diKdPUjN0TyHQMRbVn4EyGwMKQYVn6eHxZET8ze9QQVpEUJ+MjwB84bBIyrIcjIs6XVJNlf92RIO8XbHtZQUBim+kH9eh83XyqFhmpqc/qj2naAIwD+IADwpFkZCu/7Mn+/0vIpPy4ee9u2/NOqLFF2Z0wWekziDKbnU7IICjUYS+Obz2NXia2yc1GZOus+MYhSZdXZeN4HTiFTra/Af7vnMpIJRmUt+9JGxk1SGKnzzae+15r/LU2XtwcjCKFHO6H2V3Au/ZEMzHUelT6ZBzkkQxm7+Nw+6Om8nqg8Wo1gbEnaTQYYPvoAy5EfJSvT8laNOxtamWp15t8m2t44HhIXlSgdSTp8Esale5RYWbtKF8/EgkxLgyf1YwEKzQA0+1olbyK0jRhz9CYXVIkf4UAoc10dI+KxPf9cPa1uaQG71az+OkXmdofBLvrCEshjdGCVjSqgnFyi7jDhpJssR65T005WTccYpGqZrA7zQX+qU6quKwLI1P6vZDUznIkjgT0AmeYWFA1NohA+W+HG8D/VMdQJ2USznOr8NTcRErpp14evW8E4pkQ8xJ4i1F8eM9vqCPnZixPcafoP+XdAzptRNSGNMWYsJjcUovxTR44eVO69DX+75X+otoalsh7gt5SYas/muRrtOuHuZiaBoQ8Yx0qcdnXgtZLnSdYX/rFbHmBqp9NxoCZoSA4rnJJH1HXbz768/VbcXzGxi2uqY2xntpZZVyFn1apZZqUyV4x0pE8U26f5V+Xh9kOvVERVtzeeeDMLX8U4gmZb3v7hiU0ekJOyyRKaqa1va4P45fYC07rUDiKh8pdyfkofUvR2EBBTfNXQAzCbtgM/Ic4tQ16Ze7Vj5st4Kp9GDZljh9yKOWNejrhShRUvMCksT/OnMBhcRqI0sJoU2cbptXgkF5OAzw/W6ygqHGDZrEpcvam7yv6fl6TKARIguRLUUyCqJ+I9aPIkHborJyMcgnPn/CtykB7czwRaJ7jS78tw2CK61+X0wzBep7jMmUv+AxEC0d4e//G+86LBX1cJg7twCdtIiomVLH3+lOuvZlbA4nRNai7QV5ms5TUZePapopY+/gvnfPCyKufWeNi6DttQujRoLcjUiNEcssDvO3NYWNQySczABP/JYE+w4hYQdy6kKEPXaXkYkLjDFpJyYbx81HppMudfvmo6nMWyWLeHEgKhmvmzqzq0gNiqsk2LoUEorbgQis/WZh2fZitt/Fq6ImW+IT89CVJQFQMwXqhpMRqZldCu5ePuledUHhXldUF3kxa451WC7dBU25VgPKgGKRcLGTArhV6tFa4X7gyDAL/db+NNddoBTr0fOXiOkbJe1Ows3omu1q5CXA8cE4h4Jf/FWr8wJ8pOmhWTL0i15iUeQ5BPIbMFVl/d4UnvxVCVHFjgy4rpOXLmixDdMN32gJcfqm852kc5pOBqjsO97LTCUf5Q77qkKUlzsZWUKl4nl7iC3OgED7ICJAVW5fNnMfBgx59smDxATqz539zb5RQh375AvjOrRhDJsk80V6Vx07jqCA3VGFwcVHMjofftkywq50iqceJKFnbGmVUOu5Zxv0qeFAG+3bS5s7nlLukLXftZshzpFSwK/JHkjWom/DSyaJhLYBJhQNlNpb+k9EkNBE0QMMqWO9/lNba7nZiZeDj/Yj7vvCnojnfwVX2tp2bKPNL7KiR9spSRBXnADiMMssGw63QC0EtFHDpbm7SAqTO00hbGWm3JluCF9WMAXHKi5+NqdvnHLoM30e8E8o2y9E2fqPzaamaiz3QmGo71oMrwzakhOxsBLQ6GRijz5H9D7GQFNqZoRLk9W7B1R64YYtAjISB9WPu8bQhKWsrxekPnGYyFfz8uxo1+ybvtpFTho+Ow0uRCQLOG/YXq2Kw2e9MljZYD58Vm9t2EdRpCZVeJofBViDPSjNfF8xdpS37ARVrFjPrqKZHOjM6cfNB/hIO1DTRlLC5OzV7UbM/Pfbcy7+Xzi+VKsUj02wic14esu6jGmjUmB3+U3zAnDSmBSZWB+YneFCsvoHhkA+cTti9yMS/cV0OwnP0eHBj1ODDaW9513flS7qr2Yfq7Q0NLlhXCcUr5WRvQOTAa7dBKR2eKZ8IBkuBLnAGftGb9wrpU0eY1dZGBx5hehfEcirc+JXgqFfqv6S51vf6tjQcgb44fCUw9o3xEcAjvlIZVNat4jPmZxIRvKWFIMNT78OsA2yXseBeXYvM0+xfjLb8J4ZsEGnHMSIa7PPN6KoAlG/3LwMR0Xhpx3JSzGgE1ft8b0+SEJZyH/QboJPvYDpy5iKS4eQxPlu+1Qahf4EPFg47aWcX/nX3koTkx3Uftob9sWlVESRXbOnfl4Ca26YbHhYoXjdZLKT5MSWgZ/p1pTjjjFK5WBeGCDNQQTzn2qiaokhq74bn4Y1Hf046om27jPLp4B9bCCBi9BNClwNi5wd8via4NZGRpkpdgsz8vMW46Yp4sgQmZgfxICElSHXcUo1DAsAwLcJ5hY5ffhmYHqHrtM59tZfISRTQdJIVcnoLQsJIMnvlh00BGRw7xjDthY5pBtff7Vdv63Yay84eINJDAvxjJs7lzfZlYIc0sUZ4H9cjChmvYVsJnp93uZrPChFawqPvWcFNBag51sc+MV4WjcIon1y3lhByroh9xuyO9Eq6rRHU+mMBonp+4aueczc6N5i9joKSTOrHrak9l9WSfigaase+Gb86xXtx/XhfCphKOP9FwFcyOcEjIEYWJhqIjNxgm3zV+fB9otSUvBJjZaOWtU+i+N6Hsu4vPmHPXWywarvVDW//s3sm534570zeN+HPl6Gxi7mxbpxTsLC3DibFJGiNPPnwogRkGz5lbE66R+5XbHQNvMRjO91YbHIZ0dEJIf3RlyT/gkFBzNEw5z4co4wq6cmX5Gg34nkp47fhJ8rluU6EeazvYkmAQhfBcVe/qnGySEMBC89Gu8IS1yNMI2Sg1dd0roxb8pWw8S3gUOSLLk18YMQOwR1tCBdU8ijakhT89/eSYPJQwzu3KtpwASY3eUw0DLO9qaveduNZCiyb0CQHPIg+WvIy1H3DCsbKQSqfetJ56t6dvJBVFEiNr+BAgA7FpJ8p4x3m0+ZpTTNv8n+kTInS4B/kWD5Zoe6o5f7Q9F4w7DXeDgFXgLqSThlWC7NPig3bDmix/8VHvQ77+Oun6PBRJYl26vS1ZoIEDowSoHyl1RGJqkuFLsmkQJjTVW8LY+7sPqpfnpheE+6z50l/62xXyFFvKDxA+7zuzWanoKNWVZAWTwAnmCpjzImVY/lFS7PsuQqvC9Q5XZ0QyAXbKZbIUkmjfbFbSZlsFiLMKor0hx9NdoWEr/FUuSg71/GwIkVEuIbRdeCHpxfpfk0fXJvyHP3w7AOCRvSMYmX0aOdcsfL/r0yq5nlAyNTRMIuR8dKutUptFoFbCdjcnKt9EGbZMb+7ntwLkVLCvNJc4iITSe9mKJiSA2bsayqG7i4ozu7wfL9BShVT3u1j+EDE8eb41ci24LnCDRPXPW4pXdJ2daDIAhIAuce8hSLCY8cVwoh+FN8axKgdT6pcU0ijqGWNYwh3gyF5PWNZHrSK17mMh6NKZBqgztlwtWs8UY4ECraqaACJj5igi3nXZ1mlSWpgtmCP6SD6dn1778+OVQJkq5eXnMcaVa6bVJDP8KPHCG8Ge37fPCCsqpACFf8g4Om62QyLYmNtEnkgenDsENLnK9EZf7mvvHb7h/ULdw6IDtURRwz9eITpW6dK24HyJCjNkRAG6ZMlq+pF35BbIvyJc3EqrSzPZGf2vshgd/zeTCBbB+gNrRHPUDTo+W+/LzC0og9zc48lzgRGaFlgZD8rJKyMNkEany1tWImTC8efsNuadpZkEt7PEaRJstAa58mlJjWO6Y+83p+0dhw/CTwkun3eBW3ABwMvzT6EjapC00H0cUfLOlUQUqR46SjSKrlbg+LXxrEtigqsVoX85WRKI3UpvWzbezof4pRVikVO0kSrY9bnZql2rGQ+ZLLOjorwCdfPOxD8q7UxNecSzVJnt8k//+ivovRqy0Iw/mgjQjyIqkgaDMMKS7HJdkA46UBSUy/LmBkDoZhYMjvA8B9Hmc3/qi71CxaFDqm3AcfRGRL3n9/TIF78XLcVj3GBW3DCAv9jGOjt4h3BB5BcgC48DI/s3cMX9m5SKeaUlWflACFmiGMvZOydX5Q2rZaaU6L7ylu7jrREjRtdHbSYgf+M+lfbslH3uwSzRvWMv1nB68B+0tcLX+HzoHSjtR62J4cp2oXlTzahzneleuL6bvyBI7byVOlJRo/r5mb75zni1L/Z+EB2sFSBJ2AVJg2p0waVPUT9U7kCpyEKysAhm7RGd6X+rSu+scFsN7V7Z4R1sa5qotO0J8Ew3GtDAsJNllfQJkaZCNMTYwiPvGTdq26INe/zqMDKlpoSllm8NBrUkyNDuBPi5E+8r0ZuNQMFtfDgzrqmFjp4N90Z/n8UY4fpr1EmMAGbt9KIc/73S//6J0GxzoRwu2qAU/cy4OyACiaP5x2oIHnWgsglgpp7AxI7609jPO4XXUl4AFm35Ubmjrs5EXZZfQY7i8KRQS00FLQph+r+x8Bv+45PPUFWyrTFpf8fDPARDDubHahE3AvIS7TRSXOz8QgPfTCENYDKsPgWblDSpkfYhVGyj/iMQ40B+xxSntzTqeU+qadErr9ZDYs+S7vAJ20EJQugZ0/gn+5b22R9KKZjG6iOkrrgIO7VcAGO33o6fMOCjXd33Th7/r4isR/n2RJaT6uUMmtI0ZY+WQ+O9ucZ4d+PGXtfOgwp22MgZiprLDOh9N2rxN7OER8Q5YAa0eawL76p64eW5X4U8Wj+4JHmR8BmtCkZP5p1D4/sY2UVrYOoJQwwSPdpoKHUYqQy7oFXQ1JYGCzpt86l29Ugxsf0BnHBXifWruOTvhHU6R0MC3QdhW2Fwr/Kbt8oM0WTv+ZjAEZd2pcWVkkOT/2vJeNbU7Q2gdp8Un7XWGhT5Dh9TNgEQSw/lEgZprBT+sfSW/WBt97V6VRlw3tjFVALig5Yuc14O57FSbmYcP1zmT4lIQV122HnQY63ZV8yr0K/Ldazr6iuxK+s9IjZ5hDTvcapLyAUBXMN1Rwz4dhA4uUHqjcExYthXwf6iCXAatdXbqba/PiIoKp5kamREMB6nH03Or9MIq/KLNRGIK8h5Sn/PvxM353dvHvwPDLMpGEMXDquBsV75PfP0tQS0fgX4BBzB8jW57D97cAsfLUdJfs0B2sm2h2nGcgJp8l6t/4OU0OM7LQows+ijOkf+8QwHk8eIhLYbvaFdWdXavqp3ze73fTpn16L19Uu8mSKImHRrA3zKc+rDyA1EKs/dO6vgW7R2naLlyZiS3WI/adagBhDoAq2wRhB7k8rSRV2P3weCZKEeE5TwX+/u4QEiI4ecZx03eJpcE/9c1Ue3ApeKXT7c4tFUnHO4Uc3JeHGlJMmKfXNWMG9bJtfOR5L1C9RxciTTU4eFJW/LA3Ojm25hsxaSO4AvL94C0eChHEy9jRz5WVVZr0rvNjcjM/+yW1/Tb6a6pLX4hyp9WEeaW0lpexlCATVilvYSEuo6Khkf/NJEAhN5ccu9klUK8iv0zJkAWGd9zEslIk2G7qbcmv+Q5micZB5hDrx5Wcfoz/ZTnJh2LNA1FcckCRvntwoW6H44xQcY+c5C/eGu9BuT4RNWWTuFRFJLEmP657Mz7SA+NP1Rdzh0gWpOBKaYB/QSe9mU5u1pqqMUp2eNTkWpONH8bqMDMqyceYsajoesZ+28XpjV/9ZRgPpGRXOj/h0QpW1dTBwX7SCNw7SOmLJYx/A/0n/14X8xrrg51EIrsGJSkyVH/mdAULcNP1lPZsVnAK6uaL3/3yAhLFHAXO5QwxvXagJVCuCFkkqucKRrbMMcLM6s9CyJs9YJ9rqzKXiAuf/qAaaDfGJ87DyUJlUiX3Bg2LJBGMzxuUkdxQLWmGPbyatbo+4H1RsmDpTQc7Wc1hll2PBf+TAH+2v1/lkh3TwAQIeBsl0OHQ6VH9YgEH6QffKXMO8CX7aDp4n4niOi4XRmaL/Gdbf9tbYHCclk5mx3dB6nNih6AQSUxqQF802IxAt6a5AcbSnMY1IGNaACYc2HPM37iEBLFjmPS8bhUEhgC9SIHrcZ6mdWfhWxim9nCosI0DPJU97KVxO/uSpNhTzk1lmbY9R662oW+40EuQb5Ajz0mKLEhMrVwcmbLspWOAWNfMeFWMEd+bk2LJFaeBCWN+iFCC24vafKVVTIiyONXUZ9ByRI68cRN9pmoSQ2RwlqvBO+rY90hri6xTzX2u6qDNOptF74XtanBLmSwSbHDgt2ezkwMbbpBkkY93VYs7nepkq0RLYE8FzF0jU30icfXjDNTF9zX+DBTP1OgivPas+RtMeGRWH08i6dI7E+wQlQPb+zJJrpz34r5dwccQLKvBCzhKMsIhnhMUVXYK9iqoee6MmIlm3ZPWZBbV0Cc/+q2/dBCss/w13X0Eed5vt5T433Oy1WpFpwj18gx7rhmz+KC6dbOHF0j9xsEGBXe9AIGKrWliyGkP2SlSipSt50wML/NtXqXVLDPY4cOJUXON1EihgdvacwhlCrsJdKGnESj2P7sBUw9fRsCh9NyFqhDbWsA01uARByHnB/ZoQNupjEpv2WUBAaiNLyw/9+0va77P5YWt3izq1RREg7bYrqEnMc9Lk5tMB9OY/iuzNYDu2sltD19+efZ1ERGI+PiJLmhU825Uw8D2p694EycIsxFKvgzTcFGTtZtasiaZgAQSWw3dC2KK3vuEJvnPEwODbJBoShsqdvObXkUpkKvEfH0hKGXYvhbUa5LRSVdNvCAnD7BPagpkwHMT1kEwrfYmJmfVuwhcZXONNXsI44Z/gRSKJoztJHZKLuKl1e4XRcG2z+yB7kxrLDzbP0pLyXbeMW8uFiarEj0L0nx7hI1yf7iiHTMAbIL+vDnFBCP6Mhu65sZnUb0WkN+9VaMC704Xs4ih9JGCBl2AigG9g4fphzCN6h422+84hJQaWhCxcIYbSCFai/qhSI3yAvHVBHFp6OeRMAXr6DPWpvzU/90mslvW3Ba3fpOgpwPsJj14b9pVFhsq2cxKpJjLew8x1M1cw3SsyWgKLujrqs1LGJOyNUnxEdm/X8ch0Jn6diN8FTgQgR5BJzyS55pQk1aGJl1PDqJBuDCP4YbuADEGDNkbgO7X1VvWphsjL+tlGQMUSr4stHwWZSmgt7DOQvRwIW9wFBgQiti1SPhb0+xeNj9fFo3OumcvPWAY+9kyYvcdlBNyv9OXZ/r3X1dfs2XBoB+jIWYLGDoWfN+fYJDdaV4VW26yLJgPpabUWGoE7bks/WUZX410X/tj2oDzHDfZihb8wM2xEe9CN6NDSz3jQkJWFT+yl0Ykeny05sHCNe2d14vDWNKp2O3QUIKfCz/QRtxcvS+pUkpDvGEVMVokiLYFnYrQ0t6zL6YHcCmB61heSSjKMTox37+wSRljSFPvbvLeEg9fiUVeaBQfesvMLQgYnBbEUqfKe+YnFjenAqhOj4pkS1xBtNd/FhXPB8so6XGzNApFr4nk8qqlyXlLPnrfK96MQpozdsXgCSxe2WwlC0verIadjXwcAXaodniiuY1+k6BWvq2nPkQbOd9W8hU4+nctK0WLZPlpcbhYJgpsRjEBBbniQw1GFYZ122IhEpAJAejk+QpgKnQyKWZ5wWRqpLw7POGq9jauXkGbwNFMJ73e9PQGSS80ccX/Hzr4mHNKZK+BBisUR+ifpQ4mzh+CbOZzD8OGzx0USxxJ8EfXEUpmEOTAmSv8lUs5Ojme/kNeTvZ2y+oDV2r08XrHCvxw0SFBy3rzpSnwY9E502p5M7iztLqvcfnZfnN3hNmX9r3N/jIQ4qBb0Ksv/OrmIn6jGp6zrH5wxMlY41cawQxWwVRQFwUs2iW2uC1F0nMcDCEoWkGMEGnq6PyQ94UpqEgMAxovGwtM9qHu2cAKI5TNA6Zr/AT6Zd+Njx7srY54cVlOEaZx8NvxuvX2pAldRaZRe6RsNWQDDX7TlgRc8MJeoCt41NhmD342E3RcVYJeFw2VO3EmzqIIQ6U0j9zpol8BMU6twtmNbTgBUliBnWMk+tbYT8YIOjTeC0S0uJCgF+mRUOQBaiZhC2iTtul95ntlkGs6pA73d/V7wZ47ikK10eW+aT1QNfCEx6oNY+QLaUKVmphO9Lw9BdU57Git1X6SrWnOkpbdV6C2ten4Z82XPEXRwileqhPJ+76/TZpP1KF1/dc+HwUhnX0N/AxfNbyLQEh5D8StTDXx3Aq6doCUe/Xo0Cr3ACpZDMm2RLzFrfwtxRLweeONkP/tzofQYrhBfm1qmHHewU9qukuYvo8aWtI/8iYCN88nB/eArAK/VmZqZLcs0yynRiFVVPqKvOTcqjqmrCxSzTQPpZUzUARynOUylybGLyJMEtTn0hFO+pv12RD46PjMW173Yt/pe86T6vY2Wuqxb49WWjD0BIVAt7ZIufCtQfelWBfooidGwa3t6FIkJRHsEzxGThtSTzCNUxSzy/t1FQrmKbQvubAnfoYLuzS7SP8nBx/H0fPRWuetI4NoGPYObAK3CsYHh6thrpQmlEd17l5O7jIzrocyirVNm3IK81jEt2f+7xR7FqpxovZ8sIEbRn1aI83XZtbYEGZ2igIeLwfOyCIyngTJfrX8+yLcStIusjELwcMqql32bdMgglmYqI1wYCyIytvzpOdB11w9pHYGYyExWs87Vn0sivvKP9aIoA0wtFI4RTT+cYI0k2y6v72m5leAU9h+tO7bYJTIEEB9+Kxi7UU7WSltu64Qnz1VqhQ7JHd8Uj1OuG/e51F3gr+kxGGAp1g0QmBjxnNPkm3YOETN+sdS5Gl2F78Svg77Gizp4WyHmyOjIte3mFJ7gM/ovF7yiO68O1V8q4DnAqqHnLqKfSqDKHHJpgrLEjy+Ym17Qt61/45Dv0jH68zk0nrCq4WJfIyU6/olmSKpRfq5yeE+9Op+XCvieoCi1AIlhjB/7pt65lcO3sHnfBI5MolM8aR2jxk6dm3vvsG3NxRcjpbIaw2MqLeKhbvsZLYs4Cb1A3CMQzYZMNhILKdXcgTMwQQuICNSdptip7bt5qOmck88q3M2iPt8Ffz++3QZuVpAjvzl51yAHlL5JoZmsYWQXTSg+qsD8wVBv8tZ7ib0SRk+pqeBLfVH14LdIoJZ6U/4Jx4YAUEXRZhYDGBFCCH1ikVMn9nFYvi60xY2vfdxkxwX8DvNm76hR0pDm2yA6/WO395s0HH0BXQd5eQFf8CccUAqCSSItlcgznSfc5wg6Wr3cH+l2j7nWJh4oFGmalQW1QhUanYX5gRyiyV/sbi2wLvYlfbGEph74yZU7ibD2uQyhO8IMaCLQsutfgs2KM6aFyDw/OMUw6HHC6Yb8vhDN63oNIQ8S1wvyqlOz/w2Y8FteNf7boOO4enmsCCISdom3Gj6v7WwryRv/fDIT/h4hTkI+jjb+KKCa66S0nQ9x9pDdgJZBr2vfj9oK9LUYpGQfoOl0bY+/5wndlW2mj/QOh/XcuEcnoG7T5e7LnBmDFkXdFLmAV8HVD0SYsi9W1CLRlZWKQGFnJF+bsDX0UvM4sOquUl5jI4QmEAfAlNEnQKj+XR9KiTS7UD4Snx/Wkzf5LyRTWAndOqrpNulwsPoYfSKz01MrcHWJO1V4yi4a97OQJe7nULw/h1h3+xhcL4v59B09ffssSR7OaXxkWtIvTfydcCz9FCES08xa6u4s2q6KuKAFX/cLttHq0pfZyXWOWGj2y0ni+TQAE6edoCPhlbUL7tK3zTUKVuhCC9c9+zPDGcmjma2YVybBynruWfi8Gt0Z5SY8i3/oyxfQigqfQVzowCPhKwcQiAlH76wTuQsdpjKvnjduI55gQD/fsQ5qEa6QnX8W/QndRveaEshRE3DCIoEcAqblRq4QTyFeMu23d1TmPaHeVMCo8xMBifIybOURs6odSoBd7530umzYgVTqxU4K47xkoRh87LEjdvMJ4xbTetvyZdsVeheefj6ZQj24NuKhEQF6Wwjz8nRQxKTzycReo87bvAxacRyPsHcMMO+hWKPiG1qEJBXpGyjn56cZzIRxGgQ9nf0cgdkqQVPD0WCq8jLqq3fxz2Eiv6XP8VAc2/LlkICgYRsVNMHwGBvaRh0LfhIFcMIkNm86HGx19Hin27UdTyj1hoWNBufCscX7CNWgulK1Iapa5olXCki/jTutFR5g5clow+SbXJHiB23oimHDgT0zIkTNAaEcR3/FLq2USjKuuk2yk05EVOxdea2+95XMUt5acE69FBChw5MxReIXMpXOSBMDKkdkVQZti5YqSy0PskeR1JyPkY2PuNhTeQoea8+OD9bSzEBHu4jalpSsg6jCWbtbDOCBA2AgfbS0ia/5nmVO01Yqj835OaOBBFIblWVzcjRy7Ce5SmQv1GiThlY8yVMX/SSQfmrxTqhxB4PH2MWvY/Prvm5pln8NnTcBHK+VhJ7S6nvBJzXaviAwdZmFcd0QWyb+ZLUdYzDJnRN37vvTqCe3AQ34gmcC2HU89rN6Z18XDpYrQDkgCsdORYws0PdBCE4zXumVXXbPz+KHaz+Z7c1pFwPsz8/J7i5TZA7BbKTKAO63ZOO57DzYwczV0Qgog3MlO5qwGHPf9Ed1OE987/xBa1v9clFRQahsZw3TCiwVNu60eboN19/dMPE9Ix+qSjLeh1sseJUw+zpKIAHAbzNFEGwJSrrVCTkEG368oFP25sFcOoex2m8Z7sVY1vwqbybSWJl3+lPxqfI61PH43RcU84p0bdo4RznV1SfNrICTrXid80knB5vTyueTXqaodOiA4hwqQxIM3JXmLtFPZSczr10wsnaoTD0bFhiKWU3tDevQT2KQqVknCYFp0TmWaV6dq9FEqGifin/uuBetxCV165WyJUbticrH1zIR+6sGL4s7wNLbE6f9o2XGPRaujw0TN4zqTyjUR9RNysW6iOqsxpSJEvE20XpJHs330O5g5MdBjzxDXbEt0fMWxgPAlyb0/POC1PdAlxBu38Iu+Vf43gPy30/ZqnX4jJ3OtHsPWBZV53MfFDH64n8vQL+T7sn5tZCy0FiWYKHhrwx4UhWHuLGx8mnCo27p/kwKKNY146yutnr7fmAwoKxQQxh5Zey5Ep0f6YsN+rGDCe5/2QfEdeCBiPySN2DVE84DwRHSEW+5KPSGQWoXn6Ho0qOcqez9At/BJJlD6+Itobmls5tFiQA98RZ++eXxpzKbYrC9s886JU3mfMn5IePCoAehF7RuPHEuhwMhkZYt5JSWKBCPmhcK2fKU2BtR5lxF+nyW3wuB0N84DL37bTX9Ph3EIEIZnMFALfHv/gmbJsBC6arjsUxbRNcnqeFH5WahmlJPswwjc0Ssgj8+jtwvuiRu/b2/Oy4Ehy3tiWxiRg8mHUuQ39DZcUX0c2KhNWiZ3wYp8WMpfLUNVEl7/Xzz3U83ZY8mZZfoKj+OSMX1FSTeRqQmLj3ewgj5of2o9RLQZJaqzSPkFg3RZ1/mr1cHRjwp3FGCDZrV8rhco/rZsu/oJM9ExzZf5WDrGM01cIjbzG+X4tMtgpKmNawRR6yWb2Y0vEYoZ2nqSpz+8tSXpVfCizv1w6mEUlN5gJnbAF2qwhkxLW1PUzl4byyzCtIEN6Vc+rfDAGCAalJUCpvrycnkEOpZJ2/vPo6Cpl8bBuxFcqSNBQRe8wI07dXYyPgS4/AaNCgxM50gC0ArrQwmnmHjCsNAUA8W1dpQjRLFF3jxgVRXMxM0HMcLhzE0MCtE8WYom2wZDUzTXY8gRwy2vnh/N92+TmYMT3LUR62M4zIrEo15If96r0Z36M+XyfA6GgYvWJzeur1KHzcx5EEMJgRzk0chJHsVf6UhURBMd5HzP+TBlBfWh1RrUUiunn5hiceWqgXR+DEd4yOXLpk4kQjcDHYBQlpsUf5ae5YUguvc1dx6KjGVfxrWBx4zRfHfaor0kDUaPPELz5Eb9bFWlPsS8uxaN8rMQnqW7/TqiMeItWgIyEcUZBycqVcd/3HzezyfAjoZYZT1OjoPRlfoOQHvuJ5Zo0s70f6w7N7o2Wm5q0yQ9Wm3L7MVJztVDIlc9gVd8B3JVrn5bBddBgJv8gi1IWUNm1h+p0UucjIXo5i2Qlk8egAVHBBwBUYW7HXd8zUJJdt7Aco8cEQ/xgnxG5KeTBAPPtv9BxkLgvVsigEujECyFAaq4sIxdAcsi0b3x88ZIX9h+nYWvO7dCE+tIPFI1rmWG+h4MX3duBHLA1tQLHE/yefn+Q7vbotfR67lIe9OvQFIV8ij6+PmLbrgB5Q2tOSSyRE5p0In5JJGUF6bVoOr1pAt+RkdJiJLtYZXS6ia/Z5mrSQjkIROliBH+rP/vRcUjRsxzdK4R0LHMsedQNYvDR0/z/zaqepOsb4Wv1dhONLE+25HMrvdqg4JwkhvYqGEnRL6U3J9OcQxag8Ryg5rFSFaMGjkih+uiQ6hcnClOtdAcF62Hxu7AfGP2SYz9TLOlitT4V7SaGpegBYRcRFcZXGtgggROu27FGgmJn4mDOjI0my8YdVClJi1rKQoPuGwXa/wiCh/FDesILNixQrRN93UgzUxnyCX5xnuqDrmU0YLI1F1bg4B2xMOS4NGXw3v2551D+D7jlw/ea0CGN2v7F8IU4umRu1MxoM4UcnAI62Fw4v4fSnArR14iHpxIw4rK92bYE/yVIqY2rF03nhdczTeXOAeTitrTg9TK00vMUc6Oovewx9VwoJ81YB5BPQ5bCCBHq6kC/Sfc7YZM2/Di0DbGjy+URRB0NUvf7BMko/h9MOZ8wE3ub9hDcGYZXlCLzK+R4EhP++0EHSCF9W2z0Mc9r7ta3MUxle+Z6sAiBy6V+iqMdeESo1LVu/xVGZDTJYPHuliSAa79pBAzzhD9DcLS33WRcQSiCObkgmDDBccZLbAbr0a3fVsLACifr8dFge8hNwcs/XtOnTuHmKaI9+3N821o8jWoZO/L209tTRXJAybYtAImdv0TTeVQNe4YTyayXJd8DR/Z1+Z0Qyh+83bNUL2spwSB4fCIIQ1MTGAsZaGYg+7xXKwZxDeO3BTz/oErzPAc8uy84uLjl/hjuhntNm2/di1uOR1iA+aAZ8HVdMwulLymnlMhNz/aKG8cps9xs1St0Tat3W6b7q+4MoFY1BHS701k+S9TWbtDNW0eLfGwayId7ucCIGcfgNrAIxITAZQSe6p/Zc5AtvIIPQ4iM+VJ63dKkN+DMSQpKHnyaIwA+OTT2Ll0jb4khgSmoiKshrpSwKieyAJ+3jVvHZwlc4T/lVlox72GWeuYhoiZ6Oy62HxbKvpzZHaZgXl1FX41BMYpBUw01lda+wkp3xh0BDQgsxm0r6vqb43U/srK73REfZBxpSHQ/I3/ovFkYFd8LuKJrf8ryBf5uDPkAJqTTjTWGBbEFlPYMNBpuvgp4pgro4LSH07H/Lg1GeRk+lmfrqjcIyQEJWijojPvy+nEva19ca8ZAiyL5PiwjeODEHtnzh245XtkKkXP/RE44i2TR/YhyElH5bR4wm3meKFBiGd0bAr02MixoYqQ3Cl4fQ5HBb5c9Ik4bcJ4SHVRAxDWZuJ99qSOZAjyKXTPORY4/9yXJb29CvRnuyezXVqT/TQrxjXGvbSVLn6ajfw90jT+99MwGqAcpcSTmikSLtqcCGbcdX8+MNrqtLWHSXa/WTqtMo6kvDuE2kOiA31eZuW/KeDsEWxHJZBzTmxKadXQSDE+R1ECPUaIleYWNw4IH17xeMr+Tl75oFYKqhd5jCIwGrkC4nSLP+BWDrYkD2EBDGrS4P/tbNGQvuaV6oaw/c2pvD1PP2a528a1PrIIn6Ve5tdE+kukH7grmXbV3sDXDeVuSVh6FEBdks+d0x66onTalJ+GGhwQ1aE8QsJMdtnSI1biSoSpjY2G4v4uapTwzR5i7FlMQR60VbwditP0moQ5BempHgxQ5mNZBv72zQW6eZSuPJbcKpjrC0Dw5NAcgTDtKe6LCYGiMYBuKhGumYRvtbIOJ/pGpAkFnROnRAav+s8+S543eEOaiWP8Uz5UUYP0S3Qe2VAmqABj6YOJavmPjH3B4eAEIgoU+U5S97IWFbr9R1LjnrPg1w6ScIq8Hvm9/90WEyvc3V5e+SMsH7EtDAVEXgZoxP1yd8kip6GguxGrhnruMhMRNwZLMTwCrxr9z9tXEXTpXSq7r8Z7UgZhs2SwaDDP8Ox2J30PbT+SXLVMYXDWIFqv2Ox8weDDDtuPkoEVlr7mlnkzHsQ0rKk5h8WOwaXc/JBO8rH8d4pTZxRdDdXKTSn5eeEDY5PLHdAtu7R9b70Rq8yhMQoc8lbb4euy/F5ihiYAkbBN0JmwOQCe9UvuzFm2vP8KK+NiMn2YHDaKnY/JOAtewoqHxr45GWz+uOkBB2+UcTNQLfTVPjRCeR7BBjg3GyU8beB5cH6yCLVyUU9PQqGWxiqxSO2IX8Hww+Ha8l4/Zli047wExb9iZJvEu4kMgWysoIn9rrFb+YUe442CkW8P2L6eEyz+7z8jEeM1nY2DIE3O7JhuIqa97OP+CF0SBukR6HFFSNZAmGsiQt19wOTIVSqONBKA75gKpOX11V57v9QE6GxoXGfBtNMhAIL87iNXNZi11HZXIpi1Lyi11E79bcCgmP4rM62Npo5g8EAbEjFloyvoz0nyzLhBPERS8pLSrhtbdDDvHoqh9SM466GjyTXrfSRZHcoa+XD+/F6TpbPOUrGbd01xwOwYC4eX64F5CKKLE0FEDGGYOYp6wGVeugnz7ReujfuT9aCBEkojAIL4KuhbSSmImWpfViAq2CHvAvFV+VN4XGXgn2hItcnNyOARg9vFV6bEhn6f26IhNkkaQWWmaOifWn3cxWRDlCYHPb/0TVkh/wI/P6NzgRER5dqft41g75K2UQ/wbqNM3zMgibeWsBn0F+pOYO8Z0PN9G7QuLcCcN+fwvdNwZKyxM+wor8lRqgDW+IkLPI02vMGF6WXR6jbNLe5hyeDPTn1Olw/UtgkIbpAUnRNyizEO0es1OCSad5wdoCp4LkmeKshIdRiSWszpXNS+xHAcL3TuppJuqNsExqIvkdl5rH321/yKAKp4nBbhq4dNCKTTxx0PJwQdneEc45rWcoCn23uW6cvRySXjuYwUJxb290C3a9ka1ziKjUDL28C1JTSTyr/DF2c3RYl15+OAvUTtF3OOPYDHnqoPXW8j6ky5ZeJJVtyr7BMI4oqQ60XwjswOHO+sNTasyDjPBCj5MGlSgqVpdx9PNonGqgINEPtntCyKv94sWDe2IILPiku4ofzI3Sjl0csK8jZAP8V22GYnbzyhcQl8GqbIq7pI9dS9gzeTTPdLT1paw3wfVjt4//2YkT4dLdC1HwFj0lEqGkifWRHat+EHQB3Ykw/Uj/moEO3qhTRy5ZFU6DaBEkt5JuHszPd8jQlJ+WfJj9tLK6VKKwzn7qVevJHSMdRUDxm7jlnbuMSIQQhk+MimAqzSBVzj1A47DnMeWyiBmQ4IDwIJQE75LkFJjdzmX7Rs9VLaLL/Nm9S/rpKIP46iezEFP82WHpMUnuoCTTjKIcb4mfHizp1n4Y6Rhmb4lgtldtjvSyXOBHXmroAkOYIGhL32sLVNhnLeOg3KUFt6VpYRspztr+lCc+2SNdCRTxcN7/SZKGM20NaUH+siG8gSJru0TL+Igjsdwd3rMjTKRUBk36xw3LHgiEHHYuMu7gX1utepgLOHfLb039HtTXiq9zzpy3jgxjVInG3sueClhokfAPK7d0TSGoTDOOscORYWQKjrphR9Hevwu7hIKY4M+UFXnkzZGeogmE2AM23g6YS6wZ0xCZahubTMN45kHZ2Eb/Q3xO2vr8A66dZy9NXIFSQ5MBljcpSwpF0yKFsTah7nIf2rTOWGLIFya1cu53ft9P68cqllm8xSqBWTRTRWh1i/nhDas0epva7pIj+mqVBBM2ce+c7piIe18/W3YdvS4Mt7hoCcJJTQMg0hce5/odAJUjkX7zS/HHyFspGjoq4tooSavlBZN+frCB/NHD8P3xYdeqKMF1g4WNg1AH3Mmr++vZNJPbwYEUXB1we84Si+/ftoxMKLzLxUd3412wsjlBzYK2beP7lBzuku3CJrV+3sAjlZciwbYayBFcO5a+KiwbhbWl6AOs7NyyFQbSjmiS0TOuXf+4DS7y4UyutuXdcKQa0P7d8y2Cqdd1hV4spMf3dx8Xsgb1OaRWdR+PD/X+NLJuzaVMX+m3NCRIM5A3l4Rbnigikp0J7y2yZRkPpNSuBPzBAwYGVoQJ97snk0AStcnPlBiqCNaTY+c1cLie7nTNcJH7q833kbJfwL3zJg8W/amdAW0ltJy0PhDDm1lH5EMiQTOUdqHaOoMhexhGfxFtV2ia0srgShgFDmRzO+WX3Jtb5cJHoComouKzGXPStjwUhyxtv1JX/6UfyXHK4WHvgFI/G8G6sUmkYemqD2hzJOF+wr7db2JbFSGWKz990KNqVkmIWItn33ybZ6+4WIlnsWPdeTaAr5ZvJAYw5cHRzeQ/iOSfOkbssOPKaNwB9ExeOzO9Scybu66qNMfxWcuvg1PYpcacjzYVmxRUuLLXqOOSYJlEk5+8Y4pHOyAcNlPvMy1zUFGq8VGgKk2iiuR4Alfc1rDWdVuRUMXo0vzOk+yoDd49nxsGFipsIDXorEL1NJ5foV+9mzPOAO0ob5OAT/sCrSg87Sr9qiBFaEtqTNQv8WaaGEAh/8sNEjOqZ2P35LcZm1OTAsIKggziNPDh9Cs/Q951Efp2MgysvET1fZnlAzF/Tu8bt56yrNkj6I2gIxMq5OMDG6cPP+6JFYnRvv0kzAh+zwaiCHh3n7SCq2sy5v4sOJ+N8VfPilxMC2/A2a8B7zRGRrwr9s0w+VOXKmUOcT7ho54mKBtQIaKrJYlntTz38HUP0Y/v9o0PwC8AqfHhjYqBQGwiLJwmVFbKhPs/bBPJ7lL8VmDu641iPK4BivWqYWwmNqePQ58KuOs66dn8KfKXTeQJyyoLdRlCGh8l2pDbmtZ70nym1nNdpeHOS13mL7I03lGH+3BWHDyjEWD3HbDzADeJCpR1m/erg85vRTZF0mLzSJB4Nr/ysH6dDm2qGmuYHkVLGmU+I0zf0vn+boNLcvlIEnp5QMlHlZSjLIwWvyyyRHrKAcVXhbjHIrjpuwPLc8yvGKhe+9ECgUPK7cIcUq91obRjhBsuFAzLokFN/CB6CmQXZTL7ZD9oj3GNrYZW7XqC3aimlF16HtsG42en5m5CdRVIcWMOsNesEUV2i/sJlbowFC6/aq/4orFTAqnvcCdBts5wcSO5bMN81YbqcmJb/moRhXRVdgFj/q6Bq7aw+8asGKUdKOQY9pRdOv6+ovKRE6iPYt9N1IKYe3Z6UOWLV9L1yvWyF0XimcVj56iV6cMiWWxBjWbUPTeTgdxXbBDG6eQI2K359rXbSohiIhLo21x+xb9gcluu4sAyEVsgemOHHDfcqab3I0z8Yw5cvrwCiiNdL7X2nC7Nnq830kcFeEr2G4n5MKZ0ze1XTSN+z9jgwip/6F77k0nJHOo14+wC+Th4V7qFPRONaIiBU9lt9RIOp8qz9TSTSlrK7E7hA6iAjnKI4WbNhPip8LIxgWLMQ0di17iHX5zjdk2+x3hvgVMSh+03o0iQkLQ3xczrlP8PsjU4DKYMft/zv+tWahE26XRHZIZ+s1RBAeaDsZ5MnrInyGvDrWUXw87b5Mr56zj37WnPopBIz/0Pgio1/2VFC/eo7xWqMyB+mE2H7SmC1xygykRpHiZPm7pGmVdTNeDYBLS/ixu0BmGNR1qxgsmFRsXxjyQ0vFWbA208IHObkFPVbQwGBNBFpF/bsW++g/SUXfOFpfXObFTSTjMS8Tu+4WZATyTBG+odGo6ECTJVRK5AjiFJSbqGL1zhXkB2NxQbdBIW/GNqmHwDq5KPMKSjzUnZImchHXMN56RK3sx9E4gX44bSo2pjVRUNfhFUvq9d67hAjNXSIruQfL8phbpdajAxDSSzx8buQqWm8FZf5d/y9bVv4uzba6DaKZ3aH+grBA8agRyKNd2d0VnkqdgzOLdTjU2tn4XFxrX73h0ljoPoqfXoLh6l1IkBNS1yNQfprkBFvFHaBf5DHdlOGl3wFLfoLLbZ7SU/NU9IDxlgMGNuUmLVs1cppqE3CbQB1Jul2wtkr3O6FpTeqrz5k4VrxsxXITEm4yXpHgPJRmp7WNvO5VYEt4uDvLgtYgMBGgDj4VSgvYuE0SOoBAxptmo6zWbrH6VE6anEY+s1fL5gFZNBixgGxYHZNwg+C/aOgdeJQ7UAYiY3q1pzNqEdOD6af8pXlOj1fJbXa5M8FGv1cDW1d9kEsA7w/KXLKqXhSrT4QCgUBjNoHMdb5tyok5IdtoziQ2YWaO9bVnZ/eaiiTaWkdqJ4TKQsrwcuBCreh24OVAYWrFUUy75sV/lCsTy4RObfiiE77+tIqOvwe2HcCffvmR+bX+zULMRJQcMwwMC5uFAMTb8cQj0JwZm0aEe5ZGvAE2cRiomCRBsbt2t+6oeCvbTvotYgqij8S0HA4COoQj+kP5GM4xZ7hEC6Sk7eCRGRg2672w1W/9G7iu6w9HQnEWQpUDtAsSGfmduW4/S1BUVj1n7yFwabl2k3R73sOkmoKuFiqum1Q5Y9letodObXhZogUaA8io8atDL6Rl9SGm+uhFS2V237n7pq+ALmSmDFEarCHGwWzLVN4YKcbmzUAh3NqG60Xn7YlFvwbrzLfa8Bc3yFM2oNqj64ZDYkLVVh5eHUZ7t6Ejpx5H33yPYBUt+fp0zemFs4Zycxon/lrcsTmB05TFKgqot1jFN9frYxO2kaGyydKHkqDed/mBd+jNTMA029kYEJ0o2tvazDlPIGucNmgM4dmeB9z3T+r7PHF0YILbTxrqYrkFApXMD5ffh39nc/XwFxjZZV25iNCupPhC+Rl8knL296KKw7NEe9VGGQd9XMETTVu2Wup/lwUMrFSHaJ/pbXDrxwbtehsiMZfiUeUUt4qDsPtgoJQLFbPp7ws1yJy8xadUq6LtinmEFZ5ydwY6yJfKn8z2303w7QIqS96I4qdqMVhH1f8qAsINqcAcv60jbI3e1ud4skjWFpjJ1zBeOq9Ws9HWkkN9xwvp6qvFV0RuNt1RnJ/TwL/RgCFxllGbP19nFlfAY4OEoNcd+pGnJGPD0d0VfQ7L36ubcsMZMJg9sw5Zq/Uw8SLShjrx7eQ8jOby0xaR//R8eJ1x86fLUFJrOzzFcH5pDk5XzJZyeosFJ9UxbVU1KFCm2waz/DUEsZXXIqO+q++q5WEvz+VTWgrK1Hbpg9pC8iBWGqxmV003IaZI7OLZRMn+t95kNoTVLhKEFmGYxTGd34GydcASiYZc0rE2QaGDlq3kIl58QAaXwxEWxNRYoD492z2bQP7aoK88wMnWIgqRPCeXiRZKRKMKTiG+Xe1CqLTOey+I6hB3Woh7FTqQMRpRoa4ddNRDL+jEv5YT9NFj4ytaBC8XHgtHHR6ncNCC2KISc3u5l+ZgpWMxeagj8RnO/QevxXeSKWAH0U7JBGwcjHSURd34OIFj8uHDTMiVSQRmC7XyTwohSsECfKERO3UJTRZXYLqcOyyortODXqWliXF6uXs6fKGyrazN99w9H7Ig7uClAZAepGVzuPcirruvmHC69hj1r/SbmtIt8yaP7TPIAC8pT3M4kNAt9u6jTZ/Gw1A5RTgHeFyfK5L9Jrcokc1kGVcLcOlOC5SUT2kAD+ECU653OQZn1acep+XbH1uQFvQ07smAoXi4POrO1Jeq7p/+QYyc4pK5+H8DT2tM4yqDuwTVpV+By28sE7RbY4HYUJs3WbQzVS7hC+sAEUV5eEKEKJhhW9535CVAyUjSj3YVBqjmv9hHvgcyB5nsXX4e1qTuxNFr+36GF0eQfz1pyDLdQxOwBmnaIeDflYQtqIaPLCVj5j3oY9JL0HxylSJCTTrR0iD1T704EWjU9w2XDk7FpZ6ZNoPgpMrInGZb1DsdICSptl/mLlZXbJhcAPAhMwuxLsci3E6/KRbVpsZIWu1FTJRa9pbdatFBBwuT2Q8VSwt3qCj6tPp10hARYrYV7fDV5fOx1Pp07jlSxWF9RywLIwImYpVjzEU+LgmUnvoIy7QQcWJA0h2IexzNLhItlTXX3vJ17sP9zyRaR0hEhQf3vjgBkOnI8aa4VveAk4ztT/YDGrV2s/lrAcHm/5rpkRLxkio8Q2PPTOO4exKfnhihmJpl0QH2AikRttD4cxEyFbUNLbrPJNqJf13M06jSTp4MYpwOYg3cKl+aX3CbpPNwTTyZ3+OkkQmWl6GPuSBx+0AtSteapuch7eFnVHA9IySNGAr2Hhqsv7IvSWv10bpXZKCVQR/mB74/+10a/ChuqYpX4Ul5InjKEQmg0ZqqiZRrLdc7aNpUrw4LetZefgmeytr9As6wEkXjvLEPj07DjX44FXnb9uzz3igwO9pCs5Toj7hGDBK+uIEl1Ytc+d1B4Wf0BG66VLomQJt+84+ZpRPa0kWgn3rEYrJd899tHB4DqcX8vU69ea1GR7Wh3FpLC/ui9uVi4MF0aSlrqRR12xD0aTmvjUSmIU0epwDVJzazgQ6jfXUnUMpn0XM6V8+wV01ZvWJ2W0T2S1O2uwWgUe8B/ZU/D63Lasy8dEqosqeIVGD5XXic58MrsbZB9UBfeSEQCnwZYDQKdHlKzN/kBkcb27ZLUXD1Ff7i/7Cn5JPv0QOC3iaWCvkX4DW80HV3S/qUv4OeRHM2AmC3y9i5sGEuTXMpe52Amcms7fQ4H56MH+fTZ5lJPpcTGrzB9oxjD14Ekah8GFXOSSMoxhhiXevzRRTlsYyFTjpHmDbezd9qg7f8xZZgv3JWSsHFO4/GdcCeRbRwu19qP8PEH/F/hD4ie6Gwh9kmjcZAlM3oKnKsRkF1KP7AwdcyWWzq6sYxdfu82t3H9Pwo/MEYZpTl2UG+EHtqUvGIpbB36w9+LsyWnOl/XBVQSsBa7bdv7wcM1ZDGkkcVlGKZ6rGXP7NF5zdHSvmFnaJA2OfaRhraIFEO16ll9lNcq7jrCfCTqaXG7v38FK+jhb0uKzWCZWUm375xZOm9CYU+SYoFl+vp8KtU17rkiB9duZsK4jXJjLe2TCpRz3YCDLsJhJ3xAgGW72I1FU2fxxT1gADROenaDp6IMec9tcccT44zDXr/WEA3ksGGdzAYXCnqJThuqLbGh2QRqVxnduP3NXZAkRssu2fRjBc+ScXnLy6qDkQz2yxUSe9zUNC5j6MSdd7ou1XfAZFylI2QdmtLEbwn4hB83Ag2QmLIW0D+lt/tyDCx7JXtcezNBo0PXfZmOF+wT255le1ORj5jQH2SlFeifSKShn3E/3KnGj+T+GFh5zLZxZcnYFJnWmxKvTW+VEJSL2XIbKDGXuN9X7UpcBd2QUIOO7f8nTyJdvXJRtpA3T0DNNQoLl6y7LyuogWE62KpP019EqL9Jvz2UoR2sru/yswhlnGJ8+X/8o+qHbRYVTDQ989sbP/LNrUrEfi8k9n/fRalOLLRWa3tsTE5vGzHK6VYJdGyZ9jBiLPNnryzbnss0UbZHWElREJMY6LakJ/awJuYKp38f60NCddSIExL7DHy0Mx8yP6mjFu2X5sFkebstU91JEWz9JhNlCkVA4+aQPnqWnOLiQ1yssI9lXDk8XWwKRGkYtfdlHbTgXArry+yzEWX8w+Df3xl/ps9Z2sXlbOpWG6ZTMxILQ50HqmOdwfJbRU7zNThqoG7HTc7/ICa1QXFoqgyTXrj/OXzu/au7jxdENhL+fblW7SAV15SnNapRwhO7BhiUuyfgwoDoPt+yRl+H+H5FuVHjisAlcpLlzBNa1I3b3HpctUB3IQ62VJxgfQ7jfPiB41StTLfBfoDvOrlpPKFVTpz34oM0igClVFk+VxmWVrzLQWugINzD5tSA+ZY7H2O7apjTIs+14lHldDX6Ofa3qaVJL8A5KO6tpJHQjdV2jG5a0OXSnsFTjZhJiSbZsaqVaR7BESumWKqCb1y5m9Q+JKj/b8YTPbDdBG5u60Oiw5QHE+WfsuEYjUlAS7dssvDQNb2I+lexBFPsQw/Jk8tJh0pGmtormSsfSglcszeU1296rv+vbLZ1a6SJj+NXjZQAdDewbvyNIJQscedTYdo0rU6eHxjSmAXgAUQ91Abcj66xFV/oqzSQ6t+YTdQybGIDmnNa+r2bOqRQXJf6NtFxnlg05Ev2GY+eTXwjL39OQVQ1aQEnWHNQWzsZ2vAHQlrXNtgW309jSphpnlYbICYhf/l/FzgjHbq7HngI5tGAwTEjkKC7EgR/p7Eue2nK720JBtV/mt5rS8QHZ/yoncDIQjMfhbJsmNd5Ph9/nnulDcsSjCU7dVIstOQxLEIthn05QPVOdHcA01W0Xa3LwIgV1gxgaLF7taKhIQ+Q8LOwMbhDyVsVPldnStskBNFDxsymVHT3tTNDvsQTBz2achYwfgB0x/42vEE6erPj/ytu9NmWX07Nd4Y0BD5nTccM0w04xujVZqhvDIyoFyR8ehlsHG3fjI0siiJ0/7MGNUvX2/LQBK/Ip25sc4wW1GxuI/VQ2YlwJBdYVYkgGkqUYDbgYuRDCD02YsmaSpEi5EmeoCeSXjrfuTIwWWQa6+vWLaMQVAorS3V+7u5aniHhI+AiSjLQumGE9d9qIXHJn3JTBKCThgBGx7vGAdZxwggowSFmCw9GFPq/Ko53F02u6YUEhAbDEdJKIKXjspSZ2Ay/bvVfxvLt7l0LZi87p49FgQ7hph/OsfhrxW7eh26ifAh5cE+QFbivaLIQpiY8Ck8L3gIcJNrTo/K6XvGt/4xlEov6qu8rl7ebjFA+l13VswT28vDJ3ue6yba4qzR1I/flDuV9zpHsaK8fh+udFbI6kejMv+soFCPCH4eb9xQv+NYAYvt2Q8KsDzIRYaMp6Vl4MfZgaI5CvA04r+201PXuDIxbA8fruHamkd+3bhagEoRQQMTmIk8apyRuJ/i1I8qstRqLptrdfg0WREb2SXGRvJh/IygPDoBZIm2RNZSJbeNkUOocayd7MHC7mBnWsziCZITY665a7WoziDV+Dt1gJUkFyx1sC7A/08TSRszAj8k+UOLIy5yu7jm74j37maSbTHONhL2qrppzkuzCIy4MmPG1RaECNQiRHv2Fuo8KuI+SlqHae8rzbUm+BrLqghTILRzpsaFxAi3xSGXxZhxr2r6G9IQHfauyKxINtN65sTB+K/TkDYck0LgDzFpSZZPd7UaiS23/d08NyWnb5IFwlUvjKEiVRrOdhqh22i+ZnuGohtn6x88LW/0fUxmsLouKDHPNXJNezLQ2cCHG9S88Kogf4X7X66rGH2/H6wbbXBa8cxfJfs29mDejL00fOVkj6sqHMJJ+tHekavuVaCU3MoAWKVCJZSIl/1LCIP4sG4yedqC2QGfjqB0X30PjHByKfqjA1cFq7pDbGbYfezmq7OVWr+fmN1rx+4LyxRw2RqiFZLzODEXG6DJNy38AgwXZ+10B56JfdHhWlq73+uvPboWJE+cVLdydecuzLiDhQquy3tHNGE5vGbzg2W602HWD3h949m5WrJiIPd5hH68akso1dCEE2QK2UquaL0DymCRFFwihF89CN1fTsgnYWzD9ETgMbcZE0ZP90DpO/f1Jkh1w/uO+EFgyQb6lA8NPCQjjkCyuNJD9KbgUQSGDpoeqgv4fWwrk/puqsUv9aDnrJThgZcLGNo4U2G565WjuTX4QlEBUzcXWqIe4ZlajRY2NfbyQsMarTdEc7d3CVzwb4yCAufVvpnpDWLZ/PUQtD53oXGVpBvtlCOhWJLolP55+OH5yO+y8rvZJWfugcPUIHBInWa7/0KNp/m63cRkggrmuf20q/gt3Awb7YSj8lFIl/fmaW9TEjlYervHFYj7pTSdhEHTESppBtUw91mlLyPKstu7PMYwOBH43pjC370WJ2dyoI0uZW9+hsq551g6jGFatmadS1ANssVf1NxsWLNmvsuH5pb+tkOz6YQ2NV3KHCelKdaSUPduhAmJjx49WdDOnUOt6MTS9KzzvsWoQVTA9I2Nsb/6TnrH1KBC1QwZ+bkhFFSFPA+4nUxo2Kj3tJM9+mVKF7Oe8ulkPxk+yDOpZUcMt6C0CoaopfLHW7DlXX46fWxe0LE4iObcllMqgnRbADZuVQVAsvxE+6who6y3ZY7Pk+VozBj8JrovQ9qfChFZqcZV2CLBUh3eYKtMFpm/Ju7O1pwqaP0DHPixwKq8qYYZ33pIG6CRVbMRkgdGhqd3e4apiu64WmirkV1+OwoA15MAaRlhyzihleE2EvR0eTvW05TlyQ4X8OQjpx0iGvOc+UoYBpKsj6QhHiJg3YLQvkcN1mreuUabdMfxd6uBiOYlPofi0hUWzpTJjbD1k2vhEzbi0t9ZRN3q5/lYaAIpms0jg5mJU0ITsXLNa+i/RsyNQvmoxE8lYUhxbHoWFyFYn+yvRxkl3Lpxl3Emu1Cbq/O80BD6nJtxZQ928vZlWds3nn9AAKPULmEZC4j1P1yEzBusNNKNPSvl/PZm086Kz5I6VXbKyVx7QBEZViLJt7WeiJstOAVhurNvgGTPowrfziP6I5JQ7GhoGjPhWOwin3P89m01T+A+waKnsqeDnvEsydgQBPqkvtLYmSdXb1ukgbctmxogrvFNkKwBgER2F/WdK/ZRS+aZp2R4rnFwNXKnW8DRnkAshXR0J4KQE2Nd561EKxz1eIWwI3XlUqA12lkYi6OmVRQrrfqdN3QvdNAv33WcpZtVmpuMKThoR/QAXOrDdxK0j7WESIsG0VQM5e6/s4jVA0Me35X9VIKzFX1G210PabUSZyXwkRKCbOe2qSAmJOwC2U7oWPmY0SklNnyb8qCske/05DtDHexajN0o113DwzVZstQyxVdC4hs/K/pVMdj0Tt7QEhbpZt+DGA5c2Zl6kFwkVwd4geRPz1KGPWRZi+NVCt7XnXIZNrlKCQLShhgx3ucH7QEgiKACq6mpS0vPM8+bDSyY+gPEbU+GfLwNzqfk2GFnbz+EYjfuYOKpxUfFGM+MqyMO8YJ3xYvdyMdW1CYuyFY2Lorc+fX679ObUq899xPdaDSkPf2Qc/Bupqx1RZpUJu/OCnpV3a0xSS3rmz1hpJJXPOnPhKKuRZ17EQ76Bw9HELXQW6Dq9ymc1NAESpNathdvZ3R+2yBZ1dm1Y4GznQVPG1TjsgH00E6myJOj1YSfVEP3w+SjdGEfL+1r7gXm1+6wLWzio3eK7hLF5snTarTO18MTyQYXLDn2lQHyb+5Q9iUBwtXAKZT/PjmAYqIBvtMY0p7pMid+MU9628RcwEWFEYe5F6ck/C4hYDceByqV6xpmbvawak9rkphAYP2YXXnOULimpQIqwS1CZcwBS3TniGt0CnrLH996/MJAphlnZcAMi3k+FQ+x4cChIW48cbzusa2cEnYOtP8c2/PF6eeVEj7q3jke8TlGoJ5s3QrRIRoTPvSZ48ftNNxS1S4W/yajKmA1qRswHC3AjAwIuBdlFaYJY3YMHGNDOAvHMb2A4ThNEVuWRs0u46LlWUQPQA2zukMq0G7OK2eD6tQ+PMp1cKavwwKoCDW0bNboqTQ0LOxbQDVUbA2zJRGb20bey5kRh1xDB3V6rk1hMfDGUKubOIb8IdE2XpQyyPnFw3KdbLnQ9jH2cs3O2ufESODMHxPeewVoR2enOEYXbHnBFbX9cS6WuV6bX0ezlTV3kXeAvRN2Hoz1pUrGUysK0fsS7RTFhhwDQS09NGNsYCtf6+DeU93tH3SkgWQH4VnAb7TPnL9L17COjqaZN1W0rBZXvNAkWXFuOl7SOWOnznqgPve/MhdoWFXDj1XPnpaQ+wT1nP0fREvrvnDjF/va4cvjK5/3/I0WpNhj2AeSsYRl6T9IK3f3HOqljbKdIj/insIVeQ+P034nRrN7xi1BmaW8dP2pTmPhxyk+sTt6gyrDaNdfkCxV2Dp29PunJfzzRQ+MUAeyaU4H/Y+Ra2zaEKaC0g4Ew2OMoL/u2jdohftxQ9DszDdsTCTXkZXfLKdd5qFh9E72W8RP6GOoGfdwCfmBJBKxTRb6e74b0rPdR0R9Nh7LJeuDzBcpgOJkRGp5j6p//3keVG4S8jdDoEsavImCl13xAM5cGRxebF69/ZEVPpbq+KMssPXTpEDuTtVefPBVXy8c8c/oDEXpWTcgr/DSnLSmUoZ9Ppy2CqXZJwPZRECjKVm7F8pR5HAnSdwoKpNEc0kw5tKQc0wlWPd6RybPDYJYgNcdVICspUXXwOLFKD5U1KnJLMk5bYEbSZ0B+ka5YwmJ+5eE8RUTSteWpHUhr370e8zuK9OAcOGIH3bA3bTnynXgu/KN1Oh6HNrqhi4RP/eltg8xA+qLjnPHxg57uAkbIv6222ZVTuq89OL1RxGGQczlfFk0Q3hkx9UzJ0yMqfZkTgGGGQkRDsy0s5Ofz5WRqg2Dd+52drEjebJFrYDW/POsOjPnat/Voy/C5BSFTuW5JpP3esvOzBrs825xQdvB8iP6BfqyZfMRZC/4H88cjb8+Uf0ARFJzkK9PxG7kyNMv9zRYXlXaX4ND7ADcUvj73CxjyLsg++3bDdRZ43W0ObKKzacu0x6NIK0bw7xQMCqEzD10GLOHxBDJ6LcvbE79iTLvq0IkuG/l1K+ZtyPyQ++dZOsFjMTAX6bY6Ee9nUYRnMtp5l9gwvSRbex0+p06DfMLQlYT0VesQD5ok4qoovT84g8F9AissusPrZ+ZNjT/HZFIiBNLcnNLu9a8hHIVT/2qIMlXeb0h4aE3UrUlGu4krKYpgjVAD9R+rc3mh39uqepzBlG+xwir7UDEGqQS6CHZHFaizA2ahMs7R6YrsYB939wXrZlOo8ibbu2/jzY5oHeqJ7uR8Ve2KR3d1mUg2ndM+3RJNx5DTyGFLjefTFIQqb0Gza5SjMtOgMZ7MzWj8J4vsU8+/X4wvlMCN6X6BvwD8cxdUzgEJcVqJxrqX1fIPARqW1lTwHgc8EUGcSdzCG3OUx0fscI5j3BmNfp5G1I1fSmrnWEe944jS8ILLeVjyAmyfui3bFZUGmwPKEvQaHiWjsDU94Bqh1MQL21h5H4kgo3feF9c83r+tRy94S76UCikypCZE5t9BpeA45LhzOW6wNnCQ22aFcFwT7alYDSnJEPC7qoWbDeEbL+qZzCGYRBNrQpqIRE/a7YYnkbvcf5IMaxz3ry0zbK3JIBJK6n/O6GgVSYqBKkx5mRQf9weTfouCrnMZCarqn4IfLX3OKIA9LM2dFmREmcMuNLxE56UkW9F8fO1CjrYVNoj2+Oqxt7BmjtElJKNTt5pswWMH1cgfred2ivhfxMa8uws4+qrsJ3bIBgTnHsDu+LjNhlS5MBMFfv2N3JR5jQeX38k1iCYnr2fNWbAawNG9Z6ps9w4zVZ8EcHxwxcGhdLMwN5dShzs8YB04CxFqqFBytcR2vhP2jPoECmdkZXJcyNb5S7eTzfqN6qckS9JmEo6dDftv6NHNF+M71j7QWEDjSxjx7eJiK33hh4O90QtXj5j9d6lKFafKgsKiqwPPmRm2WjKX8g8ryVTML+BIXgR4A4XD3Ah27eZqc0F7MnwaUnT1KcDaJtfyb5cO/bfpQtk3LlZruxvtS6lcR3air7zkUd0fBE1NOehXn8G/zAePcx86eN2uv/XObPfJWXaKK+8zXLR4H7I0h3fc8Qxit2txkCrbATQ5WhgBLcWE2kGn2xxedd3dE7hMU9uPYBfvKa6ct8RkFNS3e5FNd1BbldsZQ7tQbaxnSyqMfl4HOhCG1RyLHFyn26ypc85c3pG9R4dHPNla4+99BgbF5T4GVUhpp1EyaRF+UvtSNNm8OruRfoad/D7zqEaxyTHT003kKRdP/hEZCQslW2Vlt3x1FmP/RzRSmwO0cuhvX7EfQB5IfbcsmZWTavkU6GY1LfaGOqGyU/xqVN4Ed34io2BM6Y3QjnXdpUtjmSDbIFxg/5Grte5MTE9PXCx55YcO+jlhlUbCBLottkeGaBWnoNwAfAn9kRrTXSv5C1RfkEFAN32ULWf5Myl1fEtFyGEI02yBuOE2yPdVQCPToFq/6ZKb/nllMtsyv7AAhn0gt8q3OyjFtbzTw0XHu7dvHnHikaZkOnPsikx7iVQ8zIKOpTShH0k6LBM62zhYdOSHdfDDRbmciHhYlPd0ePMY0RRCXxebAdPOiI/0EQHpA5peKMiTjxZVt5+n0lb9E4tK2y217nECMQg+WjIJQd8RY24ZsagGHl07CzBFQFKB2de4vhW8tbDREhCl1jsB8im5rzH7/kMFVzA/TV0rAg5y80PsKpShlHW0tC5x+KhMrcrgmxKdGxnOSE5WOxzolsQfqlkWhjDniPyDhuIx2jj5IVCmO6UkNELBqD6EvxCh4r9LU6YpCRH7887AsrqoqIVUx/3zEE3X/9hRC0FgTRLOKCqmuYtRmDVeWnNMqK8+oqxKjN2wljZUR27drrH9dW+AFQ6rGcEPSfK6T5AJjXVplNM3Zl8F3iDJkrKcVgidgA94At/HHiRjW8vqHr6huL/OmkGVr8NVN8jYdHO/IFnAq/6VqP9AVT8qofss+KZKiOBCDP40VoCdO7iMIdgEUxw9i0xkL5byf7x2Tg7DVmS0hVYWFMCka5NU9i4Rd5nMZ5SgS7Gl4mjAkvpML+zhQuTFuIx9gLrTqi09Srdov2a+tR9sYQuqcm8NM3+kUbuHYQYZGSP5zIFqc8M0zaE3T7ySUCOJd/oiJXt1JO5m3kNWzZKul8X7R83tEP52NHg13Hm/WXjVMsJD2AWEtWcHofGZilNfu/bTN16L16j6JshJv2bofyxTr/ahZYgOsoCltitDqKGcD1TuKgHWBkWdJjCZbbGLMTEECV+3Ga1yK0D7MFlBEalQsL1Sv41UhHA939O0wRgMrQRMfYKwVUwXxkJWdb96M6wrES4/6Eepuc1Hb//3JRERqVAPf8r6Z6qQvz0WNG55Yy1DP9MjMI/b6+9YYPUSYAzIz9S6i+tJkbpqSld1Z6EUpqaE3z9mNIc++roih/SqzZ5LJ96PUeQzyzGVXgtvNp5aPWUKvOxRi8tUNjr4aXmy2QwlTdtPch9SmD3WsvMkTUZVlLKEP7qOyrHyU0quUbrtWeO8gpQphe54Y1OAG0o3Z+jLdliuwacnaZeFUfyZOdXHWCpEg5YbJkjwEP2xvxoYO03mNF2n4AftVA+wvvqew8W1XP1Fu5+kM0zulIVFs6nhKUqk6aURqkbOp/JCTKpZwbcFEtSFBdfssb7SpbWVzDLmeFEF87bixHc/WM9LGCzT4VM/otYlG9mlofFFo8rT3Q9bESWi9pvFSLy4N+xfzCAY8itMmH3aA2ILw4c2+PGhPmxFc9kmKecgxsATPVjuteELm7bEDZd42Tf2GUw1VdvdQUhkP8GiLL98Lwa9Sb5c1733Ir3bvpoO3sKJkzLstC95w5G4BCWahIUPoawnZZtD8KltSAHKJK6Durb6UuKpc//oeXmLbw0FzAVI6kQKu1tZfw5omVb5TnRkK7PYvVSkEdTf4vWm5e2d4gmDohAHhXrbwv3XyLK2oybUx5onyOgvUnJNR9ID5kcuNo5SVxbK9ePox/6lvTHSrguJ9pOAJX6irqGE+c5cKWZl3aGzGCY1sk/n+uauzTQYuN+ReqC62zpK7LFGNPxFydbWlzk1fqFNu0o8gPdX6dZU2w9vYDkc9wa0NxiTZTSqlhqPSFCbbbhKC8+4xTpn66f+L/LV0PS6fkl5+mMO0JQKi7MAwjWOowtCjNYqEwANGlxOL6TqIenTIgAJ2JsUqZ008t0kJI/je4P4vXO6EAefX2hUDY2pM6rAZKlxKlWnxWstQuXlSSAqfCQ2KnwhPdgTKbdqqIMyK8qCOsjvkS7y4eUeV0e5/KIT8aN8ZrVJOBSq/bPzzbJ/olc3LzRP08SjlQHN6Ggq/4QUBQ/knIrJVAcDtUR5M50BLX57iDPwkd2Lnl6KeEojyNiwgCA4ZV4wJX770VriZtqochnutSswjDeFtseKR88ECsaXRgnDAnFgaSRIgayW1BfXZPCkEpNMpxwfdoETw30NnLchNvvWbVH4pMqhSgCGsT3x6yhWjAGIUXb7DqoAUseLJ2Znj05FlqC/sIs40zw/W+SwmnDuHeI8ewwuQD8l7appIqbg5WmmITcI43+uHTSM//wGaDwrffKRCdD6MveF3z42Gys2O2eRd3VSU2nMtPH0O4U6lcaD7k2j6xvatM9Tz6B4nJC9VNVdoZgXhEy1fyZNZcyrEkAzABFdt69AjFXy65djI6HQkrFS6pAekzp++nZdtBD3UC/7PrOn3EI5AE3IRHxdx7ZfNzimRi0ou8zuPZN4YIilnNn9m8iucqc7JfQhiurr7x+BOkh4IUa29mhQuvYOOSJdivt43P2WIcdyiVTW8gseLanG0vbSBeObu9uPf6q9o3gA1JkdmgschC2giC3BRfGdGj5LoTYG46+Y1zGe93rtVvGTCEY7BKj5NvU78iSe9uXdglZnrnRyh1FV+Zb7XVO1igBvinEYvkNV5KJfRQAK0FKRZbervEHLyfstxb39JGj7Ga/CBYucli4F7gCBk6CYy5k6d06J0JBsDcrW7S4ASWFpvNiUZIeJjowXEVJ6ZFCCgO5YmuKZdkdXvpUUQCc8jGVroriYttR2KBJTg+yEPla7/8SJOKltv6pfAVK4ZH5S5TlnR6CWRd+CkY1GDZSmeAZ17Qbg/V+gNeYqYfnt7/CdP9Igj9Y2U2edwbJSZaAMrgeuCoep4EP/mRTB6j8Xq3C1b2AYI5Lfgzo2wOHzRSIYadx89FXCOMz6p0YAwKIm77kuocsGhDAeh3vZyU3YYIdAWyZEaXNy5SPvze/DF5lEdyNLqgAIIxYOAAYNj9nQ7ufyBpx1YVUBXcvwmPzxDKB+lTvNf9MlL77P/Gpd4UPchNKqwikzyw8QmFe8sBQV2Q33Ctug6qTYHxAyviHg1p7rbhZHK79ZgmT/sotiLuJMz5hJGVrKCrV+i6aL/Pk3xNpgHl/ekYNSljb3XLHrsljzMOH9PWkiMfW+mwyDrTLUXshnVQQ6i/JMav3lCCbIv4JNmmPK8Jp9aeZXebn1jKgjhl6GXYEn4tnIU07vBaBdLPP5yIynncrQ82k916n7l479BnwZLCdXqRQfdIDP3Xit/6sHetllpMVSUNSJmqeHjZF34JvNuoOCs+QOSB2c2O6RktfLWNbklqKGwocGp5Py8khzwrXYGBUc4siclHNzqxQxVU/ytVVNpFGhurtLEzDb8bnC/Gx6fWNu/jt/CbPxWMQwhCxf0/HeeYVtFj+dusZROmnUZ36PElxekEBXLiJE6C1ieTHGC9rf6WmpqqT/VfrU/3m8OYi7WIt+WY+/IPAEwOIowfP8IO+nK6gug0mgcRgFMWa4eKTkm/kuVcoegveLxg8ozDwBGq3kxkfy9JbA8yeyoKzSo26M/BkFecajCgJm3csC79IBWeoplYAk5ewddGqov0xo73XoPMUQyFI2aW+YtQeCU6ZvNk99IYnmr961DJvbO4EbKrNChjjZI6LQSZQkgcVr6gUJRMzlQ9NNcFuxlPPCWj5yEEtdOQApSvQ131hrYzKJVYuuR3x4g1SpW47Jnqy2g0pE5uaHH+Q1iheAgzavmh/L5dUAWKr+ZHIwdgE7Mxd62aQ3xmo2wm9bHmvmOJQttpHXjW22qHRF0SmrEEIC1NMNjFWedJA34l4vrb/8FImo2viZ5wRytfkutQ6rFJm3pyfUp7gMcldz/nt3andtnzRkvMs+6bzHDFeMoAOiq/keghPnmyos4yye8LV9A+hsXa0YA5xQnt6odCfTwjqF5/mcWUGh+ODrs6osoapqTauNg34pkxds7vh8rt176VFe52rAhnFWTHb7PUMjJWV8eU7CHS52irYowAZLAy9cXqqceUCk3VDexCOYa0bzMFTlWu+J8Gfsijko+n+bK9IsbLtqvOJPNnc6mu7kBmGxj31R6Lq3Pjrwp1NIEvv7LT9LzuAdGpTJHqVS/rpo5DfT/nYr4P2kXG6INsq0/VKpK0TvsWsfE/e/MIZxpjobb18Qt938uLCY7vcxSIJvja5zIshLmXjlcQYOG/BeFBAhAzwHdfLHl8CZabalWV1NTkYOJ8ueKJf5OHuPcG0wlx3Jeg9CB03ewfif63FKFt0hcx+dKjojpAlJkrwmt6G6M0/dhZSJHtqXYzwIguRFc8ob8qwdQbVvrnbz1ZKIVDsg0LAUH7tE9s0jzDMB26Ma6JfAdl4I/ljahtuhm4WmExNCAgZvJGBWtTdSixrDLxsjh/TaVMUC7X1PtfO5tYpNsC/PVM/TA79PKv19ZJkwaVEmhUqVumF85PiaTFzFPBNIPHheV8cW1EHOWc1mHsTkybdT60Isn4jSnsNRxdtidRYnkRS/RgE4tFPsA6UpE9NyMzka0+R3h74seqhJv0NsYSDkqQJBGUQu9fLrft/I0n8cW5FETWUKBhwLOrI+1+iWfzGYPIgs7CKlmsxjgOQZe/KF1aXuqwaRtEnzj8Jlkc0SBBrwDzk4nDk17dke4eupKCzFCg0X0w3pcD14n3Belbd+CUBY2wUHoalT4SfUYd7T7KhRBiTPMr4FbcLkT6xuWc52kRxhJdbxcdcmlvHSaxz3YHctLkr/HA1hxwaRMcacrXQqLVdXdJl2lfwoAnPJ3QycqSNFTRoVEQAyifcm5a3CycaRELoz3bdjYnMKoM6yEVFTFnIHzGTtHXTniRBQEsvR6f9v5v0KFtNUQr4J37/KlZ6T+Ei9HdHbZGx1gJOHR4VAhNlc+3AwoZonIN9rxpEOIClYwoVTut0wqi8LTgVhcYWwiLx5PjdbmRBmil0P0Pv8GOewY8+a8McvBviZj6zmrp72ah3Mx+bTvz26Rh1OO54Wmk2N/xcv/s0vUC5/1j3+nercjJLrZocnVzoTZ6l3BwOYUgDyTXiwG6DyLaye74n4LXkaPDlbe+SuL7VZB0sijkLh4fwOwSY3MmQUZ2eErHGKQfTqNNrKLNPPogs/8678/1Nl/UQcxQ4cMiy1lgV11+A7iW1+jGW4actnjLj1LCZibETsIx29hiPp6yW2/+CVU9VvrYZhy8DGx2toLTeSLpoCaC0m0sLr+R/8AXdNgZ8/puIwvrh16MTSu6WovAsKDtsGqcIaZ/+4Q4W01T0MgRHPqpnF92oMQl9MgClyhsqlhwXyiSO38TYZDrx9c1YgwpYv8FlCBDg4E5xeu6cATm3poK/MUSCpBoopyFlafgDQNPhpT2J5sia7g9cKzkSRFH3YR8QItBVbvRnF1x6h+gQ9p1Cj2fqK939mCxaDcXRnDIw0DMt/MeP7VAjZxxia9arO4erasAjFyA2Q+Z75TZPytgrqElT2fO1kB45PybtMkJNys5u//dzDM1Mv/08DGMMzd9KDnhpQ5WElFyPPynva5dwg1O7udBPNV4SZHPwc8HVtl3MaNUrBFeNB/yCcuX4cxxUxg2IkcxHUej7n+KGcYvTBAafYqp648aQJKiVYuFy3EOEYRNy27CeLLmUAi1j5g+btfjKC7H9is914yopkGkOcze/0NjiNuZNgH+XNLAD2QmukQ/vWBQgX+lnJhrXePJMGzVOUAfD9wsmKuKbbXGXToZM9So7WCPHatjzBLp1LpHKnRjTbd04OFnEFWDazAX7Y8JsAkITKtk/wd9NllQdcU6JHEa8kO5OSwpaEUvG7E/WcSw1iSvbjHza6XaZ4q8C3vK0VNeejZp3BxwAk6ize2ghu/t7sQRrfhrNTqbkDpEg9meloZZnBzX025d8ktEJ876g5SF5GWrunQq5bO2NdVM/NgZdhEMqPz8IzSr4Blcp4+T1VF5Ta311dIxTst83bMgXLITlN4ko8UTbDgZMFLrzAxGXnWTAqdqmbIrMuWPEyGkpUoSU/aswgBhqfoJWnH+Unck0hhqO1pRfFFjACKNd6cNhwE2CuApESVsSB652CmKSywyhwHNcrVX0MoMuIAsAhpxM5bKp2J/cDKOQReG8l+nDiQddIQy+URT3AgmkQEBTVC1Pb5JDKjw78HJvSIozYrI2Bp/LzpHQGdcPll8Qr7rFD4A6Ed2h5eItcPMbYVRvVfpQh+TSnSq3Sx65m3v6oWq8m83AzHJPbQAyHQ3eHVGLpcVSRWkSrbJuxmCdh3HrDtk4iMxhifp+5TlltVeVSfc3tTFeeuBWHd+3WT0KH9r4apt8MCEnQLozFVo1FR1pjXBCKYKLMJ/Os5JuMVd78esrbrLlwjKwrOrmAa+oHcZHfVNbcXUmHksrHFgCLYw+6G2LrqNvWh2yTQLyl62zFeJzl0E8LnLAX294eD3AAvwrFQVjQiuU4f3tH6ERMknOHkewnJ12HykXf9XkK4O+aHwMZa5Wop4Y/nepr+s+7W9pg4PyMR5CMcBqNAiM82jE1vItMjbGUN5ws6x8jtt83EHzGJY+XOfvC3l3gvlUlVr36wNLkGH08iFYekJ0qM00APR5PVayhHpSK+EuklhKagYVznGL73soEsdfiMfyla9/QbGdYNanbsJF5Azk2XQiwOL97At5tEMVIuSF365zC6p1Aye2LVDrYXsFmGf5eB01XHkqSjPjWb6D9bSmp13ks7F7344XA1/OnRp+k2oMLUvujGGZYsvts3XdKZkaztEw2XLY5YfpxyYS+9kG+Ka5KRMALUTTQ1bptEQYdo3k25Q/wAzR5204O7bnqucQwjcgnamKicx6Iy3LOG36re6ta6K9lHN4Fk3wvWZ84OObjv9c6KX5oNCMR9BmfZ7u/6uBrCjJCEe4K/doXQLUNWOhmhUw6khmiv1/hoarZze43vLHVZ4nZ1iLxWn5l3VHrqjkpb1QdGJ6hZrGaDm8dP/e8dB4Zz1jYGDT5LsP5M/ce/IzvcehT9cqXvS7eTFWngk0IrxS9ZMblDPTImEIP97FuTFCLRtBlrWMMx5/ROOjiujewQrx0KrhixBtnCtD3FFdR7BmSa2e0K6y/t7GxLyZvOP5cAJEXCfyTeGERp/p0Hqxx95Rd0Tt7ujOizpO4j1MdxRf6pHD4n3gwjGOU0TNDj2pscytK4+EYkwp4EfKSjCs/Ux6sEH62DQQJHnDoStdFOjaYmpBiR6w7I+Woxn9wovR0ft5p9kjjm/ukYK56hKSV4q7VWbTb3pWPuQNWltS0WRkWWfxYKPvl9Ham7vg6VcYPfE5pZO0KCUJh2iMVcRf6or2oWoQ3mtYxGzNKpYAm3GNKc/mvmQDKrXFegthOFScvUgRp7CG3z1cSvgAgW6g6WyiZv60a5TdJUnYhpJIenrK9/ml5qTlAI7Szwvp9bDv5scxcIO8iQzc9SJ+tsyp27HCmAKnraAg9IeQ05L4DkVKOzaEDzv6yQAkGQ7MuRu/isxMxxAlp92pv3wCsVszUlCpK6dDO1u07w4TE9CL0yND1YVkSy9VN3smPPxHfgVChB+lKV8aHJIKYdEKUL8wSzk6UfKT7MevY0bCWum4GOciXHQqfcLbLhPfW1KVxbsQYjlD0cu8DvW1jCCmB8QH0Vo6R9Tk2HCj9ocy+/KTh/np8GQUq4d98Cvq+54qZagjn5OJ5vL14+18hFu6gPhixsm75z3SvC40mEVWF4lOQVKJOgxomWzz+XWs0NlcuA1om2FHkqdLMBKbZe4foNLwhXgqZjqQnNCT1Di1SLLdSSEdWPJoOjBQIxbCJwMvzwk8CfXfFqSJw8ivZs6jmKhK600cTdJzDdMb7ZfZw74+Z5JaBwZFLiOHPRsHasmRB+26neeEtbwD5SgnN7im+IcAroOSv2w76TsyY5UXyyrdbQYAK47PwDNRsTGDgvz7Q3vgwhtvEDEH5DxaJlzR24jLyT3yCzJ8Kq7Bpi3CDALw5L1z50tUzU6ZBeIktHK6z/S/FNp6YYsU1LftY7NW6p0YXMEVJuj74qydYX3kC2NK6njsKUp77n28AIXwZPwGax7KtNb9sE0ArjWVdTWymor94OXmFJ/QBSZ4J46CgjBNe+TkPpVpbD0Aiw19+Xu88d5kWChvjiqgV1p74P9N/XXwMhbQnvg9daGl4j0AReZcfefwuWNkIKjXo6GEyy+dB0mZgNNg+TKYS5ysNvJ6vy4NeTeGYSB5/mGni28UzyUtd9Q1MFQELNhAFuBRcCgaJUtoZryn0QBo3qsg24cUg9mpkaEdhrUucQfud5Lcr9juaymSnpIzwEKOSfkw2yEJQ/aBBANMTRsQUfUdNnlfrihnaVF2om5qDVvC0XdUG/UCBS6DRtXKgjtsViq5VnHycUWpa9eUF5I1SVaPAONso2EMymsYQ9MsYlwt6XprwHdVKvk88Q0ec1cIgXOFKyhdgzYpJTSkPHsa6ICPYUYxQZAytXZ5AHyrmsM+CFzFw7T6NiE4rqzSo2sW/TQ/emlfOuPn18NXRn3TLhfpEF9BpSDcc0VCfcVekcd2wXHAvkCrFa5mKqhk73dvzOvUezncj4WjzA8fJhAT/W3F/QdtL+5OjaQBXGRCx1X4RteROuVriH5TeTskAoShjK54rCAqP5PGcHFHQVbIsZp23J4FgvzTNjcLfywFML7YW0nnE/uCNwyHD2x3YJXibNOlajYA0mw/NwllxVp8cFoYb4EnVRhg+J9eo+mGwmz1Rsf4m2Yd74QqPpBNIII2JSyF8PPNmSJnuU7863v/v8oQ1qR9485dkVYi9xjXCSIuNcpZj8rsGNo2cRIIb4DD6HPoqWzOTviDjT0Bq6t0+oGogX3zC8hyWeTbarayBiLmlDoEqqOSYZvzO01e+kIn+5zQ+zxaKB+j2OGCj4Ke+7hIT/IsRQXvp4kkZC3RRF5Goz2sB6L2qxyWw+3+Xuq6PFCJqVPNRjEIjWBwVeE1nd/qctdkA7tBIc7oj7q2FZ/czth0EuXCeR9xa5pY5On27vtiYG1xYV0J3Y4piyq/R9OguI3IfUJw7Mk4LBVOukJBEYVoWPLYs75FnSV0CDryBSqQ7Ndqkw5ECWgfH4VGqNiysYauFX88D47+YETG9ACJsb/wZ92mokjy4BTonrIQvTgHu9zOXkPvnzap/2TfJ1GheclZ2skgMG1mcUzOWgEHgh0RZ+6Bns+dYzzL09a8Esj9BUMGYm9pjUHRJmuCKfxQgxN39WkaT8At4S/JI8Lv0s72JsR2DmiIZM8cvx1JQCAUKHN7A2yeesL9P3u2N6X2z9YZThvYkaiNkaNoA6CTMKlFyxhlJ4q5TLA1btHxLjd0/mX6q0zIzi/TUkXMnMCg0+76zunBMa6nM6ujiapFwqbyzcGmQ+Mk3dZdcgcBRluXnH8IGuRta0pwCTIteSJIqZrae1qMo4lMUWbRxO2GR/BoBTepMESfdSeWc2IY0weZsVLwls67KRtPJHTklr9BGlG2pMOKItI+jxoRIKrh4Gm4MujtZsc8qutBFIp97+y0wv6Yh/iGzGWtKp1lUnedcAgdegOIepBgX+33WZjtwfo/UgL2atX60o1biTtLGa5KIMvJdyVStzESDAybvfrOYhhW3DG6RALY6LIAqSXPo/69AAH1k8qvu7LC1ZCCqUIg7J769xadhNM3RmdftR/Z3PEYre3eS0dHzW6OXeIIFDSSBwzYGpdVwxpmEjE/gNpLNxN7F462XVeQhHEQDehmHn8geCeovOaS8mPkkJMiDgGFSjVtAJavsNKYlfkjwTqIo4HM6lFWKNgVtjzJRJUpC6XKxQyWNDqmcLGGC/cjJHn/cPq8x/BhExqRLYNJgLqSRYmoN65Y3fUC5H3Lwgp0AlMRK+3NvhQJ99q8nXrrJ7qy6+4BB9QelgoBtMtQgeIaBK3Pj+kNnlkNWd+Lc9u/xy16ux6aFb+Z5ECJX7+0ygssXeP5UDcC9UOjqFcsYoeYYFyAyk5tuv/vZB1lNM3/eoNVNOXSO7Oj4goIKJf6scMd9Pok5YsTyHJc2e/vcBu8ttTcxmUqIWiAkxeZwbNXUwtbPmGjByzDMyf3nApXrkKcuW0sRsmeCfgPxLvyCpcLhAMWIkrONhNImoJeEdXPB7CCRYSUC4ndRv4btlMsPGgxUPej6tnbw80Twn7dL/3jxBljCL1FMt1BydDJ+pxkj+z/awr5JwO/HeayKUP0+F7gW8INcaN08051fOQPlcuebEdvpkapar0sNz+wgeRFcXNrTIszRylvwIFHJh7HCUaeWq9fTeKatutEmpKab4a6ODHhYhfkbtLM6AzjIdcuLx1h0Cp4Cr6soTJM7CvRwZRbtmSKZ4P/Y3oJtEHlOXVECjQsmHVtBGPUeSH0V12bLqIEcVEW7fpTE/WxOzD3ngEKabTxP1RxQ3oozbjWSrxx0u8pcRTtF3U/UavdcAIiYAsZUBvDzgTNUz8si5lhd7+UY9Nc7bT+R53fx4z5GSid2MEtSaVS/H4FE/2icILMlKvr7EJwH7LMrT5In2OkXtH4MBjDSIt4Mkzd5FNtHV4HI+cz/gVx3bpLqbmreHygOvxIzHkqaWkAYDVnZr42kmHEUPZa9wuoLudQm5EUtDp5eTFmK2uX+g3R/uwkAwuEUnkqdCugzA51yP0TheTHKSPfxhi16tdFJEDyk+PtP+4fORbh6KOcvGENJ4aP1IhFnPVgIdVLpnhDZeGkYkCTHDoySnvROgIoz7XI4ZrP1bW/QRHzEmufaoiMPeIuv2U2kySVKxX10Fr/OfLuBCOe2isu5xw9Nrhw/iv+MRk4D21WovMnN/FerXNDWMtYfsumDN+tDRn0FN6TIvf23yIUMEU/7AUhCDC4L2dafSHJFJhMGDMjBNrABYWHKQL8BYiBlt2M7z6xW9Wp85wTiUpek7IZ4ftmjVJNNqD9DjTfcoxfBvmQi67ns0qk6Xxwu/nFDw9IlPUabVUa3sGF1da63j6vNnIpVW0Am6xAgniccE6DscVP55vn5W76l9AlthEsyOo8K5iTlB8qEv7UH4jb4LnVJ94lWG1Wj5vyuM2nPeRl5JxmUkkBrBt3uiBJtnIhNbyAHplvNnNYGrM19saY4yKyCPotimRj8S01vz0rPOGWyKMyPmkRXahty+xnx2HyFT+2XJHwd9eTjXO1yhp+iI55/c07Ihq89b+DhMd+TbXLt/dpomUIWtTta5hznpiFo+GcswfUVcihiu2wGIGS4t6B5SRBZYjiE/Ws4+jQu+RfqjTXhuqyozG0oGKFspKkjlXSTkRbyuib/XIQB6+rBcOwi5DnUaoNxN+cXunTwM6781MpXBQeNKS2XgttCv6NXaD7Jty1QDNCHegyYYmm1rUbF1HSCav80dcq0P9ADm3izUiAVjBbgTXMCO42agdZ3WiSCYl5aXaD+54rRJNmYKjmRKs3icfT+ps4C7ps/jX/tGNBJ3NFuxRPrNDXuShgIImfqNGNbxcEFupP8BQ5qGdXfuZfd3SE/18AyHUe2wvU1M+eOG3ueHOhx067YHfIFgAVqdnnoajLn9RzlQIPk0xGs4/hdfCWJUTAuUj2gGSBMEiPYJmBbU0k11HYRIuYscaEDdE+ursJ1fxrZT8IwgDySuiIXPH7ilIMyT9QmbP4BauDvrasKe4yaB13F/mFvH8Fw2cAjNpw0+pj0iEUWHEMr922ETrgQ9Exy5IbKdcAJRrNK376VqABXie7vPZ+5R00PNmZMPb2gR4wmYg/1x8donAJdbkkaTd78u10Ge/6J/IheUgd7mxhzUi6IZ8TjUN3eGXXsBX7O+JTm9wBIucUkRRs6tlj/InVbh40DnsDkkO+Q53/eHX4A6QbVBCPzVt43EiWOGRJGoWDMuAYkEyn3nzfip3SDbYnkIQpALgSj6K0USyfOMoE5I6zh4pkGLK5cU5im0jGgWP9TeF+s1eUqOIIRQQfdYZVqKemlCKJBZ1dHZ3x5FJcj9ChRJAs7xxSgE9tjR9T0/2Wra9QhzH+z2TBsb9ZtV1SNACO/9ixYdMbGnfE8KJ/bP8RchlCfdaK0M4Nw8osOSKK5iWEYMHeUHfGQeGKl5Uc8vzxDaP4J49+USDDjpevEI5dDxSoVvHIQ9+gjk9qysAcX/gMjWOOYezoRFaTr1bHP/2+az2DCqfuCfzQMhch5oTg8yZJ+Gym/1UnTP8NspSIiBRg/Y2A0fvqp4nNfMl6sgnuGjTIBpYD0bipt7sxeGzfGprVS5xdrgTnbUEmapVTwuSKfBT3GM5JbbyiVoKTEqBcCpU84P9boRCGOS0V32r+2QUmdUm6ItblFcw8i4k+HBI670vwu8+0ZQaM7KeqRNOxuL7vIcWvae61xjHZF0yiTBqsO6fGKwxMpDt9V3ho+JibColAe6cCX26Yny+zAhUY92cMEjfN+ReVrr8knjp7TXCYqiWlGqPptoStau75DEgk+t0IXNucyD6oewjSuSEWF2uQqgY3oLEMJvFMBEoBXOSS0AAC8J5CdGqoiARSUJdQ02amoAd6IwLCRy6AbI+IGXX7x7eJTzoShGCPhE7Ci/ftElXKrI7YgjK6lC6/927EEW7PKxTUaJaGuOFQrNOceWvpj3Z1KMU1+J68tJ1QtwgbAr0Mx9ByWVFB378XU9rwDmdowMByHRjosZANFuH5PoYDABu7Pjb6h4lPXUvqJ3aKuP0WRD5Oid1rPkqJcAWC4T48e8LTKzKmzUP4q6wKC71UvIew02Gdq14M+Rl4kLn6s+hCbdvxaIM5jCTfgLnDE4699HTgQj7aqHPX1vUGfQ0AwwLH/TCxJky2kjahabCLHB5jk+4lcUV9fmN54j15Ig+kWUYfltEfuOPJzoVC4AM9zERFSdWmgf1/K0OGeeAjfte9zSke/t4ltB7dZ+M/nearLe06NN7rhkV8phwnmwv/gntFjQ8AIQUPzC81EuFFazA/C0voJDM3QrsExRU/vV4VCotl1Heed5gahAfpcj4eK+4wyTtWizOv26cBSL76H3blzL4b35tlOmOozZPg0QBeu34pMdwdScoz0UwR0/RblIQ1P02w+jr31qGyLrwnZbu10JqDydGc8EGczQxfdNExNOxKzdK2DAd3tX19xPKAPbSemjAI0vQOs6pMAUOwV6a77yOkEnAymhLknrrosj9mEB39wi1JVu8sFXuCqWFxTIAUUS3aDN8BPjwFanYYeDdCizj7Gv/2zVlUQ5LXnlEs9ce09OJzihpKbu4E0gqyKs1KyzT9eF0/W6FWs/jjHDBPuaXcHib40aZLu/3gwhj13WZPM3py/T3DmgxvKasB8ynkb710XTl4PESWI4oF44Em1gSadbsG+PXtr2pPYERWGnzjJ5cYidHXjeCzgnIHOSA2bQwQgWUiAL+4cH+faaI0R/n6EPCh/0Foj+d1EU2ZYT3sFRgNJsxz+PSuu62QhXwj6zR9jqK2SYNMRhJTK9xQcHeCtj/1gfAGV4TyrBulb+Ovbcrxt9uMIZertPE7p1PibWPVQ03jAxlK0SsvqYTM8nQvKD0sdK38Tn/BwPa/urC6/1tqB5QdmFpe9lViTJyjii3nMnk6BWpk2UPK4Kjzlzre/7UxavVK3xrOQM1wX3R7KtZRx4EwTv3OyOmA4BXSHtUDZJWmYvF5VEVNEy/5jh2CVFjEdp0tShA+T9rVA0rsMsJeF2pQ0gipM7mPEjgjpHDjR98uqeRj4sUlf/AHFzw9xc2MBxc9LIKSiD1J8JaeeBDdjWj4WGt0lw7ro3FIjazTUiLIwWo0zjJOEWdAN8N0TMwVlz4ZDgpqKOppjYItDQjYODKpmRrh5yznnzwwW8tcVqS12xSCSSUyg3THYKX9xZw5gpjJVi1yv7etSdA+xFU/2mn9Kh/NoQyGEk0AHD9pQzP5Hij4NZHXTqQf9QBzclGCrEMZnJDy6p/63VUKcAFKMLa9JGlzCXboGa8DHemszx5rU7+Fje9JeB266zLaGK1n7Cet3+jIkaAzdeCtrye9ex4Z1xVfHky8b9yjJTaRAlAeE7xfNAO7tdGTHn6iIOAUB6tta9UGzyHbVBXJPxdva98fwODzmKn0KaN3ObZzjIwtP96mDsEqkFTjsn68M2RD1JJRLMuCearwae9+IXzu1L5lf8bLcPMlgOi9cr8px3VBS5syvfTs72bf+5CyDJz+WWVwdqS5ey8h8XL2wLehrLEl5pXNi7XmCpngr06f4QPgmVk6LWQXu0u2ac/rjvYC4QpAnCUJqhwOsBlx7w54p+EIXzt13SUc7vyuYxR7+U7Y85Ww7aRwrYCBZWzkD5ozCK7BRFzQoq3XebmrWzluM9XJeA91IdO0Q4cCg6TiS6IaUJF9LuLeNMT6LinBmXmtQMgtzlU+PlBynGQOQcSs6TSNvEOFhsMnh4RHBs95VBbe/MRyTtXfuCmLf6319ZivTASOV9dvWqL+e6Nvzo3Qtl6ChXsNzo7mNscbYy74iO/kCqj4UDDkRiKjI5WtL7v2DvGlQ2Mw9uZFhMGnL2c1RucAe4nDitOb87bpc5ygCMqMqSZjfkrchpqByMMBfnnigfY5p76Qjxrq7eWncj91nBf5bPhWSoJnRUY2v2PqdIhEB22nB4TZim1Y1s9EidcyxW4O877raeOhxx2bNAy92prAtKQX7BKNp38lAiW4zFDab0SWAtDJIMPZPT0XirbqLJieTaerAM0SfMWWCaPjUXeCNkeBrbug6y7SfjM5VAZB6I4bNL6dwoQ3aNrEqX6o73K2Ff5vrL7ywXY0P1byKpZrcDjAViYDT7stQiIfqEUL5jbc69UVBj418Eb0IUAdX934JIWlH9g3Jc1XBaWDIHJ+KF96Ttws4cZ3zaEcG2wDSbvR7TXrmBv2St1+tXqauVQJMOjximFuiaIxE/gbpPzhrXIqI18i5W6/u5drh77GoIOy3Da+/Ge/5t8p9IGjP68APYWKJi2IZo2o9004DWjwmLgG6+lzg2YAMgHcrAdoZ9gG4v/cW+PHk7cMxKJZimWH6gUXHrMXVo5LcWp/+Y99siDPf9Qbk/PInJ85z56vOl2F0k1TMTU9h5mWuBZCvUl00oukXzTVgy96Jhfe5rz6ALHwMKx+2afAmegL4lm/glhjIF51FU9QzRkZXIrglCRSnOkFaIslfVNkLqgvRZtg2grDvlUwGzviI8J5u9KuKQaw66WT+sAAUN41lMGzf6SwTBitjvteQVYuKLO2SXq/MRbd6Ptw/gxPclV9eSvc142UhWkAct6muCls4ZHMQUye6OAZA2NFLuM/H3Vh/28H/RSCdXU0IKEf/YJzjxJF+0U97ZJkrob07VNYJqhcs8FvA8cTCSCsbq6lhgaB+UrvFzINa7awExpwKZ5oKPkBqGbejMSXlJSETB/3f47FgQqcvZyOvKbnyNWioEiF8pXhDFtiNbMqHkMbhyoaDRJRm+54Dyz73OHi0K6/rQPIr5tMGFHbXK3FG5Y5HyWrQrfL5la5DtZms0ZKDVcJ3g4DZqgzFd1nIrgUiYYd3oXEwu7kRk77iwtkwxj92YHgooJH2e++QQcQPyJZ50e6KDZEzuttZWHSKhB5jd/6dwUtCNnnRaKV3hAVF5bFllEsB4zX7xPkSSWP5CYRGt95XsGG6Cw37GJ/biUFElziArC1OPql8BMSvrwFRcLjJT3j6tMGOZv/90p6L1+q4WF6PduaiBVXMT8q01y4J1qvOD1Yq2SB1RyPr39iRRSpsza8vhNgc1ekBnyP7XcL0fkraYMsvCwBOq0pSdB/ghapl9dTRMDxXcdJZG0LCObz9IhJqWZeoWO2ttN5zn3/tsf2xkgRwEgxbVqZRkcyYl3AkoUTDh/bCmkkN6/edCLTPtEdnVx3FyFIy4vY28If8yWqcfrC+6O8Y9mPGxhq6xcJiXmMS5kQ/7g+VkopZu1NVHbl7IDM2hwRncGwlHfLJg+x12iipfxMntVDS1yC0V7RWnJXMmRuNf9lDPtWO7yDlqJaioYmeYgNnhSmWWQO49yYzrrd3zjTA+tSf3qjsFJmoza+hdmFbHK01fBtPPu/QTTFdJt8bJAvt405tYYSwdW/KPnGUcMLYUf2CQZ4rPpReh7LkrL5EcPLBgxU3ZcDwC2X+FT23JVmTHRG7KGj4XreZxcD+KwY4u02PmEgFnOCBzmT/MYh+Q02GXQc2mCnaGpmV3ff3Bwgq0ZYmtlecei12n7/vsyAy8aUSse/Ctdvn/yZpmCLOJWD8tUmicAG2ERMbhdjL9MYMLYvYQXpHwyRz8t5KXeWzO1xor4UQXRGWFtOWhIm0Aee/HPnNetZ/QqWb+g94X5wimionEHFpNw6fOouRs52klcvAiXLt3vMUPr80PB36jHONIFG5gmFBSbbXcPfgG+TMlEzzqgfgux9moPrmTgY5JlD8bIz8t96ga8d4kJOLOvMlBXo6EV0UKY7PEbo2DWsPGb0clNTH1z68KttgWmY6AI58ebAU04oIvtSQqbiHaiBrHVeU3xKD3//lyVxHGWyka4Ln4LmVcuTT6uG4+Rqdqm5IKunTcruXdoxRecGqAUTLuOQ2F/mpjr47TWpNIrh/P8HOmInZ0wLxAqFOsBfSiUyJ24sVmOggsViQP3b0Nbp/hsGdq0nfE9dMAMVCQKdJIIECh67YwQC3Y7AtJGxoF6m1ikHs0xWCuQ8Au30aMqXKSGogLqUI9W9xxOZ9jSJtx4xRgMorACMVpKBc2L5ugtBYNKbeMGa/DiyNP0EDU1Ok1ElgoTIva3za3Ml9kYsNJesx99NjeKUHVFbtiem/0QpfpZmhlbvwVVeXas4HhV2rYfoNkr3KHfe6NOdGU/Ve4YL2GM4zeXYc+HuwZluy8MRYvzDl8EMnvdcYYYGGiXPKlEp1zKGO70gFKa4hr3h725Rc8NGY3CnE8CZWlIKLDNMPUGLEQVPD7mYmm1NpNbps2YWRkLO6HlcvXJd9TXBGKXvwQSqyuKZLUAyMZsG+iHajWZx14bsU6DDKn4RDIFYBTBu75UNXmNn9UOagHBQuNrxeAGgoN4jgLCtIRZ1IrfjwWnlqv3gR4wywG3QPas+hoL7mGljEKBnbpJQ9aVUt+tWfs4A2JgGPtxYsOEgCZJJ1Y+W7z1ZvPQm5kyzAK832MkWiQVTfhcusqeF7N6/9YpvPMiCKVPZuL73jbpkW/gSVwmzApNqk85koBhR5ZpVOzKPF0zqp3lX2sYR0fRp47E6HhvasIRTWwoWe/4GS868SwuylQTCpzqQM329638BsnCNA5s6+lGD0FXl18G49LKwkZ3G0jhDd4oEtySh5shJIl4AswvWtH3ZZ/8KOUZIJTAT1+ifEc0iPE0Yh3+Z6EUhphMUyIn2jkHj8OwsnYYyoh0Dd3Ph/FK250BzSxtUtF6t77wooscPZ8jdcftVqiMpSimum/D0xA4/zFiliaYRY2mDez1uK8EWLeMeoOBDjQk9frDtlAI+zwtDBCGEow/IpaCK9YgU+V/sTtwXU8B0qT4HWvl2FWv0bbo+HXZhPZwHxb4/lx1nVKYXBoEyJyotq+QrSBJj2pVlr1y8pPBU1LY3EGfL+jyeFOmtJOwnTEWLUPyqLSqBxbWgRCZp6zM7C6a/Qua5fJVEyi0qzKBjc3qKFEHYlhAyENlMiWGFO41PhN7sZs1hYG7haOyChQLQtCK1hgxtanaKg4PQ1+rL7oY+4GTvvhB6RT7rN+sMYAAZ203mo6RQmLv7j4NFYBLgmp3cdSB43rFCz65aqY5biqJVKGHw1GJhPaMrOlvP6+KyPfrdcCz+gQ2eVjK0weJ+1xDLTgAZapRAUBBTZs6kjtkDLofFIV664tQIDFSvhYcBleLjkvvspqnzsPS51pOoYfKp3mOVK2OOlJuYfAqLO7ONgwciOutIc7af0EB5vPmH62L9khaHRbGvu57ge3je/ddR0UfAHNNA8xXWrw2URkEEk7MRSp1KpHhiHpXOAhk6s1AIQS1hyPYXVSjJK34sywk5OoD+6/3GpW8LF5LfWZCHJJHVcOSLasOgchawMawC6vY4kL16bBRR3w5VaLVDz3MyOUQCyp/7Uv/oksbkcQPWRc+f9/2oQw9SiZSr83biEya9UQGaRgAVlXfQlwROcJtuA2wGtNpPPoc2gsooYcFb3dK+JaGouZuqTHxNBvL4TSOlhRJEZ1qN/URMcrpXE8bRSRx8k6ZyyF9Z88KDGIbsJV6tBMcgBgtAW04H2WM+Yfbb2y6y+EeOCloKcCJXjNrEdJABEQ1UtCxt24BYhnrgz37LPOvEfPzMdgAURjQl6O9vrymVDPBZW/8rOv08olZC6AVg3vgBNrF/Zyz2BJ+OiUcVnhtYspgvxRvSw8ta/ts86bOrjLcIUKCHMCJDJvsmGnnOZl+V3frqUIKuxyDhv/0nlu8iDN5+Kq/f0LGZbwNPTHwE1lu7CkJRgaAwomvvCQT7fbysacRPxwZTM4R3E2yU26S7+Nmcpy97CY//yQqtIzp/VptzjBzF9AcfvgN+xEdZ0LY4Wv28QCZU1l6UFY6RlWb515391JoxAdiJWBxPi7skpy7NXjpFoC3dDxOGeOICdgcrzYIVPqrXPeJZ1PKlOo9BjNeWUvom/Ee4F/1fbORiygUbSQggtLSBHvH1LqKXX1P0ZtKv3XAwv9IcropBmh4tUZnhPMJpwVGp19n3yGwKERHbq87VfYR6515hek4RZsbTc1SRhAsUn/tzDG77LEs7GCTeWFlespm6BDC7vK1ltsh1FU1TdTqH0UdxZHuqrsqhsYRZkDdjaDS7vV7+ohTldSUG0x+Ssoq5aLKCUdIsadHU1CEf3GGFjdfeoVzTl9hFSGcknBWiC2GtJTy0ka+eYuuzmBAtuNReUkF2GiKIjvy81C4LnMdSw/3fTkKrUJ0YTATrh5HpJGd8Eco/rE4iUZYLN85pyE23FIDCxQ5CKRV22YvvcOaO5gAVwibfTo/ko2HnTbByecKtXLtdnwU5Qss0zuaI9vvjwsJNplfQh9z+LqBHLFBVWhyjOsMvmZ8t1/Am629ULEmGETVRK7hSSt8AkLmBOsutTuGThn4HTlI5g9kT8yP8nZddZz1RwcALJxw2arGmmXwxyIKt3P97MnfZiorrVTGZ7Ri9AtDJ3hF96T6pNMDmnXnrXkzZSgMTTueX9B3C/qzTW3oFiNucARrNl386QeHQOzgtADe7mxKyW3SHG1lRNECz8lMoFzqk24/Wt4MYX3J1sUhdX2qicn7t5kVXzPv6e4Fktq5YmY0tpTa3UFdWb2xBG0TELzjoXhGL8YXDtP5sya4kYS5/6ORmO7NOFBP5591nb1nOMvQGi+oQlHmBC1v5dwOFBPbUAfAm4LqGMW2XvabKBT0Xz0pr2ts46YY1xY51GhIe3Gt6BUASBJuF5NpKh+uX3zqcvcivstI0VwvkUDdnDhu//6s8aGycLhzqHSoU57Uj0IgtG3HuziNPa0yU7qZ4eiYaAiu/nrZRB29QleCpdlkOQiRZuNlHHZ/aZtzM84kJhLVoLgVYWkCyddXZjzzMLXruIi1v2NBz5czikve6PXFrUy32X2/wWGP0XX7S2xeqSuw2uAkIHs2rlojcWzyJ7sq+/uKwmRcwmrdlCCCpXlsqmMM45hOFZJLKXJdJ+ZPTQCLn3O9YiNvbEmujhPpK3I93rpoRSfZQnHDxQD4SoSoGUPigBUr9NHAim1219EH7zcJiHh8mCoS8i4ESXWisfbQiliW6kry63D54g/bo86KT7xoqTPHwMs7+HAxM0RMBZb8gjd3N1CPYSAnTz2FHD/OmTZN73pzy9FDQls+QapW4438tBGZQl96AnKU0vgNHizxVDI6jFXkiSE3s2Ge1aodiXlrUnKZ3wJ6W/xQWmdLwKYO+Jijd3f043c/Ga8CR2XwL+IRz+sE2FwzcIIUudBN6ykC6mD6e2JQ6M7e62gqTdTDOtRq8BSqvwpwyPyiX8mJe0zvBQ0YL5j5816yjUONjC7aP7Y4R5DQjgARnGWxQd6YBqv5iZbUpkNZ1ie/youEAIhcVf/xiEmjSWvMnhvsohXLSFyCYG1RXqwSvp4Fj0WxI+JrCEEztubGRgA9RXC7B9ULj6SwM4neRgMmuO1Dh8Ph/8/RLP6JzgHJThOUpRpYKRJ6ocZ0k+rl/7R3fATEm2PskKb3uUPzdRFx4DyA8ccRMIGv4Clf+bfrz6AcXQjKAlZ5cwD+ovqaMcgOSlFNz7FjyyOE56fVvolIqXrEkboxKs+26+LKNAazA0c71rE/0TGNK7D5mXvwHvt9agLQgi4SJq7+o+ydXZeqmi2iy/3CJsw8BszIIVfGpGjugrs7BXsSX/G/tXrN3Tln34JCskVSqh+s8tP1VOV4dXVcka1luOc7IJRinj9WH9P2BZmNdajZz/c65rz+F8blMTa9fPaUoXt+RKXUXbaIX5/rtgZ9Upv5i9q3X5iD3Jm8Fpw9m0tcAhy4TOBk9xRTgzemuwURw5DyU8zhItPcDU7twPsXb0gSteo7lw2Q+9jd6ReTt0DTg1rHYKoPQmwr8gWbtfYYrG4TOvvtSngL6288T80qAgEW178fNsBty7QEOfK6HDaw3a1uf5O67hbBPqFEiPTV0JccrJS4bEyIsc+4GNIlqlUj+L+fMov8o/x14WCbUCOnowBjM5A9yEtHj2CjTt/yAERLIsTS3en2NvDgSQkwGPn9jIqCqk6r0FktRwcD2iLPaL+8zL5+8PGdXMiPaWtzngHryJpzXlyFerB/ik48SRmxm4mlV8G/JgVcwJtknbFJN1+/VnKqHzYpDoKWO0jt1c697RK0FVpObK2hrAALWyj+xZXjgVP+9E0fxJudEMy5h76sAIMuZDU/j9XhIKETWPdHO4sizzm9FokEJ3ebQGtzpv63KKXky1Y3DvVIHFxAYwz8ULGwY0WZeUr/v8rBHIrBF15JweqW1JyrHtCFIEECQkfwJPBDv1Zk3KTBqMddp3mE1xX+NRmn7z7omPyik10aYh//jvEXNUI9s49eON1QXJFkndmwgiPeafoDKPsfW7WZeYiNm5+xaxufOMeMzxHtV6AXeL34jIWFLjByWfL5aaSp9qYPum/sIsJytO0oNPbKkZeKvnKfrpTADLY3r0ZWEjCdxxFYj1uMaBSf/nHARnAvvITLpl+hO4YSwJfEs+fie1/PYFs60Ba8NfLdgpPzDX6rNFCWmlaDW6rfug/Q8HgB6c/JtLHr+LPqrGa9qk1o96Ijo2twKpX2/CRQZv/mcCMmbbMr8fwyloQLTlRz8ENVbVpGzORLZBNBdKxpb486GQu7FNg++sraI7/R8BXDX3Sriywymlqjj9Hfk/xYYae962R8ZXZKl9JyR2igAePyqa4dyZwksnJd5D5vRTho4thuzbmC51lyw2VAwh6ATEGzHtAt0QJDCU9BVfLFseWDqIThx04cnNWLsybmv24n10AqDaJGHVaR1Y2MKzmogNWGh80AP4i3Wo5ucKmAQ6lOdJLSBUhkVtKE3YYXs8qGL+bS8d/O+oPsFwFmbq/BHQZb+jZ+Hp0YOFO+3zZci/FhJS6xEoGqY3/iFQpoKIpH21/R4cW3Xe9RP1rzU2BgDEs1fRscCxkRbtpvxoAyct/HALQaOCeBQkqcdjdMng97C0GiFc/xThNSbmAh4aB31+V8LyL2L/Qu172LG/Ly2GGBYuIqXePWoQbrJKjhFpXCdcRim0i/Q5m2FnCGDm0ZZsM2EmmsJwCf9A26/G5tk7Xj+6nCqZ+SIC10BBU5U3rm5aieMstDP8eKZIRfzH/JBwC6Crt3d8liix5Uri8+B2SCUhJUO1gl2SvCdfmC7kXo9HLsqWhweBqQfdUN93YQcTRGc1zHkf46i/CAU7dEDQ3RbB4LM54RftaqsjHxpRWIYCNeIHtyjc5BvVCvOsFHH6PyonCJi6dDTE8HLXE/S4aN/ZEvPjqmmukpf7l2JdFfpFIoAVT1U9IMQdaC0tJC/7VAXimv3CAJirA502VVnTNkvzXrqZ0x4hgnc/sKcWVG1VLwY/4gdyZIl9LYyjkjrqpat2sBap1ytij9m+hAE7KbRtlYJG3URrR/YDlqKZbeKzA6lme8IQDHoAhKkrbRpvPnxY4wgquiHXIRQgYbQwWvmerxmiByTYxG3OuXqzaM8aws/r3Mtz7iV7GLDf58P6oiibEWt8TRfN5RFZHYdWobmywOBp3Hmhrpit9csQJMOCtp2gnVtrMg0ggk+8zKkeuz8mZtuv63C+8s/87UK8vE/5KsY6yan01A5Fb9hDUcIPeNNgXA8jBb3EXFd1rfFnEdlcZy3/N3cpHU3n1ukl8IesjMUrWRLQAo5cfra0W6oUZ3XdoD7BMHxQ1mgVfdgyDiMJSlY8z5t+8ZUM3WygeALsqXxCkPVuKWEdsZoZfEXjkvrFR9zRW03zhzk/+HdXSxCFDjt0wubrPxlswl+brR/NBqMTtI3pop2SxtnNFbfrXxrcEiT+F6ue7Pech0/80ZOKxFunQ5NO507XaKupwI5hL//Y52G5IYOMzFFS6MqV3mZZ4AjMMz1gO/j3w7NiOCQ6SCPiQDxKeIEfhEJBo8aDRkWnzCSiSgbiEk5O58Y1L71j8iJS3cA5aw74lDnrtkFSMQDB4/gigI/WkRmySP0oIOd0bSkXVuWE4SRwV5ls/IrjZKf4wXPWVnUWpoybAy+fejLChCw3RjS0XA0n6r1QyRC2c4zcFqjgnpLtqOe4tRD/4zJld31A8YYejujqt4GvTwADfQdLJFdK2n83r3yNKVEGaiwztfaX7lcSo6MSbiYUyOkx7pMmCKec2zVvflNy6BmUBp4roFWsxXLD2vqe1fz+Fn26TdculBpxAylDqjM1bxuT/0EPdKlTh5yXAtoRkO9jFh7QSRzNiO5kenhN3x8h1fRq8vY7PBeOH+3+au45XMnJzZxZSlsk/vd0FhMMK5Tqy/92u/hAjhcwaqoU8yC7WiZyNzEvfGFHDZehPKjdCq6bsbFT/3kMdYZpPOjEu5jS51i0C15H9iEcWA5qtVKhcNCImDW/29X4NCa6LFFtQX4LqhQM1/pofEkwxHGiPSW40sQzIhRmOANG+6Ay0gw+lgOaI5vUh6yTZoWG7hkue5vw3NY9X3DNm/p1d3a2CzeJaR0Wwq5M09uy8ZZxey57vEpU2p0BWy4O4hRTk8YnvWcbI2kHrWsMfLf5pXtw3nWxHzQpmhxivy1mUBIORkfUk75doW8AeCCWwYor6fb0iUIugxZpoWtWX/q2DtfzUZD/m2gehhiahL0ooV34VlSJargxcTXg+w4FgHHc5qTHRWlnF6U132ZSrtSWoYoXiOxWUVmwTBX4Hu++CIa/8hqpPzrp/wXcqpX/2PUtZnzcV2Y5R0ZNQbDtY11QgqgOqK2PPwJ4J5gLCMor/TZbtUH/BJ1ifp+m/VkX1FmvjRrcIzTHhbaxZ2zyZDqr69mGnJgK5RuPUYk7C05vTqa/TN0Ki06R21i08rU+KEzUYGAjq7ynZ2eiMkSaWoUJsc9BgZ0AV7pQR8exLXf2h4ojz4OYmrDvPV4KNfCCkzadoOuOWbkjeWkxjLJpa8D5xpkdhafiABwgUHUCCd2sCTe710U+tyfJBYi/t039b54kl/gVhF3E3jSG91eC77yA9O6gMCMopFJPwX5mO9z/ZcYGEVoBry0WnS1/Jwc2YEDc5YeDIS8q+SF+E80y2uxPx+a/tCtgw1u+1DNm1jsz+AtqJuXeY0zdFOc+NPXtEIOQyKdpptGJXruJXB3mZySTdi1w2y+uWA0/pBmZ4LymX5KzE3i9JRp9q8alWKk6Wibk4eJYCuM+Uinv+Ijnf/ghdmaCPeZvqB2MCLk5w5KdMAgMjCfVp+C/6++m8m/cPE7Jqc3q1zFGwH9kwGRaP1TfEsO4t/lH/lDwYKBl48ctwYuw7LNvdR9MFD6ZjLyBqjHK4iQZNmO/ipLm/TjE8/C2Q1ZuX1ApGr4EjwrMfI3bE7c06QUMQtVPPsbhHMoOpKFc6YW7uQqT5Pz8ZXrrRCfSNk9GqvGrnK7kE9EjO0/EHd+T6RVZ5bKiafa5Geddsz/yrIPrJuG+lUZdxEP9jtkSIX1y6YUS9GbM/fDzbmGEVe3ZGHHdXvEmNtjQHmJ4HCEoWUdpVw0Npig1b4EKhUq+/Nm6qKkvskbpdd8IgOwNob8wdrukT2TjIMv1ft/U3SBd2H+8qbhkmjJ3tP9d8Ey0zQHOx0NF9vFHLKxT0XDLZTgbnaFmbrJKNTCO1rZfcuW9ffSkoFjhvOyRR2SXsSihqy87d9p/nqegC5vOzGN4ZflnLOc9aGh/COPqkNXXJ3Q5PjYziJfCEwEDbFqq8UPD/alBOQ+7G6J5o/cgtC6YCsdWhE+c8FAzOX1yMQ/aJtCAdMPEHuX8NiRK/fCshDR9S89yS1Ga94OCzqO44vkuEvboaNMI6fhnWRNRwbRmbEs3Hytoqh2CYCksAlG9uOCSr2frW74si41L9i3ZY7cTAck5y2WlezquSNGx4B8ahQvA8YensKP1SB/WaGu5DOz5AMhckjrjVHWx8AcooURNlZDii7/N5i7WJ60EoA+5m8f2t4RryNS2SnOnXrp4cUhYBmk0mCItllkS3PeCzHPbgD5k2Xy16CPV05SUEj+heh2HGSQia6pmvCVkgq014P4uwjHoMIbKjjjwxlDOmvXrxLdSm0KZmSI6oHj4wo+ARBzRYAjs8utvgw+6Ftlh/uEaHRiXd6qBDR2UHbMhGl2BF7HHfp7irgIPllWpmdfmc6pjlMW10cAzdcAXwNfvNJnOMuU+qfBVtg9P2z20p47kUJ3dOrItn7mTCpFEs+bXJsa6YVVKHn6D+Jwo1mJcQiT/EbV4sWXOUmKcRvODH0xpHfYnkAGqrUd/LPiFXakgvUEmMDJwWk+YagfTW/9sasa3cWvnHKRNVprJSNdt4mmuXWRH6VOhZxDnKfhNbTlVE35yBRR0x8odrQea8s7hdndXvf1YYnRu0AXMUpc98MjSv2eDdPBVTeRvj2CMpwfxQYm5q0A0WDpYt0GDpZ56GdWZLevKsDdFY91k9ttIf6Gj3p3y+SETdXoV1po96N5FJk72Tv+4ShpFjigFkWa/ck4Ilx2ZX614Ry+cKtnhwG3KZ0ZWKMYmjTYmKLBvl2oUf4W1vb73DYUgz+Vm0Qh+HUllwAqCC3m+gp41VqF28kiBFJcDyS0zruWzLrirNbAAGSmw82iM07ANMpREBxGC51ufVzvOQ4s9nH/hBKLn0LnE6teGAX8m+sSxr7Cvkra21q8m9hoXD2q/qkhHtpP08BKKDdHs86dxQtqKrooRRXvHkBdXJDrbJvQBWARCejxrj2fxCm15uKYoSe7utwvvxUaXCOeD1gEBCkM8EpS0DQ/UiZ+w+B1nhH5L7om7J4ujHHxIovo3xjwigntpjSb5ayJVOgqX1U4jwhslcSc9P9Tbhgdib57OUSJ2oEaWod+8cHLWxc9/JCsvfszL1iVdFZUhw0cZVlFJYoGBUMr7FgfN7vDfiOHgZigsNYgYGxpq8s+BMvOaoi2mNYgyoAspC4UkIBE82qh6GOwv6S5PjDUV5Ot3H+bdr3jxHRSB7yQ/LgywxXaoPm9MOEWHBaJeAm4Jd4Knpl0zpZ4i5ysKWD+D6AiskvF1H2COy0gy12qGIJCfBHaudzIrGZ88IgfFrqwTZhBdjNoae/1utCMByYILVgNCryH29jIQm8lNyKec6SkjVLcLjWAJTsdj397uu/NaqmtLFHtjJ7TWar9hY5FZ2K5tN00XuERzv7sbDj2t/+mUDESzzZeDqPOy6CJupzpfyCogekrWPZ8uYXigkCbHkZlbnEnfwaJoEm5cRNzOXU8+SCQqOjYz5fXTL8FCUHB9Bus2XqQFVeeh23HiQy+V+mDZw4LTTxEl8JyipgBy89sMOLT5wUO8hlHfJZE8GC7XZJ1D98eCS67ttiszRaXqfRMErknTk02gXgeArlPjV1RnN9BR48Me2PahScjOMybOAZp0IKhVCj1WnAvjVFjrQpi2p6hl+QqIyTUZjYe+G0PXJQHGZlmnr8ShhjjKx/SepXZzu9RnxI4VFHK4hVgwSha8riId+XXUsaT1xrAQRNIiv8f3oao1wrucBt4+yKKEE7MVbx12di12cgwfeUJ43ekHis24IOjEirK3IV080DHcpmL0yg94lW2+eg++aYtRFUa7GPIK3nfkuYNpLeaXYzbn/rTqbgbjmkEWOR9kD71/ry5rCkQAyhH85P1d38R/oE4KdqP92lYkp0suYkaF+iAITgz6u9Ia7g6UUNn7clc1iWCA2XV59EePODxosEbb48LfGhrwDQ2ayDZFdG3PhhuIeKAQ6otYkxI0rv7I+JmioSw2+pZK2PAK1iGKS3zwR5NNdtLj6J6mL8W5nX7AZmXCWGvfSPmrfZAvRT2VsyHTLHXxbhwjI305CwIXX0EBy694Id98zq6cXrFXfy/uLKikJSBRFYWEm8PXwsW0GqOvnlbRh1ErNy5Dykp4cMYlILwSgUWf2jW4V6+8IdqGQb8mQNwY2LnmBMlJiK726yUkQUSB1yDnjzMF3Lott2c8ctZigXz70xyUil/ZfJRIw45dMtcuZuHqudu/dGOkx6XJo4rFDEu6sJx0WQYLLIoLTy9Wfgc5SmJDIP2LxDdetuyDhKGGxBp5ivsyQZPcKFssZtckyDBP61DPIyPNzp8O5jjI3IHeITbhX3KyvN5OQQNFwKTSKOr6M11rieFl1DwattV+hums7/uxyoy80Uxx3KHCZwD6jP9kDfNxpHxjIME5tMhK6zf84Os8WGUErad1qmvlZ6mvehGujrrikvTRuOBCLo4jxgGMrzErM4ViGoj9XN7O7bUGG0BdF42yvH697m8+GLPa2yXZdWPH51myGRppvWGomegNsOMSAsj3Z7Dut9meL4/appR2YgZfQF37Z3vxSz3c1nDZ4PD8LObYkMI8PJOA9SKPhl94Y69dTf2Vtw5lqzi9F6+b2FEkK2/nhNlXRcbqa7gZNRebGXGC7HvyQj62NxDqWIH7nj26ZIUxhL/aW2QzaFku0U3j/oQ8ZfSIP++oA4WDYo1dKm1+no0m1bAv0FdYkTPwI27r7zecEY6GzxM13b5SlWzB2bMq9thbF3eMAuivVNyVjq2DO3y+NJmMU6vjg2zsJLj/JC5xNuKJ+rHJ8IGSRaawfg7QGaDcALUuYegzDZpJZe9jq/6gtPX0s7V50xv6ZUKW1UmHgFv5hjh9+w1d8JDaOFLEObTrVLIDzE1iUC+O+wYbcAQgE/4GNyYwupwwFScIQyVkCfetRmXXbUTMzkfbe9FLwaEkOAAvn0QhVTaZFpcBadRc194/yiglPjHl61j5cUariA1FmUf7OrCenlti+WpanQ/b/XK6Jbiyxewz0EZdEbHZfKs5l/6Wen6Sg1q4B6kIigw1F21JoFiQURq/h/0IyjfrcgJSir5m36Er7F+s2hDHdCb2tAShHxV1CT8SI9on9MmNRXaXn2LkTh55aOUBN7KS5GilciyNwSZ1KbiakNBjZP896xsH8XO/QimUD45VLfYIgWTq5M11D1MVcvz+pj9wQYZa8gel8adrRdVOTv79Imc3SseWq3ziMV4ysW0tuAS66ZSU4rMKQ+jHKJ6ozSsl9p29PUQG7C37bgg4bM50UTBE75H2dz/6gPmBZfQ4eBKI5ioxM5p/AV8uevBSATtwoTBYvg4aadnMt41MRfS3/NsWNXNbfKtm3iVX5MEkI9YYhBbuUW3nXJajc5s7/zaqyM+W2GNXGLtCOiaOSl8igtAYH7wyacrKfe8bOQWb/Iwsuv7JoPK7623zxfbaS1L3HBPPKZqLHpQxWPCXs9MoWWl7BLJ+OKqCsXw0oehu2kBRfRxkzji3XklcqdEAWYD/9WcxBByiljt6mWu351jaXagL9+zyD2JXB6o0U/t9bGzCG7YCQRBljUMJLEpDL7Jy08y8CMOaJPPBfUJa7Or6w39R52GsDFj/91LdUQCJtqrFLgO+zAXWfgMf5H5IDV/gilQERGt9LXvz3Iuz2tKVivdBcEeUqJplbm74rug9nECk2YGFldjS6XgpeNpGFmvsyBnFfCM6+0XYfvqESes/+U6aA92A0C5dOCWmBT1UKTbQ2JoyT54erYnI7KwxPi7g1BzzizK39VDUIG3vw2PrI236C4kGDzm7+0hgEfS/Z/l2TvNHuZOaSY6OUBzRpr7Z3x29neH2Q4h1hfsfqaw5YEU9Lzt+PXJXQMrtvabmKsrgd896IUdjHVo3V9KUlW6jRS9cjALgGTLv2nCq/+w7UYr0zOTfL0N712IDcmjqwunLsWCTq/OUT91xiUClpUoWET8cDWssFHmopmqP7a1n9ReWQZAwERFzcRHsXNr+hIC0hJJo3+zAjCjdGuPQL0AF1hacTz35zzsiH2ASbkdBedovr2bpzZtcDCo0mggZfhxK+9u14I7s7QnR0mvwVkYuVJKRpSZjBrLgjpITtwLKe+736v5BrhGm5hI57189vceN9BuVFaA0002T0hnJc0mGiP8rpQ5jxr3IyJTEwqzm4zFW+ceZkc4xEFEa4J+hIDthj0aBSmFiJDSBwbOK2CcUrQlQQceKCvUHb2lCnQx/WqUgsNuUgYThytWi1pnGqHbhiRixNEXJZPmRciIPe69l0f9+qMGu3x9sSwfHzM5CDTdrDZFS+dyQ4yb5yNvYzcbNJ6823PKjrXYZSqy4TAtMEeDKUILn8A9lT3G2+YqLx0MQIHzsKS0D/DgAoo/Jw4+tT/Uvh2gvKwi3oZHBtO7VJHfQKw4bq4UNTXzUOku4aRIo97GEpfCFBjWGuqpcQeCsp0uRBuXr9zCcOdl6aqsg8+hzkvUHkVgaAO0VboXY+aJrzCRhx5UKYSedb6knWTrcPD6x0l44sfOvSVzUx78k4iF2hA/dNLaFPylf2ht/fh9vHWdDKr/zLmJuWKq0m4I9uidfz1mTeRF/VPsRGNmLU3ddFwiypoiG0xAdN9V1sXWbOudyBS8YxzPPiqXR7PR7cXmFZWpx/3DaRx1P5MGgiS/f+A8bNhq+RP/7GR2kASNKZ0+yubkeTtXiPUaEEQzNK9f94qEwqYATe186SBPyVpFbVUkSP5j/+LLmq6hwdtBjxZyCrF2nWT6sXeE9TBsUY0EZzpxZ3zaV1SxznpPrYMg1Clt01zCT8UU+zucxuWj6jutJrdlCGn4OUp3tH12zFYBEq2r6mGI3VRghdu2PmaPOyXo9M/wzsTAKm4ksN4FlYs2Y/FDc8J2BlGU5FHH4XPNKuXXkgeXlBzMAmeVuZumwIepdS0kFuOKXEYcJFNO7ve8ujEMPcnI8R/ralmnaTR7XBxRQriUrAbuQPTxU2opthXo3Qm0WAnX8mJavioKaGgLsTMrdAxLMKCaEwrswSng3Isf5DfcchlEMDa8WvOi4XAKZui5g1OKcQ+KGvhiXWjr16fgWPpD6Y5XnBo4UYnlqrPAlmtM3do6Y5cWAkq3aAx/IjM/nssCNIFLwpo5xF3lggNkDsq+NmS3vhWm4ASbH/5it7l2uJ3/f7iMASD8KmSY58WYfXSpqbuSJxSpN0lRAh7U1KRlM6HNiyaLB2wAado/NOFrC9q/51A9qw2sQ/25MVYnnghcEds/r38a2zgdkbacm4/J0A+Qy4jvha6j/miZidu1oSfAFmiGB4INEYj0siQqhqro+kzSZ/YOvgtzId2ziXa0Q41QHUXCDL1twWqeOSbnicZ2qF3B3/eeLLsAm1NzMgoxvXFqUR435+g9AJyumkH2ncxBBM6BC+mXYyAWZF9l6rF5t0v5lHEA2QzEPrK4SWHrlMcctM+QgslRI+iiLjc7zhGhcU7r8QhDuYdcuO9QV9s9IQVyxDIZ0TSeFAfBf6pmEpa/QVgVUcvdlAG7aK4LYxKYlHZ9sZqiWEQz8yObaTQoobg/2bE/gzoKSFyJ69AltT9i+9jtpaCt9mQLoWCVxFnVEhNaho2cB00srcpGVcfgXYUKvjD/pOWr/TXhBLD3AHIvfmnUVqIkAtTrjdcOh+WvoLg6zFEYRUdO4LjujmXvr22QuXh+OTFGc5wruRhIP5F1uNXrDXuRfL42+v9HwaUmrpAPJrsc+Uk+BbL+EbA0LNBwDhuvhKJPkKzxwjSzqSKDS+cCZqvztiwSj6QjDxNSzP3sDOOYIati0xM0GPusREhnZ7eWhfCsgF869oYLXBy4nayjdAIy55O7hmfKK5dli1U+lNpcvD0PpKYTwWr17MT0jUujf24u2tdA5aKGEebxQTxaV2xq33M1slMZQ/JNG69E2aM6KKLs6hNrKDKtFZNdC4iEpE9/V5feAMlGHWMnJxyCEF0CFDYXA5s9YVgSrGWlT4ye5USifSyJ5D1a2iml0nOvsdbltK0GQKr0Bme6oYEBEfjCSj7Qds4WBwX+6KSnVJKcz070B8l0u3UDurgUnG8vd8XNdEoALH2OjkvGXPPLzZ24x77zIXFb7wnlKxqsjBDGvp5tKow7ZHttLWFzsioSwq2R6nUAR+TrbKXFeuvbhC1+6pFi0tDQdMYOzn3nkoQhHdPHawpgZ0PYQjP3mzP40wu/Xc1CeuGUOaMtv1UcC2mKHo4ghPZyDN3Wn7Ee+OwGtPRJpn9HIv+xCyN5UR6Fo+0ULG0jrzoKrsXNzW6pzndQ3LPQwI2XZo4Ug+V/8VslfAT3rG22vGVZAK69JlUurU4+VQIpAiTqrODEbsPBYWQKXnaR9zxQiqxZV/UxnkmM9orxBwbMoXFhXdGfRMtCvCQQW4tujo/+ZjI+9DYyv+BC+Hp2q6R/TUxG9VUqvgTXdTFW7vbGcRD4J7out6a9/9J8p5oSlJBBGp5ZEnQukjzt8hPiMgLLu2w7HBZPDwoCBOA4pe6uOcjF2i2JotpGSmWY/S9/srwL7zpQRqm6OSSljYhWogYe4lNzYayBGq0hxYO66UM7BWIfcXNEIZpo3fwALSOAk2d4H6OgG+FzPcX9T4hCYv8MAhZsz2RDt4aspx+Dok3uVx5tb/zVSi5vPvR7vNRXV9iMYwvZaqyX8yDqCHPCla44ODP/sAp7F/RVuJMHYv2oy9WUCVbQTE6ghN9ZI3cNrC6pI5KCs7KgBzWb3Y+x7O7hXA7mfrOj/b6WmnurSnDyQarQUzZeIk7v+JuHa0t0WDYTqoaw9sq1Pl1lVL0lggyFztpIxRhJiOXmkwt7wWeXB3YkFasDjr+dQltYnL3ZpT8XYDM2qSPT9FlSpN2kfMA+QW5YYxi47Fbrq8dZ0AJ3fOkU7sTseVGK4JHPYYj89IczyeioariEj61ffSMl2Q94WsLRwnTsV3CNG58knuC+N1cpSmFZUw4CuUvWTJcOVVKBSjWiju2KkXSdUNIU/oyAJEIntH3opLN5tfKyK4kZRG1Q6GwbERMl1efmwzhP37pLCB8AcytwW8tsBXlK7uKb6mnNBUdKxxJ2G6/Zf23z/zESjDMJTmbCOjQlhOWA8hJzXlf1Wk8p66KEvtUGgiIk2UXSQ5xVMZ3gdw4nupzW4aMrizbAD9ct4quvxncmim3X3P+pvi0qjRGlbcVYft+0TkuG2twHsMzqtyI5Lq8XnxqzDrGEPG+YGo5VGJeewlvcWV/JOMdCGHNppQQbzVB7pzX8PGQmcAUH9U+Jvig8Jm19ixOmAcSJwhT2+h7N6sy9D0nWrU2ZkXWycPpzUC40/UENZwzAGNa6meIbIDKbs+caAsSHbIZqlkBMpAYZMEl6S8KYhH5QV87BoVE7v5FFPgvMfLGIGH8wjGgFV3jCgsLmOIA6kHomYOOqwXaQ8EOJG9XjmX++j4TOMwlpRCoCdT+7+j+HoZtnXwbemO8vQb6VlR0/gob4ybXZvNm9VUmcvR8m933bSde8Q3pbMF+0rQOF3ulh8i+k5m2wDqsnIoiCgakF6XD78g3WSgDrqF8YFLluX60AMdkt85kNgBa5PWahIVPSH1n3yn+gOrC78D/nP2cT6oAZA8FSZE9L+3sT/GUiy7AZbW/A2JD+ZXYjETV47u6DFxhzHEneVu5c3xVW4FUMPJ3oPO0/xKja5tTwgEgZcS/j5erPsN4YN/WqTvSwVGii4h5S9Bnuph5+xGjLZBIGb3jgCSbtZqHLqswWbyqfIrVkMy43BpfYl1Pa2bHlyaCmOpQYhzLsCOnj6aq4bh8JueoRnm46BFmygWOhHtQ4BciBoF0Pr8NJSkEGFwpLvSOd4yZzKyDpTL5QxU0WU5NRkQfnh0OMWcRY/569mepnhM7rahuj2CT9etUahNvtlSfGxV1KLrLnpJdif6i5zVojBOWVH5D2npQNCH/94+BGAuJOE9mBhgV3HXTizt/o6PiBGJVkgROapI+9xloHf5qI+key+nohnNYQUMjxHsCphu6+RIGuEhyAZRMxBhjSkTIiW0ZP8cEFIo6/aCDvV30F+sQLlDDctzqubBwsuCjL/Da/QGEbdvj3k9vavLwXZY1EqpgtJFacgjXKyzRtqbRX/MvgAQbqfD4QYlAlKVzwWQsspL6nuKJHEEtMkXHZBczztKUgbgZw0NsRgxBoEhfA8JwsbYXCzPcvK+/ravVtfsW667j6qeqPlG4qBoXZJQcRg/qXN3c4hBXoJ5KfazKvAcbTe/VElxbXazaSKsf0SOdSCLl+jb8IeFGmF1iz673oB/eizkIaNDZYOcD9wKtqKn+ItWZ5Xi75K/D2fuOcB8/ZdUQAQS0Hc25W0neMApTwcaQnlDRnTi9Li/JaR61No1GXXa/LijvaPxZOqCtwNBO56K8DtYv76JmRjdNLdicuo3m+ppOAPApqyepJCBOGQ+HsFVjA8MzamZcAjsLEGhzuQEJ9EN5GY62ihrsQzLoYux/JIYOE5i+nXGcJhB2+8KU+l2YrEmX1ySSnsbxudaiDExjvWpPgiq0NsV67YEHAj1rvIMTVFSJt1b8VkT6eDl1Cva0j4FytttKKb0ySQx13Lzue5jJJgloB0YQ1jEA3ymFQFPLwMLXKzKa/wBkRGOHEH2dQGw6TJy1IuE4z5tORPTZ9HcVsltWOWECyyQkLhAlOxmdthr8WmTYrjyoXOGII3KtZa7RZoX8KgPApL/ez2L/KzZuyWqOH8mRiJLEbSEz23LK5B4+kiXS1+fhegf0wDsSmd1xHSWLZipKlyZca+x4Ctf3YR62FlMMx3zstjpR/4FToqKHCFSSmFC4JI+JiMB3GuPWyAuIK2tcLbDHi7ho0o0q6EnLRUygRWgKQGRySXQTCcf0KgeGqGGrdqbTcRVieCJu4bqcacI1VRKXcXVs23rdOTFKw9DcRzgSMC4DsJwWKXnuUXB6WfTNO1fYlXyxSZoS65JdTlO5TSzd4KdJBKqwD1TrwJEro4oRO8+o3Gj2NYsKGeCbePKOGvNyPBHSHtGF6AcczwIWcM2Y52/0q5xPS+p5M93TqZczIPv47c4B87eIkdPV4cMrJspOwEjy+wlBDTraA++Icc2vgQxED9b5iEI2kbGvZXUuo3velyxlfyeTl12gzkxhujmOIm4wS7ctJ0AwCNKvUiyhTg7NppMXBXq9a45fTfSlMzrwgit9Z2XlVh3fXg4j8+nQ+XpjcInCe36Hg9N0GEmyrLoEbRXx1GI2UV7/yDAfQzE7PGSrmn4n7LBtOlJgSwXqku8yTZaX68FR6VbhEmv4u23VNWQU/qMrS7A4/7dGbCZr7kjLIiv8V5q6tCDYswNrBXxpSM+Q3AXJvqT72WhaItznQXMZnL8MWMnu96rHSVwPZyKRDA+TqUVXPV6gqd3Yohm6DSX6QfvO/VDdoR56nR/ikd7DjdcXB1VhH7/cls/ukSZ/jffXuSQ+4DDij/BkAjg3BracO/X7XjoRRGYZqxUBIHjeiAG027dwFFrlYECwdgaJASOUqDFUxhiba9WzbOheT9mpEWF/QhahpVl4Vxato2deksTsfsSbb8+K4ZbA0P32lE1rhIPXtsgldL9ZyJ+90981rq4ZLWEaZ2x+yQg8fNNdhOzCpNlz0U+PAk/kYMsFx5uyR9fFT391wEPRSS7ybbxIyiva4Bm5ZfQaagQVPb7qLmMtHUVYfT56z6c4xv9nQQD3JTw3XMPZ2A2BTnU9DkF1K2CsMTsUHLHKruLlmQXPlEPOCfi8OdYJ3Eza3Db97Z+nPDjitpBy+n2m0GkHJ7ESvdExpHhDSrOsct6ZQIxrQyK8svjfgk4Oeg+tafxwsK+M9fvJ5YlP7KWPZ2e6UW4uG2pUKG1dsU+5Q9rwfMlZ9aelwXxznZEnP6j5dxi6KsZHnwZ++Z9cl2HpZMKZf5Bit8yECDz/s5PIKpmkR6QMarvafNTuv5myun3F+WrxCYgqehusTOahGsVplZQJVz+OqsK6dOjrWy+qEjblNQgoOK7R5ZNZZK8Y/oo7UzdOiGuLRAP5ykhEaqydY2RHFP5hIh8OlMdrv5LDCaCtyzKKwQYpMDLh4CCmyrcL6kOO4EoMmBlBcXXkg0Lfb1MAuzwxYdZcx5O/IUX9frpO+HScJTYWHQnRvIW92OnfB6EDvd+HnV8sswV5vjR6NSsmLFGB8M/WTuEimDGGn9fRVJfTgJjhG15xvkoWDRR4q9OidmkwK+UC7+yKu1gh8NqFuv/RjMa2waH1MDuvRsXJGxacmT99aSbVVQm1c6NqQ6L1O0tre4lZGR04X0Ipj8koIUiZnPtZT90LibgM9zFry+1D45WsQ1DbsriJrL/lgxQdzSiLVFmEUEgScxQmndn1NJMuVYySbx846M4Y+41xPyvUdx95E3Pm0FgCG/Bpgelaoku6RVFxfP0BcX3968Vleq1HAFVO3PRHwgopYuEbgfkquu2UX/yLFqaupKxXzenNLLSUw8YQpPg66E3oy5XYklIf1DmJaeVs/KXHeFmA9/SE6i0drGgeKlLK7gtigYZ0GaTZdrk2Rz5NH+QqIJzVOsUWsdSjfw6xbawvBydqs56dktnJLOC040GIV7nF10r3wAAwC6T9Ar19bSH+A/t4oZJ5rL5vB2VJxHa2dveX7GsLOjee+6RFTVA4dauhXJSt8YCGwxBFRoAyksezt2FLWxVsj9CRZXX3wJ062fwMuIM2g410x0GWNWqYDvZSbGC8LR+F3Bh2Mq0dTNeuN4VY8/TI3ffC+Rg/zpgA5vszVujqsMuKzngYK5EdpbCDRDd0bJ2fShi0fjoNJs8lq18zCom4yrQP311N41Kr7iOLR4VisTD9FLecH2wvn0PeMe/hABN3BB8TFsuwrx5pvwgyAug/RI19hFVPuh7JR2r3bA1AfLxzZQuh7M9UeO7JgCqpJqbRwJN+40G+8x37BhaM2w2ZnjXnAMRph/CXQbeolXgLdrPyxeIy7TD9UVSP9Obfq7eZDc4EVM4cj8iu3nxeaFo4T/uvYbeNC+zy01buU945EPoGXilye3fk5/JmoGIrlCX6y0MyL42CqK67/Uxr/4iNrGjVrBmm0ehfof3FWoz2NsxAKPu0u4gmn40oiYJnopF/Ge2segBThCEwHDtbffm9smKTGRbhAF7yPxDUIZkgAmvjbLvz327/dgDXR8RNM4dVDzaY8z0rVCWQK2TTn4kp1evJGAzsMyjVDUkhcSxlAZM40zfTsQ3y16T+oZBFXL6YKyNsWi5+rFhzEh2SuxRzVSdE14W94lTEizy/UjlOwSDj5VyVkkp8BclaqLy/oWrvIw2TrJlrTP+KgapLgIhx4xD9lTkRtDsBNtfI7xQvVwoZGbE8KBVuw9P6EqMF5LHkJ/IeRDFI4AW5q2KdADLlD2jhA2zQo2FgsErMxBXYHSkT4wWPiQDQDqSObu7jSMuypNW2DtDX9ujuixTii0/T21BvxU1okQMrEHYUwH2I+eNs4KeZpbwAmJspRpQPNjfUuvtitJUnh/OXUrGHzCJyw/Gp4knEdOrL9nOvLknDcKKpFUlrVMnjRQGj+qa2XZ6P6vb+rqcpYSPVJuc6Dvurv4bALSjXYEoK44Fm11CFAZUEOkBxYHWJOP6emUO3tXpw3G+GTB5Z1/MfVgp3MdyIU7ty+3M1c8ByqLAjMw9Bqwm13/530p9X7hQ9Kl3+xFg0KmEra5dwKNj/B7qJwc1bQ1drFZVoSubKYqGgYly/s//FP5mB7+Pkn0286FH0fK+jPFbhAlAkHY7IU3vQNk25M1rmjJ+zOUv57zYP6HqF1L0/ewtZh6mQ6Qe3jGM3OSiniLoxkHBA9tuTW/qSvG594WL9JFhxoACt49boHQG3MJzTMDVWQK3HkMl5P+bybBRNeEUzk31AKPVzFoyX4NYn3+wa6L/1fjoYESg2EoyCCWXuOQXVrGYVFZZB+0vuXmXy0O3K23GhSfT+z4y0StImBpvgKQYqGFh/0hzmZYXIuRtqby/caOPm7Gp6qfdChSJct2FVk1OrAV+LrscLzJm5nY8QUzM9/RHC8Bmsw8zwB01xtohjthQNnoHfiBKrkIHHJ7JptL7VAMUqaPWXI+s3S/bauF/OBG74cgf3hr7tnUDcv7STBOrIiDS9vY+AkATfoZ9D804DwwejkcEMkTcUAx8GzDDjj7t+hQLRcZmaYSNhq0e1FLS/va4/qCYg/kkmQoFeLpjWB3DXkE54c7Ma8HCNl15Xl05OjV+9Ttr/iAv77vI02HGwZEmoRGE9rBOTe5AbrhpvTgiYI31gUfX4Tim+QAP3hUTNnqrA2sSo1i6M7Q9qMLV8m59AQaeiHG4BSAe/RObb02+LM1tylBnuvcuQYUpRl+5LFS11d+MD1E70sMZi3qJyfnNb7W6Vh+TRnTt4NCMIFFQlyag9r0M1Wbmc/CV5vsI18qde8BCO/lYonKMawQCYIYVEMTLz/hKQLMxyt4cb+nJuZwhlH0Jm5sZ/vPShYPT5co5ZVQlrM1ZqRtMrxnpPr4SuO0Hn4xKCGlUeGnialfhOZR2UVY938vacOkd/wxp2JG4owcKIM7Z5ruuKMRr67gyXBajO6pnmj74VO6oBOJdro+hcCcHZ2//S0eMNDbvjS39VP8eiceZi59sjfZFrAEPsv/HIVq8wCe3TMt2XB4t4XeTulqgK2Z/FS4V9U7aqx966XY9fRb41L/3px8kEA17WpmGHKM9FlI2f83Np9QYuQpX4vmlPpFR5JFbVRJnJIa6qxNEYwG1Oym3AmfRcUez+wMqf0vYkEaEbN/zK4UjIVDN8RGor3GMNKfffVZDsDr+vV7HDQ7mpBcM7rp5CNp2v18buU3FiMCLM/HTic3Z5hiy8banKKwrpG2SbBj/9DQF46hUxj8hKoPdvINuRTxesJiL+yx8d6/Ywgyv7UY+IHqISIeyXFtRuEhLFjJB9xt6JsCtCOjWR0IyQiKYJS9lxTiYtcJ1WluFftWN1km8Ll0/NHu/PwdrXl2y2vjj1FuUtDZ5GIvji+ytkL599htln/NErVrdJW1R45w7lDE1Gc1FPjOot7VBYgZhNcrB1ab4Pjr18xpHpTM+Hm5dcXNZpSETPNUXrjIzxtuKYE5giMYAzomFSQa0A9SMlZhkBR77kLlJo/UCBuf140asp6pRseTbeXLhpJT2ElF1AGc9uw9b8kOinHC/ebpPyS1vxjyu50wa53RNunbXwlGw7sResNPqgZgohavi34p7y/ZuDG+6G+3u5QfsFTa9ueo1HZP+cvD/CQIECxUyKcFvFG3TivHi1NTybgG2EeSk2/AP5Ny3h/ZUjY/CPBfEnQx/z5B5iqAyDbfGqSFK/0hWm/ASEl4sH5ql79NPgXoxDSpuNnVwzhlE13k26nYs5iWT4zaBtqs8KkdRnFN/+KCTmfxTDieb5skqu6Ripk/bt30DUA9m+SzEIgix9F+8O/h1lUDhkeRjbvTu8eSMog+VZnBIHQh/FJp0peWNCJ69lfBqLfCVxYh7B+MLXErsMM802NvUyZx2/NmvS7JarET2GcELy7zFLzKa0hTkENHeHY1XLqSED0JARbHXPB/6LQh7FHfJYs7y4CTwa3LaRMRLXApYvwv3R2akqgLo7llndiD6oHMkJ9tX3iF9YU6leNarNpGTkSL3EWOtKPRmXy7f1tgfpW9GOXHQaNqEVPn/tQX5iCafpdOSlBkoyWS7LlIsJn8OlWD5uhWhK9wxvhF8zSpIwP+DAmK/Iy4zi7miT2hdrMTIGMWNhzwANov1HdD4+DIxvYwd7xpneZoc5NdrkDg+nsYXFiL+7wHHM5R0CigQuwQ7IfRV0BQ/KWMko/m3yKT/017adl/kVdYh9i89N3L6dcrCzGdMy4vRziIk7VPlG/NpDmJqAW+zEYWl/OFOGHZVfUDUahOWW9YaWD1LsD19OrmfH66+Qbuv12e5iB9qbnBeQ8wXEOM0Yymtjy2yryPYDWCkM1H5hJse7xNbZSbS6hR/ACLjME7nwRHajyf3gbIzBpGDRDjhv0H37TB5tNRRs9GYucs0V7234TP4T5TJMie2v5IgQKVAjqmVa/G1c8zIkl0WTE5m55SjNjZztAXRvYIq4eLVsi/MFZiSs/1XU29wQeZZgUFiypCPBLpUAmaoQSKHNLn4hVVpEK/ga2dobYPgF7ebse0LGqFTzzXgXBGiTXnGaLXZyR/E3UBSgxZ6uhq/bBQl/A02xRKOOZkF+BAI9MTvk8D9wzIKDbqWDYEweIM3MQEsrXCRev17lzXR8Devlwpp2tfWgtRijGissOdIT5mihYxEIAWhDVaRVhHm1TwpwTmRioC4QzlhfvXi8bUwiNOLhCRj8YYkNrNPfV7gbqwYMFGuQVGnlWqsvsclBuagCbtLihygg3AAjJiYzUlijVgy8wzxhWuKFYBgE4DvO3gCGzagq6AKPuKqHC4vdYW8UnydpfKk/InW6s0Qp/4HBiSGr9t+zohybPuWUOgLAf/XUkOrz41mVe6fHZzDwyIkeqNWH7eT8i8XowTaOYVWeMUKvlF1e9hckEN4VLffcc9MIIAq39hhgCcVIQ/iOqplF3FWRDslR1/+ukeR/P0kQ5qqllT20flUmpYZjvac4oUa6M1r9EsiF5frEZjjFaSxuzk/xmfiM89CEwgxQSXj0IEbI+1f6io5e9J1ciI2vEVVdc8f5D1Kw8LdtxvDIW94m0y6uV0+d23+hPkM0Da8+ypHEJ41pD4PFXRG590eBlPyYZFROVlBvywnWGkAeG0OtPMEJP/gA0t9jeXdI+5R8Fz2KGRowAn5A4xujs6VNbwNNkgOJsL4lUUOL44GicarZwRlbHVD2TZf0eQc9Qbyyjxtv9FQFAwEFzt/SDz3wVCQXXWFmjk6MXlEgSggxtdcgGH9F4U0ybTJQQ0tgogdIr5G9DjM3BW76aJvs/ccb9mg5EOgzc925nhncVagOL12Nfln3cRE4kfBQ3/abnyT4+P78RXMmR7oKcbQ7qBvvEMXAwpO9txbrAzPqZ4qj6pjpwUDPBLVQOsT8E2pC/97/Y/S4cUKbiqJ6SAbsGVoBe7m5o3QATQ23PvFktpGZvVI3vxWH4p6DwUvdXgrdb3MoMyHtI9WiWIjZxUt5SGIPu/5tyFkZ/I4cvYWFR7cKz9uhCD4uUpC7UIIlA193Uf1A/xmSF3JZMOJFl5/EScFuw6p3sApKXXB7MBDmKjjPB7rGEYJlB/NSfI+1bHsVjiVsuAhn71raKXSPE8rUiNxvKbT2usePWLU0EoN6C0y9ZiLkn+oySFaG3RPTxWJihLjVJSboe0/82qcRVCUiMsZc2NWS3FIwXnXPjogL5gMr5bdSVfZaT/c2NaQd5b+3Q0DM2nAH9Y6sx6lUke8hlyomGd4od8nEZJ2V2tSeZx5TXSN2Nos5a1niHjET8AH5ur/YiPdV6vUhecJOuGUL2VYxcv6jtfbletrLbeYVlcFGBc5ARBV3milbi4tWC4BEwgDLDrV1dLJENB4PGoMZDSe5oWWtwNL1fdesYdb9ntrPmNwgSZBGSH+lGZ8sytKqcBGHGak3T8y6rMSyIfCp6qpG8Q0Be+mJtiiNDHBcgYI5b0lR6Lz3X/3NtExxvzNXuXjFsjimapWZ9dgYA0D8vyVQlmABsFmWVLxqWG/auqkzl8JW9EivYdnBHwNavyi8glcmCAK6gTiUmQ9sv3Z42vvf6UHo5jiTxFE4L7ug5trklS/UIjGagF2K+fdyJ28NNjYiDVKMSVGKw9IGMH/AGADgP+k6zi7JK2qBvBTTOnEEcqE9qxq4OlUyB9JNaCdMI3XbjCf9BPWU3Vs+KVaPdGa0/DXuF0lbPKk9KBXmMoTZ52cYe06cNv1EAFnNjNUc74LImTOH7Ytn+y9lgh25G3we2+CcOppO4GXnoPPv93u8SBV2vkGX4FBzm/iAwkXE72tM3yxGwMFXHeTY76Fy9Gckd6zvgrXegjFXqp52ubIRHjAUy82eDf4CQieJtNb0qPOmg/sVMRF98L+fYp1RlombNS7KWitNHTJi1spbsqU+ZAzXKK3lkQCtSAOZEEL+v0gijahUCuHAcymKXBlueYjrNsFaXvU5j6DK3vO5nM0c7nqqw2ETUXQySdAjHuR3IpaeCkskr6oTAnaMp/Ac+Uh18OJDrePBOfC+S3QdGLW9QxbcN6PqI2e4ngRGaIFa758upNkr2o6gsgbqvct83xJ+ZMF3xFf4Dldp1LJRLc1v2H9uHphVvJdg3WsB/Cw1qjJq2APhefAqJeXDZLfABkFcllE8fCI1UC59FC9t1ZrZjNf8HzADabQ44s18nF6W9pUqM2nxRT9TBhH1OU/RAwLghTB0xZ8M+x56kMrtzHffdFn7eeUuUzCkxrHy0oLO+C6Ydb17rEVsjKsxCiMrAY/4mLImimVI5cPY3q5vn/0JLwKFjDKjnMbLpzfXgX242IUvU/sQmj6ER2tPM72Zc+Dr5mO4Fq1MQRey1bo+mM78cvja8GI3gscb+wJ/WqPTgn8FQPwOwD2BeuRyLsI8PtUZTcKM77vpPYOFpLddQRzRAb8EhKHKjkCaW0FZ3P4Hfpjs5umGzQhedN5LZAmr9+7HWYB5vib8WfLm0O5LkCfoulzVElDqafSKtFr5AO6wjdfZh7/W0YFtf4jCYh+XqmPd4q4Bb+s0G+zaZwUUqCbc5FEGM+wMpNw2EzvV4WnypcqsiGh+Akqr1WNM6xcQR4z2/UlZ5/oV+TAKH4KRi4rSujCRVwIdlXTt1mb5cr27G2aRYNo+9EYTdmWbpSuto68V8LTaFypiz9jUsBvX3VmvYZG4UBt2LRDu4QxQDSPa9Fab+0rv2oJMTmilP8zk7eE4F6OJ2QzZTHvXZDkCLCMciH34+Cd1tatUWqGZUMvp4YV+68vjsOeebacp3rYfIgxO2Cwffr8iMVFsfK9vu6K618whNRLtLMOWy60PFrS+mct3txqEGS+MhjHsvs4+Y8pJKUEy4xREs2jAzIEJXZJmFIXV4+xl9WHH64zb1AsatbtW3/HmRmBkjR7as5NaGETfL/ggHUUqNZdxMCvRaxyHPu7velEJp4NS54p6D2TtoFMQ3rdkyIuDLgO/cMpxMYnfeuE9MMAyptkudY1ola6Q0YRygf0ZxV0/16Kqi29YCt0fQd4BMu9wQABCzQLBGHCM90SYKwFp3s96hvt9+5S2rNppzxuiNQ86dpos9mG8iQ4gj5B/veOAkaLjoYfG7CkLcss9SsKEZ5BVyMqieU/BTbqRXyK3ADES+y54z0c66JfL1L02/STgLKkFUnxobHKFsKf0hPAOlAUzpvMJ+6yKL8u0xkJmlSI4U/PcGiYub75v0glsD9EB0g8w1qkN7NEoPRivqd09uXx5GHGwKJA2ZFhk86Eg5dOyrwZkRvvpb4zo2V7cZ9qkiCicBCPg18tSLrCeV3R/9PDvCR7HCdPHwWjkI/qtl/mZC6QyLC69WLQxdXVPMPK5qkugXmu2GTqLNV47/sP+0e0dTNWl4kP/eu9w6Aib0G3wP5vaspuyg2oZM/H6A4T8aEFaEd/1BMvUXDoud1xfFsJMGV0RvfzlHdOmkGFj/0L/hSDqKwXRRmsEek7rnlNuM7PSfxLSu6JuiDPKSzEDEzvqzMnL2D8ZCGg2C1YVzyMmU1DeLFfJpNiqaPVGBeWNVA2EqY3jomQtfpL/HiHR8KRz3QmqlYsmoKzr5DSi+3Tq63PywbrmB77lf5DrcvhSqZGY1d1h7r8OTLeYPh5wHvwfxu/kz4qXFW/R8rc4VQAD//FYjc888RntTAtS1Ic+ntttQmOjUIcRNEwJwb9K1kQ3sIsgT17ucFNR9uy2xnSznRJHA1jlZZcuSE4ZkPysGXaAzIn/fMVSsNZaH03BF4lBQRYUV3mzye/RcZbQijpHQMC7epwd3e0pYL/CGEuCrey9fGv4s1lyLHqmteBOP765IJJ32tx7zP77CaJVaFTSLbxqofCwCZOJaEpv9/em696H/nHFcjnUCP4xYNvrPrQW4i4tocWE6MHmWtlQOLRRNj8CWamOJsVQF0M2nPfonnFMW6w0qOxZz+vIVtg6echUP3BVuok340xQx52+97p3eNblWGNFkn59MekvjEOWyVwXUU5OF8fv/jZNstEs8PblFvW+v9EsxbZHcH3aA04AcOJKN70rz4v3esr6vgM1dXLY3xhb+du8AZDkVnEpDrzABLt3BoJOusvL91GLD2uYCevbxJmrLBasLkn6FRxlkPqRYLljkLfVP12kWDl1CuxrC1nUMBJysir8Te9+TrTmZYa2J7rQl7lATg+MSeDl4Ye/KpOHzQ5APrSBjfYvsHkzHMHYsqLr2a3NRR2O1X+5/UYKtlx+R88cq1jZPN8lRHcoZkXBjCfOdTMrpLlrc1fzMQaEh8WraZeCX39xEuGKEs6TD1xrc0KPPwETK6aJsy+CZN2WG7SnIIlUsvdewkYx/dXL1GXWTEWVSsdSCAgOGjQsPe5Ug+CgWhETtbBi7SRvOS15r0T9eceXnxRn/LTCu7xba4qu6s4YbKDGP+18Lszx/fU4uKNqn+dMF3usIoVo27kDtPi6O/JVwbNIc2g3gEu5k3b4AMkn+LuG2/JaZp1aVIgINb3dRFdUKcswlpVxe85afceHQRdmzCB49Q0zOm0HeDIcPaH8+s7rzwYxsVtSUBma/Xlpi8GmHClYjq3EzG6gImfZqpFgi5E+3XZQRF6Q7hOxOCa5wNftuwlFbVUWyq4xPlrLbRif+OsQS9h4eQOT692KR10SaUNuLfLpWwSb8b/CBAvZUVpLBHRje6y3YXjyJh6mCbBOCpFpTn4PNiH8/8ko7CKDAWhQBAXtcuM+ovrIJNDYjcgAwwcM0GEGMgzxCbhfrlm2TvgMkLOxqsVEZkmLV1eV+rbeJ9nPqYi2JZDKqNS395lL3yOiM2XFVBKoHvcXJZBVqJtjXRhyMA6zIiEpsOMReJHshIfgkgHmifbqbdl616UTYC2zbzufmnqvJ4LcDkFtKomTlnGz/i1hTqCpRnrRZJK1odqGH8M3cllHPpLqjclSTbnmLcQ+V6fIbNID8uJ5n7XZ0XtvFw+vybdLZpT8YEUc2+ZBs8L4xFqzSgyNZr/mysFpdz2dRDV/vopzbTCumTfng83qFWuzqC0K28L24V3H2+OD4hOkIEtMfo0/gfubF2oNzhTwQNOjeO6wz1urEGD0nKUJvG4bVenki/J2GBJ+hSX2A8VtaSnXcK/VwragiChopq9EoT9JhA171aaXohxf+IGbVGiXIbUh+SZE5fSPEaOH6lkZ5GGwnCui6c2igUGZq967DF6NnNmHDqagpaMJFb8Jci+f7u7QRq8ceTESLJNRPxEUIW55Pkfkf3mL3u1Gp7gDCcwKZhR4Eo6mtTgp6MoCo5Y5UOKsdPZ9SJHH2p12cncRXYnCcSYx6X8NYRnmOLLUTZUSmKIwms+dsaU63fFyXlHoESpG8YLnu+LBAUA6j6WSf3qz2P9ZyVPeIztA2NxKTfs5iUoRBzfqQD8GnnWGJDyolQkw0rPaeb89C3o2KhqH/Z8RbHXsoUN7+e4jHTo32RMT8niDoRQWgkoiA6QGok/HxBvY1ABQPnK1L9dGJyaB/8gFzNdPxtrrHvME5/1lpJ7OkY6+UZxZ7yCc/Kf8mLPriQxiOZAwK11dgicE+3LQyw1kjEPkK7jpGYGL/kAlyUD8qcoXcfBhSIHFyts8C+kUaLaIDBulqhfq6sGS8tlOFtL/tg8hi68CpsZ2juAZSer9ZxB31UJ9yZcKxCuYvlDOoPqEaVicvJuygeTRHhi4l8pRQZ6Plg3zGTlPGjZLKDflJ2DnIiwUoXu/fsmpHBCtjNanQYh0hNG1SSDqdzjBCENRRg+KWGG2fbPxJNyKS6kQyPYMAK2/KVSf/BIZCy9xizRV5qAhA626gTcxfG0yTUUbrWXyLb7KIXocv4S7oUzOGRpYSUujO3CXAgctIZK0RyQdR+UEiveMQqsLkjDMKtHlkuBsR/YaA/RDFensP+fi1vliKsHaGRjUXIAg2SGN1v/nP+WmOJS/j1wylhXz22QUnZDqrDMha3X52Is85jVV8bdEQ5nuZnTOkNs4MDb4H1EZToaSZDlKX2nlWxbzVhtYdupCMenJN3MEGaXQQiBc1TEh4yB67s00YAneGyv+u3zDlKko58aMljRSL7PwmHIkc9nE8//tFDWCtmOmjPJ7Vy7J2DUAl5YJSO12OGbybUa9t5kFW8xITI2Nwdh8xHAe8oMh3qakduaSF4V9lK+pGVh8bp5r9P/ODl2GegoZ1kx12jaewUcyR0Uppj94WA/q5r6wjaOwIr4x90RTAM45KxmDHrPExwwGl+DtUeudpzRdMVuC14H6m7UpZBzCXg8x6Iti7MQK3tztVUhd1uT51VtVQFc+NTyNKqXHODaYiHE9+PixqnwzUMGs1UroxBsCKM16UjDCMHBkcyO/d1BCCgdQ+yD6ZvbncKLFmSk72hMl+44PfAtY4szWE8vXxGVairSXSO03u1B+vlUCSRRf16XdDxLwcAHCg3ojtPX4CofqzErldO1eAX3T/2Rb0WxBahW3242GB8EN1fkl4RuCzGa+4RUbzZrEWzkU/vZpBzBl5GUo8tYRcq2vJ2ajoy2osftcRKe0jEIySMO8nBO/PRJPf/BAxr6WJMpTM5t9KkaWM+6Z0PeMkQ4o0FBRCl/Zhq13laGWukn+Na8CuvPbNCkuAO1UTSNadDrH9ivgcP2uIYuL03XepC5L0kEZoGnH4Cs1t0WrrA3/AGpBjlcHjFc13aIBHC4/+yp+o7RdDSlXZ5k1X032DgDgGIH8T0LXDLZpHe/mPR7KXPeitwDbLl//+mk4Sud6zItEfVZtZa/cp5R+n47Rr6sHx87n01DhDwZAh3CGTsmCETnqMbC3lgciF4LijCRiwyvRuey6jASUJjV+qWIlE7meVlMuWLIbHyTquPxmKb5siOHqQfK50pCkB0SO88uI7hgUVCwkmmVrByfg+AzCoDJYaV75x4Ou9jtxdMLIgBvev30DNq4hZ9UY7QScLOkChP7GzWHe40xTgh3DvCt+sjD1eo9wIzLiKF5UX7NDz+9Vd+hx81WLaWy+eayPtci2NIkaMJO0Hw4UnPPpfiHYOpqBjZdXmH4T4JtfmjAOO4UwZZxmpfICmbZ7cwPZJGeEcHe2Hd4IpoOnhY3U/xnG6fquHRz5cLtFLAm3VBBARgjOBmcIidbI+00M1eAgCAB/2RYmMNWvPg5tmcTWHMIzECoAuvuFjL6mJB13x8MbQpyo985hW8rSwBC5vIJ/hFauX0nUkbewgf4BeSoQBVlof/onqB63JBfMvOkzU0HYcVGM3YabG9JKuOVTd5qaTe4QqilSHrCice94teCIwh4jWzGkX2hirUyDuyVqWA9rtArJ8z8S+kg+FzfMGAunlRJnMUBncLrVknSSsLTTIB18a39gcf5jH77XDqp8njFZi/EmxOl+5tXNWzT0y/jD2thKJ7B0w/Tx7u8N1ByMihjbwzn+Dmepe/5cfwILJjlCiFE1S4t0QFjVpWE/fYAB1dut7Jk/5LukxPY03Qv6F5J2WcG9f/HOZvjJ3p/gaLxfC9NvJWAdAlFM85xmolPJAiZHhY/ytwZpUWE/oBT898pMgU9RnyJOl3RjkNKs1bhBNj8heP3ATyAPgk6sAved05duSyyi+w4TuKDs1G5dYpoLflsiByrx9LOeZTbwNZ7edx5NTbKl/T7fvN1gnxSl+d6iK6olXfEzb3J93e/5/MgE6tAcpnMwuWe0RRwV4l6RE6tbZZj628EeDCgv07OEPXfVhuHyXM11/c5fpzftSVEtOceitYPl5hrj+MtdTmBj06GZTtEgfjffB4zdEG16MguaXuSKee3ibiPf7dx4OoRiIOROQ4K0+nYFH+911SsHmIWkWPYdWIlnG+uS3k/UkOK0WdFMwe2prDwfBSsiOLcq/onI1ZOpZmjK2PImO6CbAl3j2kYrmuZydMrqtSaHIl00ilsqvPp0FYOt9ySUoAIa5VDgbnp2kyISzALqVYz24fKqlFzQHK1qJ9xXy0U8Ge3mzrlC3UxEmXShVKib3blY9cWMf+dGrzbjYkfbNQA/fGZI/+YAS/dw3nsjNssgG4dHXW2pT27rGK4OuJnIfB6IerIvhjaRBi2K01o83hSe2B+WivluNe5HlbpHQ4nH7mgBecZ7qX9d/j6RGErW8tENzxvb3/kK7Zw7/aQjbyvD4BRmA1iVN7tjTuMPyMo/cSuwVgYADBkHJADmXqS9+N2Nmx1Vu7/+/GZp8fneE4/C0ikX9jCmn62iXpX4xOzy4D+1ycpBGVFa2zFWEWyEryZFd6CMb0Wut34bGIMsdJZuq+KA+hbW9LJBOxN4cEHWwkOoKBMP/7GDTji/7rtDrTOYgY9tAcAut4A76QdhRUMW4Se7eebxNjiXefCMgASGCN1f/+Ymo/B2erld3daePglD8GbUYQveZ1JZfIxdDeluPiMudtyz+kd/yCsOZtsbTGCxlkIrqjaLc8ay1jQV+2rzAS2TtxPZNjiltVS39BFxHUnqqEb8sVYYc303GUdYXRKvxoE7sJ5R1RLvpziiBxFCPYXWM5lqo2EFI1guKSrITq+jqijU1uzaK54KxSbv19EhMnER/ys9nLfHXl8s8Ib1R8RNV6TT5iqIa1+/0ziboBEyXLrbRJBW4Swn/rVV4l/6EAPqdzacCwabeSwrBLkyamgByEmSmaKnSZvlpwzYxLHwoWsYZ1Oq03PCDKiMJeUTXp8NA9EaYwUGh4wvFDif+NMdIPWLW+qBNy6fV9lH1FE3tUuQSrz6gJJywh+SEmDpz5mp5kFQ21SkaUSwXW46yBQSxOsVM1sDShrAfDoYAH967FVAOMSskIq/J8m/BbJS1qOAukNg3RTp5ygVdzD3TOT/v8bFvW1NjxzY569Youbv/BbvWcJyLeTiNfASLfHhhcN7hYfzytxbfEQ9/RMzH+9Qrn64VTY6RW8yUGgsBeM8+DQw8kaek0XYem62O2+NZ1jk7GDvgV3y+NxUwjfBxqgBSK06bPJkfZi7ZnD5PvQC4bqcKN2+E4iMHcxV0Vs8XaPFHV3l9/dyu5TmntzdtkyRn7PH/XNTIsIwocsGQsWfHUS/SmAUPgeQJCATaQogLLZukzv+lFeAacNEAzpcgKsKkPDwle7jKmFHOrnuOBuk508kVyWb7ZptKtSBFWYtJS78z3PnZ0tMmdLd18FMI4jaBMDPHkjx9U/nx27mCpm7E1IdABdSTetIdK847gf9A6rfVegxytmTxd/aoWdOZqVdd5vYi18CVbJ4VlIhvwksd+t4l0n9t2pt3qps/B3QYPsSxxSZLoZtmq8MB14kP4wha8Gyuveehdi1ia4NgNndzmNadx+WWdEgyiLDT2lX02fEut6of3vRCDTwIfuXwKeztJhPfmj4bpPbYhnLQFh2ZGvQhcFNvK+uW7eidXvCaFfciAoQWd6Us0gDmKwI7/mlWIsoGuXdWoEQf2ZqMuTZ0K+mr0HpnMYZvzZMlzInztnaouTMUNzZQTU30ais7eg03tYobW66nXt5TZzBjBLWBiY0vNv3ECGECXk5l9+EDhWRPJb0hek33JEIeMMhmWosvQAxQtOt5q0fvpvmOxCJvu0VQC230dtRPd8NF9E6MERr2FjH4PuLcpSx/vCnqUz/S73ziQ2FgKXmH4dpZERqI3QWRfSfhlfqzkcwNCh4ZCQXHakv5UpBUYOKZ0ZtplcrII2VBtZZf2qiGkm0gciBGJJBAHcUFBwGVzAjfzAP96QyPhAcpswrIDAxWaY5Tu4f9Z80nq2PEESdkS1CKxmqQHLfjOl5oYPdHrJ6MSmP/FhJKDj+CkQ0/gcZ75a1rs1gxL1u4lfoFnXYsiozdL+UDPdHdgMHoGx+tZfiDUyZSx0rD7R6t8B9K7yE1ErqbWdbHbcQBwUG6tGy47Y9qSkwngoo2IVMEghrGjxJXF9nDWBiJyWBKwJ9BZc6BK4fro2CzaYmns9Q3j/3syO4m85AGmyeWt+bnZM+rGXmcgwHr0HZnYV0H6UbrR55rhS/7qm/gty9Wg4fv3gwZwmHsLlufzCFaOVE+rM7SfKF0WS5edlylucEzHwpkW0subPPFVHQ9rmt9i/MN68NjYnQx4+0gjI3xAFt6rx0WnCUHZQX4YRn1q9BnJ+wd8QucKNUVOcsudfcKKc/5xvztKft2MdTHET7Kq1MLhflUfffKcAjHv5BtBItRKZJtImYrkq5uApuVHcVROh6v1OtoGSGtJzqfkdiKotzTmf9NFxvJ+KJcn4vh0q6R8Osw3VXfZx7SurqPAGqDubYs0dYp9j7dEa6rKPh1pPzFMOsYCbUd4mvLbQajE8ll+q7T00X4Sw2XGD96Oj5VONTTyAqaIBu3u4SKp4AFJD/9gSr/WhIOHlVLVg/E252Bq2OGPwmclX7LJSwtcA8xkcQdTjYXzuhGz6y0JSjv0ZoKbZ5Q39MhVlBPU8D9PxbyriMCiQNUjlcthP2wUJcnwkEYv/923Ny7+iwxaIHiPe3PyhZbaJc7HS1+8Paz4U/ruPKu9260L4P5CFFViIPVTUlG7c1Qq8CKKqpyOHTmtG6HSgMUka5WEod0UEVPppQR0RBiUA/YWodkJokPLYtmuzvCTiztOny65GeDDXEomOjfbYG3DHB8WlM58OslROMdv5AunvpYHJE97WgMaHWqRDk27/0yEgA/pp3vDctM1kUE2PpXsHY54HiPJwkGSyD/oWW7xjHZbERPWVea1tMtULQQ8/PietO9gq4gwOUzfpfZiq0lmR70ilGZ762kYd6x+7vnT/sZS+aV1uYNIqBgqwy3dhaOj/LzAYyQLslxGzIq45qVVLje4UIHfzJYFpSAjjzM+grDPTigaLc1OHUF+XWX7sVFJCD6pTiXtuVcz0enI9lMf0Gpnej8Ey4M5mDtdYalaiKU5qPgbFlNkRA0t+0/dYYelDitNakk9N1HqNmdL6/85YFMTZRFrcF5m/kHiyX+fgW2cldznzNo+yz0POqzZIZo5+ZstfDRULXEoL6BOv100jWOriAcK2e2UtWo2rRrVAvx1W1hLmBRdIZuRfKW9eNo5wN52kmbn+aMuzrTlG7iCmxLg0YjRJB6q/li4NgqFHlmnAhhJZ/JxNJzBzJJGdcfiDhd3XOHK6h7PCOHa7tXmvMqtggNAPLDyT37PtDfkEb0ccgoqy8/QpXB881GWfGdWYta3sHyDYOpD+HvaCXy44QW6hXAzDQcpwSADV2mx7h3fPkFH9Ddm5XbId/d5oW9XSNP6moaJwc5HznVNjXqxr8xGNiQrtBreEnZwg9T6Jl+nYr7veKSs1zlZkZzwCfntI0zf3+eTY+v40fSrzYRnmL3mriERKtSlTCS4FKzpcuY+zKFFdhb0dr+ILCaat0Lr1e5LsnmOCzevIplXYXD22QRRdk0Q4OnayAQUtSHLPyRWwDoKPCYuc01e9lPFSus9iZ0MtkM55jx2ch8QoVX7gJFz6T5oVCAxuY+yXymA9c6eGKG416pxzFd6X05kiifN8pp0fYChO11nH57rMIj7gln2NYOwwlKYDWUbnfRUpQv0iqJZc+/eUGSfhDFGZ+8la+0hMafUBvA8IpK+VlkXIr+Cg7uC+LYb+9ijXgPBXnmbLo23gQTUMbTeVoSApRZXOZawjonzkzvWcVv80saNdsKFo2i3QuJgFxmpKaW3SXHgYulrtBUpyYrotyP6i7BXHOCLbuIctmq/Oz9rbAsysMmygJMD/MiwvFPd+6c4XKJ+biMb5H3SmG6E+g0RP2MuO6zHGM+ijxXgRd6gPEo9tb7BBrHlwtvVfywNuohnIxRBwWdei0KXaTCpmeHWSnqfMz6Lxtf177DriLfduPaRxTH01I79TyaMbdR+YTlWpoc8+oKbG+kGt0/icWp25Ua7yNEa1LvnWsd7v0j+gqTvL7edzSUGSqIE26dUpaHqtl5d1ipt8q7sbQWm9sOk3XOBwphRt7T6NOuHvbvqZeSdZrly4JxL4j55s7TaS0KwEf39lGvIAAejN/lhPky2ScP4UCVldvKCblWXOAE+JmaUfEZq00kdnSXNKon/GmbtyFGhnAh8MsU0h5/+RFDO8BCYAKukUxeYEleSu+Bl8Mn8eMV1KqkYDEhUUpGsxc8VH4nwyjbR8FBVVD7Tn+njtS3jPRoQXHmcflIuAwW5rgE+R1bTtBKEAgWvjtDaFnUyWl9MaTqlk1UQo+3D3l35JtduAgO5IbbcKL3sVWIIYpfyyTFQYEAGOdMFeGB5kGIRTtpb2nRR5RZKvvf6vUq6q4dicc96qSreRxp3rozheYbzKaxQVzaX93xntaVMQ5FBhCCeR/XmE2P+jbGcbR1OnA2ExthrrhSt2mbWOB3PdPM/izuwR5/zmfOCZ99ohFNBFytrTnHZ8s/gah4bcwX1eBINapwEQc9nLS6b3QZkY4HddEw1GfNM1OoZ7SeNryR/Inx6lwMiiebVwkywexGEDlGBczEEGSRFeIiASMB+tIH8bod8/MNPBsT2zyaphyurvCou6zIuhHcxMWB4mtQNdwgyDaE+eoMymCEdVqqiqocC89/fsSt8j8Ir6MN0x7q01WNZiBx/9zzk57CnAVAq1LtjM33gCTqemLlSWKHsF/vWsNw2RXZjGYgUUBdIMXBpWnO/paJRIp/7oBBzhH4MKbboj45ZILe0XrfqlG2lAVq+AyEfgWyCqM0FWs9/3ohMwXFPhW/IK0+pSDjh6Ng/EUgbVGSr+5cc6Bp5C72R7vlL7zirIHxw8BpMZbw04O7jHosSWSG8UTCBW2ZRvNJCZgnG9UTXoBroScB5AjRx5S8bqJU7Tu5cSL+Zika3kVTegqLNAPTdHDeT0rUpHDqPXygs8T5AMCpU/ePRpKfbLOIN1oN1U0Gq9M1zpyTr773PYHiSDf4VmBYTUhirqTtEMXXTlchL3N3mVbPo9pMzW1Qj2/ocdZdSPo8Q6F4VHYRV8hpjeV01p5yrg56Ne7dmWVQjTRCw/STOsWxct50vUx+V0rc0V59eXb/0mehrez47UupXG07l0OMU8T8aoGz3ZnoY1s0WFZWNN4BrjqqSJKzdNAkh7sDgjn5ahFKwa2lLOqRgO+e8/E2yiKDZQXgMJkZ7aVOw1tII7d9NCn5p3uzp5EjuV12HLwqPr7z8L2uRGBvgmEmhjb6dc/5IpraklOOqVZx4E6o9bBQOOzTTZjN3JYyKJbU5ld4I8OxnaZZ+G1lS8ZuDNqvVdc11gNwJ4SN62GZFTYGCNyF+l7j5nhyy4sp5/phxfAHfolVasPpoiuXiqXcklCkEk+H4JIbRAZW42XCNQv4Mgq+b8LOsnsdkRdGpKVNjHoTY/dMvlkTGW+OW6h6iert6yBVgdF4nvs+jzE+q+5CmQnirqELr6YOtgKCo3SBoOBmMczvniVAxN6b12Wgd3zJ4cmADkkElHrA1C8X1o9AVSesSzzFOh1qQnjNGU0HJB30E8z+XLlmwDg4+/vMKlUdh1P1mMl2QvJWp45Cu9bKrhoRg3gvJ5JGLl9gxUs6hQxcxEnc0df81vWqSVzzlQbkd1TKwie6p1KOOLl66tbObVH73Diwwj/MECqN1qEToGaLiXQGk1vuT/yeCef3iv3DlMnYwExSFBDFozpvZZAqS4KBb1gjt/BPI9OyoYyMslpRoMU+rarSiAi9EB27FCsID0OGatEzz6mXu3d2IhxtkoUeMYpRmghsFjImbk4QjVaByVUVrm3cuIIJuqGrtAZ5b9nmLoV7K/0bL06pJ+9JhfYv1oQMSKuYA8QkNSg0KYhTS9IC6o8X2jFrUsRpa40GuVTWlQeaVM+wQGBDhRdZLSb1J9KXoy0HS1beZM5729oID+6amdQkxEvo2nLtxOzrRATjHMMLeEflo3dWBifIk598nA/YNH2kyq8VMYAkUiAC3wO6cwEbUy9OIXDUo6Es7IqjbsSxyaAUc1SvxwjEwoxEDoEfNsUCOCE68MlyzO97JrslFV0xg21U3OYttKOkM1K7nMKx4KzKIvArd3/e6FtoPB8Nhe2jVBOwBBAA/1hYLYojRTa92j/2J+a5tJB381MZxJ3fgjcR3tAw24J3GMk6C3UcXbuYePQmzszP3ut0WdjAGEg5WKOjxGODkjEYWaZhfN4bHudgic0qMldF2gXH9zNzxx5DZsnKRF3OLjluDBfWp0zL+aC00SxaSS5jpSzknJd7KNFpW0xf8z1JAN2DbdJiL9FY/xHD8mmHTSPcDN6BxzPwG2HiFqFWTJY+jhbI4RBEl/fEKsxRGMcJD8rCasvLe5lyvn4bklEk8F6M+92JyaL+giOtVRalpq396G3ntT+TbMs0pQJJLmMeuzVDCIj7xL4jE98BU0t8D0+R5ZZcwFMP/xxZyHhe1QMU7LtnulluWdADf7eQ/BBlWlZ3S25FG7BjunyMgBCkYc9DZXsGnhuGZ9kF42VvF7bo/19YOLH4IgLiLbtNby4VYu5c78c+2I5r1amvCJ8THzrUznzHypmiUWS0L2BO/XmNdSJh2fQqVJxU5UBurLYPD6qAsKTg2o8WPWoilYZ1sS8odiH16HpDJNyWBBBwYec4EBIu8dzPTYWHVeM6NwNHiUjyS2qqpJhlwlmAEP9d1uyOmNjQZoQ6yArZMIxmk6zf8g5BQIkfx+iTX/dusCjH3Y2eJXz6r3JKtcVrnv9rDDMc8D1xeruqz2jn9XcIMn3ZZYCo7S45pW0ivTJUPmFWmeTZVz+TJA3j2pJEelNlGw6gXvHP22fwR/ORjXpKmIqgefqewxohKdc/9qYLg7EZNNwAKHgNxn6EegJ3eoVBrJYq6PMtNcsNlC84cT7qcAjQj5vKonZmtqpweBq01i6hANYjpSfBMf1n3CHqKePaevkTMzy275MPJ6KwKnmdpghNdRLTLIdkMGppT3IIR9n5VoWN/3kyZiaIy4z6jM661rf+F5hhbfLzGTObyhT5oR35Q/W+iavJeCCCefqpQJdbCto8Iz5ksLi5iPG1eGhU+/rpgipCHAc1WqdSXlPzBpL14flyxenoGThKXTfp3CjGg0IbMXw632QWDRbp4MZYhn73Cn8lEKzLGp53aX7MyKUhx76m4bLKwYYTz89wVh50gUHfTMWe0Jv4XwNxa4XCsynzF5QuClITRsFIitwm7xdAvH3naLbKPzRjWWHhsUo1yMhtoIF9/m8niCOJy4XsvHSl53Q9uRd0bccoYyx708ksAaVylUEhuYW3MDAm+k0u1eKB8u3gMAonIEESFASsU4tzLwdNnDubQGgaZSN/y2xhfFho3A3iYCqGJCVEAeWG3UONs/3QDMiUL9v6BXkddbJZmWNNEIgtP6ntu5AAEN856jt0+2SHKp3BeJKuv2SEKLnTACRxnx+0EvZ2hvliE2DJJx4FayC6rayKifMxCrRieJNK4k4pKPR4p9/q3eKH/jEj3Mnbu3Dt8oj3hyTrsDO+T0cHPMaV1u0WYPFyMAVo5gHQxc1xXpb0uPyxg6TBawHwiGMfpQkcEHOq7ibyabnrjBkMtOJ9VMBUTdp4r3C3Qp+TFxwJoUPvuLxyVMXYMSSRkkBthc1glt/TOa3yFyEtv6T+wZjJbrvo6FcwUZBNuqwKdhvaGYMZMJb6HHodp4VHWtHdBG2Vk7sFmW/9rS8bUon5aSGbw8+W0oajUzyuE7HTjMbNCiRadoxQxSVU0iTMyn3if7sI0FZIjF90Ic0HboKTFzFd9tIjIl5Ju6OLnpYfXtwqdwamGx61IUFdrQxXKTbZha6bp4GA0ARG/2NzlsLN/bvMogF3f2bOytMjeHUZngMCnrWUAS/4kEFWU0EJHTavWBpRcUMoAd1bCk4LIrSjD0yzwH7QSMchAj355SIg5inyRuk3AVGirZrZyB45FN95PPO9MnbuRexXDCQKKGS6QkUpY52Tqys7ZUfA9x0vdqCv02zzXkJWhM/9BK/g16Ez9rKFC1OfG4OosItKXNR+vGHMFGJXjwkZM7SMFGZS+r0Hvm1hX0fbAwp/g+anHeK/4qOzMnIQqjkxOKER8ahhPTRNrtGNGr3yWMbRVUFDZV5tcDjrM7vh0WOczwJM8O44fyZwJSTYh4hVw31s5snMHh4lyyriwvgcD8ewg4tMbpwIX48aqTcQAGl9zGxxYwKCguk/3kB5QmAiSp3jj8nC7IH6mpN9hG/kIpoYdgftBTdVro2ec9uBF+Lriw25OhhcKXtQ6jm8hxZbl9+pTOGoPdoTE71RPk4SNS/7qIEveLazzbseUWz0HvEZ0ysRMXI2T9wV7Dku0U7JUjjMSauWjaf4oInJM5nnW13xlGVnj1gNfqDItcVq+fSZHye9skaxdiHStwhNoST+dbZQBdjcJuai+1WWzMg8+CAfXnQpFuVsscGpewjv/K3AyVagOPfO7cwyYrETyhlCQtxNAppAFtSzBePDNgxpI3xXkSug7tglh/yPff95PYAAZRH1Fp5bS53QqvNc1QJsV7UgbYJPweZ1gBHGydPIWZf9hfAmwEVPnB1jm76DU52VGa+WdhcjN5ZvQl0KCfbf1xkyq9/xnvEsqbRcQI7rQIdhvGry2cYDibgCNdEWEPxtU8ROhfJISzgHpsIuLzgATeOBcNnzb+tgBsLslLKH5wFbrE86i12dIa1As6kOUdZPDxJDouJw6KD2QmNjFOPNub1xrj1I1Umjz5C8tAdriEUT2spDk9L+rnRIKjTjya4Jm43n+yNJPIwAJsp6G+oE16APf3Gak1A+vFHnCv2AqSyIPVoO+uN3dlONLwD7I4JUxEYDmixMgDjrTWqbXvcOkUfsSpPP90kiYTc27BlO40jWNKFTJoeWqqWu5Wa3f95Na9jDSbcb+4etv1/c9tNuuUv4ofKpF2frvy3xHcJDhQY4sIqPsHidnuBg9DoDUGr9FRV0QFnG06XP9MvdA0rMt58uOls0p4hEIUBte+1mvT3KtsHS/zyt1QX/9lDGp1oOjVGHoAqXalv/QPiY/5qW9XCCgErHsAp9r/IjjiG+xA+UT4s8m8puxU/Avw4+DQAMyTvf1bV3uZf3pf5XiN/A4ObpbhGWb8cfbIgVIX+4iUPp7O5pFIKbflUL2AGSjs2Pj+4Rra95mE5YEuwdDeW5XdBh46Ri83JL48ngR01Q04cep2ZKwRejTnFIVFbLQTn4AMaa8+duwCyYIQde9ifDz++Aa8vK2xrXRBfX9mk+keqZBb7gLE8/NrYfIwprIHeN+e8P7AFAh9qqRZn9HqcBj9iiP7/GwS2UzvVakJ4ZX5BzcXJ26iHtgJmUtYAPhWXSniijjtSCUyZoxT2tCAKZdfdA3qy/XNtls5fjEdjs9XYw2VFqRstTa0jLEY2NRvbIB9ce8vnfkjMKIQdg37VgSu5VW2Ss65RJp2LqDVBcdMOPyNqN307/rCIMigAuUUwkHC2zYGmxybrpyXLwij1o5r1QZ325F0GpFKuu+c5wxnaQ+S+OW90gutTTtx1UjzkFYv+kpnTbUpGLJyUurF82Rp/uaWJxNIFIJ2OTvamjI5vkXJNjIipoXOK/HJH3NIzpHnYzWqLhrUJC8NuVWTQIxSkujf5zI8PzvloNWd0dXaOqu8UIteFxYts9CYPw958XlaC9Kz00EYm6wZEz3fw3RHU1KrrJx4L+ZtmDdgVttzkVUkjHnUWCPleu3qO39h9kPFr0A013XseN17y7Tr3ETud1eKUNO87tArcb2977wkdWknRMRk40g3wUHEKeJi2ujfKPKysMN7RljtKAMQsv96Z1KkI4t/xmK1QadmYV1hZ6uX/0ZN8m/+eYBMoY+B5ZjAEXYreu3Ps5DUMiKUAfHG+7Dlj/EWJT2iicCPWTx2dKDiviJGnud8bpYfWb9azhJLe6VWkdEaa/75kYB2OswKgn8bdy6mdlzdqYC5fx4gJOtVfkdAC5uQfV2oSTzRLwiiRQI9Medn9yvZPIshrTA6bGCsA1XYhqb3jUr2keWz8wJSpeTuR5ALnhTXUjYTLjEsamh79nfwKhotkd8boAAO6wNBG/GN5UTTbWaheZplkTe/v3lSb8dTKMKrtp4qn0ronnXzqTDwPst8qOCMdjMOiXPFU427+laSaia6bo2MmgvhjnnKjs21vnsxz9cmkNdhuvmi4KFMD1S2J8KUYax+bwmsOl0dTDD9Rj5Fbiu0MVF+JBU7LbGhiaz2PW5d08z2516wqNJe3BXqLWAtjN5VAczAYRnrldTwiD2YQrK/kDmx2/NszFHjkBIbno25E9u1pu+99IElw9rsMGU/HD2xXVnTK/nhjcTqc6Fg/5U5+hWifx3Jg3g3ImMCcEJM+Z3Zfh9gtoFUXCAqrl3JEBrJVDalUkjAu6vAgy2zIYMOJMOtQxJpWSrRUxRtLzB5lZFcYBwBOJWUTurwLP+BaXiVszfr+XVOOSbppHctW36VQuKtRHtHfSjfVl36AjZ5x+YSUZLVP5Q/ynpij/abUT/fzHxmjv5FSkQPQ/xExhO7yM+YNxJhLxd9//EALqvqUVz2tqYl512ho9ZxGv13DEyR/mh9+dUa8d6i12+Cdm+nPic+j2ZCA1w0z803v9ECvWry5oru+top/QKac3IhMuYMSt9RdIc4TBxZEo5XKDkaDzkLI7xzcluDtYFCcR5jDcYudNHdl2aMGzZ34DgNUfLo36PlWB2aCf74dZ1uw1m8pkfo6f9o1SV9mIUQAgWY2oXmg4obdqzPsq/Dfi6KBnlF3iLaOUGZOxNLMoAWOmjMyjFy9MrGyepJ3l0Acpj2ofWreGieu+PL4FMeipQcY7YGbf9oFh3xrVexkq1WRlBIkAFhd2mJz0du7pNReKMTUo5tkyMwKbwr60ns1o5mOSeAFS25vPjQr89wLzL5WPCzd4i7Y/V+p4foVRlTxAhFKlZQZrPL/UrQYH7Mk38/nNcMyubLrPHMYQclSpU/NtzYRrgtXiXdObo/TKeExcxNDVP2dR92us3K9WhCAt4NqsKkW1tiKjIETWKwnsuML5LTUJj9KjQlwvRaHclA/N+HKEGI4NZIqeLhxPcp1rsbd5a12pbKLRn537Lq+0z5UHGoGW/7huz0jsZMNxU7R7EOjKFc+w+Xfe0pIwBWyWVSfNmcjBZ+5M4ptDEXa5fYwEsUqoxs4qbekMPXk89GVOT7361fyINuFty/du2jEPS5x3ftSIJtUH0OMxp91KF4IDdVNoRQtxON3M0i/pr0BS6WW1utH/jVLv7EqIi4zI1fs/wTGnkHXMUBzVbZAb41DuzPpCnK0+Fx49FNmyvdmMDs2589fkY1IGLrdB2Z7HScHg6zZkocJMHmDdhwD1UNQG2TgsCOZtn73L1jCRd3PCmRlEuxUZGMwt1+U3bwDAl+mU6m8KZ/kGS2O1WJV4vceB+pqasVtT4E4X4IcsRfkt2LUnXRJmIfpEjaCxmpgDweweKr9RUAfeAQvmVjhsvHJE7eQgvu0unO4udUtjhev4Y9S1QWI4CMOH/y7f+uqp2eIj1WiT6e5y7uiFSXWIblQk6oaDlWYFKtIxQkfs9rnVk378omtcvXM0DReaYDFIuftU9G0gOqeeMEYFqEhgQ4TrU8FkQqr8re1R56O6C5IIGOpBFq87/npIw5++3c0pGiBzJ+mJg/FVvOAZRtRqvvFgjOi09lZXV7OcZbvaWYJeIKfr1Qy9lO+Z9WIJxaMTCROC1lOZqjLPVJ8ojAaauCH3T2Soms/dfgOxofkR4CieGZs9XejTjF/XSFT3pu2OYAD7YJG6bY9KdnhDuAfrzZZiI25I/6EguiNgT8vTnW6pK5oxpMpHizBubMZiRv91mXDFEHlIHitvRmUrVSVVqX8+9TNgYj8dmearu+yJ2Sxkk6QfXdS7mYkQK19y7Nbn7uMMcRJyCWY9SepI+pwm1fMkSJoyeqhI94V7AhFriWxlUHXp9u/rsIrTlLBtT4oSoojp3ZWh5M6EGZYqWAuin5fZqNXsdp+/iJ5EUXr1WMZ9pYBMY7lhoqDXQBsxR7dtg13pqSV4UUVj2zbUmd92jW7yz7Rx59ox019caxOiT/f1aZm6rBYx4LtVqrIfAntuhy48iJI7kstrOOAE7+xc2Owdp78l/bnNzQZCjUuuIUB1L+dd1iVOmktOVeL1VK3YdFufiuN3CKOaL+H/xrmnIUpTIY2FF1fA8BkjKi/MbwvImt4RcNqWz7qARU9XLhj4/jmmaGDtxRf+DuOBVJtHjbb1Mq5pU7C4vLFs6hX6e2u9KX38xsZwlqSIX4hh7L0WSFWX0N+s6bmbeLy9lSP45UmjC8hLC1A99Jj9yWWXbZVp3Varca17GsHmA/j9d5ueFHjb3Blc6X9BrlYZPeuj+WoyLCeETAjXuRichc1jLlVGkK4OKmM5QCGQ6N5T0+mtIMfrc/rw/r+u9ip37YIPAHHGwOW67+j2c4sUE1F7OVmtEGZ/sRrApS4z9NYi04/lTyWN4NPkAzH1k+Oq9eCDN0jx7/9NO+AklxYKtrhRaQX0Q5RVIGpll/svpkVg3F0xp7fInNqQ2QSQm0izT0RW/ut3Hdi3MAdQfcvbYtb9mFIQ35QQ+fwd0+l0rsxwel2HNUsiLCiFW0T9mssP0Haqy6XIOYQQYGTHM7NyueCOvshtL6BuUQEy/Aa7nXYgnjAvZxiazromMUfvwUMqg+CFDg/AY3D+nQq97l00Txy1Wty2GR7RpqgEcUX4dMBZW+R4R5aQzdw3Ac1J2r6667o+WkYjaZs2nTFzYG71uMWq8S/cV4oXXGCAcuDbK4awbnaA8RXFyKp9HklMeqH79FiIL4mSz6jEbBVY4KV2K3MhoVcBXyBlxgOqbmZmn/Aca3ltVmsbo3iIKatw9xQBHqFIAexC3d2Rg16ZTt+i24Njc07qk4D9/kP0QEH7nz7skHbNFxfWSwaI8dQgW/k74v55uLDvb/L630kDSA6jJqsF8D8vykrOU3twP90l4ZfcOmq7+o6apzF+ed4FPb9qASxJbGmEqlKUtImHZeone2vrJLRP+OueMmeYiOT3gD7R5Ln2p1UI+yW0jvYRf2beLiJ3ajQta7wuP7usZVu7OznMS/eVhUbHAOhTJihPg1rSAPj2zzk8Af9UXidf4SseMxeqOMbn2mQO50/fQkb5l/dpGDEeFMbMbiC3djR/KftwitvLcdaZ53bzPg44EznxtfzqFVbP19MYeQZjbnUcPMa8iZakZCcZlTNNmZADvBV7gfPsOOV7Eik0CdqQ9tTdsPBmZVOZsTYAw7nxV9vEfKzLibybcx8Ld3agSdlANiE8Km4NmsOfVSSnCoKI4cGXuMuv79rPyHUHQHUqAbGc21bmM+CsgI4lJbf7CnDCNlBe6yE/UIPAw4Tli3RdyWqcqr4fhT13tMNMkYloLtm0j3sFteKqyO4O+zaBTPYXgCYxx85KxV1NpHXu64e1DtyJVb8Bfdsqjc0eCKihOOeU+y6k06+nvVBWwfhSPKrWSwf8GUB8MfNV+2pvgQ0OTYxoUbsYmvrmEEIYBidatGDmhkEXxWfKOxbNd9z/wRHHg3l1ckthTPojNXyU47jLXHtIXnntPoU+cMRWpfCMW64PYL2/F270s4zwfY7P+I3Ing6aYKxdSndeSIjGCDopFk4QY9Xi1R7jlZLLZ5iESnta3gtMyVuyu2ecryzXGvTMZJ62/iPnp76JlFxKDQa+TcU/po91Ghtw64AS+s4+ho8pM2yS42XjJxXBNuO/HaEOn98cUmC9jTsx64yuwNTCnF0bE8cxQSVoSwi7SH+pTCj5o/bEVKDHwq/t5s2pzCBaIv9ip2SzKKJn3o6v3G3+Lvv3LFSjutNEDZki0cEZOG181t4AKjLSEhBrWfZhw3Qh/x9hCfoBCEPgYzjKTTSM9ghyHZslh7IDwvO7kSt0Sq8yaDd59+1SxE4LJDucJR97t6/vN3Lo31wXKBddghqxNZ0HqmrSNYxrUMThDpZTUhmFIO99inKwf7W45ODMVvcQHHu9UYp/xSpNaMZfmZpwXBnpXxpq7+l4JMsaXAXVHWgSKio/X2C6WoH8BiQhEWNWgKFf0Tvhm8Ew98YgsyrUpynAaVc+kG7r7AGcDErUUzmEVFBXq0nKKTaHZRBgVnZT0+d3nuChOKTs+7BRD3DkKM/C9LilTW1ADbNHfKE+g0+vxJNJakws7Zz5GMX8uZRXwEruvWD8kRHHZefHV/XhmfA2yFR1qgzsko44nyYh50BLRcTasz3Re8rq1nBOPaEtPSelgNUGO6fPshY4RHTvAzuYqr4jsjE6jNi1VowGD6vJN4SKC91ZmopvagOIucKhXKe9BgXuhcjYt5s4gGX8psZS85BpnzSQdgL7/3b/OpTGSphVel3ssdXvAh+nTMhhzK4yFHOhysGN8jK3ompbOeqCWrk37R2VgrnapxaA+Qlr3rhrtkVD/sGOvfNig0kNUMovOoSOAFgUbKOmDSZg8e5jox6w6TTTAKcH2WWJUz8gYiDIDIkPla7lrRAIxVYVGBXZIT6EgNxuUg7gS8Q8hpUUKgJgxdSQnE8XghVz1InHspO+tac0ksb7WWnuk/pzR1WnPT4cEukuOQjbaFKQANJPJn8q+8MLPMt1hLOWXo1un7QlOOnFWvSZIw7n6m0mn98qEVRBoA0Aja2b5USQTfYGrbHyOMAT8d09ZJBi/+Fe6fT57yX+K47mHACWSoitflFlr57N3/vNDqwoodTyfb71Wd0XaxaR7hqU+c23out2Y1PVpJQ+pvZOfioktVokaGpSjeFUXqh7VxQ9Zc9cexBJD5wmGMCZl1vM/+hc2v7CwZKlML5GaYpSld1xWcNIpFR86DeD3FyUp43vqWU8msojz+hR6WaVXhNWBhMDlVSo9+tuDMXw6pdUJqzios5oFwrz1PRF9Sc0yJeoiTbecivIJQvJN2Tj4Fo6GR1xywWXlTGGSFCmpQHoizml9ppV+dfly4ofHJpafTMBJ3hVqTF2i+k6wsNUDmPWEBEjUK53pQ0gwNFMnbPen3QcDQraGAukzwrsDkTIzavo4rdbXb5rvyVT7wVTkE8LOJ8qzot9LJFDWzESUk0hVzARgJrnMw1evWh6vhppo4zAUfCA3U2II5C+PsQ85Ft7vbYzoYm9iwGPuoO48LmBMnhDhemt/EU1u4H4cb2umHb2MKnuvhHEzjV6L+Qg/lkGnrnfpKQ28e9h+f2SbGP7MfBNY/6a/+gigznbynjqs54Qp+FSCX5jzzxpW9kMRIuaDaEP1dDb9iUVUBNHHkrcZvppOZyFer8l6PnzCcXnyPJPLb3v4pvudM2cpWKJewRaaT0q6X4w2H1wptdEVyDfuf1z28t4d9Jo2iWOBcprs3F6NAwAAzyP6+s+M6Ylb8ptv9iKztRtnLc8q80gfdhZqim1eq5kHwAKpmBl/81gcZkptP6DYYlH1Elny7zeuSbY7IkJ7ZpkN6VvUZa00/Mn0vgp2C0yRnL+ZLqRQmuFToIuLJrak61b2cjdB5g6umL7qdSKXaeVdu2j+6hOpeVnrANmcvolLdKOk56N+Hd4+7j3q2e7qjiDBlojKZNaFYRny8qAHborA3GqijeD0avjqqJEaGBrLhszLmX6KvHh/oJVQAdaseg/v4qg+bWt8psKmvnxjSfK/5MMGHg0j36z+bAyAAIo9pC5RdWtrUeW8xLf2jIhLjEixExMLYAmWZb4xEx+SRY7ywZMhGFFokjUlJaaReghguFRKSswKxNFftGjci2KofTu5sRcspjGxX9R913qKYPzRXLtHORdXDPfpEELUDmvN7K5xBZ/OLgKzX7JEwZ+gdOEjbrjKEap4aDaut2v9Sjg6N8Kw2KQBRc8T7Zgomi1MvBTmOw6aaajnfqZkUue7MujykUX1X08OKemiXc4oD2ht+wnN9Y+3MkoMCV4P9S8EnQzySChp+AdmlFQKmUdGWJmze08bbUqQFCzCxeuQUtp+tGj7rq05KJc2KhLSvta3rl+p3hhbp/z+dzQYMdRctNatKghG7PTTClbElJLcw0iBcbjHXS/3xrlyx4sER2mPSco8Qw/cCVA4xiDKxgSrkcQhcz0Sb9CEWNMCtB2WVZMlpNkeB/GvxpTJ6f3+giH5diJMwcS7zfAtDUm0v0ny81TVndH4zMFec7M8AcjbMBi1bDNhxky3IN5mCqWXHg8KmymUBjiPfwH9p5aowe3LTELNDYk9fxKWvyiwPvNwHcsuuVkgZKmn5a8D8URisn9Z+LWcfn0iAa4bx8jl+uTQL2gXyZDEHnx9xvgMZb8r1tNnHjAdUJtY51EITCe6iFvdrfFg5xdKB0/Rsu2nKflNtEmp7pg32UGJRLUCfiT0jbcNinVoN1Bz6CCnbKlNXTrq3yxdxdZx/5cZZsc2QId0tioC2wpMjNvRWrbsvgazHUsHVVT84kDbPkdDnbOJY6cIN9PCzJfe4yM8rtagLozGWHEJeONPWLlfnaeqcq0AmCCYtJKqLXWiYyFX/WpVx0WQAXv2qoexcS5hLRHX1f5SzaURB1exiECH4WugY5G2KwpLK4x7+YJ6AyFddcwFMoSfjGqdFpVzGHi9kvqyCTxGaUnhJ9WuICWEIVrOC5yOLUhfTIxDXvw7RafqQCEdbmbUfkecAOMR/eH2lKy+3QOgiA9XSF+mmBlZx8N1I84f5PT8uVJYYhhmYZcKBzIB749WIUSRQ4PmwnTu0O0JQ5NnX1GSTMcr1f7bXiu65GEEdAOOsPUEZsTsOTZ4YhXjGv4G9l8tS24mLV9u7z+FfATWlAP1si+i5JACm4uO3TjIpLuLS+rLKu+NFxicvRcdQmuIi0ybm/zaC30CCs3IBBgaBXCheLR0HzjblyNbAH5tHDtGkGRw5l9ETAew/3Qdang4Vx28/c1rEyPEr2ix0OgltDOBzRYjUAf2iHVScy00QhTv0bRTe/3Sj68a9hW5kHXvVqFKSbwvbvm79wUSrOZvvuLXbqoM/4uin56T0z/bGifgLtNCBmsWhXZsi00OOO0YeQu5Gr5onB1tfYWIAJyVh3KYJ2aIpg3cCw4Elr53+9cSz74A4Kpmjb5pQUupd6VauWRspT68gTxQqSryR+w96Ay69YB2jrYTumLn/wazD1h7x2UIZHo7gW0AFoJZZfdGi+v7H7PyX326lXeT0Ho8fMvcgdMEIp1UM2G54YJDbgvMY1HZLxxrBNOHh2hcVhbh3GQmSNsySgTgHnWIB9DcW/AW4+w6J1cXlTkD9a4AzLEuxyvUFGjxTdJncd6PoJ5N0SWIyo4xs+mTHzqtWuliyVC0KGnXAtDt61ZaSNpMXOcQHgQcwLYMZwoo8PqphUTBoo3Mh+DmAu7dmmQ4eC0R/uo+E+cM+sek37wArjm7eP7E5etPmHjvEdrd7Kjz7GEy543JWXs4qYvEL89XF3HD5sCyI78SCdJ2f0S6IA7ZvKN1o70ZaUkVl6FMZ+LWZ3BgqlzOEbumyuOUaAfqCmfyZjBjI0oY7Wj1uSpy9m3uFGF62XTUGZ4iDTCrTbYjX3RRr9JRMq3tvX603U7aKFCl9nTj7nM9zccg0Gi61rOysJ2dQuNqNro4TxI8VThsXTNf7PHpmcM7LA/Xmqaf8A4W9U3pOi3qr3Hdh3/ry62mEBpVrU7UDvvKIQbSlBDiMXoIBE27WHz6prHTZQkDN20Oy7x0gkcn05k3bIBYauJhic7qTTylmtJzlOsz2/ibsSDvbw03lQdcsLOMSL+CxxLO7lepNqC6so4BYH9tJvd5p4SexkElliM91/nKkxFZoSjaK/SCU0apZFb6+EWvbV7lndI0LhdrVBhI8TSAxNEEC2sZHhnO/uN+qJfHtbzdgPy83x33Q2xXClAl/u0QMRjTeOkhysDZ9NDsQAZx2VOv1oQ0pwPK6y2lsXvWY6lGbOBFBXdZyk6MhKKpsCxQGhm1R6I66TSaIdYpj7NCQ85cTjlwfiY4HwJ5GuYWQjzvLLSOqsvsJI0bZEG12uNoe5GyGcekesbubr8z2wPjLoNQe7/XeSl8fUm64jVKiee2lst1iQYsBU+Y9sBqAlvcRCR3K13MVXrdvv8F/ysGcHhStlxFrmr6Vd3wjAAalQ6RCDCA1ZY9Oueyahda0JH1+qhduCxZdkHSQvSipoNK0zFPtmglwvRw4e96Sov4Tk+K6v3bKqG8YICU9PUvAZ69MgJloN2iaeHNc/NDK+VV2Pis2Tyq9YVah5ABGjnVAnp5qJzb5ExA4J3D1f/qF8VbsN4CgPVtcb4ddbkSxlgKq9JEdfkADGP1zOlsvpeqdECwGKF1Dp9LmfBwggH0fttygeU+iDqlf/vnLdsX8Bf73Vqsuq8IW5rYnRCgySPDZ+uyCYpYdaABMz4lkvZVTYi4kCNi3Tghdii5FDEaRTDxHJt+KrNjxx68P7qInO0ioBWA6ZgY03LNerfamFERAEiZ4JXDp74UYfJlVIWYkPDi7BTaVP6c45GYh22WaeKS6R08nvpGv0TjVYcXjQHgT11zfKsgjr01oDJEM7cVksSjlE9BeFoO0FMIMo+emRaqiLRjTgJ2BRqPR/Wm+JNjfFttPrJxwsQBnpnyJveGZCeZobXY+ZQWoDmcRNMcpAUhXpHxlAYgHFqfQgc+YH4WmdK6oOIkW2zZJ1Y23adMQlYjbyKKQh5Jlj1nL8EZo/0bIe0BXaVwfyevYIEJjtOx6KZ681UBAMhYJzlf79SfUxTWPS+zVvDvBy5DBHLf/ihL599uKEcy2fuNJ9+Gg1aWKgs/HD1U6SgoO4C6v4RHduq6Q6lck5/WeEH9Gxa+2pV6wfQT03/azeQ1h108Vvadc56P1WCcV+5x/LQpHwFqGonju6OFw8HvnnSM1HQ5BdpjsZWlO2fPaYw1BOUpGOz+cUWnkt3QzdM/PfBieN5ixNaDGZtfJY6AT0C454ejzZtMK/WKQoVzk5MnDSWvYq/kDfyY32A3u8jppzV75IQXvYSed5Ld5sx2BlmlHWObvUNQBKftuVlAV5Lc2KQpy8mkYbH7UPUWh4bym5MfWzTiQ/48zU+6V1pZxK+4DRfSK0WJTKhpo3UyvepGbViiFIeOupHB3+ojm0aLbbC2CBKAvU3i6s7SuUXlrpyAexcTOwl41+Fd/2tpRzs7kj8Dg7GPmvQacz9fGwVJcKG7Om+yVbDYMreUlqgOwWmAzJE5YQv7eIEF6pPMhj3zBkj7tenzvhYWUNix78PIrJfHE3B4UmS+tvhtKqdbF+N3q2LY9z4BE+TVR9HTnnMiclaEetC34+9KyjJKXFGCKWriD1bRfN7nEqWxIA5ajPiZcPXPTxnLBW6GfvAnRo+1PflKCCeRo1nrHsjalgnTG/sQ8fLFogZywSh5hGKDIzxjuMSqnLEvECyoUJWzCJtAK3XdLvgmZL+nsa37brarAfcWJ0qMsJC/GR6uDXw3PXAe4V4eM+3VLpaqbDPgerlra99slpyu6iQBw9mIA2x97SLxN3e9L122ekaF0jw5JZ/HtUPz0aimXc/1CX3+nX1xok8wC3fcmKLfQiONBwC5ltG0guXisVP4msUV2GFjVYq26KqaXOAJWZDbwqK+6q9EtOorWzB42mfvhbtVcnAFsuVJm9cwU9Oy2eveSLRAdRDZThgBaxbETKcRTX+LpXanWwiN1XYn4Q4fTQFGYu262EOVYO51TivzKANAmxd4de3J1YRjoSCeOP3rc8pFlpJ5wovVjR3HFmL5219befvC/QX7jsNvKTeNC4R3rloSjukoQFp1mQ5Sw3SccPsEAAKwwtNQSsuu0tElLeyT41ja1xXZ4EcKRHqSlO+rD6nq+VTk36G8KTscEgPMQIl4L4D8KeWrZHNlImtycr4mVNfx8Z/7djbnUdxJ09DwB7/6Va9qBfj1EIuz963weLWg3a0f1IO4rU+X4EgdY/Osg1Zn79VFxVLrvKbgzBnMV+s8LBixF6tu5cDQhXPS/w1U3UlpKa5XS9iFfdBwsLLLQbOOxGnM8IX/d9IJRt59tylVzbYjK6wrAxvEpX3nT/LPxbXZyZ1+ZKFppdPUUgbM2WUI36y2hq7HiWetdwMW8yBNjog4ThwKj+N0uQ+uiZFY5D3cWh404CdHHyR3F8RR66JIHl8JfBvFyCh8ZDHcGPhcjYZ/jYMteADU6vsxfnVT/SwL2+WwFNCwKJijrTnOP6GutaCeDT3cwrap3n2s6nMB/FjWNV8LzOwEA4vXttP2GjDIeeTKYKgRRX/eKi6hxV/WEwkePsECOZdjmn+KvepwxEaaoAPOq4l8AHJinIeStjUIErLoNxbgaWqZSD0X/DvNqAtg1FbjHHgVYvw1hv+yzklxkOJGvayWwEpWWhqCDyiZUx5Lt7YSMcwhA+rlpwzV+HlpyFoUAptlz5kYYFy6ERgOy93qtevJ61uhajXhohjXymCJJ//LxRWmZZZeW0/4NAyJVJBE2v8OlIIPFV6t6aTyUxDJIjiq35VvDDiPxsgi9XkNBfGXDktYPpa6Yutd8zKe2gna9Msg0OYf3Zt5LY8SU1kGsCg4unR/jXIR4JNXyoiQbfOtmpuAvvOOWkb0jGBC0nvChyddHkRajQoXoPMHEwzafaNso6Fv/Vbz6Jyxcpr7CHNnfHZtN+rKiRi46YLv6KVwNrz7yLdpYCN0naTFX1zJVCf8hbAUpnb/RLIuBvp/CYfF0BnlGbCBkkBQlgLq1V+QLGzX3Nasm0l8hA4v6YHRzoXeracqrqpysenoqd9SSTDcgC8Gdd93Enjhb3TxDtux5NbHyZvTFH2WDFl4J8UknNcOpu+IoaOyLXnOPSTnpBSIOUwVv7kK9qJ9sMqbWXlaNQHMo9ThXtZ+djw4IzeCpEwYmcs7NtF6pCc/wQuf3pJHi7apvcYStIv6oHsT2EX+bX9ZUY/fDIqARobOQC+acDxAcRnzAwPRhVYinTmt36jEE2WXeh5xwrOb1M4wfpCND3fK90Jj9WnoggMDUI5grhZBlH0AGAp1f/m7BFnOU8peujITCXgRAqt0yal5BR1I5jifRWV7Q+GXxxn+NaJGP6MEfoIeIdP/Q33kPCD4ksQGkSZfCHR9PKk1HVvLOC0Lay6Tm5YQLe72XlDvDtgaT+H+rktcZcF6GDz4WUhaBxL8Pbnm1PS04aCYtXG6rolIIJ2KPkHiyEgy1rUTYX8Sl2S1VRyqNMHdIaJQHO6DpQCEwfRCEw2wQQOn9utKVjk4LBnqrVEPpXS2BxG3ijNB2huMDhATWlKF5A++ldDOID55eOIZk0/VjT2D1vM4rhzhk0zJQ/DThLmQOAWM4810pEXjMSJ/+0C5yOyO1xu35VUvo0UzDa048ib4ek/qBEkFHN3VXKlih2kpZMDQ0WK+dg0hpqV5F1lfPrJLk+iNC5fdlYVbPW4RPk0e1aezDmReOr1Llhatp4KN3bpJYuQi+qnakdEX2Xtr7sPld8ZmumWNOUfFPU6hDsnpFmzKiIxoiY+NysFnMDfGbhiPSJ2D0snOTAtjvMcVKXSlGOd68cBXMcxH37Xpo+p2zW7MJPzKIraO/YbqpZOSZHmc4DiKKaW79pJWOiN9YrgezWC1LWVzXNmB9yc2aSQy6B4+IvEAJQXrlIhAS3U2rM99BXa+BDwgARTdVhVP6L8OqhWc0zDumKk8uQyzgJCFfvI/LhAJ1+9Z67PJTerhm2gHZgdjxa3CvE77mpAjMUZcQvMZ0BPL8sMU3VxuSInhwZkO4NaMDYgcDBJWUlcKCyjkqkxCL6Ibj9g8PK+7veGsrgnYkr2Mj+F72nJUXpKA5p8O7RwAHWS8uD1w67IU6VgwZcpR380kM6eJd9DellHxyTD3/kEn5U5RV6cmyQQY/kc+CsWsCS3iO6rGS9WQt3JOVERcSo002Ch6jQwP2rZGPlRP3kjYV0ba6vwhxFXvzLz5Ih+f4KrFSR6U7chjeA0UmswhGLW3POei6nYFNBAFIQBB/evGzAkhgS8kGBNHDrVepf02uJs1TlV6dvPocKyQEUldAMal8MIocmiBs32hOZSxAynVz45VnEFuD7ThnRqk8a3lMmvaKtlFp/ps/WBwyLxjZkYIViS/7cIz6Te9KJDVTCDTWwKbb8JFBCVvxxEFH8L8fQ0ZZUxe+t91e6nmbSHOhxVESETa1wLkXjkYySbQit+LkUal2cbgRf8XPuhr2FZvhCSbIX/5sJ+Tg2jBB5C7ebHeR2HSmE0cPsVUTJWZ8xB918qZPMygVUNdE0ISvh4yHOVFd0ADn948Kot4V6plc60e0q17+8z3T+6Gi9J3MzNLPWFXdP28NRTYqgE6afEHVv2kOIDxzSkrRmuP9n+HZZjxUc/NEWmwDHaEwCTC6QSkVFhy/1nbel//ztCfWIONO99NZI9fGOahWxdyXeqZmkp9RcNiUyb4kpetCArebpetKc2qT6t+yoGwq3pkZYbLqvMQP3EBKbWI6l7RmxwIegtLK+NJ61zHt39FpyCvx5CK2jTz4WqWJWo5eABYqCWxE2nTyPTmpYqRCNF9sXMpRgzIbY+1QWLKYRiCanSylPyRt4k41rSE7UES7RKYeaaRBH2un+fz/J12EIPnyGT0mMLh/BvITKwCw1R6DmJ0k25zA9SqxNulr3VzaOymgO4dcPuEKif0Pqbgx8WdloOsMDmEKVhVbtxOFdC+YANcHWCAiIO5la3mb0Y1Ur9iOTTvKQc0vz6e9d5Y3o5nFREJB+aFfJl/WJYuo5CYsdvTqqmE8XH7/nky8Szi6g04MzfurA2R0zpq2WNCNEFVj+XBlp+9FA14DVPJYDe3KiP+YPRy1glKqcUd0xxot7DtNQjwJeglNetW2TC1cewPu1XccPtBRIQ5Pcu+jlrmGQpRUOLCnMD2220ogM2UWPwIcEnx+untRfOQhcsOf2kGUvGDcUF0JAxkiPgxCh/JPQVN22ghTfjG4pgis+ig0GTlTIQjn3kzySzdg02tX+wsH8jm3ZshuJXCB8DPqE/yQUKJrnLyw5m0C/7biFAaaVMe7U/v3zD3tBILaVxVHaYJUBkwyF7hT/aGe2wR5GAZ6AS3RRRvGmPO365UDIJ7d3tTKWSRkmJycsrUG0BiEL/XBVdCz19E2wmtqPtTANeltthNbh0u1Mr/asRjoj/4ykaEU/rnyMN8o7EAIKhAUr/ZA3QD5apPT82LmsCf3YnrkdC9zaUk69cnnNJepjxSC4DIplKv6aLdjhnRpnaw9bnNpBF5T2KaaloaSqY6vA6NEiXWyIILEEqDF7yBjBXt83n1PpcOxMDqkxn3wV5jaTSUfSqMnS7aDqkqvZLg7YcwudRw/gtLPoSwG+hxvmiYGHKYzBX8BXnmqYQiWPB9+dtNlEgshbNwspUcH7s+mkOaAM/WE3eXuhCnuTCfHVTJ6eaU2l7BORILYG4XzJ2JXvrC8BZWIvYjwC6PCc2MeGea32tzutu4E1TNCl+vWBV6mvggCgpVXlt2aEaccS91sf6viDxUFPvSSOThvIH5SBUV8gayYl+zV7BUgmhAQrU3KUZxgbdKUaSR/7waNNeFj9G7keOkQz2UPpCjpfDm4MRo6SAM3RqX8pwkU79WGYRUFmJitVxfO4Y4DYGnApCH2ZlZpXNVgJGS+GaN8U8HVKMhiBOM1l4oK7uOD/gcKay6y1ybQaPwLwvu1DY+aHByUcD9KH8WxWIuA2ekb/2k3rECQnlSjquxlWiHJ9n3DMsvNkqlhIOcr230U8lsSUMLIqrog6g/q3C/xCjkC/3Hm6p7NUpYy/nEhWYu0ooH0dHAqulLSauQyPAHY9TH7crcHn6SG9f04GQwki5b6xhAw8C7dxA+wuCmMG38+PINFeyfgAVNICNRyfxTdnewpl/LLDcwrqRuYKht3U0UCj5db4F3mhOEITaNlFTN6kZN4F6iB2iI6KcdhQjm0g38bRBkTebEgkizv5zassTKWyZd55S0Vifz4Xzq6IXMGhjQfBh0VP9QEWGr8XTSd3NIwvXIw0xh53mcYWiiHFTcuFeb1zXleGyYFolrYRrGeWTjZj7KZFojgwZrEGwjsLZZ2bcXjuZ1XBp8xRtpbVmXWoclvSmouBOkA7JB4xhUK5upjzef9RjUKCTqZIURHJSaWOo3TIahw53Crws76KLizqxU4qw1LRhBqzq3kHfitoI7hfKtQ7e3Dp+mMqYXc9zJb/6rfnMbS6zLQ5s7HA8XQUl4r6xWrkJPGkk25MtO8Cc5pnYpM3PDh3D+nZKBazZdvxs9ew8Zhs6av9F4Z1F0Q3lTlceT+yb2GAocg4QL+rjYqSCG+c2AvdJGiD0UI34M3g4XV9DSeoKWtuWuV+ZK+efJkdTqgXjcZjGaKwprNQck10RqOLwxTcGbSlCjv/1kHETHIIEQuHNSQAj/BwXJJpufc4WlD1ifhzVO0YmonKognjxuFqAPO9eIEqRQsb5U9rSImQKchPwBv3VX5kTlltoD6cPjN76nJVXFWN30SCx0mpudBEfBjBPeMt/+ayj+BYfC6im42cptyl/WJuX9rTqpVvJSm9J8/7qYt4DTGtLDXgXzjxJN2VRsQ0q23e43FD5iacFh8WIl8rTVXEbjSZ61gENBFQGrwqGmmJh/JkiYuys6ihSu24fYT0HrlcHLuuyfdYtBg72k6h4Gkf2jLR2QKxmUktkyaYOBDAuksMU5jicsb+jSvW6K4bUsOl5b4TLJ+ZA19p8NVDI8FQ/IOYi0qzOTaqXkq2dUmFVZrL/syhKCJubVLUYxd37BMcI4htdIVp/FECewLvVPnN6XQ1m1axebbenF7gmpmefrsi0kDkaURsEuJtKFNQjItgOgerW1LCNsXUqvFxwJiOg1K4P7hMxAzpIza7LrAYsv2W4BdVTym0qo9CH4Sadtrdmnkfc0tuI1VHlI+21BfQKeDuOgtnQrPaRPDG8NQxnycoPV8ARqk6KhOwqaI4BQ6ple6EgO/KT/pemF21TxG4hRkaB8xs11wFpAUAMnA5m/iudbTg03Hui1Nisf7gXOddNOtZJMz83E/iOjQVfID6OfcXz2S4O5FMButzL9V38fA69+VmiSEEBNffti1f2qsomTarLRMCZq/8WnYCU9Go5jB1kbNzknjMnIhCFVbT6lF5Wk00SRkz4B1XP3dD83tElA5QYwh264IWsfzhIjOs6jG835rIF2xzfc7NE/uyO8oLDmIyPtnvGMOtMar2/yKrJPuh23HLY7jNRtq3s8VowhV2LsbCBNstr+43GFxw1tarmxLhlDvY5TnY84/jjdlajkyvgZ7rPKl4wrisnc7TMPHVENUa9SNLCb+1Q4ZlbK+X7pLegM32emKLIxZq8IR+J3AHOPxyFRBtkPCL5hlCkyyFqcDODr+63n1/o1UeaatP4c3pLxyjbe/rAmCZKDfHqEf717oe9ZhJa49R9XcvuFBx93317dMPdSuD+xZwULTPBJ0zrz75ixKgpOPd35zAVShNs16KknVihKer8ijlvbreA+jd9OeBlRju5AbrImz72NKprEGkYpukyeLPgnJ3TgDdgYXK9bULvbUfjKj+2yI7iMYkbM9hI4F0gWx7lNoicH+U5HDX0G4IBlIAkNvguuhg1jsgRpWxtzncX/mqOXzbH3yZh2rM4eRw1nwmosvLJmtHwbD1pXtzchAN3celGLMByKFpIjAaoadEzYdsI/53NqCzjTT/SVjo5+SW7uTQqgjP6gbIEdTgUDl5gESUhEn2Fw9dZvdyHaXm42WxE0HWxp1P5cZTRIp2wRxQbbdFOa9GzcsKKR6W0lwfP2rWL3RN7cYAm96V9Rdi+gMBmDuV09TI5+Hb7f1PdsNX2xG7sRXBzqc08CAw4knXsjFjQmXyPV65YqBPzoZeVvn5qMTTw7S4X1gA8SQRS9uVFYjWg+jz7Wohd6O36W6KavKf5wJsMlB+0A/E9FTfhWL9zqxUxz4A2Zc6w78LFuQ5mhcOTLmyxQVgJUcKGBjo0uICqH0F2ngKnWBZil26K3iu4mr9yxLG8AshkrXl67RqI7wb6s7Fwh02YC5TmC2ECcfKHEu8YCiTyRJ5VP2S1U0BM5YoyxSfQ8KEO8uq/vSARdkQ2KrogYHp2PZuC9urL8nclPT/YEuP/nIHhHlmF/01WXJC/zJVBirPh1hcHQ3Z3+r4hbpe86KUhmRRZEmdZkELWLxZ+lvEMa/ovVSaMSKequYtz7idI1odNzG+kfyFuQPxTWDXAInvahDmEhFcQprx7l3fHFAXy58B8J5A4I93Y+zd5IlDVk5cif81m7Xbj9xMIWIaYaoSGKJdBDavug57Ns1cJ+LRP5QdCPmJwNa7qBPCFPzZQdjzIYaDQG1GTPDiliaarl/UXHoZvoAt9tBd+hIfNUQc9fm2iBiPs40nlPkeDuSyJSfv4TXgdl0khXrIWp5j2KLRPRKVaaZONawXreG/4NjWRrh/13+D4Qjyy01W6ZYFb94jMUxxVtlXQk6fg7ZA4rbwyOCuRfTXzt/zgS27J44yWxyH4f1402+yD6PFlSL12528jgqCG9RexVobPtZTCyrkUp+2cawGDSkzKTzE+skFsmJDRW5SnSfuMHd4RvORLW0bFH2osUuinzFPMms6Puvv5nQz7F8n4k0R/LsnoCeVD3UBmELXOs1LnuymVeElfiSd6A8NGDRoU2OVYJE8dhhOgJp2xOyzCYyKUQ5PJbfcmejTc4tqKFD0d69qkxdRy4Z2DiRS4SsjtNsz923PiUjb83uksxxo9fpkZbOA2f27PtjYVhAMntAN/wviUtrYWGwcNpDvO0mBX2hMBsU7bmwm69f5UXg+1GZ+ltMTP2+hL0D3deJxKwgADlYgeejAuypQeA+uWVDNxAgWzXJSOOpmxq8BDq0tDDx666UNAJQ2baeO252DlacxcgQyEdTxZ67EfftNN0mZPmMOcYPJGt0xY+0CvicY04YI7lHwJwGM3d6M/35mjVcVbtmP+H+Id36SBDgCm3RjEJxY1RghvGqG5oBOfaz4ypZwhayyFO4mfOfxuzB/KvMzjCPLP4vgVoriZ9LcMlFxHzO7s25CApy+ugwkSFfENzko2mVzkOJNW6CexFJgrkU17+qDoHRgVJyp3AwG1Oia5VfLVAKRpZtkFV/9QD2j6g1npUCLIgIVWYJ4W4y2vlUhqHeVD5eoweCWAvo3P5eThuEQnnIpdO7V8xZPvkKhT04R2VPL+bPIu0HymP3ydIeOzSgBJEwka/rF+wSqbhExuhIyKB+SsNZyxB8fVda/Y//Iacp2GauVfRUaeeX4jl+LafSgFYo8pv+XvFgLZCEmk6ni1gyO24YFzvp/SZKX9SLcjMNTjTaX8yo+q+PRRX7LeMxuSUrvk7B/0Drzwao/tIidPXTdl+bDuBeynJGnQ2TH4Tod44j4nvaPARDpjwNTKNcHoIa7+CfR1UNxVoyW+TaFuxxpNyqzp8PtAyFbQpvlIRL9E/70N7f2pIYO88Y3zzedA9CkXpnRlMtg4oXFHxK1n71pRFScu+/LU7LQyo2imfYYXaDmIYJWPltKvyFoUzHx1QFXCbHV6r+jPa39hljJi/CLVf5fBsjlzNmKqkeqiwasbzUmu0h8BhmNSXtzGCvCQ8BoLEt2UxvkHECfjeavB/hwYH6F2ZvfoyF+kvaCXSaa0QmDCHfJ5ikv6uLvejonr6/cVFwHKNATDudiTk2H0oZfNFuT66u/WTZr6D5ed67O9T6Qet197J6E50k1qNrTRE/f1cOuZPM7fdSJL2vZtNX3DDYC04Vfubm/zS/eZ3pchwlf/7lgXlLnxleRs4mGlnzqKlgmmlhuihhU4ovj3JLyvMaUQltrEw7NCspMcn4+WI8FK+3WYe9pWWCtVrfwCFOTURAQgjMZFLuN8QxWhEua4I7UZCbvOweQ/U6s1H2Tiec5UhkniUciAoD+hklaoCEE9cXEJLEmKgeOOfljYTKdfo9YBvnlrZJ544Y4nX8RVtTKct+IDiegcJab7ofIXTAKeG6ZluTTIl9DgaPWoOKngfAoX+6/J3rriCJsmxzcmPjGMaJfh0RNH0nCiQ+1CZCe6tmNuNp5CHxvA3JuJLUoNVu+1fFpisxz5abYYA7F7gtTqRpsBASjUax3f8+Tiu5IBHGds11+zLzeiFOWx4l919xX59AD5o7cgr4zys3UJYSPjur2VjIOcZ3hxYEex67gbu0e52SGwFyvy+T38GdoXtbfvIAXFejSjt5PmlkCpHWKUzLm7ce0sSDDcTaMJBbcepSoZa5U/tWCd+n7qGKV2hX4o4Fq1SuLRe/kX5stfrnCuCj8uUj6qpxexmNvCags/o4LczEBUSMuSdxh/M9PSH1Ytq5IZvoFqTN/MJP6sYsKeVAVsEhRREUBZwg7IpvcVyb5wN6NAdXS+tf6YyAgsl6Np/h8v8uDajyWuJ8IYFe+63N6H+9dUtQvkR0UbytnGbNQ1FGCaozFa2eu95ecnwpKLzaXhuIY4YZouB0MciUgBkS7TdmRJ1FthN09BBOVgY/HaRJeenDIpEVEtciKDd8WhWfGAD9jkj423c6tIzgufNgdMuCdbF7mv1hU3EOLqgNFSJNV++rBgweynguN+LZEb2Kr7Jw5K8PTfGnNNLMIpfCDcoMOtW4tv6qGEXOZTbwHHSd9401abbSAhnxsIOqOc+dpODqiXg0o0kEOh8c4qgDgG0xH8CMeXQs/KrbWbbKeJZBtME4JJKiNlRoafEIuS4VIQpDyTKYbHtrd1gzGNFKnbKmUuztmmQ+jY7KuRTg+dud6bLDM6YvJA2Lvu6InfqF0diIVmTdIkruxN5H6+jnEZ4QQO9aPWeFgC92SIZZOFNPnPoYJJ/mzt5kk0mwJG9DvglYkb5e3m+8FIG+M2Fl80yeR8jH9yR6mWWNc6eEVMVsR0t4D6nfwNCGO4SO1vW+EO+4N6o05UP4XrhtG59Ttt2oE7vLg0TWquxyPPDqe7jLG863hCGOmK3PmsbjNlLFMuvSEeHqbTAXy9yiPpGsbjkN/I/VjwfhgKdLbMEiETB8hZzEimLKShJPucbuPQYpEjjc5gJkWAGt6mj+kjPjiA3VhWoeBoWwstrnAArw/FNiZaEUcgmvAXz2if3FY2BHrwNvDFyQ4LqZoD2yH554rf/FSXHhRGNjw/amqAU1AmCSFUWxjN4TyaIFlhKd0hqLnnyCy3BEJ6/FRH6PqakWz7DJrmWQEZ84yvaD5ytrK0qgFEzq1Rcln5u+5unaxffUsNH2RgTVA3H3abKkcAotL9DPIWRIlL6AcH2QZaThs6z8u5XycKABNUPKlvaMzqaWzIkbA3sZDv1kk+vIDhLHnOrH1px1jsJi+kYgCZ9em6bGXGDO9m65bh7SL/R+PVq9TjlonZiK9V9/czw8woEQljvz3wAJOoYMpClqE5szgBwwTR4/e0JITZB+M4PAg0nXtKYqCzkbr+ZAmanONlss2tgaG8UXP7tDgrYO0L0NTynU6SiYoTPMFeXoMBtZy4jG8aVN1iATe++BVT9jDDD4eDbnmhCJYdUrpZ90BRVbPxNatWoop2V8pA7Yv0y+6R4PcRJlnKLZp4dY/Z3yk16l8k+x4mNPPnW02DzBE6lzX7vpTBz51eq0Qsu6J32c0b2Zndn+8+soZi8B9Q7p/iFZ98Q9XrjBUQL98DSctjz0t7FAIjorO/hrfehumIvRjAWKr3BYLsaAQo66YFmofdSdVtkROVQOHloH7bpK/PAs8WGsX8YiiF6aGAM7UgGWbemlXjsTCe7yhd4iXNK/WT+Ja7nRBDy4VCZQfUETFv1d6vUDDCN0dxm6c7Xb0tHEXgjk7qNWAoSa6wprCZ9rNwRVyBVM45JD42WlV3fdamL1chw+38u6Zfq97/r6YFyi1V/cUHabqZdaqs63b8dn0cEXuaqnJhvFamKXySvZwve5e2lO8BfPgsbK6SAigVAE5KVyaBTtpSJ2JpB8NStO3FkTUxcnVnGMnnnlxrsBFySp1teSwjQbbHjjv+Nxu0GXCoZ2xL6cZzXimdI7YyEFSeYwI8YjBo2RpFlabDxaQoIiie/Urq4oOyZwLuaJoqCdmUMcYePWujme07vujGPjfGGfFDs9+rdvQREEtA7PDr9aClU1GVpHkRHJcxBFmsb+So5hMdUjLY1REb3sYIERArdwTd8k4gsM2P2fEMEahryufWNq5fhJXWF99uyjeom5/FR3q/lKVAyFAql/TOvZ+Mu0pXarey22GT/GZimGqL7/sL10JELUwkGGwFznmfLXrD9g/W0Cz5q/8hqQxclz1N2zNvWyQKSli+FvdGmtf7W2JBVdE4ooZlCM82UcUOaNOC2oIBrWe+Lzlmr5HP42ha+JJrQPMILrcSVIB1CCq/3zboxAckfMtqfedgy7v78kOxEpxLJYCdJ2Ye/Xn1ExpGwBQumvRMWHIbfB8UN8R7bJtwbvxRKY8cfUbzMxXcLa+mFbRsPZQgXXEDqzvAhD3YYq8c8q96eMdSdsXiLitA6EfHzGQ7ps24UwwOtywrPSk8iqCg2/18ow/HpijtzTFfBuYmqF0ez02r+HqiBRvTvVBgfV0eHFydWIClO7U+mOpELNZuRxnOS90qD6CroE5100W4BiEYj5f76hTK80mSlz/WTBGkOYzR9UzpjBJEI9ZpgfWRDLI0KXm8UTIoZnxYhIBkq8QBnEeJ097MtRRkT53kLcSBt9t17Pn+5wgUH2OELHN8rjuMiNV4518UoHSIEqgnXrTuKqPn6cntOY9nU7bS1FvR1hYHW2wResIEmBuspuLBwSPiyGTRlU2Nvib+o5q72G3OUnRk0fTfSZSVtCZk1vZ5ftntKld/JtCgAfSlkul+jOeIXZY7VlsbFS4w7ras+mOxvtYz51n7vp09ktwYdzByfZVUDCNc2Yk+HI0upMBdmVAl8Zxvco21DhWNkzXOVzXI84ufOYMuV42qqBjRbGeOMo7hl5jk/iZl4R+WC8Ej6rDzAO2NixSMqdUCbNh7YgNMjG5mY592hBSFDW7ugfRr47belSkEqHwl09FG9pZD6W3PrTK18KzvuU8i5czQOE09X27nS9sJOVl8o/ByiywYHSsNN82qa2Z0xeJlgAg/WSBTvGxpY17C1BZNxn/7jvuCSOisKHEiQD7BaOBeTPzbhL55Sh79ld/T1Ild/Elp/sQRXwHxDOt5m9i1xBP7nP8s+FuD2lnVicprPa49LhBKg8Hv0zosL6oC3Xoc9Kdb0Wd4zayTeJRMHw9j3I55Ik5Pz0K4Tp1gLpUOMi8YHWRNmK89TCSOHqjFVIn1QieH7g8RdeDyUd6SyjKIdwCduhFqxWPyt+DdUENnitzDhsjFqlUT4NvDa/qv/OcWcKmeaJc6HroW8wwDrDC6ag7YypwFZDGmhM7rqq/Fdod6kXmBdbmw7djzbR4vRTttbWECKxCUcAiDNYkFhFIhitOE09Ki2vDa3dKH3vBw4RJ3crSRjs9QmpJIMU/KMfni0VxuSE1LjTTKqmmXt1OmLGx+3paPWoPuUNqMeUel4J44kxVT4iXuB5QwpiLiA5vV99rBbCfRLqq3yE7Hena4oLP20PuvLbONQGMp29LEkTgrqshpEJkYYQK1lTUficHDZbawShLZIcbRQjqhr9AQQ5oEDnfE/dDfKgTh20kjpayjfpL7DD5BdQeTVQkVp0eJxoXqmJ6hJoxc9VXS90iPLdIyr/hdN3Mhzh3uBWwXpOaFpDH5Fo/qH50kcNjo6mYLg2kfSVyiirkXo4JTzShalTx/eCKyUiD+1oFLmL2URFG/V9L+z/WshIPGdWdhCZVwwPmRmF64wTuy38IT3OpjqwzeinhkpAG/gsymAo2yT86bkPSoCVLdCgIM8s6phDnM7NgZoQVifU0XWvjT7LWsGf5s9KbG7Pyn6EwD0KlkgaqLoZNusf5pD9mchRT8N7wTeijB5o6kZE5LIAzfEE6/ikQ914hXwWC73dHzISmDt1dFO6taydaGrG/8RkiIz/X0whxwnb3cNSKf4cHX4DjAiVV5yr6OmqBn5FL69uMxUpuR8veRUVMJ+/zUvcoooOoanjWpEaB6RQrmsxW1Iny/n36Sw6SDJodEkQNEC36I9AfObfmxHcpeH12bEaUaPJ5KyQXwUGRcizm8z+mRqqU9fp1b17wSOZ6IP7D3h6jWNXfHiSzP6ZaoxurobQNzH5CBlKA3odJOlZ74VCJYInxVaUEQ5PbX/4Qjk55XuZyqtKLDqXCYgC2LOW1uJ7pYK7CPGQfQFYEhfNhCUANqfi9zUN7v/SWyJa7yrjlyQQdBnDjHHVaPYe3VIKvAER8QMXM/QTWECh+1+2IZDNwo77B+ZtG5Tpd45k1VFkuAjH6FgJanr0V0IiY1BDXcvB3B/UloDNXuZ4gTvAmEyTiJS3gC9yi68jjYgjs/TgstyhfFhPHCusmVcNyldlVZHXW1bXg4PVdRD8DAuQvrDULIvdFNfsD8SWca9CazHNqLW9s5kPv+WO+/8NxDnvjsyH+nxCYnpAclYLHR/X9pEaVzbtqunzDMifJJZTrjRjnsDg71sXJNmc4zr6t80V4M/hH1bUjxf3yIUw3ZoWnmBN0vNuKbptEd1Ww4MjwsO72bpAfemGL9lqAmr8Egw0dmxE4KkAUI28EElXJPp1wMuOVSvaJtrKLqsMCW8rJP6VNtVlaZtDRHO+aYx0ofbD+TcUl7xkZR56j1q9n/P659xIzz/qAHAWtdliqFG65xqJAbLol+TD9QE7YWcPVxDl7fBIhXc6q/d6gWgqk6F8IthkFSPlkgLuFjpchHmDWK/QqfncPuVNLHTep2+ZS2H5dkVM5U1F/esU4XPT27JasboCLmxdgGdP/yjLJMlyfVkKfcxwYPC9U+t49mbxMrPKJjSvQq27YhxrPmm5UlAiT3G/Dd/PheMRA3QH0AeK1jXXykvBlVGN/ZC3pHiQsqELb1qxpCCdIynL6qju5T5v2IaTDhRvei6SRZTWEdhNSL+swtCNEYi3yhzmd0tqHK2J/JVFTMEG92tGIiQ9p2swGFsv3i1F55FwhzzGbb6xkCsKhprRwPW9kSwM1rjWqYEMexcio7NOgLQ77M9huw2X9PQHjnYerDIqV5TmSzghAYP6bDuDrJXep7HIq6rlF1OuMt9zsxXQ0xKMceCZx5ADXTb4bmf6bw1n/L5456liic3dOsE/EHkmhJQqsIHx5vQ0H/KATWJuajju3IH9r70LjIy6T5dVdxEylq135jH8toA8z5fsLRxc70jFkThDffTXC7r4gu1ZATtPBN+YAe/N9FlEXxHiay+WOuBz5zkCZgpM0KSptlwOpxBeogeoRpMWpCQFdEPrfWeoTIwNlXGW7lAWRxjrG34gnyLusiM23LdIR3fojB0onlbT3dNiJ3IMT7LXKets5gzD6cBLrBZ3nL+01XtY9M6KWgHi6F+PPvODqGc+u3+ho9bnbA23USv5ALKZn/UHJxTRQRnklBKxwDd3mdtdAHTFr5AMcnmIiT24mmgUJP5f433G/DNESdiq/0Czw+Zx02vW4wjYSJ7/z17mZDZzCyaJMywkPlNSQJllVlfPWrNve40D9zgG6rxj5rRjRoDLesEY7+YQCmD+TcM4fdDgZkBjQ5Qz5NEttT2Z/jo0fnDaHWtxIe0POLSR6ERC7e9Sg2vwhkJ2bRofCEBmeLeSaq7H5Xl8O8GbkOOD0rUCz6jDN0h0DfDUmNv9ll6mkjpM2g5jzNwyYZUpO2S0CxSLdZI3R1VN84xzLBCNVOA7AY3JY6WNly28t9FqGO6P1lCnP/KVz0JZScGslnHp6rwjllmiD3L7DYgs9ywbWRCMeVU5CyA0IkjJf2nKSAmZIx62DQ68+ttjM0j+aam42GT21ezctsCEtrxvGqwtB4VWs6HMyazIVzThiAVv5NARZCosFOx42MzzlX49r62Gq1ITU+w010Z5ouzn4BH1zak9uM8UO8ZSTJbctrjyPGjzb25gUwwB6WKnb1yqJXpIv4B8d26fwJo4LYIRqw8mnA5w4nW6OAmXm5L/D+2BE15S00r74kP4AAyph6ZkTTaA0edxQGKespRJaJw6O2wVTpYK5hhz4xeoS1yzhIEDIvDgH3zBIbJ7Z5vX/eTRhXIae3TtsINNwPXI4ZbbPQEQ9vsHfJ8rY0Pz90hsTtec1T5PrcCtEV/vKQ3im24rm5PMrCCIRpg+8fgk3SQGBPFV8dWiTtYuae837WL6JM4UKyfq+Pv6ggNHh7hW3CKjrMewXwugYej09c9DC/6UpwZNGa8P31fIY6thfF8PRsIpLzrDTQUSw04Pdkp8qkJ3iZkm0/gZXhyzKy7APhwOcHfOgprw39CqmL+2COBSbUBkW6nYCve4oiY3FS6L6KxvDRNmbYLr2FOeyfMBGPYLdHPEg7wezR+0yW9cvKPVOLcmHMBCkXoR2n5hM88kLeK1k8L1SXRM1+/SV8rfQepjljDHMoy5H9bjOvK6oCO8T1aEoj9vONfABWbPHD3nA46lNSGx/SKhEAdtyEaphKDJiiBKioWpPWk3LF6IhLSSv0ZdGjbsQnrpJvzJpeGwiaASOy82FBx0/q92/CL/knOl99MqG/Gv1G1n6aCxRBPXsPMGWUM1YeAYRFCp25U1XURyNNMYsJdxTszM2JAGzC9k0FQUQEWW6aa5hbmXz3se/usfpVsdTpOVH2UCC5nvTGOA5t/7N5W9Y3Nm3gPf9j4OAgxSKOUUCKabuOH2IcYKsiwKeQDjRa94hDal0wLMGERx/I44CnEEtMierSP/zWrxPBPLfHmyc/zPHlQXJK9SNTbe+frVzSF+JvlcQxfQ1fhDLbfYyamyRM6DYpF39hN6tWYtuaSeL/UrhJ3yiIWkIEC8Ywn4n/o6+hRdPMBDlGcVjvIeWhQ/hEdJZ+tzh0x0/qgiuGaNaOYsiesq7wcoI5J3F3M/gaa8UCcU5s1kEUnK4HWY3t12H3xtu6WDKN7rMwEkE7gRlu5p6pWodAC3nENEqzEMknGdozU9Ad+0XwtFFLNrOzaksKndOQgActQCc2A8RCqupA14EDc4OO5taccc6X7cCTlXaqF9YfuvHbZVX/FP2hcW2eRoayNZGslglgfN6rmI1hzH4IQWOrOC03brV4O1rFK75Pt1CP5GsPqf1egVJKW1IxpIR4u6ysYeRZSJivXSV89F1GFsnMpoSFemeYU00g+c3KDL3oamlDbLNSlyUkDO0eCWfoWH8Qsv2rMeMHlsMARpGSHOmnW2g1deT3cn45X05lTTj8xlUSl18hNT1n6vaRyAEDAJu3Z6jHdWev97spv0EI4Vwq8jkFe8CgZsZ5Kfkz010OWkStXAakBjJr116cWjCHmDFhZbBhUXvp7Q+igDxK+WkdJhhOs7U2T4gnGELzOWND6e8J0xizn2ppGsqK4Nc1bkmpSyVgrPrrI3FyrcWfAdvQACv4umZxj2VG60SwbHGyhtOxbCdW2okMbPjMyvDxbtdsNS14sYkhT5FDkGo2HzCsBAVtHidWkKDynWNY/pTOK5D3T6RYZNWIkLL5hdNBbcWWwrD/e54lmhesF6w9K8wfCu3vFjoGHPX6unk+Bgrhb8gchG035b82Q1G5rX0SIbtn7G8ykOv0JlOORbXDnO+bclL3DYDPRELCdzoNbXIV91eKCggRPYum2HSkuZ9TuDND3ZRv2mlSPQeF3hJuGm4I7fpggc9IUV4pJXc8GlzJ+wqcPZzYNEIVgTP3vKjyTpLSfTrYDkVyE8LiPZNNfmf54IoZOXpcSuyMuBdV5E/PbpTjvl176Qzn4pp7Ek7lDAm7ijUF9ib6KJ0Gdx2wg5OBiRaqmqOqV5dsObElE8UG+XuyP0yyFwCzF2zOzuZe/JDXvr5tD74M9cSuLzNfzGeo/hDfHLfoxuguMiqxK2IcVhzLjkK+Aplu02s6OwMykbvwDVEneaXkcCnCBuuQx9uAc/uxlL2V1T9i/rN33xtrKGLV/CmZM3H4fq/uil3StG6bDJZ+KWmc9TylW1ukyCFvCS2n2tEM/deD9HCb6qr+N7+Y3uEvvKl3c3xkL5OKVN0aWkzkOih0vWpErG0zDSK5lvcrzpINV4l6+NLaAEn2/tvWd7L/TVLphicVjhWG4iljDIdV4JAn4EUHdlQf6RRE9R9iZ4GezW0V4xAbAED4RvYFxhjXPmdtjQVnXoYDjhVnFaiParXs0N75rDP6DaCg/bKWRCq3zL+/ebTkdBX7B86Qc34K8HC9/czPw8A4UPSNWY7+9WxVUYSNNdRGE9gCgdjH3fAb5nzMWjYojclJ8WF1TfisRMbZwxcLlu681fnqMTe9Z88pwDY7co1ngZcr32Z44UvA7fzVOBqKHDIMhLB3DZY6gSsR4Rtwbt9m7QLLJr6/9MmyUjLtQ4n5KJ9YPSkEHIr5ig/e67mzhm+goDXii8jvb/J6z5BKceTFfFq64KULRQIC+JUoyu7PIWyUVOc2bh2Kp26DHyr+m8T3mv5JFpeXVvAwS6Xr8hCOWRp+ze90l+KUrKJOPQUynZljfFi44uJQjOZEedW3QIkUSueibtLlFQqHCwTMvKvzoyKaZzc4qReEMcMsbaEv07ejSdZaf4253b5HD0Vs86iHwlCo1d0BY2EzAazKb2qLUdmB+52puWUh/2lIA5VLAzAAjF4CiiKjhXFB+y0LRFx1vauxwpo1eFVh3SeQXTkJujr/Ek9BdcmCIjwo0G+S3DmSyS/biJdi2gknR8Bkl3el000XtUQZAl3GeLeGb30kpcsnnB57pYArv58BipaUnPWLtUuPoNdqMmzrUs4PgujYNKObyaJ5idWxM6AAxrSloC0E9epf2ewHJtoUz4GElodWyvIoa1kRE5drmIjwcvx9Pwmv3iHPcCIkmbsu1q63ydwynPPI9Rq1KUWy3qG3GTemECADAQS64GZn8i5aveLdnXaUsAPV9tTGW/bqn5hJIPTD8vOCGeX2U/MVdkwZB1jpFp5ZJWciOx0nHgp3za64RmpRpGPq/kR5oArdN/1cg7o8NyejvwefXTfZk/9MwHuZW9YjnaNt9cZMp/YzdIKytKfPGFoIbwVq0ZjqEpVJgjEYNliEA6SIC5rQYp6Y0h1ccf7YQ339SJazm3nsqv9eSiw+9f0JCHLJMSkQ5Iroqkscrno3r/bwUpB8LLrjRmhKXEzXgwqk1AdFdkXCr6Rf3hB8xNYPYLhNVdOxQyiJtRjLzBVW5/fnYJsEVu+MLghcKbaiP/T8XbtnIwxPgb+8cXSQVY2pPN4fhZhyKIWSDRHz01mX8MAS9kTsku3Fv/vHOZrRh+4DSQtEV07+U3is1V7C8wu5myYSjz8VDRc+OCDHYm1nfqh0hSlU6WDVsO7B6Kgyz7fDQLTjYbg60N9yywD1TyO5L86Qur7pdH1fDKrcv+HJJAT6V9oPCocSyl/KVHEAZEaqLSHuzruswPpacI5YqbDKXP01QkSTYearAB+5BTL7cVudeZb5B4EayrSrfqSpNSWCngnnPNyjk8OjHO7vDKsUK9JV3zNzLhvssO07YyJienwk2E8DF4vlQbuZ5uSP92MlFjz03unkCPIMQDpS7rUfDZ6UvNmj5PS/JkFDPqGVdV5ViL5z9EAQO8jFuiAGvYa+uithHvxcH45dCCD5CWBiZ5wHZQoOApWB0sFtSa2xPXQtqkGfavSnq6Pn8+0NFXKNBWSHzD3Jj9vitMqhWheu0Y51tpCFxvSm6boq/VYFssf1KunnIAAKSPwjI/Ty2fILZnPtvHzY7Xz4CIUyXFFeEYsdCZUXGugFiNLrkeadP0X2h3yn+8GVAYN1ePWkM8PwZ9WQrH/LIklnq4YG03BhYdyA7R4YRaeVG80V04whjZ1ijL13kQoZQ6wAFNV0XjZyYxbXjs+DCLjWBij9j/Y5lpeUhHLTKguIOO97fLeBSlyouYccJRrW83xKgcojzPlx3Cp8ibeM9dV7gm2oFuG5Q7+1VdZ4WWYHOxLf81n4D1jqzf2l+tcvAACFY7OiMto8t8jTx8KIhz352BAHKMY6dora2tshRU784m8bU1QFnQ3YIohuM1DsbnuLjYOyK11I9H2m7mXNaJryGKPS+eSde4mV6jBtIFMkNND8LBD7dgG0DGhCFfikPPXYLuisQUu7SKxOVWNZexEiYcjp9C8Jxrjw7AbgG8E3r4i/UhZ+M42vY5zOE/ugvcn8DK+4Y0CI4vJHN5sjij76t62rSoCMg2MnB3t8BoLEaJjsdhz8N+8POCnAyQXXc9v/WVcVUrEQC5NGjPJ9A9TrBV9jRzYSY+sVvLq2OMlRiGIxHeFLcqocn8Cey0U1RWRnP5Rc9D+D0dATUuaFGhLdbF5fqFb1bMjl8LzeOY12mFk6BcMB2d1PDLn8A4+nvP0pebw/tcti80ujyAxgGPoz7/qw7r97lpH9Q6VDgO2uqutS4lR1/W5OIg9/sKKXJ7oaxq6OxgkLwCWeP96uxzH1w2rJKUA6ufShCR+SC9BeMSSYZ5r9Gq6qSiJjVHq7B2YNjw8SkpdRp4nwVeiIeamElNvOsgWYl9edjmGANQNtEz3uWB1bAF8Tdjf09MVzicwjp8QMZ4bbIMoHJh3VVEbilsj/Q03HnMJng/E5tGusSMD8uMO3X20nQjg/O8ni700WkHkOGxUmslJton5FZ/clrqkbp9KSEe7CwPMFOaLJr/sVEQM32KQvCFvbmLw0Pr8PaN6kaIUEvzE4P79mpiFS1qLvyd9LCqizSKCBmjtfFtXkDxROPKEdbt1L6Alv5P36ftJRC7mZvUMzY44tHPSxVDsVlbmVRMeswUDs5AlI4JiU3vfKw22VFOBe4Jmi4rjNIDByqubXbcu5QzYZZhrMJJQ38R8ScQN9tpJprciCtAOoWY1Uf6ThRraEz/Ym3XxnKQjmutBtjmXHn6fTlQuiBn7WW9IplmoNVNv6uA76EwtH+95Bzpqu6oprC7+HbmN5wSybz99NNPm12E+bHj83vtkwcmvDQRd9mci34iQv9UAtXvnSShfo0MhflA5brv2rNaPYRt9eMpowWpQ3g8kRo/d5wRZvZjnudhqemXMtWvajz0sjnRcD2O8ersjFgtWYYpXfc/0B5rYjt3tyx+ESICFudiGRsTNKVEzRDT9OJNQJHmcywAMGShbPdnfiEpw1HBN1epcOELJeJ7FI4WNbvq2BDiqUqWbeBu7nLaoaDUpMmdOwkIdaE506EVwTIpu8wRcDXKNlWGeIVK3iaEmmG+njFd0HmuILpvVmGbgHeL1DOVXmjAt67KVcaUH2dpK2Cae9ghETTq9zMX+tMapHWNgMbZMBZuYp3eS1LwbaeqMK+oZAhE2sWeVzShkKkjOowoZnBSXzymwTMjE02PYOMaTiAEJEUAkq6xyWKJYP+z6Y+DnCxNOSxheCzceP29UV1K7rHuZNXxYUCI07ixxUaNuCxvmHFrdC93hiXiXUbulUPuXlHl0pfZm3I4lpQyKN8NV2vi+oddtOqOJ+EzXOlBgYAw3/fXOu4CR/Cah/I/1e7EqemnhiwsT75rXkAMGiPIob63rW/OmoQePS/BF0ocbAYAzA/xCMwa4JaTn/w/Kom8SmaHR8evAHdByt4cldEEqPFnLWejmrChoJMumUdMhRrwEOCWobblCHLTZ00gx3OLCHTKa2CkMMereVImiBBNLjSPOzqOuzxCHFrEttzwZX/7KUa7/bTslByptY8uc8iBFGhm/3b2Ej84vciKncALVtIB1n/AMra5uuuTkWZB/hQcotDRibs1nXAyud1b0vO/OkkbKJGruqLezNjmZsVmLBB2vlZo9mCy/9ljvs4ghBlReN/IlAYsNjlp9vgy0vCLs56LfTGnS+4dJ32p2vWSAWVC2M9hRJSynYFaqG2YIGB1yNSTLu3AiGpkjrdLJAs01+XDNRVRIsU8eBVOR0OAkGBfRbDka+yTdC2ClTIayHdRzuyQe5Lq64dLfPasCBP9ZZeI7fixe37JVWJuxMwZU0SMCYrc+Y2uM3yMulzlQbNtLZ+7zkm+tARDsLf9ymuVCxXLWlVsVLh4L657KRLZhBrK0SX3RaFpWqkhlijFfIAvSCO79DWToxA1S1AtOIiaKNW2W0qInzjcs6npR8L0l+luUb+I6RuW9dsiWN7EfFACDq1WzIPy1kLMK6AQoDTxpz05S0Wys4GeeziJAQ5FkUEqjukn0RBM5jqxWikWWGJzybQS0RQfGXiKL4IolI+0J8u+v2kO284IozVPP/htSueHF+5Z/VuJrWfT41G4BnYPBEt7uYhWPZZcbRkgn4JHDzUUhkOwNtWIr3+IvQaSlkwgXederhGaXP01vGUCJkQg4sWuOsorZ6WqpBDohHX8u73b7dLWvSAnTfgBYCAzI7z60iHq/okSa3c0DZ7xyxeHejI+alKAeD8S2Pm4OmBBLuMbO+pG3Dq1+Q+vPDLjGoMuxpot25rv4lTVbwcO/iiVzLjsERxg86uJEFyqd7g3A3ypVCwuAnBDIx3EyXnQQ/zdRfezFICa6NJ84KaQpOiGfY3byl87sXUpN4VwKutYORtZnu00VwJPyxsrxPfn6hzp8e11VIeY+djNJZYI0eot2Djc484/SFqccv6c3Zu8/XpVB7J4+l9D9TRLWZjm9EEw1PBVTCF9gN4pqDaDvp5ZSXn99suO/+4gFgFiQ1vSAUXl5ERiQ07gs3ut2IJahAOMD9898BTlU52fXsidoElIjyoIIj6UMo/+SJhclvh0G9APuTIWVbPCOBzYGo+1AGXm0Z+NBEau88hbGB9uR08mF/SibUXqFYm3NNRjBJmp0+tlDV6B2m9OKHkDHSEupCvYq3ZH/VuF5//l/yCksuQumsbtQ9xal0wXO3GZ6VFZDzJCwTjZxmdE/PoFZOM40546FACf7VygfJ5d6ViDA56uoFEuVoPnB1Z6kbmkWfGtlTkFfMf+n1AxREa8YIL3b10Wc1bWdxEfRI804YJmZ5kgjgOstTKpHQBxF6+DkDk4+eav774iZYE+or4JYZ4/wMeV79Ek73Rlq9TFuy96K2X4GqxcL9MmWbJ3qOiCI7yYfSGErB8cq2/ydiJDpd0xxKXGPvgbx6LnyvBx5VDGkpISjRw9LeAL7TVdgT16P2HWfDtYot6tpmB4V7iau39pYCc8JltoOpf9q3n9OpMqFqP4TjkGsnQGxv1duZEzgi+y43Elt1zCd/n/lLFN53Qi0yguLVz5yt338iIFAJnpRzrl7FvgwXQ1tfpkXEvGG58600JCn/sy/7oiDzfeGqIYXP/BPyH0iFDS7y/xguzt/lVsJ2ATg0K/+aDjTsrYzyy//j4tgzYPlhZr3UAAhbfQtbNiuCUmcCSUULSfhOhKCsQ0wGkzse42SqSWHWPRXJJPykKJTdCWBA4XZNTonT0gu4SK4Lhz9EHYR2qjppXz0kkzblason/859fcoQIhDx/ZRWAay7z1mhTv3Qq9+vjqHIrEuXLdYgMFI6qS9oTm4zaHCHt88H2wql4Y9rzg0lfnySl6Cy6XmAMBn6W47jcqK4BdCqvzwZWOX9CP/cxZUNHSVYgmMnJhH136MCI7yhnkz0f82d21etDe2T3BSE5gYIkmcFXf8OzFgMt++22/daTfa6Aeljuzm4KFxryOqp3lRg+N4225FMPI/oc+nhdiIctl4DoDU9SP7mzSh+1Y8KHaycdYV8gNP22HaadLrBEOqCLpiwJ3xrUuGxuf8nLPmx0VxBgdmr9ai5DqspAJ1l5O1OE6YyOTG3cLgoY1TbmkRxcKzoREAURHqOFNYgs3ArSHoFGu+hTEYzCUOGT3rTI1qVIIc4S/E3nTOeU1uoUnbd2LZ/xeqhP/pzvfVZvca3TlmGZkbvdpjmNB21gevOXKqTgZ84sAFDRg5ysU8CHgEgh1XfmbFzXwa3zk9dojrhVcJELKspxFxBjqU9H7yOZV8ZwhERW75uWUndyAIk8osaWOmgprLOvRYk6bt6DrO+v2pDJNiaO+oZ5aKhMUKFzd0nScQla2CyEifmLHuU6L34Rzedi0JOiXHPD8dTNYKGUFgTyqaTclUnhRNKaC659vWYJPOFoscy9g7w95Ur51cNbfKw9jULo2Ik9tCdVzXxbSIqJbKJhWS/q97UwcxctsCHZ613LbVX/umL0ijQpbYm9BN3tQq9uSNzWh8rggu3rHdGnFtuzJIp7f8FZSxfIbERxc7nNhzEh/00g7MEleEFi3414iB3wkZyFQd7sQLr9w5JLkF+K504nnaOJpR9ZLrIii2agVq6Z/aXoe19Lx3gqeNmPnIjP8nNLMUMTLhbkOSVLeeWs+BgRl5yQHRdYexNSspTKQxJJImS8croDDIDJALrmTydADnKxOFkqaws922ZclMPkvJatgv8ezDtNDjtem/hwiRASp+kZZh3+at+5QhRs2DGjY9nsIT1McJtxxjJI/IBN+eocT6ySh3GNp3lkDU2mbuccAWC3CkIux2Ha/1/zDtdN8xTuBXFgOKDxpW8V0cac6pGOvRyFuDd5OxHiOqjFX2wFPht5Lv7GD9JA4Gm15DTR4DMGXxXjbQkmN113orWytEMiU4rp2Fei+esTM+Ng01SdZ8Cx0Edwu2ntFyYIIidqXAfGpvDfFXU+y2NMNyXSdAya6f00Vc1QeNQw8Q4k1mv3knTvIBYexHdB4f6ieKz05FMtGeCfGE5FuMt5syUsf/STmWZXXLzLHOAOcwXlvErlv1adG1wwsYSb2FLGUHTxsNO9sSLES8CpUJFAirYvxC9lXQAP5rK29X/bsS2Ob+xkWnJoq4aZ9QX1mC91HFoPOh6YpwqgWm88AuIJ/wySVz//djov75YuNZiP5NJQWG65YToDW+Cy/ipNihjATVuKabbazuv5dpUvDn3o0bCn4DV/ptgIqc3lXiffRLDGTagvXTjXK+vaqeH10b+0n9Eu+36PwX+U3/BekeQ/iVvz/aC25uhaGoDPeLM9uqJi6cNnYOAmgJsGfZ18IAs276tubmWVJdpR79CIownK33Hzqw+clpUQTGSuUKd2OYqukU1i+qyR0mrFzGE7+ChuLDo5fJYL2FSy0PstX7H6+nm7Bh8LskjXExAKXNm2INRwp7EKru2FPYf4R8BzEmHlbwfkPoVGnnzpMS35tVJcowEvhsXpNjKBlEDaZ4kAhNSv0/8VqzL3pxUbQtr0U9l3M1z4qPwHRMKqhzcVZEYHOo60ylbhQgU8R0Qcvv9gc9csUWgbQekbRhjRy+2A4/7WnFCtHjpkLWmkLtGCsFZs0B1ZtGshYxujjM+eZuL8dsH+ioFdN+iZx8ajwqfU/zphckMpwA9Lko8L81Hbv4W62EGJIzijGkfKnXqdmaSbNEW5JtWiei4yBm+wYd1b3xPf1enmYkdNvSOiRJ7zaJVO5ObpcIwh9pPKkCg02aN4oOVZg3ptajszCGCCfB5Vl7WctBAb4v82c8WFNf3C2+yDhFYITK836e47YnZApUkCT4IRU68toWEgiEZEzMTRDssQtJbJfOzHhUfqiIpFTHbgvr11UPI6ToMDPVEBzw6j2b5FL52/OMNmZh6MpYspeA66VxfUkphu8sEA0Ln927rVcL7hb10EyFUEEsVvk9mp7Yg8DJyujO/QE1lfEeJLkHkh/31Il6VRnzE7U5FZz62LDfJv+CV3AjWpbXQ5EuWrz0khu3uKoA25KbyVmI3zDMRMDmr7hXR1ekyOjf3TSngq5PLrYjXdrBdaxdKcEscIynTeENvBWQ79wr6WLciA8rcZ/AVTBH8YMdMxZqKVr1WKAbm1Hjnr+rmCdHWp/s4HSQUxDjXQ9AC/BA2DN+aJ6RcaVsT3Uc/3hwSjkTS+vayTdUgNe5+J1QF+E0kUM7Y7VYkuln96VIIismXPKzAJxQky3yixkkQ3HB/XnazH+7l7aKTx0LWvrAgTWm7+l/l7cVKmQDGJBUCiC3pCkxyAPPR5gpI3FeaQayi0KXZCc0Etiz0cMzgPQqTmoL4sBXpKidGoL9oDCeqsztfkgdWN7OJeGFbJwfORwWdCbEDo6nPlD1tAlV+1Gpd6HAuq2w1rlNm1vBEWAN1ln+K1/NAzOlPSwn33KCf32+nOOsZy8b+mcWlnvhBekkbg1WPCz7vbBz77nRi8T2YoK8kVlsP7Hlyi5Uxm8u2y6aRuZ2WB7kUBtlulG8GDWV7FMUA6qzhmK7AJCGBoyAAdCpOS8h2hSLK2mCUYko0WeEXE8hLk2e9xnCdKGuel8NpxDHqunjrxqcbeVLgCwzbclZiFXEHRGOIXlXwGoUWa4IwaftRSNKf4MWN7euRYdaPc6BMp0CNzp2N6Fpn8KjWcaqTT4GSdFRS1ensN7E/u1Ka9yH0g9FQZJwi0GETkUWaNOWMbwXqkNQHRYPilk71J/qxmqzUWdxBIR6iJ+hy8w9yoyz2Ez+Ai0agbF48jrlhf/HWix2XQPvRoT3VTcbmZHRszqLdxcrx+D3v/+ktwKp0dFJHAoGRD+XTtq/XO/2RWqfVrs1saylSCefVCb0jSRAIJD/CBtjRSipa+iDYBIzoQ++jAZfAnxeURRzhBQwGsjivphbtSMKwgh2h4QJmuOjCFGwjA5pw1ZXlDPm8HdBq/+uAs9XlqepC5RnTY+Uj4+dW/gvCJk3gPnUFoty/yjDoZv0y54U5K1K78qCJxq4rAvoo4qvrqY+mc29x48VRcAcwNpdtYvvShpK3EVzmDLaD5i/VF6cOkzE6sFNvm27YMen/9+07R2AzWHLyxjL0gftTVd+lyTy7cd11mFvzA7cpCs7Dh0uIH1m0oE4SVm9ksfuhJ0qLnjwUwDjxpEy/8aWllKkYc5+Orsp29kMF44qi8YAIKAOR7rmAfOHjJ+7QPt95wNDhcn2pPagr9UcT0edh1XNFHMMfjtsPQ34LAOr126jduw3x47vqu5wZjrSKWPMuLPFguMV6jnq8kbnBPSdA1ex1H9bgS4jcuH/uHC5Vttmw36FH/sjKt6BUlyob+gfQ4Ml+LE4LUFXglrBHMPk8jwbuWRvSfSG1txaf6qVJUrRlfnLbeJsTYtnOFiQ1HWBrT7yVckNf99J8YaV2+O64UEW4rTpXzC5pq8YIMgn8SHH51m8QBSbUXmLjK99/JxaJexUqP/j/xb5hMdwv+pC+glIdKJJSzql7+0dp9E/G7pAQxfTpaxz+5qO5++joxE6svww40UdEGHVUfRsnpmW4ZHSd9QxmfM2lzb+d0BYFv40be4Rzl52nXAy435BAAFgKK08RNYlht6swHl4wMP8Tfk0cbm3JRhzMF21qeasYc269RMOSHQFz4N+6Z7kVT0qL5jVpSdxsgyO9HG08wtpiTjkIf0aPJs7PSuzB20AVlHNHd1IUzk5pc8Bm9Qw6ABmyrqn4JSzm8M034UPCHACqs10EyPAOZDHqa8x0uAcqVWfXigKtfYs8UrNgaFaYpWpRUfB7qF91xrFGETM2ymOThsHEqPmXIoV5gObLf/1nBEMdtQQ8vAfyO/6xlmpmPHPKZ7PYgP9+hfVWxfP0mMIOF/Qhl6DEp9UQEg0GJ7VnyD2Z8HzSvIf0rw1heqfwY2Z09IJ9MENXduyjBMfnylk9ZticzC4/DHDuhxuGICwCZcmk6DuPqMsHN+8g6pfQCAA725Ej4xxo/UtqR7GIIp7uXJN6NE4FjzYmzL0Ugbzhnm4IQmCl7ClfCUhbSNmSHyO6VQjl49E3J6L3P6lLjQcwpQjjPJs9jMLfIFPJo9QeTeulQb56aEhhXgRjN1otKJm3PfvRI2kl//nyy5Wosznv+fq60Ifnb0RrOas5glJvGs8mMCqsm+DdAU3hBQA1tjq602RWAKxG1suAoeQuE+IiaIH4QzOYoI1PrgX/dplGK6sphH3jvvjWcb04rSm0KkRdIxAgpRLiZkglZB9i6tWUOGe6T4nT8fFlRVR5H/DAK2zwS8SBSHUr6RxyHNEkHQgSBMyXuEIvfzpUdbj9//j1VJZZlPlTHt1/v+7c8d+eY7PlDu2rDrMWjpk4cQSiOUhgBuF47qNR0/A+loboPiFEmBCwli5FO5tl6T/pfDvDaQzNNzSkjg8WPacWqOWIOyw0G5EQmkpGq7bEkWnVZicKOhiujh+tkhil6rXTCAoJWmPLbJQc4OnED8AR7AYhsh1j1XkzVvbW7u1GLSb7j8iAVTev3rjpPX07FKnjjhf3kQzLUrunQpbjqP/M7Kp38/yVtRn/LxOPX2ZH9SIdApD5qUXRhcyqjSXjvJpsH1HIDXZ1+voF23txoGTjgk/ooaEUH9LTLDbQ28PHPOiJQTEcnrZPmttHe1IdlqB9LISoVdd7w5f61ToOKOaqawJ+UYqYN9LQ2TJEjMh5V+Ko8OEME9yhhjpeDXPVn96rVxTDowiPF7QaN3Mhx4p91i5AQaob+tFK79sFRbLm1SqyBT7prynatznTGwoWss1O5JcUfosaJ4ho+qXdDuHhL7HdknsQEd7OkgL5mDpX41/fJwfmpngXSjSPspSSUG2KDmLsJsRtlnx8HeQp/IyFqzB5Ztz2eUSit6EYnGv8BZGrEqDVpQvJgYOtWbwXgR4avIUMGUQC16eHJesFqrnBWOPGn4BN+Wd9ejtCGO9F0lC5qVuTaGQz8GlNgpGz0YkgLqnkMENQropAm+J/61quFigYZMrV7UFk6sIm1VN6qdW7Er6CG/hFwNmcRd9+5EQFsyLyTUHnoj0V4Aapu8SaFQglpcCRpkMlmd9CS1B/HpCY0XpT7ziT1fxorTJUeGEbd1amxvba1QDgo4lwJYhFAZtAZLguQv2pNP3K/juFogvkja5NmmagZiJGgzJpz64WvQk9R6V9OKx1As/wSGRqwArBZf6oO5j77h0BdXTGGAbPAierOEBhcEywsxFuV4SMRvbEIHRU6SCPhGNiMfvB3nPRXhpjO3HfO4AkTCut99AGtDNfsVJ+H7aS4rUzIs9/YwINX0RPBMKzf6zpRjoobKteToGJNa3Tn0wWChP3QNwyc334GfDDksLFl9VAKOHa1aOAib9GsUlpNqf1usuMI2Y7Oa1nmvaS0NKvz4L/uQAUpakH9+4QXEZ483Xi5ayAdElHT4EhkwUUUi0yp9GQBJkTXIgzEdRzySWFEGJ44KuYROu4CbY2+EauREIkw9o9q/NnVqvfJXwuJ5KWc/Rkz4ycyIyuFEtJOjH2xpSDjPt9Q3/a6PkV9fxeP9xg3wDRkH/fhU+yCYM5GqdxCBbP6rR5Z1qSB7zwIBXKK96/Ovv4hr1Oe9m+l9w0anYMy43Z4AUDBzPN5bZ3+Hk/RgVewSmET0f6VScMSdRlrVf09j1JaayG3g0oftsqyINigwC28LO7uH0OUW2l2QLM5shBfQHtxX6rrzRLujucCkZ1Bl2k/1DyH+bx9G6BlW5hLNIIJj4XCFkHdxvCbppTmL+b6xZncD41NofkB1AZAxefBPtKueR2dwjpkH15uj1Xo3lcnuAu5gGyOgr8hFQTTPut8SnyMfQ61bW0pGhHyz14HTrtveZRrImQgRtdxCaesDwjQQRFVJu/xFa7SkQLhhQvMBTmRsvzxj3KQg0e/BIwprkvtD0TwBbx99NGgTEzxILoJLZCps6CcLr+7+bUWrMVlTReRb4FDKCCHaq/inuLeqEpdPQ0NPOlRvWe+1lRNmnBdgpbbebtpjxtZq/tqSsLPQJBu0iiEatNRLOtgmgI5863wZyTo4H3Ov5r8X2nRqsmjlGEtnXJdYwLQHQlC4j0NvUkdA+P0mAarx5gjhAJtd9Z2FHKxNHkVaAFnu7rPAh5ikdjaoyFv66ZeTBR69vdfU/XRsWoIG1vrDJCCNp6r6+En1kfKbuKC6H4KNUloUR9qBIipx7FY1dHXblrBYd/QkpyKzdcxMeO3V4PXx1m/Nn8+atakXrTQk4SYjcxDIfae6BbnVxedPpC87Z2U8dckTOSwpssW0xVAQoGCleBPYeir2ZPYbtayPbyUrtbvtpy43ZakL5XLA0hluPepP8K06ytLttOS/WFJ0Tp8Xb3eGeKK3PdkJeJs66ApWtUWwA9uGM9kFVGKprnwkQe06VuDNszDF/a+2QiuwtuS0mUl3GN1r4bADdB3rX1RPWimITMD63qp0Ae1hpoZCex28bEyJl3HNga0sx3R+kT81H3Z4MpRcxGf778V5dgObfus4vc1WskrJfKKvoNYYL26sjlUkEJLPqeKwb2RgiXcM1Rg6JQWfMK0m6u67namAPsh5PKuuO4rEKkzC/Q/QwTWv7HjrjxGwBO5JpEh5yfIyFqNsxgo54ypkbA7QmXWFAtXUz/vQZYgQYeWeotVqUZ0rDN+NqUIAhtXajFon9W02sGDFtO3k2uS6GZSDDyH8jVGkwT2bmvqc+slicBLkQ1F0rrHRQKziGZnaDD9ir+XBGsgZENRSx1bO0zUtzVeU7jRGWZsUzu0OlqZ5535cSiqZ14wQLtYol2D09sCEmraZun+9HMDlEkGXLgqMNhDDfPqo0qmn199sB81H0kUcgEZ6ieTs4u2rZZjWDxxi19L+lzio1u+W5VqRcT3aUxAzsZDD4vyyo4Wa4CsRTx+P2+aRjYcBJFWJ6T7MngdDgmtZxqUfAUeZnPvK25fjObWEInhcxpLnL9EBAMX/79HdByDbhzPY4XelxkOqIGLa3mWoIu+2FTQ1nwZjDR+JJN7R0+jQXE8OI8MPJ/YqEVXfNRztcqrza2/fR1HSbaTHVqGZU0FYbo72hunOADtX6iyowQkmk3Y3QqkMf+MXj/DChsR32cBLa8ifsga/f0ft7SgsLbdN5iQT5PvaMcU+9q11JlQpfuh1vImMJjjApyfMLocChUinXdNVcS5nRArzoI7xpUyVkrzSSKR4NEwSUJtxpn34SyGU5fjnhvqm0uKHLxrw948lEjoQx38+1ZsWzLfLOiG03uqCWvz5ot2udw0vj1kJ9jBPsMbn02xy9v+xW2p0P4SP6Xuqq/kOhU7gYZOReCwugVD4ksO2XuEIm/y825CX66U4BVRSQF0vbIhzP/5DRkNn7J3fHKfefry9FJaApi9SfG2zuEXw93qcahx7/vZJT644010pjzOCTuhPmD8KiWmH22WYY5OvesiCnN4eoWQ8n/2SX6nGANlm0jVDlYDZ8OPt2eFp56xeFa7l0lvblPT9mNCZ2kWcVRWntodm4t0ysJGcefYF8a21CBusJnDZVfYsT15B7vtY0hVzXxjXNczicFESaBZzPxIHDd8meshv2Mlb9gT7VOlrpbUVaQbQk7QJneH5DtH1H2giLfMWODtEuwgUQ9ApPP0Ob2pIf52E4WmvfmskfaZ4wLnzsmbB4w6mqx9PQWl1n1ZuPzWZwasc0sE8Yuew3S4AlBcsTKY+c7AmCgpUEKD5eFFflnxzaNkGuoXTq57j+Se/kDqGB/qhGn453ebE4XWKlnZm6S6uVwp5UcmEq/HXxndtlayqxA/ct5DwsTIOV5WlYLPvGuptTXZH1Zly0f3pYaitC1/QFmWP8CWrGjmcE7IYOCXjKi2Ak8QMTyOFihy/B1pt1mBqqKSLMnnBnjTLblwSJPTA7tUpB+FWpbCHdFGFFXtnFz+ajYEV1cIe1GONO51Ehtadrhw+5egxX3fVT4BbBx/lZ7Li28/C9Ta7tSPaAhT7Cx3SDbjwbQ/sAhyhJkhmGM0BFcV74WQjoOCyAqr7VAmzGKgLRpLZ7qtOU5k7ETkbxrzZ7V0qbHqvR2z1186Um3TJm7Yv0CgMTeIjZQmcG56WCiiX5EgosYxe6n9dRaR+Y6YD6eVuJZVFFADvQEqJ41XpZSVxjWZPUkoGYNJJjvxgA8IQ6xONr2POeiFqNMfE90JPVL/Z1dO4Up0TXeQ8DjK/c35BLYSFHUZMB9sY4iH5px7+3M2L+8Xd3R9wi02n7+7vi17CCW0bZk2nagQbP8tUc9jhyWa6L9/cLzZIes6dD/hDj62Rf9I636KLsjkaHl98WX502zxfyqF76yweANwlZhEI8K35bh6Ue2aO/jzRTclDwdabvHOQF/hD7LQcRvixAwaLsd08BS6TQVeOO4xYxs3h96Oi0eoMFTc32bK5a/hMu0XCE9G+xKLWA3YKuA2YmmNrPVRGd+aIAP/Wa8e9nuVyt77LulRTSDvRerib7ezgYH0n+cw4QMGF7rR0Inbx+tXBt+uGDNlSr9OnSNTErnV2M0GadFNiR43e0YKPi4IsvDOLc5DdOuAI6Uc5CCqY18gyDjHhjDMnmQpNnPj4Y6RuVKY/w2ShYQBju45EKUuQp05be82RzGTVomcau6WAqDh7BQSM+5+qQR1p/ZvXKGYBJlpHhbKLtVYUyCHTau8iv6G2GYa3r3E2CfjlEd6x7ticEoPZ7eFDB5mDTN3oP46N6u0tlN8JqF5ueQQqOXSvLttOQDEjJn03l+Jnc8rn8unrhNPKs3khC78J3VW8VOIOWcNj8tXa4YVdg8uHdYg4m3gPwrhT7aTW93xe0ArZ58birDX4v/7U9WDBs0eu4Z6QJth3FZJvhoYAf59vTT8kk1IEEsxCE3sBidf7IMxeUNE9dvOkdSZiVUCbofeW0qP+iwvcIrGySD/Eh5JCVLHWIf2CwsLjckEYG7wyBc1VF22DPwcqw9UHPk8hJjAJTfBRhD5874ch0Gn6HHb6A6o5v0YlTEye94Smxo9u84zTzXbAyT9owNMSUvbFAoxWZPbpl+JAo1UTE+hWC+iQdbw8i9YvKKLITKINBQGGwY6eVkZlZOj2znlB9HyG3ECdQ6QwPmZ1hWIRotN0FjFA1YqKE24djV/wHizr8au1jDTyUw3xeTrnTj+Xb+2nVYqgHWjrP2p2KEx1NaldI/d3eQ86dFWN+hveSvMwT80EXsBWw99FKInkxhskfLHecc2DUoEA2ueL4wvqfFSwFcJNUwb/bw4Y/nh1NoFyM08je0aLDtZcNYDSjL1QwrC6sLbyRRgyAxUk9Hczj+2OuP3fH0d5hCJCQTopVsaW+KAjvVdLP6GW3nj7wMDQZHsOJe3SypWcdJPtFYTQEnZbA7O3MdgbF3K8IKzvltkLGwxpxNW1wX2bjdHLWheoNI1GqwVctkIx9x86xqWfkZVcxWjei/kTgaloR2juRmchMwlWT1oArlM2RAZz25Y+fsnJ6LQDVe1qo3B45z7/aYv2ZlBT33CYPGd92bdvNotcq24uwufnvzIJRaFmApvhdNlVZ9haNUXkNzj4Dp1NDxXRuclVdzcMIQUHeB5xaDlFXgWGzToFmdc1/Pw//QBodWtgiyw7I3WyqxKdl51GAj5DBfV8qWUkKzOOthHVLsvsCAmE37YwxmufT1vYCIms/DZtjvzu4x++8MYMFRp/DtoAJgsh4etYo2IYU3bqvwG8VocAeZTXghVvEu2dxqhtUIHviOZhy0apr/uHXyoVEOjbj0oDH6rS57Nt6QCuq9FTQcGMGW6SxX2rf9rRLGzpLpwTQ4hoFIw9Fxj0JGgcGDh3ywFzjmPub2ImUXG4OOV92VeFe5mIZFmvYDvH3xGUpsNHWFJUQAMQPJ+iboQ6XnkN+fobndjbAN2G6Lwsb9abUcfNG+MyiDJSpTyo2uQ8VEGIYncVm1zuOCLZXolWfndzldI7KI7FCXiMs8RljLrzDO5ahwN+4dqD5S3dOi7wO1UHcWtPDke2Q7k/LTM5/4YIALorvwbKZ6SllGp+lGypWc3Bm3NkQRd6bSaYHgiPHcX+CASf2yNWo4JxvKoe8+5E2ed83NEEOEiqKrcYT7ka2L/uJ5ExrK9YywTyeYGncVF6y+HPSw9JXya62U6h5mq6IkflXtVgl9djuH+6AxVUZjMQ5oKZl3c7szD7BxRVanhzx74G2UHv+ZrL139au9SbZ84sZNP9WnWT65h4O/Djcn0+9QpcJNoI+VpUzBZAnfFjuyt7g0YtU5sA+C6mlgNZx0UYlSIpm2YR+VCcgXgD0F6ssqW8h79qGvlmigq3+0vWT7P4xAD64k+SB9d2sQQxtfEldBJMVeD3u2AH46aoAdTuPdn2kfwJbEfsmq5DXYE+7GHDmcQaCbWa0fYryd0er6+y5d77lsLYNfy8LwMBrp+aYH4HTMFZEM+UAlUfco00TwOZP21SwmSjhYWDNxvYgaCKuvMubLOMwEs+F7w4aLcMkruHEukJ2qGGkh6pGXz9ENV3wDJgXkG3/C59ZCQdNTKjao1GMY3qNj2GYJN+xci0wOCuqY5UG+uWXvLuRREciYbZ9LA5hWZj+trgbGVSkSIvgU1l85wytbxIDqbvFbs67ygk4ryPaSnYy/RSt5kJVqHiBM9VarbR/2lYv7OeWvLWJA8ze0NojuQAXZ44GVB9V0zGrAzTylNCtzQ1czR85Y6q1o3BFrRkTY6Rzaxai1pEMAFgunS1YmrMTBUFLRBSemLjdwF2GUYXD5OEgQwPMHHmQ+nbE7BTyDGG6sjfdr6oquWnIbPHbw2L/FqVqHRjXOya661Bqi/B05nHlwugBXp0qmWuIU/hg1BgeT6iffzVCUWppPvGAD1WFgivk1l0yRmB8T0Tb3f/P/C9jloi/K8FnKCf25CMplJOb+JqCx2gz11kjTVPy7t5FQ4/5d3PhYDgogsUrzw2Onr9ngDBX6Y9DA3NTkqR32sur0zU9dGdVH51E8lWJjLhrV9EEnpOdgFhjThd+YAZ11QTTq8lBaYniJ37AamHmi+NrZEfkC4ox1zj5YLt56Dm90fT9niO8dJoRqQ7lodSeaoTz65YbgfN3aT4ytOgvVss46BgIM/Db4OomkNUBQb2gSO20ukiIdwuU3iDhVK/r7RxgmPSVSH5RxoSyQ5EElMHBGWfLzDP/tO1zGUZxnzc2i2wycje2zO/byparfUbJTdRlFgHa8B1AlX9OA9t8cWNk6VcigJKOyR3L2Un0TF2V+XqS7c9/Ukjqh6A7IHR2sj6Mzx2n/lCkLNBvVpbGlHf9b5BX/HJa/vrSODbKUAk0KX+HM0ZBKKOt3Xr3D3M11gQnfJPABRDIPuUhAayMGxCaQIqlflydclvcFGLMqhaA2g2AZOc4stBZZ+5tLaTCZlvNNq1fcz1J5ljY0YMSlkBT17YhoozRqX0s+1Yq2vkQNSf8xQ2C7aE+v2A7WHLkafMdT/MxWC5g9YSI6jaIabwBLnPA42LFLw7y6aal/Irjo19X7xwmb3JZocXkR0DZ/sNhaziv7hLh21XE+dVpPihbiXloPbNEsX+ZD/DykxCCEnVRJO93honwXdbZxGB9m25i8ajYPdpelpFVGG0pLGWuzkxiY1Jf0YoCCZzeqwgz88ZZdl0jXULf0CITDVmNQyHoxFtWN+PXgDZ/gseZfr3wAidUgIBuiYAPhv4jVwbac+vH4R7zXzpCn2/TgXvZrZjQgVnsxMAnYvFRf52X9pNdco9W8prDHJyxRtsk4UqZDhK83FYlz2Az/WatrXrM0KJP3tqm85G0GBW6LFyl83DWfkLIMP8/LrwmP6vdx3i/UT4hG8XEi+Mg0SMDBolO7ZmPdIlpALO/2E3lok/eyHt1Zc8UpXqYLVbGKcK2lY1Jq2SyPHbtnnMDk0R8WP5Dr93P0j8VswXDQXSxfkj75f+dQWZsRxwxZ9kYgHlpGrGYLIhnQiyT7b+XP/ypxBUvgN8AKtxsNTDUpd+DhCiG3nIffWm3iC0bDi54jnVVDCvzciMnf8cyRzKaMU/XOOGvL41L5FGvXyfdveI9QupQQ8pY4WNMHiNK8bpndoLiBiCbc4sdvItyucao95KRIREuSZDhSQlyA9TCywKP8nMlYoc1H5Jux/FAaVedBu58pl75dh7K0HfWs04I87YCKe9xqakYF6Co1vKIy2ODZXKuGOlxwk2WwHlV9HOHtMKut7s4eANroZ/JN8a/a0lOT1vGwQC69Tysq+2VB6LoV16Bo4DiKtNIrdxbtGhqfs2CMEdXiNvWmqFOhSGCrQFqKYAVYGsu31fAsm7R7D41C9HZ2duGC4iEj+F4Uts9r9SDsw7QJxm/HEZz3Gbml/YF7Rru7ZDYszEIOuaGz28wz1tHfR4GWFcXWM9g9u4WVfU/emg9spIcqWk9TrFd6z+755eZLNf6rxeUSV3dVKnj+K29l7RXO9WNlXD6avg/12VKyrJSebvDVEQOu4zf6fRs9a/NdPy/a2JnQVQdqpgyQOYEg9fyqrA5m6Iwtruqe4pVtrnM7NNQnrKQ02yuBvf0kdg7MOCWEnE1QQ21lkrtNaxMxtBEp2u0TlxhhFFh9NTFx58srcTjC0Gsh18XTl0lvqsQSodPxnJ8971x/SmkoLG7GE2cz2DBoPkKnGxeBTh8GBJMPgLtFyfj3rxPS43ml6vjcsyRwy15Z+LrtGpEICdX+/EqfM1VbVqkKL9tCwCUJr+jBfx0N/R1HxYFsdX9uNrw3Yq2IJaNCySGbU3sxbSclQKly7SoEzoOYZeb5uLs/js+Hl9icvj/SgKYc1c94LH35SFyeVxcDCdWU6s50pFeZ9c2QZvc4yRnAfaqCeK8ZEuXlmGXRfhJrwowyjuhbllodn0k9rGum5+WjsXdbgh5i+vwVnSCwUdrJUyIqSEkofO5kuxBPLQNAzGc54Y7o+1o5NRpOCCpAnAbv9ybZHAaqyQjc3rzxjuCpcjUVRLlT7Qvs3Nh2qUOjuEZDQLKO1BRCCcVEuiI4zCJqxBlZfJhI0MGzQDjI1RjF/LS86M8i408ECK2m1G6uMwEJLH/+xzFhYH0HCCgx+lcWkgef8vlug+PekRLEPMWJhXown28WQLs4MZ/JIexSlcE1FvrnuVng7txQaakQe6wV09Uc+WQcXNtCOXZSj7zd3zUMpa8t+DpA1a99Ml5nqSPv6nTzV40w3m3yv5s8bkJ2ueCwzgwEfrOhlpfLTtj50VN/yu7OblmS8lDcEq57yyLhrrOJOwNAyXu//z/j3v/z0EeE3E+XefK8tKypyB+TTOmi0LuUaQDvH7TwNge0bcDX8ZopAAs8ZopxnoXrWKGOH5355IbI13M5GUkpwo4NTWzRm2T03f5Jfy8xXCMku3NUJgT4hBn/ECt5erRCK9IoYEPDrYS+5K1ImJ4y+Hrl9SrOqoURVtE4qIVoB+A6q6XhWoBslJceY/aTTLICjPggfmOANAKNvTGGcaDkjcbQh3/8MIsGqR7Ih1AbtMBmc4nbaSVjOuiV2lZ+7sCbtDG5Z9FOWKaB/72mXHZkVvRXsZPhsw8JaUbqYOpKuyWsbx38DdvvdHL7LSVRDKubeSwAI/VkpRvFPUgEEL0o2YwdvF6w553v0R6fhFp51rtSljVuk/JvctadkJ3V1oI73NzXc/ksFDu3gkbsgPMBPLS9QYPJUETibuu/I9s5DB6SCqT4F6PinvuGnoxVWCTCACyWNtX455xm2d19S7QMbcyJsvGKGZsj3u6eU40FpE48/ceqzo6kLk42FclkaRqfu2brNmS6YCnMDnhjASrA8KbqMJfWIlEiw+qbWUxIGB6uCWcIqeWok8OXbD73XR+iiEpwh0So4Q9A6vEG+TicULvlNUNsl3eskRyoKvzpn2BYJnGhmkUE061VODUlUXOZqK558fpio0h7ngwy8RakrnaZdbPCi9zVhRomv5rGYGZ9U/RhgMQBBZPmb6duVi3/XsGNuD0Ws/cV5QHpWjnB0iE1ls0Cj3nDq0HfJYxlB/F0dOEOD1+8XrvkcRvWdBMSm6SWNGG0QQjoYSlsDPCkdma4Tj7D95TfvlZGc7f4GPM88ecBdZnsnxt8mLQnnRNHmvKoJCvS+/ws3AhJ7mCgn0iBJVW4bwRMeuCXvCfSnzdnskvDlK2rHAFnvFSgztmYW64eGLZkKuBcBBJwl2VmjpEUdG/j8fG2UWn6gN9kyWG6/j3LjoBu3P2ySsvNVstHrUj5apx6+0D9GmTrlntjC9Mg+f7q25reBKVukS2/P3kIG92J5OVja6sqEATSwTDvnhFAvIzm/yJGUmy8zRU4e91WtNxL32O6b1gSXyc2zvkJ/Mqlt3aU6Vh7GL5QREAlqVU77c4wTGU+Tqvw+SBi1uLP9A78CuzUgnEVcN356CMZNMwzHVkjRCbf4YHltcj/9/YVkCoency8T1cQ3UqFvJzE3UKAs/klutXWIpHVmMY5JiHjOQDDJjGKFNcYRJ5643cOOK6JOyVbuijjj+UKPS1wTtAR/klQz82EpSfVHhHXXykY0p6SejA9IKtXnhfYreLbXHKnjTskdYMtxC6sOcakFr3SwaACsGuEw0lXNiIvcoCLq+VxcxVhm/tu3BnOgx/DM1aTotluGx6H+RnYtFLlLwx4rqAP3zzikXlSddBSaMVVucYyFawmVwxGkOFA8ri8Bdy4L6nUyQHfkuYqvnIv37YluO7fuYgVstwTRKHM0mAvgN+kbmf9hvwRKgMJQ2XbJTXCunmthz5lGsd+LWc80NznNa+9baZ6ZoVGZqcHf3gzY2szXBxsA4B/W0bTWXPNrKEMycN3ktFUTIVsHd4cRME1VblxHMyo5gHz1k/76FwWOhsAFjArYTebaMnW851XpwHx11KpuVXJWAe91rJ8huAp1V6CkIwYRyQYpeJzk/rMxAyVCeA6v8J94KqfF9ibY7SBPotiGRIkOoU0oh5FJLMsJNrPNtIIAWFDisriTd15ezUYTSXqmw1HsvevpuvRB7Nt4xTbnB4GRwMzTB0OMdRg2vj6S77Dy49TpSTLHId5zzsNgSXn5Kil4Wyj9T5q0qrizC2l3YqJcwPuVmhKDV3CQ6cSIAF6N9JjY8VwDR3oqA3szBtRNrqS2KoD7QOwmbniKHBTKful2E+Td07iJfrUGE/Vi4wq6stjZnrlgg6U5vOvOha/wAecmRP+2Oiu9y5zWkFigRtLD6ij6jFt4+/dUgLNkfb3jzngwuMORGlPZH8q+i32sUvboOFDJvlbEyP23FzCX0lzDB0l4mK5f3FflEky6iyn26qz1DWwVd3RxHIomVuCguGbsE4LcA5fnKPywWJO2r0TXiBoy8AiAe53rZmwA0Dywh0WHP0NEivZ2Olrh+sIyIHpq1hV0+Vr+t3pYbGeLtiYV/ny3YCAucROchgnPQQ5LdRiyAEF8z3zDabNAe2BQ9s7cT31DKSLI//k6Wsqob11LU3S/qxjR6lGsUZCcbIY8ybPdlP5SrYYoLL0BxXqWi9v3ZzUhNN8T/fEJlPEfhncBCRfaG9RxfEMXISX748o70y5OraWpUwMDYPyVgxT1U1j/ZEawEhMXuN8y/NI3UW32XLmysIrJLV/gCtlq8qQBfC3WTJJO5Q0kAk1DK8mI2zQcpGYrxxojeURCTD/UQC9LmkwPBtcxzB17AZgNlk0ps83xdTWqhgKfvYwyYYdnPu/UhVpVObQwar2rIt5zdvNlpLrHxKYImYBLQ/0oJ6l0smrLu/mID0pjKdA3EcXz5Pluq3Mu8zLb1FgBhaWrhJW+aJ+Won1FBh2sBaEez/bFcQVQdtXJMs4piqghaIl4H/tsuo+o1QFDXoC1nP0X/bsDwQVJ15tHnQRRo6Dk3aPmAoviQaz0unjqgbJ8KlNhCrsSVsPRd7paEwY65O2v+NYN5v9sG0gPkEq24Bt5BO6F7jaj9Szqa3l0yYhJFjOlLrv07YVPcYM4TF8zTTXdj6WpjmcI4TWPqtMeS8QlL3QB2Dsep3D/ex9Olitg3BrYhIW6KNRiHml9AodlOkLWjz5gS7b3sZGOFsFzCEj7H0CPTQvEJxtv7Y4JwYaH4FwLQvuViFUgHmr0Ro+X4ssKmp9RGga5ppvLd1pFvdbIS65CZS8+h7c8T2jn9A6ag2Ty5JgKqa1GiQRvdgA3coMSNNPTJLghSxb3whTiuw9V/zLqLl9okQaDzX3feU3wo9xdmDtF6jRl5DnHTaV36WbJaXiI4LN2e/wkRB7aRD9YnfjBd9xEuHg4N5DPnRyVPaKE77RbXYQooOlq5RVELyKf591Su0olQXWzeJTTpgezLNEn37xxSXjMTMjkFnkFcxCTLGMI7Qf1CqTkSoGmtHKCutZnUuD4CLOkZGRD4ySPPF3IBBjQRBYU4gOhZ96AX9zqC0tQVd1qKImtA6qernl6bY/KKgbfI60aB8Jb2m86+xXBK1uUbnpTOrsuU1+c/BzcFU5/YAeb+Kaq6flJyW8FrqF+OFo04GSWJcmZuHZKY+Fxv4Xa04+Auwr/5mDBTjIfmJX3B5SJo98dE8YrnJGKH37mDqiCVUJISefk/rJrpFwXpAGxJbwzjpGCs5jH7ycmsVZpMJTjsHbw3T/mX5p5DFKVj3es/D4wtXkFfFd3BDF7e2oQi7zGGa3teNoAWWaclTd8DsxDeSJgCXNdXQdK4w7rBdMGHs3tLu/OxgRT3ENK16i44qrjHTwgqaruTPBBetmiqwTcQ9+ilTxdEIhulTaa1+mUi1yX3Mb4dhsGkHJu0GD1T/axcx/qLWItCvcwPAxrIPSU6lXdqbwhSNvjuYq1BrmKPWFB67VV/GZCPYXjukR5/rpklFvD4ZsYdkPLttq3BFANHnqk08RwHC5nK8xtCCtdhuBmOe2EH1/X3lewppmNG4Izu4VbVrPBMDOxGue2v1LxPpXIMBM8vO/vHr45hhy7pgVzQHTNXz353VyG7e0A+ToImFDPcssJac/zmwavQR5v74Ha/3r9FpMsPxmb6AbErKHCdEMDq4Vp72VwSzG4LSJfQQEwczRnJHSdPwhTxhtFChaEhmNVPei2V+SNkt8Rfghz5UOGpZQmWSEVzXGgVxiI4zGm7IsHM8ueJekqSxXcZXVtSU+M/cEFmP+/3nAU1v0w1LQRxHWbVWhE9vZzDd/8+YVve2Gp1nGngnE7MoaZYp6zPMxeY2C5wEKkHdQCk9llvuuPzvssQp1fQvTglDgU9EjGgcfNqUOeSYxUXy3ABbzooEe3YEBs740QZm4SfMmcocIMu9EZ17oC+F1JcouPL8rd0jUZAE3bmJJ8Rtw93GWYQZz7IzjAFP/VezjOvIiqn/wJAPb4/z2uKfdMgy8fM7+jPqMqGjYi+LBkOzyb3PVJ51Iu3IvR/WuJcmuyMGQtfZ+E4w/+YVk4rOZOL7YuXUoZSwblDlPkqwYW6xxzfxpyG0U3mJNyN2iWZwQHAXx97M7SWkIrcwjkJ1vI8Z6XcLPzx9lPVG3TxVlFkCox27WbBCtwtwVR8i3UgPkc9xzCeiu9qj/DNNeXH7UejYyAdzF/y+cQJtxj0Zwsc9iT4UGnDMmxqi/9LVb0/P8UkU5fd3vO5QdCpx/30LbwcGsi1vP+wT1VvEPaOBC0sVZDxOc6Z9XtEkUFsNxrJu9Rq3iqAJbw7GSyLsxWdBmIRTKyfFtg+0djqPMEIObPHufw6YB0OXzA8vQG+xFR9XhiGAp+n1apDtXTWcHn/3hkT2iES4gFsKaWBBMEoWN1wfSsBMzgquwaiXkDh+F5o6fbrXpnl+unqTWQJBV365X6jWPKWH+JWnc8UAuEkx+pE4h7/+LJLhofrGQQtFkUHA8HUCkk6xbJ6qUyr8Q3af5MJSsLx/pzx6YBDZcjJNWe+Ct6oCTeBD+NkJpZxm42QnRkhWqAjlaLd4uF7YwuWdwRbfDUvtUww2TBz0WZ/QNgxnzzaSnJZ/G9yP6+XyUMiQFyQlvbAqMV7doyvkaLOcnQKE/nzb5mU0S5x2qu3cw/yD7c228haaTWE249eHqSxm548luwlRKAu9v4gUuV4cBl+K2GRQFj/I1xbZRXO1OUUQqWj/tsvZ7f2g0yvdZhQalPsn4DXMRSknQ9pTRjkXp3P7/dbKUOEeB1G4qSzFQXXntOJ+QynfCFSgFTW28oG3Vpx+5+kRI2vQHQcGxyJMRTsjEIyLoJNTxIsnlMnLz03e73+393NaLlim5K8wPf5ABAxP04zVJFymfpFB09DxYtJ9F9jbxbhxZP+9l3jczneODeBYf++sGnA3aUscyDV1qQcnVXt/oQZ9GgVU0Mq7XGjnNymkRsw7BTb2pD8sbpx6LIEY9B3Hm/TmO7TUwHH5YlXt0tdFbv+rN2ZhG359DvrK6Fm0j1wjpsL7Q+Z89TAVR5jBfxQGRYQmOYcrSxkBCMuTqoFB+WckpTZ4y515nIWWsEftNKetp9L48vfT5w1ub7rgMRgPmXpJ04qeFmx3swHsQNeQfVs2J7xevJR7u9kcTnLo5GLofaEaPKM4LYKrOxRBKLLZdruIcSF56E1PSWQqquulU6r5xjGukJLBhmtvuai3EgoGTCPfXwrzEV3oiYKqc9NGffAkasjLFhJwYE6NVP6YIt/2GZeSyygYnkbKpAFGoN67y4EYooelEwi19H4X30SQDFefkPwTi662gwcn5TE5cOD3QNnV1Mp0k+by6oqwuBqtDoIv/Nzj8uRTkwmxA/XaAoAIoh3nhoOhy56iLA2LBH6vsJ6xBkdGRIK8tUNoS18TwXMJYcsMiBNakolqPOLeXWbSIUQRhszb/t1wERUIhmxotlt5hkcwo3+5bAwCuWu0qTZXFHXdOc68gy1y5CU8i9uoPqRvb8u4iBWM9Eq/NBBAAx797KmJtDvXuIGL+/DeJKKVSr81K3Bn2o8jMLh1LgDImlQcAJJ+73yK/afVt7Ns5SWxpEyuyiU0F8OCQr2oODbl+jefrJGFGAGsvX9fI6et/EqmIvP4a6/eCbGUJOqLQ/2uU4o3yRz8IatQiEvqAkhuIkBxXy+sNlEg46sbYQ8gnxOxzOG4IVVAnyxu5PoyA1+gOLFjdZd6ZJ/ZCOukgJRcb2QSmTcUrgOuVVrE19NVIADhBKico1m8Ze0R70b7K5L38059n9M4yPhpEQmmgLln0iGAytADYyelLXNHbDZAfcNDpX0ViTEkkMvPddn1mu0DBDrQHh8DxYdkwM9W++IyyFEesJDtbaeF3E+bjg39GwS/iAAsf2O0a3Gr9C2TCEH9fZPepcGV1tM1+ov4Vf3wyD8nLzJJpO7XSzuGaiPRHL1mt1x+qn4hz9tdsNGSz9tZrtLsBops0zgwQLQ/rNiXhTvEAQJqmUXLNXDLqVqyPinkedBXEenbMWbu9X+mlINiQRzl9YrD+cBaQiIhhgHEG1/DwjYzqWc6BXxNnU6mJNsaVvuhRU1K4G2dtY9HQYnAcBEwhLgD/2FbAJtRyVvGiS4/0PQtVwTdJCBudr+x1E6P0HFxCbuOXFBcmrPD+DSEEu6g5idHeYrRYgLUTm5w32omTnVg3uRskfr21SQuNKMNJM00r0ZXN+FR0DUtPnN1Or1UvA569eXu3g/jkQrvZUC6XEqShTafd3Wg402kvzn0EXcVUHda4NSJGROnVR9vxWXHIoWvwHbNVPbWKFSkSYV8K8EqCCgKkjH7XpskI+IssOj/vwy0sGHBItjndHmYGNN8ounPhBtWEWOYkhClfoXMbLbuvBIG90baPNWsKE8Amw/pa5QqIijPZjMCmF/BHfGXrE/8pTRIhJsOEIEHPAfvOGLXT5XZxkfqbbjItt6T+ihgdS0xahVAUrpKf6eo4d0MpoKX3expp9GHFqSUA/z0ReDIwpOdAnpcxFuqDa6+jGMzd+bHFOnmfAjyfHXAInIYu+H4Xh6Y2vqcwEDQg7aEqQbgV4cJ3f1NXSVYtwjZ8izaFOmkzVBWE61tiWrrDAwWKY0xmzA5RGvGzL9YPFNbV2GGmzInwjhNAO6VMeIqBuHa8a4reZ5kRPLki75AmYRQrizA1tPEJKLzfawpys9tS0uZZr5dHbPlbqhMDpXdgNo8iRURcOXKY9iaGJxqlHNldT/yBakjDSZ/GxARRAINk2j66o8XfCCtu35pDqOcth9T9OFjD5ffvGQS9aTNprBGy4XVyhLwM+zUAYb5hn6iGt6G/wATC76w2i2tD3gI4M51Ml21LkHzXJkvU2+vEXF7yLaZ0k+YfG3FklXuqmaN+Z8qvO2x6FpCZ2ZeuayoSVQqZN5pMFRpiYZUWULgYVLZRU8lbU7jhdQ+d4gCoNrozwkKYux3QF4kVq9ovRy1ZmRgaIIv4rPwesy9PotDfoF5hAAljz8031P9Pp/4vRug6g12gQPTyKYoerXGYWVTiKo2LOSsXbGHhR/gWWe/PBYYZTBWiOIHjUbGuW5exOpwi+Q9s2sR+U3Jd2wpIvRgisSfsJv7DM0TZ0ejMvuDnqjGcIFXqU+m9AlgYfDKLhGffWoojdV2P7qmvEyxFLY9/ggIYhpek7IdC1BgecqG+XpMqIrriHS3IUHs6aXoxY76WlSRMupFsm8pXi9YXYpfFa8VeWQXcTsU9V300fzmkNldmeSQtd/fq1J6F4b61h6CQUUbXtEuKht6NZkGWUPutwcWWBk+FRi8ROrd4AG+pElzHeRBknGh3cAoD8X2dO2Qlws22u1Y8b+e+EZVSCas9x24kit8A+VKhDSA6aaOT7p1GskDcYolGP1CpDO9MjaZojmkcy4NO4Ec3QrwodpzQ2hcECNkicXA4WQqSMBjJj49RYvzaJ7R7l5lU8N+/5gUeRcceXqpSNERoBn/jCFlpTjETmOyBnqiK2WocOP+5k0yvL2AVN/1PIMGgye+0qaMMAJrGtNGwU0Xhdjs536lFR5BggndC9zaijL/h3+0T36F447U8H+qAjcxarrn2Q3PhpPEqUH64df/hfOwB0dj5MoPnfbEWh5gMANjkI4aZn1NSqdnni4Hnuv8nY4Ybkhs4uH0L2McvVKZ371JMBoG+hMFlXK5bUqC5Tg4ZssNdcclCGrrcFH92tABMiyGPL4+rhpR4SKp0kfzEmOztpoEdbHsS1vTBmMh9wYxzlZrXSL7ToIKJcXXoFn27mkFetbt+4pXrRu1zM8effONTs/l5/cok9GTFvn34fZLKhNX43ZHkctQhfoVwkHKT7Ly9y7YoX95aaByinqfz3NvuWDQrYwY4HpL0clkIxZ+d5DnT01HzsrwaaUSrHRVtFNsQY62+tQn4Z65TM93J91r4a8B3nI6+z4oR6IJdkFvf8CTEK4D899xG47Mb1WdweERyXETTKkgii3s2ft6DLJ/JPSw04eNBoaFA4GkoHCWyybVVPVlKqMsdJfotBsJssXMMK1/JgQR3rXyJkEZKHMgwJJhEd+ZmdWITWZUjV4JK+PQ6Jq/4gPO8Oy8wGSoDFnUHKleeDaDq8BTBpBSrYakP4bmqOwC3fNDN3j+/8rJ0TympHhsW95uD6LdR++qsl3kiwa36ftlRM2tfW7tvYEwk+wp/WV+vEdeA4I6BN7WEqkUfQrorjtl2escmOYjL3QP1/Y9Km7hWJABc3CQ+NAfLQ+01WDIWv/PYs83LBB0iMa/eFs7v9RL2eZAfKlV7FmF7OKKTWcOzSAWvvTlDIkvQad/MnD6AuBMqg613Bx5Q3JS8q4Z/RmviXkSer5HVtXG+wM7C4YiWTBiUDDle2G1XRZA2MitEDkPOyc/hYLERPtUlbGTG/L2deen0sxySRJCpen0CVxJkKj96DLW1tPHRj3oa9JQObslpOePWfMMwS9ckL6z2O3uUtFw4SZpQvw60KTdT/Du5FEZaY9H3NuPQE4W+s7h6aGNs2E6SoBN2fOcGp5A4suffwsbfTJ25Vbw4rrmI8QD7bkxWw55GOLe0dv+F8O3jNEvfPBUBng64ULNHea7ki34oYL1C9XY4usBxVwf3QsmwbGsV97L1NL8RfR8evxEi8TT90J0LgnaczruoCdlBZeK55QdAUOXvb4VNC+sSfH+q6JlGONyPmft7BKnSJ7JI5NplQ7JGXCTOXrC03mF4E831i19LFRBcf7T7ITiMhClU/rvbEMPZTXJbWSJB+7jBQZk3k+zNkEEjOT11tAMjNxbTIDi39Px7wvUmgSMglta3NUlQPRWxPSP5lImUhsnPIxYBVz5Rc9v0wXoaO7Hl0aazK0vmjlweF6HVtt4KQGVJYvwYm1/bPn5UtJU651mYBnp+VRyW9QbH8IgZ56r6BS5/44y6AaU3H7Vi9+n3+VvXXDiayYecfirvAyg9DBxoeGPtVv1F4DUiqyCLGyTmstNPy8jsaLeiw6qXn/wd8UAI8RNqrvRbv5/Myis3PETd6UBTPORsGmaaiZyhxEerBLBFLcZzpPe5hu8LGZZPw0hWdQ143GnuMDQCjcRplUnZM3ZGk+6Ph52VRFrHmWgkJvXMYLkWdrxjITbiXD+UoGfuIsgHAQioH42jDmP+MteKcpJJniFS60ybEBE4dhU1Rc5DFMxVg20ezoFnUzD7U6kAi76LAcAhfL0UNYjO1hUDtaguGswzUcQzILxB+dmjOYJ4E/gfCVTvW1i8fcRyG2d2RSeWXTjwwe2rlUwXpnJvRFZL6zLhNTnd7yljDnx56lMBYXZb8iJTVAZQQbGg5O4mtEUHO28myDkCnRWL5k8Xt+2+xFDPTWsamztW9dw+6cWw7yGaBBcqVqju9usZUGD7sPmMUnm2Dkcb+zYrD0cVNtCnJkVdrVG5GsVzUVF8PyxzwqXqHVccve6GOYG3jTRJZzbXqgxUEagqC25dr+jkX7JYSIc5GrjaRuinpvFJUFrhtXFw8rjPNHhFPBS9AJyH1tW+XpuGWoSOJpw4EBE3X+hlxQ6DXAFE7Lm6wcW5VT/WEANQy2F7W9TsQxaqQPQVXrQFMBIYSkvUcVxAY151u/gDNlYEdql+hz1KgnanCjy5J5Su3CjeCzbe6hXSmLq1V6IgTJ/lQSvKzvWUEqEb8CoP4QmjfxsMqZsE01kdVRwlieb27WDz+kCKGqNt2jl1RRHajgEK1K1M54fV8KqAoQSTga2U4wMgmTOMmk56jMN0c/scy+bYUek0pkadmBFbfqe1IGqymHzs1ecw1yx0/eAF+EQ0o1sIsJ6QRfyy/iTPwVmjwbuw/okaw58yWs7wcyexoftck/4LMhvGUVla2AbCgtGg2ond/jwOtTwcE8RB/UtM3uzy+uiFVE3KJSzlGAs3GatIz95LOkZW4Vlo1yjmx9tX5bLBFf2yKDblqdtpKhjSj0SliuAtq/1ETO9wmB/kS5L/1BamlMa2c0vavRt03kfjV8M4pQ42DBYA8CEluaIW3/UX+D+jxQxI+z+BoVn6iRj8xeTI/NRgaQagtpmHFWrBxEr60krioOfiWUEosSJsvwaPTGsHD47LSvnlvx27xsP+EwwPgqgmbvBY1El40F4VvTvvfUs028wkCZ38x5bUvGmH+6HPyKAoFgbclruxOgzL48g8tcwgYEmyYyQwgHfKLuAMp6Vtr+xw1R1G6J92IgCxSFH2NXoJE+3dn10KdTE3I5Iq900XDYIMhjmmgcczy/nqtJ9o5u7t4TRHF4gGPO/PNJ5YBwDhdVEhGq1MifESbhCzq3lOUmtOnvNeLe9yi3Icn2AU0tJ+7BMPIk0w0gBzBzqT1FtCPTG/UgAx35JsusXrZnL0j5XRB/s3eOX6huqC/quwcLEIgA2BzGeVcgyFNKCltydfEGqBI4kDoHRf73QBh1oW7/nwNWDJGFXpR04Ay36faa2tTGvB4pwniiiJ7KvD0s7brYuuFnYZT9Kc3IOFT3zEbdIJJwzC8DGc2HQmF1YD4I13NLcK8fCAKPRQkTWyxICTT6hvW7F13cxIt0ubipMI3MpVNXtryEjVdfxaMRXyy3qS80aSRR0YF1P64qKqXk7/6dg/0T8s+ZC5XIJHeZFb07s+KZQPRxtBV938sOciKh0zLJjZ0tIuFYqb8OM6mn5U1W3XHlozb8PfelCzE+Pa8XQG/UAfSGg78acSWndiZcy2t/m1cm0KxzKphD39t3XbtlBmDyg3m6Z7g0CZ21NdZSbqNLszmCXATkk9Hwy3fMWCBh5CBd45lvaLgnBPIwfAyvryTYQTRenXAtJZ3RdbZeCDs/UTKPWdKd+cPMHH+BayqTonUNmNgH2/2j4FZpaotoA5KaGXEfUmWFCCcOAab3t/UZ3XPtDT9GIlPALYkWJ2doMmePhVvAvm/YULIrp5mgoGRP1l9VJLSbU6PkAs6i7W2c5y7hU7w6VUot3YBRy9lMmA/ehfbcPmot+JKKPX7i0pCf077CFdwqDHtR39jsyCVZYb9BPMybwEIPNrVlZTIbWbBptK1UZeItxIc4F3QqLExNygGCJ/8NKBiNAbk/p7LC6ItLNzu50GOCVDxl/tMjsbSg/zZVj+hYm3kOKJ3DDo1Ho7rJ8gd//VmfmkuU8YrnMCvjIZHEVhsxYeYJ07+wq2GMTjTaxwCe9GAwxt6multwCUzkzwKJ93/82q/ibtjCCZU01eZcvmmEir8OevriOcCqlLa7qaZkEytfXkT2vyHhgWUqHKBIHbjrVRxGLEDiXdX/BicioUc53F4f9IWr+eXnnpEwH3T7VQiXOh4iD8YyZFpY1Ze+25Z+o8RJ13gLcKZiNoAWvIBsZp9nSS0xVJ5xRdMLWPWbw1SjmNIB/DyePgl7FXbefptRM9jhYJ/5cbx5s0dfc1Al2SrWex5pDDw1mDnQDO8ZplkVpZvazEW6n50iEv5dOcR3JVlInQoZP7NzWs0AQpOFViPjR2cNDZHD6Sl/zSSzmYxk1s/apGxfW+jF/9P9R45AnIV5VV082D0G0ElX4TVKATrcTy7cU9o8NapOeyAJLk3q5DG0itTKMZcEAgz+DAl3NaXhmkoupxy0GLIFzGjko8wBFVWXuf7yi1amfaXnpBx73opQXEKi97yutN7nJbRa1xi/7quRUsrvjttC38GIqo2c6VPT/w8JhMKawYHDniUpDEIcQifm72XSDODpL+d2ZnF/iTRkCGpnw+z5I8Te+dCWzx56fkMXdSQAhYkLqJ9K9y+sfhuKlWv4N9rUBfk9wEYFjrlvxOuPNEzSbmLqTSqv8dKN2/XW3RPtlOzARUCmzyLxyDT1qPTrt2GJYZbTKYwYyyylAl0/sVIGJ9Sn9CA9khDhr4lIZY4iCrFnMh2wAX4qtDBRKQDnlx9WJqd9d2D+SWogGpCfR6tXbrUqgngpf1bRH9/rBAyu5Lk4hPvc1fmlR9Gy5/5QibrU7qmIaBjQiiw2t9+I5G8RokK06wAx0CHKxBMAKZTVXUsnCXD6rwAtbt6dwrsAc3z4iHzjygIaBjnDFWrafyLQEtP0wQmRBazvbMDy8HP4dcaPe63u1qmeh1B1z8hTSL9fE05b3SsC2+uvqfqAanDVJwrOvqR8tb1EyUxgZVt6nRs6AI94AaVyDTW6HIRLo/vVsK3hVON9sO85rGI48O91yxqo3VRjlTCCpeAo+TOGeDYZkiToWxBE+i2Eq69Th47FfPCwrbgzC0ghgU8uxIN0/3jg+fYWsoYY+KcYACscWzZ68/yCh6O7GNkfRiRrBGwKT9Pk0SP4oOsJyIejPPEV0aoCWu1FAB/ZJnIavtnU7m7P2HLWDvMH6YGAzPi64AyIbqYkuQXKf+Bema+/vWiqOf+NIRPftZog6JLNCpc2hdldZNEKokxRFeIVGCBX8bqE2iQm3GOejnv2GbFPFi64sqHKT1tR/6v6tZwni2NuI5x+zE6XhvlD4s6dtKxRsRcKHpEZjRYGonybkLCrYvy8Voal0ilwtngj5PG25h5/k76S85FqUGdpeg17Bb/sLtBRmxlS6RBO2ikok5fRKlxbbpZRu8aQDLVe6Qu0eJvJ+BssmqxkzdkaG2XlEhtgxm+1C2eZYBmATHn/aMiQHjzoRwHTu79XkSSEN35GqcnH9+htARqaRo5NGIwuqqvb0tllWgA+JlSiY2g77280k1kBUxMRluqcNlxfkODILjD038YsM+oMSopDotxEMr70H7FwrykPfQhR6gjANtB3s3zsO0OcbaSQT+X6taYciW24sjm/QIrefhEe6Se1oIq6U3tVSD5uueiLkTpuTLKE3VfXRBbdoklM7m1v15hfve5Aj3Cm7zm1XFR0aOAZwjuvOImtWlbNnuaDUXk3tBfc05ICEzcRo/Qt0FRRm8ahPi1UZSy1Aezt8r4l6AfXKTUKzgMX0vnRG7Q9I11EZg/8kSrAKNl/wq4NnFQj70A3zbF9X3C/b+mS6SE2GzyMRx9xmbjDEms4W7TidMBBBv+EYEyOHdAj/j0sm2qyxYlJ15Rvnbt/eEbpQqr0Im/HJQ2yYsEAVyUdNuQ24O6BDgCcdbQHleGs+vXu5etf/YSTkc7qd3P0EiloFiM6fAZ654DKO8GkgQEHZRDhp9foF6/CrAAR5v5OeaIBqnD/prCoo6dQGNpIStEcJyknW9/zKZeWxrF4kgfoSlI5qCLcbKYUpZe/Sx7CuhnpkHEfBQCpOk0e5jJAJCgQhue9sAQcYjsrtnAnZ2QyXdEs9Q/OQUI+g30DoFY14ZyttNcJemk90Zb/ZeE3Yh4LAZRIJ+JEzXGEXls7PwGslePN+spcET5LeCWGlLTmGf6wKgj29GnuCyOgTCISHbok0QRQruwDzHacOuRM70xJkTgi3OqCaRLdIF4jKhSX3ixZxAEZs0srk8lFAz6VTdUHkHiLSJA8czzL7ngO6ybUuDI3SkmP3DECd/hhV7en3z1Uk0O9CkiJpMqPOXZcI6sacaTAq9Ek+d7j/q/UMDUlUE8eCPit/M+/u26hFNOWsDGmMeHiTgpfbrJ1PODnmdK5gOUt736Cpah3SzSAyMtXar7j8OxcbmTGHt7a6/sYaQ1uJFip79DMdLiYk2iktcvPr0l7QA586D/59fwMm57pVT+21+TM+ObLz6ovsNh3d8SWZHLAPvR4rkDPrcuLqXGcovPsZSQC3Sgu9kN2RbBgYrhHF8fEZlBaDMtdnVbais28x9tziU5zIx3wk76huRLriMwEzXuKjibu5WdrQUGPJ/tsn2nivkVzLUo547nd1A2I3itNErAbhurJy2CUJblZr3yCGqUD10C7X6fao3PXO0mEY6MS4YB2AEpkWjzsopSeoCG7BMbRmOxAWsrtRB2hVSvSiu3cMYrxCYDE8XJlNMHP74snlOzsB7VhPcuJA+Q3fjpeqPgJeCtbOjYRwCSnpjt1UovPhHnAV3raqgpAvMfS4j/edQsaWJ9jflYxecKFFeS4SgykP2V/uKa3IKBOZKMRYOJ0I56nDDleLQ4nR7y9kjSGPYpDxCjz6m66o0yaIWkSKAz1EPF+nYNnVKr0bStyWsS9vj7UWGL28IUNL3PWiSi8fNMwLLcePrqhOrSOddJXroQ8es0TPwZ/nRkMIW61YvUupt/5JkY+TMYImc2S0zVolYZjQCjymmHyV0jA//+YRSBgp9Zba5YTf1cGBm2b6q6rKaccJi50iJPFK5OHxzrRhixrX+1tJsCtMPoFFxQx+Nx3v01FoSpJKNBLSfNNLniAi1r6rK1LQ/685+en1MOd1niTrRz4XAA/6Of0hGl5DOK1ynOJYKnSxYnFJU8nEnX2lPMi6eVWiFNXpMzG8gNJaYJlW08U3eOGU21EKcVZ0CpJG1wHJdIjxHlAguTqz42Wgt/+S6ivFHKBOX1L7DLXl0vM616FQL3RG8HCayDN+fdVbAXv5OagLKLB4Pb9hzwM5XY36AVGPIVh5+aFp4hgrGanT19rJL2Pbq/6+ccDEdzK+WqVEcoh/OTxJ61jH6Y50liKFdFB3+aTMnJVsslM6wyDQgfIB9hXHdQOMgP34K7lDRo/qHc3AjFcn2S3j0M40m8j+7+KMiF6J0pDv5od0ynLAMJChqR5TtWAh9taeR7yJkTLSmTTzyjkSWa+905xTcadqQ9ucwJkoIzBgfLSQDFKFvPjBdtDhM+q6ntH1sbZVLhydhQHDKsn2eL/DXcGk12lAv//Ij5I6ehaQxLiAx3OeiLn+vUJYFSzFfi4ojH/4YRPaGyhbi9IPAqS0BAnwsFWKkghy+zg9S10AmI/jbVdGAW7EO9tJtPaQtE7VnoqM/U77IXNNcOkiEVLt39tRnwQlom8dZ5JiBIYfx/gWqqdr5MCK/2LBlCD9hmYY/eXnppADucOY9vFli6Sg83VCTTBnFZ14LnAK5/kBDUOdyFjWS+TzlisDapNd/fcinJG/QrWymYFo/vuDM6Ky2V4O124QwdqipDaxUK4KHRv3fIbIf0F5Bgx2a1uSha9XWpEiTP/oDBvk0ysB1TSCf0OVP2f0y9+fHlzxfC/IJOTYeuhk12FBZs+IoG3UxQHyI9iejn/gn4WMYVJtR2ieV7fW8Tz2696kQFewr6Zy0EqKc2ptIJ1F6x+EMcf7H+dGjhm8E1jXeJY51cKqpGo8rJkaseNjRhr4XnvMMZTP4Stfif5ZJA2FiFkDkYX1Vxf1kxlh6czvYwfD4rVgiJ0FeIRwSqh0BrcyWJKdQbml1BopGtbvP5thLDPbG+bH/1onplq1Cr8u04Egvp+Hhxwwz7yA1ZG0LAnVRkzvZHlq4sKtHPZ7uex+Z3zVJZtwF1qFmfIelmrU5xVABMxYWYDcykdfPZU6IJM/1k0MF41BqAL7AIvPfh8zVzE5jtXopE+ZKo2G3oFVH0rmk9FwLnKnJJ2mwa1rOewKsqNcFmP54HF6na+n1wBaAoECsmx1hUp3JJrEj/hkBQzzXtmDdt6faRhwelhcq3ZZ5C9KsMFSMf7sOYrLeZhVSiCCXPbu7SXKA8wJ9bBqVtkJdGduQUdZS7DIVQw1edxM5j2TGG8z84lEW77iszaEGWGHfNZEJgMQopwazXGR+F46DToFDqqrFsQipNZFU9O7Ax353tOgN29866NelJMsQBZaE9dtigRCuJscXZVS8ciMMWoSDqUsCKp/7ibxTd4138ANLNyilPhVeRuGeBGZr5me/KDl3RsKZLriYUGe9MEXj056I+HGD9DOvRGgRhTYHhiNy8M+0c4PYelp/Tl1xc1gsHTkRYs2urM93aza0/HNrPznHO68bCHlyVh72biQISPUITPDJiHoSMkvvs6/hM9o3ckUHn5vbPrMieWf/nFh7VLQtQYR52Fbq3qJak7QXzhdXnf1ZdI88y1bC60qyhaQ6DKTVid9mfGcocFjLt7IBmsNIcD9bV8rZXMZTeN1PWwg0GZOGiI5mwOtCB3pJJBIzd1Z8TF+kN2mw6zqoSGEDPCuWKb9ZAkgCUsI3OiIJHU/SEJZlcF51xXs6AygZknR8ZCaAbm4FLg/6NWnij4BrdO5uN2yTLiXy0ch7uXqgQuko/kbP6XiRuwMeetCa9S5IFtYO2Wiqrx9QjX9kloe4ztXS2Rlpeeu428m+/B/quP/ryRWlsVD018BaZR+OXEIrWDE3Xm3QZZ09Ec+FQL6evVAxEf91RZQ5uF0CqDU1yY2w3tI7GMXCemO7zmTs4Rugzzec7GR7hRTHFCcrZMMip3Kl2XaJYMM9jZzELLxIvL6lqPCm7K5wKwu1jFqj5+D8p5fpMHCs1TuVFwOckXHpnoZ9+1YnJQIvljdWNJnvfEyMix/iDVdoBV692CIR6jQmUqQaiiODy4FZT/0WBAhdu2nsFUI6ElhETsnZqFGGA6609TH4Ehz6OytS4H8Uu2t0sZBIgm2Hf2ViQM0yOsQbTjtPoW22SOiieWWOt/TttERGJMoBIr8B+elerijgFVxe0PVEW4WyvgFWSNmFT4LPbbqNVUfyBGT2kJT+8j1Yf8LxuigB2jxWhTd8DgB1a0yCYkwRc0rpQ7k7szhTXKoDuUmsW0nLZnDcl9KgyeD0Cj2EYydGj2lUF3MQcU7nTE7t7DMJi4TzxTYKsU01LlLOO11gDx4llA3LG173bGuoTfwa7lgBHdXNy4VDHxbe24NxAEkpo3WytWHLa5f6AM4yLi0DhYAZZYXDLkGXq7Pugms8qVbE3DjzAt/QAqJb+7mV1bF5o+VRvHRSth00bC7TxltNSQjUa8rna5uuVMWuTbiSC2y2bncAKYVLIazYpHL+OR5yxfmh9w8UB+JNnCg6D/e/lmWdjzn3S+eeMrPsdGDIPkuXowhO4Nw8qnjTY4TbTEhBkmme0bSC16OfpP4/isnh2f4deehbz+Zq7eMxJNbUi6g28NV/oNExMTZHRmCJl8g80PwutcXAuT4rW9PqFgAEaITw5Umvk1ptvm+ZfnlTL97dewtqZyZ+Vg3zjZn85nupJrkuLQ3YcaO7Fy6UyTi6nf6XGzYWu6qcBBRcNynjD9YUZj9G+3WZuge36LR1SYmC9odK74rkUWFq1FSyR93WrQ+hAAU17vVhd4+aXoogSY3uEbYlwEuau0bdVFU8kwUJbiVoEfNlxDJgegIzcssV/Z/zmeafzh5HvGhOa6bBKLwu9U8nGfGaXWSTCJBKsQe5lfrCm6qN9ddmG7uJEZpbsFSEO73oWu5Owv7LtSu0VMxqAQHntJfaSLS9+heJRFyZ2GdwSOsFsz+iSxCdGhcv0xutliJPHdt7HOjtByjAshJa1JgCH19Z8ReN5pMyD1dDsY4oYWH7ROyzrMepqranWYzuG/AUalgCXPvu2RDbPoEDzxbM6/drGevkX1XLcOJorACPUFxDbFRAfS3KD+cHRhvuT6zy8lHRbU6DIFeSAhsIgvvQuheQz0gTcEpIrrzDXNy1gtzI01Ixm0ZpMyNCUVjZQYmqSAccIP92CzVDYcdTDi8lPb+HtSMnviN6hDrW7KDRjCEL2QYL3o6Ga+MFYawU7mcDV/2h//IiPNo/BNA15Ifn3OSPy1W1RRmGUZXy2i+lS62D7Or7notUF5Kz/MqoKEahLmzUSvYSoK3PWIqYFvcbttovpf0quN3siP7DoFAb5W4TLoRg7jbhp/lpV+RMhC70sggyzfKAHrh3KSal9Rff7H8bxtijwtfLz5YbvqRn5z5/sis1dFc6Z3pkzjAZFzAfK5jeXYE61YqQmeFYtHTn9cjb6tND6epiNxNiVZLGDJU22UGykJITYbZR0ZEAXiZy2ic7hg1d7CF1j1zkwvyfY3l6ozTGVvPYr6sFpDG5BSycRVuD2CtO/XKmc++7FUrgdhqIQNBIJbwCP2DnvQyHgG0dCpgRIqm6r+jUnBqer8nm8rOj74Nd3uOGpC6Fb5Lph0wn/VOWpgxU3dggQF8bFRE9Hkfdee1Ow2L02UAHmRrmBM+5W+211Nz/vMB1qT+b9mld1QLgAxjuARnmydWs4CDzFcN2+ndLllLg5j0BSLZ5WkJORalqy5wkFJlTX7E+tzvMQR/2fMp1DLBtzBTqmY6lFFoMskvGDWEOvlEAsQzcxBWEugzuO8rprjt/li7a2U+CqK7Jc1HD7k4VObJiRPgJTcLFHRFNLIv7nCN1I5nhBf2hS3dmxc1RzWGliExiVGcaJtiHk9NP9JRStP0+gk28Ga6siBCxpqR0sMqyntXqEgmiYNgDEt1ugNZuUy3a1RSA5IIGtX4zhpkUGZsP2Qd3bun5XymQ3b2W4JwYNig9AD5/uf/EAuAKZQurYuCXeYCNuDvwW9p5mksofFTOrADElrLcEs9eMN/Wn5znjmQWDYNRswuiUyxle5atg0fF/8wlMUv5xSZEIforG4NWHQdHpRclMOaxmT5a0AC3tJ18bAjwOGzZ227mTjYjNb1kqYSsFykUAsS4zDqSoED7c2i0d9Exk14kio6tIgawgMfjWF1ZZig8/YKUhiw7tapSEoqXwu+rzBk9WPxjHbzxYb28X+x/deOBibAF1g2F01Y3Awg5yqyRj4oAU0NlnNfROtuXgBEC3dzdsniDgJrKnv/uIbVw0+hqKsuuUoSm1Y3vV6qbVvDbARdPs5TGoZiOkeWmNdDYwL+AVR9bSshiDwHeMOeRRwK8DRr1LF40aDDBKGgoqkG6VcSPU4Vx5DhxhrTaheWqsDmSQEnAUYMa+6MvJp553sccEAKmzYlD+MMADX7KxJz+BeSeQHB601smMX/TwtPGcMY8J2FA3eZKK20VS42URdyA3GwIoSncERvPUe9aqNt1hhtz7huglXTEgQNR3AAygsW7jUnFEunC/4QVnnlqIdc+Ol3wquaVV4/4FS6JbAmIVew8J0jfhaohdRqFsnX/aNgj7qQMtGdLcMa/9dp5jg4UWlTG5zQxe2dyMhnNqCdXD8rkU7U+CmxUEO8Pb566gfJ7GZ9WEEvDEcOT2t/2CE8cysaXwde8wXe/bKBAeGvQiaJq5pJolXieScvoi/uy3Da/Wlg/FX/omK1aQQYKBRxmfZqwQEBcn4/9wlEK9cDeJchr8okSR/Xzrz8isTq61JAo+L7xcxhHGPPQ/JtrPae4kUAfD0McWolDoWwk5NNy+zgyiTSYpjipeINk0WqRjLPUU1aFXFDMMTPNIP31DbkBcQrKebeAg+fr5oyNlqIF0M6I9vagnYHVczl0lvgKq/C9zaKQ82lSt7coYP1vrSSPNjcD1r2NpDumSmh9IkiocXrOGh1QhWVYopwWmLRW081p2qKNqJdXIIKCNYKKckYFv0IpTpaUK1dzXIRMFeXwxm7AXEo9Q20KyC5qWYidzGgpulwADneeSF7aALj8KS2p5MoalxBarxlZjQxR5Q8fg0+O4GZm1e4ykZzsXcNCh59aUiejdDbqPfK62AvWspxKyTD4LBh9uYO/lqJ69KsB4enyYALWhNqObAQQb5E6FkEEfHx+uE4PWwCMVbiHtGDndi8zN9JgiHDZmn5OXe/QTxSUu+XxVc9xGOVn/29h/4rONrwlAGyisu51NPdELdBgTncNSKtOMr8FJzbrnuPcY8uQ5JGv+nzVsskYQ3CZ19nKD86s36BDNWkWtjfpWnrSmdT2au1+8ZghjgfuFzZo7L5MtbR/m2HWUBgxhrb15+N+8ChMBACzUn4SQwIMIoIhpV+EUWy+dgcJ0a5F5TzHJ7G/bpx0dpFl/S0mHLBuhBcUPlBuoZBMWi/1phdo67HKU4faFNm9ExYjuet/RB7BVr5tUCPcDtrmopK+vTGmQbxwCJfYqnRzYaU8oko35rg5tx8lDNwFUTsx9dAbUMZO0BaBx0SNe4TLyPcAzvdlSBEK+byNjk+s7VQhxEECqf9F2y1mzuTtYYNDEJnvOEh4qxJ6oVuWELd3GnHt9YyX4gHJqi3ltDX0zVpdUTcr+LwRB2Z3X48ecdpWei3pBOA0+gJeaA8coX0TbdDcESD93BAZuV5Q1OORayUEO7OnIKYc2zhBNCnwPsrsGGeVU7qzmqdEXRwM4NxjbyDOAbpvFZ2qnOi8+KYdrvsnM5zVNlvyqYWiU9ulu9Y+cqFPakLk7WiRpbGz11KM+s4Z4amjuJPwZBURDbgApwWD68s8n2GGXAzHIZFW0L8qH+G6KniofNahL1mP4zqLoPpo4/Nhsm8ZLKawWSWGWW5VOrknacsYdd1mW39FIK8dhkW9L2l8AAj36kMTK6JxNZ2aq6/Pywo8RTpmltXCGJSgcGarkliADSVjwPhFhhAVQFzB1jfyILbniDLxiDM46XNoT1RGQS6A3GVk6ZRvQZQGFKSTY+zB2suAM+XhoC6GiL3LhY6A2gCx0yF5j6oitv7zg7Xe4prgjMPwRYGmLnms/+ayyqGH98rNl034+cmNqzeglLNfigYsmDt32vC8Rh+voeSmwOSXkX4TNFyr6kFDbg/M6hyWSVeCxEYzDmhU+4QA7WyShOdsQQEkF9CR7lG/zH9TvKFBKNhZEzdJmSa0KZ7VCCK7+N6orEUWq9C0nZlLqI/VVgCyAia5vH/uKJ2Jqi08WoeFvSfZmJ2W+6CMTn+z2QNB5ue21xqd3x2XgVRsWF/N+okPwQq9wlaRgQqCTwYGlJfqU+Tl8lLqqRiCvQl+QfATkQEseA2YZCXz7Om+jUtheoj8M0RcjA1h+DZPu+IBDUAsAmklDbR43TEsrcbyj4/crTJM4YStKJYR936M6m4+zNVNXloPZ4I+DecHw74FhFdifSd9cr2suz0huDR0Wsk46ZpcAYFvj2VtnZSvhGVM4OU6tRtAKdaDHpk+giMvdJ0Wy2dA0oonD2MzNcrEE79KGpYXIkGt07s5raTXT64Rceu03O/ZEekv81FxtB1afDt0Ul7KtK9q0bLYGhRteXfH4IYKzNfl0PNz/x3a91IBaYEW/BxRrw4lnR9V/cMbmo/9CJWrGBtFFAHWrFgaG8z1v4zBLpU//ZOZ7LZLB+wWLEhjLl5hJVTqqLB5W5L7e/PJvQeHhGQWZQFlwhBQQcKdGd1X5zc1N1RnWfYi7zq0IRt5ggTGONZcs0WkRdSLfPZ9Yz1hvfP0qZohC5YS7lvDLDRNCWJDYn6Q9Er9H8K7NN5xfLCa3otkc0u8cMo/ATxx5IW/uWwN5c5TkmEgyC/pmgxaVrQgfjOonodwAXpG4tLmVi9s+Fu5Pdnokl28WlNl/2pib+J4bTTEpsYsUqWZkiOk/A/D8dCWKmzfGe6Z+hcmgr6zFksbFZr1WOWB8gu+glugnw2yqOqltXcxlBG1QD8ruaco4V0OQBPYAiwCqQrYJV5D1D8gUe+Eo5X0kL7/3zV04dXaPzXr0tR20ah+uh+eIKlORCb+9MubJv3c1i+mUHFGF4U4y/yRS9cvWRnFb40hI+nxKhMcE8uk9V23WoOrjj1WXoHFoM4rFUAPFd16tWJwUPfIRxxAdVQSbul48fdcMW/4gfsYYdzwnmki/30PP/lO7vitNb/INuR2H2kHKOpe1HwgUcmOY0mA271nWNziUFQdrybybcfbBGdakWW+rVGCkgy3Rietg4KruWkFOm7+pSoXis3iAODchMEqdreJ9h/kyZ1QTCdkNbVfUqtTjXh/LnRfH1eOg77QtQzfkTI6/kEUiWisGb6+5oTmFjwMzCsFhNc2texuNNTsIMMiECTUZ+/hspknx3ywY3TINU4EPD1TRBM8kUAaDgXlKZlpVS9TkxHsCi2Ed7I/TbOWiBdrj0yDG2AhDgRxc+NBgfdcGIhHdpeZHGMTp09aPTzDf8C4YvqYqMW0WfEbfeRK5LukzFMADI3QeCoKkixBKJr/EETCe1HJwEMHSvNzzeP390D8ZlvCz4g80JL8WR4uHRNVupIXEwYxRHUt2T2Wep4ujLOlr6FW00cDB9gXYK1d11zA9Xb20TguaHaQNdQzsBtdKQZggX9IjM/Bt5EbUbNm/PA5aUsz8jmabfRrFac2SPlhFCSXb1u3jvHhtyzuDJhMHfMIBBz1Ugm8v4qA7rvbPNKqzWR/P0ldzFaWPUMmnM01JgcI5ZTai3a5KqPjdLL6jO5UJ2PLExgaZtPfZ6Vn4Ld6qJEeWnciKG1x7i1AkMpmT+A+hPBplX5iBL7IEbKUaSNZ9MmGTmASmUj/0n/PzVDcGQEyM0Lt2Pkh7K4PR6CKtcv6V2lwuli5hTLorgQjsrQIjIfnECb2cnl7c9djQaNxbO7tCbmcGgdhc1ANan0FQ2trI58iZQnzeiQbNePXhoBndbjDVVFMEdcmATzowUEmIRKX7PoPdYHPhvqa9ylSgYTxrRT2R7VMp0LLbLbrR/BYu0UQuG6dBAYIVCtMbT6Un6gfM/YXqsIkuZtBru/0qO+aKROvOMnA35n84Loxjm9sG1LBqNKvtWyHrCqI+imkc+c/3GDV5JGKVM1l1zWQI04BylG5fW1oT/HNiN7+CTG20OT95t5rqQRvrXZ+yYKPsajm6qFTEL7GKO//bCC4JU5qpO8X5LJHumh9TAqTPN+3tJ5lqlBKeaIzMtAC8D9A9Ao08hNy36KHH84Uup1dHGUO9y6IqsmJgiZZpxlPtIn9hQyl+P8tw/WmP+J1PD6gM7m351rs7vLns35oZHhJ02RP5DHf6DJAg1/5BufQ+88mi3IuhnERI/HqGEyWZEbaWxF5t7qZ6jPMuqw1DNHIwGgz0jB437r+dwamJEATYd0syQ559FWacTHiUrKiRDS5Z8qaN4qVHuuyrkG3xLW7dOYamNgxmf3+2+c8Xff9PTXJam2j/sy/RY/+ENV7SKUjE2kF9gjgKvNY2pOOueC/UdW/uDOvQ4BKqjFFw8y27fmnC2/D07HMEksXt3siqVP3Gi6guPE5nMvHSJhFl6wfwSqGIpQZZmed8TgWKLhIkfBcCMnPkX8pom802B3D+c57caCEmMtmqfL+VueI2CWRP9tRB9O6pL+5kG+rxR6IIngvUUg/L9G04EL0LmbRoP91o3FDcHyWS9bgHmaMHzeQQQv4tJjri95JMqkAHJLjj3IcqTM3tJnNeG1gJo8rTYinOapbhm6gsQFC501aBQwWBEEbFeCaovG4NHrrMwRQ9G5AqQVCjOcgZtGNJpFB0QsaFntKpHD510fcpy1QF9KGCrT5AIvrVW2yD7Nz5IgJ38d2bf/uww7+6uNCIxPLe58FI2iBy7EOVRdceE6NGmflB8DF7zO811EpZT5XLAxyBMAkrW7QR0sRk24ByF2O1qCs+75NwjvIAESqFrZVqnqZ+Q/iOxmltdt9Tpu7e2o93Y/zrb1t6rywI7ADif6canr/z5vCNBFjKZXMaoJRjoi0NCHufWxKhXjZEEAmZ13yEvicT0KAGLUf495BETYbCLsZROtw+uaJCXzHG7Wqag/0YSkqIaJWO6U6wgEpZ50ULAmHiy7aphE+LpGvztpvH/vkrvZ4QOwCnn/5EjgCzo/6VCNVwngg38R3t1VngDOkCYlOGLIXYG+nLw75pR8ls62x8YAiX1LObIzMknoQ7nUzOmvJH0V7k1V0Y3+kVMucjFxMPyio1UkBlpJG1RaSpnoVYvd9mF2a8SZh4cEfCCqalvRsvZ+D0ejHtQ8McxPiD3MjofyUvTza5saK0rj7/0bZAn3yLhGnTfLFkrSVl6K1I59Z7RVslw27QCYTLOnnnAFwyrcQWdIRQolnL+9dcHya9OGm5UYWXx20Tayfya7ok5Cfx1KKY5lUlpPbhc8ZatnwmWUopWSk7Kj24mb5SO9ackHfO40baXTStQhrmMdbIOPj7xhZHYRSzCgXraHDdKMtmTo0GsdM8ZzreAt1QowksxL0zccFJTr8Nq+B9GvvyNaJbGEfLaZ3cJPspzReFnKAiJWnp7jPnzFGB+I39Hz9//E/yOYcy/+1KV1ggPIJQv2g1DRdTbSm/T4WiwwzJNi34uIwMcTyic3bHoCvczrcl94UR+rvKfUCYm/bAchdbz/pTtfmDFMCEja46NoD4Q7OdBpR7GSeY75uZ0j/o+5wcYmNdnA/ymBn1PkmuGFpGtgCCBJKaw/azyNbZHpp15apYshCIBcuj1avSNHRoZnVOSTPML/7yh6DR7kKDQNliZ3EJFiC4bkNT+2y91MTB+q9V3nijmLv593dMQDb4fGWdmgaHYnOb6y64ybpBvQh7dAMsUwNdRIvje451zEpOPRqsy4b2WjcTFs3v3SXB9vRm8aGH+CzGVe6dkdiULh7rQYF0O5Yj2YIIZ3/Pwobu6mMH7C05JAByrVkaLhe3SzWz+zzzp7golqyHAGHkKi64Aybp936HHTwgVrhoxFPOQmsTh+kJOU2zh3CxhH3zNcqgng+7SbWDIb+x6g3L3rxe+snQLbC4LRVF3qcAh9varfPnquK6oaSbnJsjoD6A18wdyyCk9hWnTJplev3L5q9JG3DPYc79ciRZFQqC21PDdg6srhz9gznkX4qVNHwlPG14nRhvPz3saJcrAFFjN7K8BwFGZLya7smGMk4hwv5pwAx1jJ0SMiGlonet90JQqM67IWXXD90BCCm+dW8B+YOmBXG7+c5toxz9n+tqqAmKMQKbmeGQl4oT3FYNEfU0GNLD1OswhQd+fwHhFauqw/MbfS5GYEUcJ0Ms3QUOj7PLwWzkJk1HzC993YVv9oSnwV5dGscU07KUxUDKrNX+LMyXF2GijQUaraUBM08BFIm1/uATGNj9Kqt2Q5NSj7NttetNrDtDbfVxRozbyg9+xN/JEKnM8oUkYKv0o53xYmW1vbcDCB4o1fmlj5KCAh8y8sxjLLDdC15Pf9dbPMYzRk/hUA6Wl9HD1TzlCvZhYjrTDtT5GlCWP0vwLEn+YTmdChSC/15ixtsbmSCOvOX4JX27GuKdF94pbm0R/VT5AOS3FUKqXbZ/HiB5TSyFfFNMAfJK77p5Kx1nF9u1pSsmF3KpfMbwYJl19WYmxP5AxLJj9MetGJE8IdSFyt35H4EydYzdUJI57pBYZox+3pmUYqF0C8nozbcTcuZQyIEi5zaZBCESzGzF16pOFm8vW7el/18cEJIoazx9KWL9nm310hHj4VyuZn5pYj4XPG6j0IPosIXiAIVSZ8p9hbRryPdXI3CSAqDsB8mbG87bv0/mGcPemAT19KN11tjPVPPtJ03oJ4E7OMgFKi4tfOjBwSHFgHSNsgzrP94xtFTwTkt2b8nvfx8ubtxXqrJxtz2/pYqA2e/8Qs8PXZ1fV4See6ShtU2JJudrrxrGOPHJgRPgbuV4v2VRjurGC7ufgY8NRwKoMuF12BqrH80DaH8eKixYNJOyk/dKy9mhJbjpXI6rBplax4WvrI75V1Zvy6zG30tDXOx3nd885HpJxwrUiOB13Has0yuARwM6xSGER0nMmhgPM7kuNOqQrS2I8BLVF3aYIvlVl43b/tOYLN1blGnyAVUAn2zUysaiISoL2o2vsQcnHDeyvQx9Aa49ulA6sucp3KzOVqmv2hJ3Y2AWf29cXZs9yfp2yyLW0y76kLOJTuq0ygGXGfkDcOe69oSok2wFgf+grbFJG/nZwebv6pv49Ow2hbWy8H43ohjjqySVc6eJtHX3n/uA0OucDlSNlAyqtY1KKzcas9PQIYe6J9agAXgvFn4QC+xhlSkpLFCXzJwphaslo1JbJ+LOw7N1gElBfO9jMmQoQeg5h0PYrWj85o91Pt5ltPgZiA2Bb6Cq7s5Jk0tnPRk0CbybrXSPGR0rcMF1CzIgtE8iN3vNId06nmuCp8boDdeRqn3xw7MgUjaF8AfeXWyl1tjUu66MPS7RhNB8g9BpQmXAeM4Auk6uwkE/WSHbwZNsqvdIqZLt64YmyXvL05gdYGv7rpAI3gcxVzfuswE0ItJJJ9ubS0sY/ower2aLAGknjA+2ubq6zE6EOEot3lLIGfPgmUcOr9htXgoaFa/YVarYdQfelhvFSLBTiAayCUKQ54BDCxUmSvwunOfAPFVZ6Ma/XqjCzAyTskcTeI4wXbu8TMa7wZynJzu6I7CV63XX+imFRa1WZiTr1Tfuwi7kAAohuVH088Q6cksJZYl5aIwlgueAGr7IyuGl/3keyAfmQKf+9qnKVUIQBVXj+g+wRzA1wwVvcawjecLhSe8VNM9d1EptEfSvVs+wqmXgTeSPPx/QT/IpAaRMSYje4bYAcsUv9+nHbFe3r6Td16Kj8iLNKJqRHMGZPd2ckh5CXO8FuNyyht++ule0ChOmwVZ4GmYVn8YNG5wvrsU/psyh+arZsIfbV2RrCvV5jy4DjEQNeeh8Z7ZsrwvSYHYN4GRHvdrAMzDf0/19u5vQ84yap8VvouIDSVizlcyZ8bC7pqdLSPh/Z7pQ1JmPZIY+pUrN0BoxoxTIYghukkSiNDHMGYEWepSwaDYNw/6bu3DmidUmbYNxiFprvLtnRBPXpbOe81ovg2mAvSBLdbdZQxxHQN3NrfgJzs3zZEsny/85YjxQX240BQJc8aAhRn0rcRcJNSoNERJKIKscFoPya3nnWvBEmi87sgNFgqMuNWiduS9atbowjxVS0T1WNCcJGx6d2FmAKMYzsjME3Q1WaGPmdKEQlDOofk2yjHLwIm+BX7d3iMq8s41PIY3L2I0Bno2ovJs9hcGF2V6UDulCl2rKyaAQ4KTHPH6qq58S6yWBHejs4mnzCSl53DkSdWnW8qDpJXfXCX48iYTuva5/oLWMbeFL+EnK7RwWF3R/93+Ad+iDHUZzkQtiazu+vGo125ISzfM/Od+cv2PUDsjotAC7HKQrBfDfTEWs4L5TySmDkjL5jW+r0rigDik1vcrQdE9iYUAOlj4l1UQtNcYXTwh+ZSZOhl8kGAK/BSAEawli5GOzMDCU1ixztoXjX/CS0XeJkI+Dq0Imk6u4qeFdmRN/jAKL2FnJaeWB283QQrhHyVpXeO0s4ZaHEIDUK5SuUr1c7F+TlcpWUb5o4nBnxC+7cLwQZTtkmgacAKjjKC2Nnk8jCtk6O2IaUhQuCUizQq+w17JNH3jz15JLjKtjSM4HqebFLfy8wUDruhRJBU0jPEQt4bNg/AzS2lvzF52YDpsEjgHn10daZ1gd8rc0FKX22Fve6NSDU3VmPDQC8SgCrW0F8736Vr13C9+kZsoBsWZPGHbYvlrqt3OJXpakXKLnZ1H7guGJroKjGciMsb0Nk/lJ6E2vIvtr2hN5GrjdMy7rMqItryGFD9JkM3POYY1qfaS63DiL8XQ95gSuEIb62TeiAPbetSGjXY3Xal731k9+eMzXeddq9Xi5R5NdYgDR3IcbZn1i+G9OXM0ZeBT3YJThWAV3kzD9jv9BbEXMtuuiCYU4R8pdRVupjfBlTAdXYL0Pq1WjFV8JgUMchA8LuUltm7nlA8UzvhKcCedUUo853sgBxZX7xKyWTOAnQr5eLXl1W7vORhcOQHQ+IZsDgpba42sOOAanobtaz8tfJz2E5x2/Q+i5GXj1f7hxyi3P+GnHOQIiLHYQoWZvkzEcGghZybeHF3BHdGEoLh22Cu7kf4l92NDXrcy+6zyXY=" title="Mekko Graphics Chart"/>
          <p:cNvSpPr>
            <a:spLocks noChangeAspect="1"/>
          </p:cNvSpPr>
          <p:nvPr>
            <p:custDataLst>
              <p:tags r:id="rId3"/>
            </p:custDataLst>
          </p:nvPr>
        </p:nvSpPr>
        <p:spPr>
          <a:xfrm>
            <a:off x="313029" y="1268600"/>
            <a:ext cx="11606862" cy="5057923"/>
          </a:xfrm>
          <a:prstGeom prst="rect">
            <a:avLst/>
          </a:prstGeom>
          <a:blipFill>
            <a:blip r:embed="rId12"/>
            <a:stretch>
              <a:fillRect/>
            </a:stretch>
          </a:blipFill>
          <a:ln w="1905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0226" tIns="30226" rIns="30226" bIns="3022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512" dirty="0">
              <a:solidFill>
                <a:schemeClr val="tx1"/>
              </a:solidFill>
            </a:endParaRPr>
          </a:p>
        </p:txBody>
      </p:sp>
      <p:sp>
        <p:nvSpPr>
          <p:cNvPr id="10" name="BainBulletsConfiguration" hidden="1"/>
          <p:cNvSpPr txBox="1"/>
          <p:nvPr/>
        </p:nvSpPr>
        <p:spPr>
          <a:xfrm>
            <a:off x="2022053" y="314726"/>
            <a:ext cx="7464126" cy="107722"/>
          </a:xfrm>
          <a:prstGeom prst="rect">
            <a:avLst/>
          </a:prstGeom>
          <a:noFill/>
        </p:spPr>
        <p:txBody>
          <a:bodyPr vert="horz" wrap="square" lIns="38387" rIns="38387" rtlCol="0">
            <a:spAutoFit/>
          </a:bodyPr>
          <a:lstStyle/>
          <a:p>
            <a:r>
              <a:rPr lang="en-US" sz="100">
                <a:solidFill>
                  <a:srgbClr val="FFFFFF"/>
                </a:solidFill>
              </a:rPr>
              <a:t>13_84</a:t>
            </a:r>
          </a:p>
        </p:txBody>
      </p:sp>
      <p:sp>
        <p:nvSpPr>
          <p:cNvPr id="15" name="Title 14"/>
          <p:cNvSpPr>
            <a:spLocks noGrp="1"/>
          </p:cNvSpPr>
          <p:nvPr>
            <p:ph type="title"/>
          </p:nvPr>
        </p:nvSpPr>
        <p:spPr>
          <a:xfrm>
            <a:off x="334963" y="1"/>
            <a:ext cx="11526837" cy="876687"/>
          </a:xfrm>
        </p:spPr>
        <p:txBody>
          <a:bodyPr vert="horz"/>
          <a:lstStyle/>
          <a:p>
            <a:r>
              <a:rPr lang="en-US" dirty="0"/>
              <a:t>University/ Colleges, Peer 1, Peer 7 and Peer 4 are major talent destinations across most peers</a:t>
            </a:r>
            <a:endParaRPr lang="en-US" b="1" dirty="0"/>
          </a:p>
        </p:txBody>
      </p:sp>
      <p:sp>
        <p:nvSpPr>
          <p:cNvPr id="2" name="btfpLayoutConfig" hidden="1"/>
          <p:cNvSpPr txBox="1"/>
          <p:nvPr/>
        </p:nvSpPr>
        <p:spPr bwMode="gray">
          <a:xfrm>
            <a:off x="12700" y="12700"/>
            <a:ext cx="877411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>
                <a:solidFill>
                  <a:srgbClr val="FFFFFF">
                    <a:alpha val="0"/>
                  </a:srgbClr>
                </a:solidFill>
              </a:rPr>
              <a:t>overall_1_131720670003168539 columns_1_131920980661931391 27_1_131920980789472626 20_1_132390926411043582 17_1_132390926411043582 </a:t>
            </a:r>
          </a:p>
        </p:txBody>
      </p:sp>
      <p:sp>
        <p:nvSpPr>
          <p:cNvPr id="20" name="btfpNotesBox983380"/>
          <p:cNvSpPr txBox="1"/>
          <p:nvPr>
            <p:custDataLst>
              <p:tags r:id="rId4"/>
            </p:custDataLst>
          </p:nvPr>
        </p:nvSpPr>
        <p:spPr bwMode="gray">
          <a:xfrm>
            <a:off x="330199" y="6319679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ct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Note: *Peers + top next employers (basis highest N) have been shown in the chart; Bars sorted basis total # of profiles; Top lines may not match since Previous/ Next employers are unavailable for some profiles</a:t>
            </a:r>
          </a:p>
          <a:p>
            <a:pPr marL="0" indent="0">
              <a:spcBef>
                <a:spcPct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Source: Aura, Bain analysis</a:t>
            </a:r>
          </a:p>
        </p:txBody>
      </p:sp>
      <p:grpSp>
        <p:nvGrpSpPr>
          <p:cNvPr id="17" name="btfpStatusSticker516933"/>
          <p:cNvGrpSpPr/>
          <p:nvPr>
            <p:custDataLst>
              <p:tags r:id="rId5"/>
            </p:custDataLst>
          </p:nvPr>
        </p:nvGrpSpPr>
        <p:grpSpPr>
          <a:xfrm>
            <a:off x="10102664" y="955344"/>
            <a:ext cx="1759136" cy="235611"/>
            <a:chOff x="10102664" y="955344"/>
            <a:chExt cx="1759136" cy="235611"/>
          </a:xfrm>
        </p:grpSpPr>
        <p:sp>
          <p:nvSpPr>
            <p:cNvPr id="18" name="btfpStatusStickerText516933"/>
            <p:cNvSpPr txBox="1"/>
            <p:nvPr/>
          </p:nvSpPr>
          <p:spPr bwMode="gray">
            <a:xfrm>
              <a:off x="10102664" y="955344"/>
              <a:ext cx="1759136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ct val="0"/>
                </a:spcBef>
                <a:buNone/>
              </a:pPr>
              <a:r>
                <a:rPr lang="en-US" sz="1200" b="1" cap="all" spc="450">
                  <a:solidFill>
                    <a:srgbClr val="000000"/>
                  </a:solidFill>
                </a:rPr>
                <a:t>Directional</a:t>
              </a:r>
            </a:p>
          </p:txBody>
        </p:sp>
        <p:cxnSp>
          <p:nvCxnSpPr>
            <p:cNvPr id="21" name="btfpStatusStickerLine516933"/>
            <p:cNvCxnSpPr/>
            <p:nvPr/>
          </p:nvCxnSpPr>
          <p:spPr bwMode="gray">
            <a:xfrm rot="720000" flipH="1">
              <a:off x="10102664" y="955344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6" name="btfpStatusSticker111775">
            <a:extLst>
              <a:ext uri="{FF2B5EF4-FFF2-40B4-BE49-F238E27FC236}">
                <a16:creationId xmlns:a16="http://schemas.microsoft.com/office/drawing/2014/main" id="{4473866E-6A43-9292-F095-A527232CAF3E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8763152" y="955344"/>
            <a:ext cx="1212512" cy="235611"/>
            <a:chOff x="-1713611" y="876300"/>
            <a:chExt cx="1212512" cy="235611"/>
          </a:xfrm>
        </p:grpSpPr>
        <p:sp>
          <p:nvSpPr>
            <p:cNvPr id="19" name="btfpStatusStickerText111775">
              <a:extLst>
                <a:ext uri="{FF2B5EF4-FFF2-40B4-BE49-F238E27FC236}">
                  <a16:creationId xmlns:a16="http://schemas.microsoft.com/office/drawing/2014/main" id="{E1D8A07F-A1E1-5378-F044-8FA696216366}"/>
                </a:ext>
              </a:extLst>
            </p:cNvPr>
            <p:cNvSpPr txBox="1"/>
            <p:nvPr/>
          </p:nvSpPr>
          <p:spPr bwMode="gray">
            <a:xfrm>
              <a:off x="-1713611" y="876300"/>
              <a:ext cx="1212512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000000"/>
                  </a:solidFill>
                </a:rPr>
                <a:t>Overall</a:t>
              </a:r>
            </a:p>
          </p:txBody>
        </p:sp>
        <p:cxnSp>
          <p:nvCxnSpPr>
            <p:cNvPr id="22" name="btfpStatusStickerLine111775">
              <a:extLst>
                <a:ext uri="{FF2B5EF4-FFF2-40B4-BE49-F238E27FC236}">
                  <a16:creationId xmlns:a16="http://schemas.microsoft.com/office/drawing/2014/main" id="{DDA7B196-410C-E86B-D242-63520BE538D4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1713611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Rectangle 29">
            <a:extLst>
              <a:ext uri="{FF2B5EF4-FFF2-40B4-BE49-F238E27FC236}">
                <a16:creationId xmlns:a16="http://schemas.microsoft.com/office/drawing/2014/main" id="{A3765CCF-E2D9-AB2B-92F0-C17C306D3172}"/>
              </a:ext>
            </a:extLst>
          </p:cNvPr>
          <p:cNvSpPr/>
          <p:nvPr/>
        </p:nvSpPr>
        <p:spPr bwMode="gray">
          <a:xfrm>
            <a:off x="10920073" y="1862226"/>
            <a:ext cx="891996" cy="4357421"/>
          </a:xfrm>
          <a:prstGeom prst="rect">
            <a:avLst/>
          </a:prstGeom>
          <a:noFill/>
          <a:ln w="19050" cap="flat" cmpd="sng" algn="ctr">
            <a:solidFill>
              <a:srgbClr val="CC0000"/>
            </a:solidFill>
            <a:prstDash val="dash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chemeClr val="tx1"/>
              </a:solidFill>
            </a:endParaRPr>
          </a:p>
        </p:txBody>
      </p:sp>
      <p:grpSp>
        <p:nvGrpSpPr>
          <p:cNvPr id="14" name="btfpRunningAgenda2Level445839">
            <a:extLst>
              <a:ext uri="{FF2B5EF4-FFF2-40B4-BE49-F238E27FC236}">
                <a16:creationId xmlns:a16="http://schemas.microsoft.com/office/drawing/2014/main" id="{163B80C5-89A9-129D-32D0-76BAAFA532AA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0" y="944429"/>
            <a:ext cx="5685717" cy="257443"/>
            <a:chOff x="0" y="876300"/>
            <a:chExt cx="5685717" cy="257443"/>
          </a:xfrm>
        </p:grpSpPr>
        <p:sp>
          <p:nvSpPr>
            <p:cNvPr id="6" name="btfpRunningAgenda2LevelBarLeft445839">
              <a:extLst>
                <a:ext uri="{FF2B5EF4-FFF2-40B4-BE49-F238E27FC236}">
                  <a16:creationId xmlns:a16="http://schemas.microsoft.com/office/drawing/2014/main" id="{394CC2A9-C5C9-35FA-C1A3-FE7EF4E113B2}"/>
                </a:ext>
              </a:extLst>
            </p:cNvPr>
            <p:cNvSpPr/>
            <p:nvPr/>
          </p:nvSpPr>
          <p:spPr bwMode="gray">
            <a:xfrm>
              <a:off x="0" y="876300"/>
              <a:ext cx="2327781" cy="257443"/>
            </a:xfrm>
            <a:custGeom>
              <a:avLst/>
              <a:gdLst/>
              <a:ahLst/>
              <a:cxnLst/>
              <a:rect l="0" t="0" r="0" b="0"/>
              <a:pathLst>
                <a:path w="2327781" h="257443">
                  <a:moveTo>
                    <a:pt x="0" y="0"/>
                  </a:moveTo>
                  <a:lnTo>
                    <a:pt x="2327780" y="0"/>
                  </a:lnTo>
                  <a:lnTo>
                    <a:pt x="2273059" y="257442"/>
                  </a:lnTo>
                  <a:lnTo>
                    <a:pt x="0" y="257442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4" name="btfpRunningAgenda2LevelTextLeft445839">
              <a:extLst>
                <a:ext uri="{FF2B5EF4-FFF2-40B4-BE49-F238E27FC236}">
                  <a16:creationId xmlns:a16="http://schemas.microsoft.com/office/drawing/2014/main" id="{681FC124-605F-C65A-2D98-5330FBD05368}"/>
                </a:ext>
              </a:extLst>
            </p:cNvPr>
            <p:cNvSpPr txBox="1"/>
            <p:nvPr/>
          </p:nvSpPr>
          <p:spPr bwMode="gray">
            <a:xfrm>
              <a:off x="0" y="876300"/>
              <a:ext cx="2273059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WORKFORCE</a:t>
              </a:r>
            </a:p>
          </p:txBody>
        </p:sp>
        <p:sp>
          <p:nvSpPr>
            <p:cNvPr id="13" name="btfpRunningAgenda2LevelBarRight445839">
              <a:extLst>
                <a:ext uri="{FF2B5EF4-FFF2-40B4-BE49-F238E27FC236}">
                  <a16:creationId xmlns:a16="http://schemas.microsoft.com/office/drawing/2014/main" id="{09914EFB-46C8-96E0-495D-3377FA6C55C1}"/>
                </a:ext>
              </a:extLst>
            </p:cNvPr>
            <p:cNvSpPr/>
            <p:nvPr/>
          </p:nvSpPr>
          <p:spPr bwMode="gray">
            <a:xfrm>
              <a:off x="2192938" y="876300"/>
              <a:ext cx="3492779" cy="257442"/>
            </a:xfrm>
            <a:custGeom>
              <a:avLst/>
              <a:gdLst>
                <a:gd name="connsiteX0" fmla="*/ 934771 w 2367856"/>
                <a:gd name="connsiteY0" fmla="*/ 0 h 257442"/>
                <a:gd name="connsiteX1" fmla="*/ 2367856 w 2367856"/>
                <a:gd name="connsiteY1" fmla="*/ 0 h 257442"/>
                <a:gd name="connsiteX2" fmla="*/ 2313135 w 2367856"/>
                <a:gd name="connsiteY2" fmla="*/ 257442 h 257442"/>
                <a:gd name="connsiteX3" fmla="*/ 0 w 2367856"/>
                <a:gd name="connsiteY3" fmla="*/ 257442 h 257442"/>
                <a:gd name="connsiteX0" fmla="*/ 934771 w 2313135"/>
                <a:gd name="connsiteY0" fmla="*/ 0 h 257442"/>
                <a:gd name="connsiteX1" fmla="*/ 880050 w 2313135"/>
                <a:gd name="connsiteY1" fmla="*/ 257442 h 257442"/>
                <a:gd name="connsiteX2" fmla="*/ 2313135 w 2313135"/>
                <a:gd name="connsiteY2" fmla="*/ 257442 h 257442"/>
                <a:gd name="connsiteX3" fmla="*/ 0 w 2313135"/>
                <a:gd name="connsiteY3" fmla="*/ 257442 h 257442"/>
                <a:gd name="connsiteX0" fmla="*/ 934771 w 934771"/>
                <a:gd name="connsiteY0" fmla="*/ 0 h 257442"/>
                <a:gd name="connsiteX1" fmla="*/ 880050 w 934771"/>
                <a:gd name="connsiteY1" fmla="*/ 257442 h 257442"/>
                <a:gd name="connsiteX2" fmla="*/ 1 w 934771"/>
                <a:gd name="connsiteY2" fmla="*/ 257442 h 257442"/>
                <a:gd name="connsiteX3" fmla="*/ 0 w 934771"/>
                <a:gd name="connsiteY3" fmla="*/ 257442 h 257442"/>
                <a:gd name="connsiteX0" fmla="*/ 934770 w 934770"/>
                <a:gd name="connsiteY0" fmla="*/ 0 h 257442"/>
                <a:gd name="connsiteX1" fmla="*/ 880049 w 934770"/>
                <a:gd name="connsiteY1" fmla="*/ 257442 h 257442"/>
                <a:gd name="connsiteX2" fmla="*/ 0 w 934770"/>
                <a:gd name="connsiteY2" fmla="*/ 257442 h 257442"/>
                <a:gd name="connsiteX3" fmla="*/ 54721 w 934770"/>
                <a:gd name="connsiteY3" fmla="*/ 0 h 257442"/>
                <a:gd name="connsiteX0" fmla="*/ 1243957 w 1243957"/>
                <a:gd name="connsiteY0" fmla="*/ 0 h 257442"/>
                <a:gd name="connsiteX1" fmla="*/ 880049 w 1243957"/>
                <a:gd name="connsiteY1" fmla="*/ 257442 h 257442"/>
                <a:gd name="connsiteX2" fmla="*/ 0 w 1243957"/>
                <a:gd name="connsiteY2" fmla="*/ 257442 h 257442"/>
                <a:gd name="connsiteX3" fmla="*/ 54721 w 1243957"/>
                <a:gd name="connsiteY3" fmla="*/ 0 h 257442"/>
                <a:gd name="connsiteX0" fmla="*/ 1243957 w 1243957"/>
                <a:gd name="connsiteY0" fmla="*/ 0 h 257442"/>
                <a:gd name="connsiteX1" fmla="*/ 1189236 w 1243957"/>
                <a:gd name="connsiteY1" fmla="*/ 257442 h 257442"/>
                <a:gd name="connsiteX2" fmla="*/ 0 w 1243957"/>
                <a:gd name="connsiteY2" fmla="*/ 257442 h 257442"/>
                <a:gd name="connsiteX3" fmla="*/ 54721 w 1243957"/>
                <a:gd name="connsiteY3" fmla="*/ 0 h 257442"/>
                <a:gd name="connsiteX0" fmla="*/ 1243958 w 1243958"/>
                <a:gd name="connsiteY0" fmla="*/ 0 h 257442"/>
                <a:gd name="connsiteX1" fmla="*/ 1189237 w 1243958"/>
                <a:gd name="connsiteY1" fmla="*/ 257442 h 257442"/>
                <a:gd name="connsiteX2" fmla="*/ 0 w 1243958"/>
                <a:gd name="connsiteY2" fmla="*/ 257442 h 257442"/>
                <a:gd name="connsiteX3" fmla="*/ 54722 w 1243958"/>
                <a:gd name="connsiteY3" fmla="*/ 0 h 257442"/>
                <a:gd name="connsiteX0" fmla="*/ 1243958 w 1243958"/>
                <a:gd name="connsiteY0" fmla="*/ 0 h 257442"/>
                <a:gd name="connsiteX1" fmla="*/ 1189237 w 1243958"/>
                <a:gd name="connsiteY1" fmla="*/ 257442 h 257442"/>
                <a:gd name="connsiteX2" fmla="*/ 0 w 1243958"/>
                <a:gd name="connsiteY2" fmla="*/ 257442 h 257442"/>
                <a:gd name="connsiteX3" fmla="*/ 54721 w 1243958"/>
                <a:gd name="connsiteY3" fmla="*/ 0 h 257442"/>
                <a:gd name="connsiteX0" fmla="*/ 1404259 w 1404259"/>
                <a:gd name="connsiteY0" fmla="*/ 0 h 257442"/>
                <a:gd name="connsiteX1" fmla="*/ 1189237 w 1404259"/>
                <a:gd name="connsiteY1" fmla="*/ 257442 h 257442"/>
                <a:gd name="connsiteX2" fmla="*/ 0 w 1404259"/>
                <a:gd name="connsiteY2" fmla="*/ 257442 h 257442"/>
                <a:gd name="connsiteX3" fmla="*/ 54721 w 1404259"/>
                <a:gd name="connsiteY3" fmla="*/ 0 h 257442"/>
                <a:gd name="connsiteX0" fmla="*/ 1404259 w 1404259"/>
                <a:gd name="connsiteY0" fmla="*/ 0 h 257442"/>
                <a:gd name="connsiteX1" fmla="*/ 1349538 w 1404259"/>
                <a:gd name="connsiteY1" fmla="*/ 257442 h 257442"/>
                <a:gd name="connsiteX2" fmla="*/ 0 w 1404259"/>
                <a:gd name="connsiteY2" fmla="*/ 257442 h 257442"/>
                <a:gd name="connsiteX3" fmla="*/ 54721 w 1404259"/>
                <a:gd name="connsiteY3" fmla="*/ 0 h 257442"/>
                <a:gd name="connsiteX0" fmla="*/ 1404259 w 1404259"/>
                <a:gd name="connsiteY0" fmla="*/ 0 h 257442"/>
                <a:gd name="connsiteX1" fmla="*/ 1349538 w 1404259"/>
                <a:gd name="connsiteY1" fmla="*/ 257442 h 257442"/>
                <a:gd name="connsiteX2" fmla="*/ 0 w 1404259"/>
                <a:gd name="connsiteY2" fmla="*/ 257442 h 257442"/>
                <a:gd name="connsiteX3" fmla="*/ 54721 w 1404259"/>
                <a:gd name="connsiteY3" fmla="*/ 0 h 257442"/>
                <a:gd name="connsiteX0" fmla="*/ 1404259 w 1404259"/>
                <a:gd name="connsiteY0" fmla="*/ 0 h 257442"/>
                <a:gd name="connsiteX1" fmla="*/ 1349538 w 1404259"/>
                <a:gd name="connsiteY1" fmla="*/ 257442 h 257442"/>
                <a:gd name="connsiteX2" fmla="*/ 0 w 1404259"/>
                <a:gd name="connsiteY2" fmla="*/ 257442 h 257442"/>
                <a:gd name="connsiteX3" fmla="*/ 54721 w 1404259"/>
                <a:gd name="connsiteY3" fmla="*/ 0 h 257442"/>
                <a:gd name="connsiteX0" fmla="*/ 1572573 w 1572573"/>
                <a:gd name="connsiteY0" fmla="*/ 0 h 257442"/>
                <a:gd name="connsiteX1" fmla="*/ 1349538 w 1572573"/>
                <a:gd name="connsiteY1" fmla="*/ 257442 h 257442"/>
                <a:gd name="connsiteX2" fmla="*/ 0 w 1572573"/>
                <a:gd name="connsiteY2" fmla="*/ 257442 h 257442"/>
                <a:gd name="connsiteX3" fmla="*/ 54721 w 1572573"/>
                <a:gd name="connsiteY3" fmla="*/ 0 h 257442"/>
                <a:gd name="connsiteX0" fmla="*/ 1572573 w 1572573"/>
                <a:gd name="connsiteY0" fmla="*/ 0 h 257442"/>
                <a:gd name="connsiteX1" fmla="*/ 1517852 w 1572573"/>
                <a:gd name="connsiteY1" fmla="*/ 257442 h 257442"/>
                <a:gd name="connsiteX2" fmla="*/ 0 w 1572573"/>
                <a:gd name="connsiteY2" fmla="*/ 257442 h 257442"/>
                <a:gd name="connsiteX3" fmla="*/ 54721 w 1572573"/>
                <a:gd name="connsiteY3" fmla="*/ 0 h 257442"/>
                <a:gd name="connsiteX0" fmla="*/ 1572573 w 1572573"/>
                <a:gd name="connsiteY0" fmla="*/ 0 h 257442"/>
                <a:gd name="connsiteX1" fmla="*/ 1517852 w 1572573"/>
                <a:gd name="connsiteY1" fmla="*/ 257442 h 257442"/>
                <a:gd name="connsiteX2" fmla="*/ 0 w 1572573"/>
                <a:gd name="connsiteY2" fmla="*/ 257442 h 257442"/>
                <a:gd name="connsiteX3" fmla="*/ 54721 w 1572573"/>
                <a:gd name="connsiteY3" fmla="*/ 0 h 257442"/>
                <a:gd name="connsiteX0" fmla="*/ 1572573 w 1572573"/>
                <a:gd name="connsiteY0" fmla="*/ 0 h 257442"/>
                <a:gd name="connsiteX1" fmla="*/ 1517852 w 1572573"/>
                <a:gd name="connsiteY1" fmla="*/ 257442 h 257442"/>
                <a:gd name="connsiteX2" fmla="*/ 0 w 1572573"/>
                <a:gd name="connsiteY2" fmla="*/ 257442 h 257442"/>
                <a:gd name="connsiteX3" fmla="*/ 54721 w 1572573"/>
                <a:gd name="connsiteY3" fmla="*/ 0 h 257442"/>
                <a:gd name="connsiteX0" fmla="*/ 1825848 w 1825848"/>
                <a:gd name="connsiteY0" fmla="*/ 0 h 257442"/>
                <a:gd name="connsiteX1" fmla="*/ 1517852 w 1825848"/>
                <a:gd name="connsiteY1" fmla="*/ 257442 h 257442"/>
                <a:gd name="connsiteX2" fmla="*/ 0 w 1825848"/>
                <a:gd name="connsiteY2" fmla="*/ 257442 h 257442"/>
                <a:gd name="connsiteX3" fmla="*/ 54721 w 1825848"/>
                <a:gd name="connsiteY3" fmla="*/ 0 h 257442"/>
                <a:gd name="connsiteX0" fmla="*/ 1825848 w 1825848"/>
                <a:gd name="connsiteY0" fmla="*/ 0 h 257442"/>
                <a:gd name="connsiteX1" fmla="*/ 1771126 w 1825848"/>
                <a:gd name="connsiteY1" fmla="*/ 257442 h 257442"/>
                <a:gd name="connsiteX2" fmla="*/ 0 w 1825848"/>
                <a:gd name="connsiteY2" fmla="*/ 257442 h 257442"/>
                <a:gd name="connsiteX3" fmla="*/ 54721 w 1825848"/>
                <a:gd name="connsiteY3" fmla="*/ 0 h 257442"/>
                <a:gd name="connsiteX0" fmla="*/ 1825849 w 1825849"/>
                <a:gd name="connsiteY0" fmla="*/ 0 h 257442"/>
                <a:gd name="connsiteX1" fmla="*/ 1771127 w 1825849"/>
                <a:gd name="connsiteY1" fmla="*/ 257442 h 257442"/>
                <a:gd name="connsiteX2" fmla="*/ 0 w 1825849"/>
                <a:gd name="connsiteY2" fmla="*/ 257442 h 257442"/>
                <a:gd name="connsiteX3" fmla="*/ 54722 w 1825849"/>
                <a:gd name="connsiteY3" fmla="*/ 0 h 257442"/>
                <a:gd name="connsiteX0" fmla="*/ 1825849 w 1825849"/>
                <a:gd name="connsiteY0" fmla="*/ 0 h 257442"/>
                <a:gd name="connsiteX1" fmla="*/ 1771127 w 1825849"/>
                <a:gd name="connsiteY1" fmla="*/ 257442 h 257442"/>
                <a:gd name="connsiteX2" fmla="*/ 0 w 1825849"/>
                <a:gd name="connsiteY2" fmla="*/ 257442 h 257442"/>
                <a:gd name="connsiteX3" fmla="*/ 54722 w 1825849"/>
                <a:gd name="connsiteY3" fmla="*/ 0 h 257442"/>
                <a:gd name="connsiteX0" fmla="*/ 1994165 w 1994165"/>
                <a:gd name="connsiteY0" fmla="*/ 0 h 257442"/>
                <a:gd name="connsiteX1" fmla="*/ 1771127 w 1994165"/>
                <a:gd name="connsiteY1" fmla="*/ 257442 h 257442"/>
                <a:gd name="connsiteX2" fmla="*/ 0 w 1994165"/>
                <a:gd name="connsiteY2" fmla="*/ 257442 h 257442"/>
                <a:gd name="connsiteX3" fmla="*/ 54722 w 1994165"/>
                <a:gd name="connsiteY3" fmla="*/ 0 h 257442"/>
                <a:gd name="connsiteX0" fmla="*/ 1994165 w 1994165"/>
                <a:gd name="connsiteY0" fmla="*/ 0 h 257442"/>
                <a:gd name="connsiteX1" fmla="*/ 1939444 w 1994165"/>
                <a:gd name="connsiteY1" fmla="*/ 257442 h 257442"/>
                <a:gd name="connsiteX2" fmla="*/ 0 w 1994165"/>
                <a:gd name="connsiteY2" fmla="*/ 257442 h 257442"/>
                <a:gd name="connsiteX3" fmla="*/ 54722 w 1994165"/>
                <a:gd name="connsiteY3" fmla="*/ 0 h 257442"/>
                <a:gd name="connsiteX0" fmla="*/ 1994164 w 1994164"/>
                <a:gd name="connsiteY0" fmla="*/ 0 h 257442"/>
                <a:gd name="connsiteX1" fmla="*/ 1939443 w 1994164"/>
                <a:gd name="connsiteY1" fmla="*/ 257442 h 257442"/>
                <a:gd name="connsiteX2" fmla="*/ 0 w 1994164"/>
                <a:gd name="connsiteY2" fmla="*/ 257442 h 257442"/>
                <a:gd name="connsiteX3" fmla="*/ 54721 w 1994164"/>
                <a:gd name="connsiteY3" fmla="*/ 0 h 257442"/>
                <a:gd name="connsiteX0" fmla="*/ 1994164 w 1994164"/>
                <a:gd name="connsiteY0" fmla="*/ 0 h 257442"/>
                <a:gd name="connsiteX1" fmla="*/ 1939443 w 1994164"/>
                <a:gd name="connsiteY1" fmla="*/ 257442 h 257442"/>
                <a:gd name="connsiteX2" fmla="*/ 0 w 1994164"/>
                <a:gd name="connsiteY2" fmla="*/ 257442 h 257442"/>
                <a:gd name="connsiteX3" fmla="*/ 54720 w 1994164"/>
                <a:gd name="connsiteY3" fmla="*/ 0 h 257442"/>
                <a:gd name="connsiteX0" fmla="*/ 2154463 w 2154463"/>
                <a:gd name="connsiteY0" fmla="*/ 0 h 257442"/>
                <a:gd name="connsiteX1" fmla="*/ 1939443 w 2154463"/>
                <a:gd name="connsiteY1" fmla="*/ 257442 h 257442"/>
                <a:gd name="connsiteX2" fmla="*/ 0 w 2154463"/>
                <a:gd name="connsiteY2" fmla="*/ 257442 h 257442"/>
                <a:gd name="connsiteX3" fmla="*/ 54720 w 2154463"/>
                <a:gd name="connsiteY3" fmla="*/ 0 h 257442"/>
                <a:gd name="connsiteX0" fmla="*/ 2154463 w 2154463"/>
                <a:gd name="connsiteY0" fmla="*/ 0 h 257442"/>
                <a:gd name="connsiteX1" fmla="*/ 2099742 w 2154463"/>
                <a:gd name="connsiteY1" fmla="*/ 257442 h 257442"/>
                <a:gd name="connsiteX2" fmla="*/ 0 w 2154463"/>
                <a:gd name="connsiteY2" fmla="*/ 257442 h 257442"/>
                <a:gd name="connsiteX3" fmla="*/ 54720 w 2154463"/>
                <a:gd name="connsiteY3" fmla="*/ 0 h 257442"/>
                <a:gd name="connsiteX0" fmla="*/ 2154464 w 2154464"/>
                <a:gd name="connsiteY0" fmla="*/ 0 h 257442"/>
                <a:gd name="connsiteX1" fmla="*/ 2099743 w 2154464"/>
                <a:gd name="connsiteY1" fmla="*/ 257442 h 257442"/>
                <a:gd name="connsiteX2" fmla="*/ 0 w 2154464"/>
                <a:gd name="connsiteY2" fmla="*/ 257442 h 257442"/>
                <a:gd name="connsiteX3" fmla="*/ 54721 w 2154464"/>
                <a:gd name="connsiteY3" fmla="*/ 0 h 257442"/>
                <a:gd name="connsiteX0" fmla="*/ 2154464 w 2154464"/>
                <a:gd name="connsiteY0" fmla="*/ 0 h 257442"/>
                <a:gd name="connsiteX1" fmla="*/ 2099743 w 2154464"/>
                <a:gd name="connsiteY1" fmla="*/ 257442 h 257442"/>
                <a:gd name="connsiteX2" fmla="*/ 0 w 2154464"/>
                <a:gd name="connsiteY2" fmla="*/ 257442 h 257442"/>
                <a:gd name="connsiteX3" fmla="*/ 54721 w 2154464"/>
                <a:gd name="connsiteY3" fmla="*/ 0 h 257442"/>
                <a:gd name="connsiteX0" fmla="*/ 2314764 w 2314764"/>
                <a:gd name="connsiteY0" fmla="*/ 0 h 257442"/>
                <a:gd name="connsiteX1" fmla="*/ 2099743 w 2314764"/>
                <a:gd name="connsiteY1" fmla="*/ 257442 h 257442"/>
                <a:gd name="connsiteX2" fmla="*/ 0 w 2314764"/>
                <a:gd name="connsiteY2" fmla="*/ 257442 h 257442"/>
                <a:gd name="connsiteX3" fmla="*/ 54721 w 2314764"/>
                <a:gd name="connsiteY3" fmla="*/ 0 h 257442"/>
                <a:gd name="connsiteX0" fmla="*/ 2314764 w 2314764"/>
                <a:gd name="connsiteY0" fmla="*/ 0 h 257442"/>
                <a:gd name="connsiteX1" fmla="*/ 2260043 w 2314764"/>
                <a:gd name="connsiteY1" fmla="*/ 257442 h 257442"/>
                <a:gd name="connsiteX2" fmla="*/ 0 w 2314764"/>
                <a:gd name="connsiteY2" fmla="*/ 257442 h 257442"/>
                <a:gd name="connsiteX3" fmla="*/ 54721 w 2314764"/>
                <a:gd name="connsiteY3" fmla="*/ 0 h 257442"/>
                <a:gd name="connsiteX0" fmla="*/ 2314764 w 2314764"/>
                <a:gd name="connsiteY0" fmla="*/ 0 h 257442"/>
                <a:gd name="connsiteX1" fmla="*/ 2260043 w 2314764"/>
                <a:gd name="connsiteY1" fmla="*/ 257442 h 257442"/>
                <a:gd name="connsiteX2" fmla="*/ 0 w 2314764"/>
                <a:gd name="connsiteY2" fmla="*/ 257442 h 257442"/>
                <a:gd name="connsiteX3" fmla="*/ 54721 w 2314764"/>
                <a:gd name="connsiteY3" fmla="*/ 0 h 257442"/>
                <a:gd name="connsiteX0" fmla="*/ 2314764 w 2314764"/>
                <a:gd name="connsiteY0" fmla="*/ 0 h 257442"/>
                <a:gd name="connsiteX1" fmla="*/ 2260043 w 2314764"/>
                <a:gd name="connsiteY1" fmla="*/ 257442 h 257442"/>
                <a:gd name="connsiteX2" fmla="*/ 0 w 2314764"/>
                <a:gd name="connsiteY2" fmla="*/ 257442 h 257442"/>
                <a:gd name="connsiteX3" fmla="*/ 54721 w 2314764"/>
                <a:gd name="connsiteY3" fmla="*/ 0 h 257442"/>
                <a:gd name="connsiteX0" fmla="*/ 2568039 w 2568039"/>
                <a:gd name="connsiteY0" fmla="*/ 0 h 257442"/>
                <a:gd name="connsiteX1" fmla="*/ 2260043 w 2568039"/>
                <a:gd name="connsiteY1" fmla="*/ 257442 h 257442"/>
                <a:gd name="connsiteX2" fmla="*/ 0 w 2568039"/>
                <a:gd name="connsiteY2" fmla="*/ 257442 h 257442"/>
                <a:gd name="connsiteX3" fmla="*/ 54721 w 2568039"/>
                <a:gd name="connsiteY3" fmla="*/ 0 h 257442"/>
                <a:gd name="connsiteX0" fmla="*/ 2568039 w 2568039"/>
                <a:gd name="connsiteY0" fmla="*/ 0 h 257442"/>
                <a:gd name="connsiteX1" fmla="*/ 2513318 w 2568039"/>
                <a:gd name="connsiteY1" fmla="*/ 257442 h 257442"/>
                <a:gd name="connsiteX2" fmla="*/ 0 w 2568039"/>
                <a:gd name="connsiteY2" fmla="*/ 257442 h 257442"/>
                <a:gd name="connsiteX3" fmla="*/ 54721 w 2568039"/>
                <a:gd name="connsiteY3" fmla="*/ 0 h 257442"/>
                <a:gd name="connsiteX0" fmla="*/ 2568039 w 2568039"/>
                <a:gd name="connsiteY0" fmla="*/ 0 h 257442"/>
                <a:gd name="connsiteX1" fmla="*/ 2513318 w 2568039"/>
                <a:gd name="connsiteY1" fmla="*/ 257442 h 257442"/>
                <a:gd name="connsiteX2" fmla="*/ 0 w 2568039"/>
                <a:gd name="connsiteY2" fmla="*/ 257442 h 257442"/>
                <a:gd name="connsiteX3" fmla="*/ 54721 w 2568039"/>
                <a:gd name="connsiteY3" fmla="*/ 0 h 257442"/>
                <a:gd name="connsiteX0" fmla="*/ 2568039 w 2568039"/>
                <a:gd name="connsiteY0" fmla="*/ 0 h 257442"/>
                <a:gd name="connsiteX1" fmla="*/ 2513318 w 2568039"/>
                <a:gd name="connsiteY1" fmla="*/ 257442 h 257442"/>
                <a:gd name="connsiteX2" fmla="*/ 0 w 2568039"/>
                <a:gd name="connsiteY2" fmla="*/ 257442 h 257442"/>
                <a:gd name="connsiteX3" fmla="*/ 54721 w 2568039"/>
                <a:gd name="connsiteY3" fmla="*/ 0 h 257442"/>
                <a:gd name="connsiteX0" fmla="*/ 2736354 w 2736354"/>
                <a:gd name="connsiteY0" fmla="*/ 0 h 257442"/>
                <a:gd name="connsiteX1" fmla="*/ 2513318 w 2736354"/>
                <a:gd name="connsiteY1" fmla="*/ 257442 h 257442"/>
                <a:gd name="connsiteX2" fmla="*/ 0 w 2736354"/>
                <a:gd name="connsiteY2" fmla="*/ 257442 h 257442"/>
                <a:gd name="connsiteX3" fmla="*/ 54721 w 2736354"/>
                <a:gd name="connsiteY3" fmla="*/ 0 h 257442"/>
                <a:gd name="connsiteX0" fmla="*/ 2736354 w 2736354"/>
                <a:gd name="connsiteY0" fmla="*/ 0 h 257442"/>
                <a:gd name="connsiteX1" fmla="*/ 2681632 w 2736354"/>
                <a:gd name="connsiteY1" fmla="*/ 257442 h 257442"/>
                <a:gd name="connsiteX2" fmla="*/ 0 w 2736354"/>
                <a:gd name="connsiteY2" fmla="*/ 257442 h 257442"/>
                <a:gd name="connsiteX3" fmla="*/ 54721 w 2736354"/>
                <a:gd name="connsiteY3" fmla="*/ 0 h 257442"/>
                <a:gd name="connsiteX0" fmla="*/ 2736355 w 2736355"/>
                <a:gd name="connsiteY0" fmla="*/ 0 h 257442"/>
                <a:gd name="connsiteX1" fmla="*/ 2681633 w 2736355"/>
                <a:gd name="connsiteY1" fmla="*/ 257442 h 257442"/>
                <a:gd name="connsiteX2" fmla="*/ 0 w 2736355"/>
                <a:gd name="connsiteY2" fmla="*/ 257442 h 257442"/>
                <a:gd name="connsiteX3" fmla="*/ 54722 w 2736355"/>
                <a:gd name="connsiteY3" fmla="*/ 0 h 257442"/>
                <a:gd name="connsiteX0" fmla="*/ 2736355 w 2736355"/>
                <a:gd name="connsiteY0" fmla="*/ 0 h 257442"/>
                <a:gd name="connsiteX1" fmla="*/ 2681633 w 2736355"/>
                <a:gd name="connsiteY1" fmla="*/ 257442 h 257442"/>
                <a:gd name="connsiteX2" fmla="*/ 0 w 2736355"/>
                <a:gd name="connsiteY2" fmla="*/ 257442 h 257442"/>
                <a:gd name="connsiteX3" fmla="*/ 54722 w 2736355"/>
                <a:gd name="connsiteY3" fmla="*/ 0 h 257442"/>
                <a:gd name="connsiteX0" fmla="*/ 2904670 w 2904670"/>
                <a:gd name="connsiteY0" fmla="*/ 0 h 257442"/>
                <a:gd name="connsiteX1" fmla="*/ 2681633 w 2904670"/>
                <a:gd name="connsiteY1" fmla="*/ 257442 h 257442"/>
                <a:gd name="connsiteX2" fmla="*/ 0 w 2904670"/>
                <a:gd name="connsiteY2" fmla="*/ 257442 h 257442"/>
                <a:gd name="connsiteX3" fmla="*/ 54722 w 2904670"/>
                <a:gd name="connsiteY3" fmla="*/ 0 h 257442"/>
                <a:gd name="connsiteX0" fmla="*/ 2904670 w 2904670"/>
                <a:gd name="connsiteY0" fmla="*/ 0 h 257442"/>
                <a:gd name="connsiteX1" fmla="*/ 2849948 w 2904670"/>
                <a:gd name="connsiteY1" fmla="*/ 257442 h 257442"/>
                <a:gd name="connsiteX2" fmla="*/ 0 w 2904670"/>
                <a:gd name="connsiteY2" fmla="*/ 257442 h 257442"/>
                <a:gd name="connsiteX3" fmla="*/ 54722 w 2904670"/>
                <a:gd name="connsiteY3" fmla="*/ 0 h 257442"/>
                <a:gd name="connsiteX0" fmla="*/ 2904670 w 2904670"/>
                <a:gd name="connsiteY0" fmla="*/ 0 h 257442"/>
                <a:gd name="connsiteX1" fmla="*/ 2849948 w 2904670"/>
                <a:gd name="connsiteY1" fmla="*/ 257442 h 257442"/>
                <a:gd name="connsiteX2" fmla="*/ 0 w 2904670"/>
                <a:gd name="connsiteY2" fmla="*/ 257442 h 257442"/>
                <a:gd name="connsiteX3" fmla="*/ 54722 w 2904670"/>
                <a:gd name="connsiteY3" fmla="*/ 0 h 257442"/>
                <a:gd name="connsiteX0" fmla="*/ 2904670 w 2904670"/>
                <a:gd name="connsiteY0" fmla="*/ 0 h 257442"/>
                <a:gd name="connsiteX1" fmla="*/ 2849948 w 2904670"/>
                <a:gd name="connsiteY1" fmla="*/ 257442 h 257442"/>
                <a:gd name="connsiteX2" fmla="*/ 0 w 2904670"/>
                <a:gd name="connsiteY2" fmla="*/ 257442 h 257442"/>
                <a:gd name="connsiteX3" fmla="*/ 54721 w 2904670"/>
                <a:gd name="connsiteY3" fmla="*/ 0 h 257442"/>
                <a:gd name="connsiteX0" fmla="*/ 3146530 w 3146530"/>
                <a:gd name="connsiteY0" fmla="*/ 0 h 257442"/>
                <a:gd name="connsiteX1" fmla="*/ 2849948 w 3146530"/>
                <a:gd name="connsiteY1" fmla="*/ 257442 h 257442"/>
                <a:gd name="connsiteX2" fmla="*/ 0 w 3146530"/>
                <a:gd name="connsiteY2" fmla="*/ 257442 h 257442"/>
                <a:gd name="connsiteX3" fmla="*/ 54721 w 3146530"/>
                <a:gd name="connsiteY3" fmla="*/ 0 h 257442"/>
                <a:gd name="connsiteX0" fmla="*/ 3146530 w 3146530"/>
                <a:gd name="connsiteY0" fmla="*/ 0 h 257442"/>
                <a:gd name="connsiteX1" fmla="*/ 3091809 w 3146530"/>
                <a:gd name="connsiteY1" fmla="*/ 257442 h 257442"/>
                <a:gd name="connsiteX2" fmla="*/ 0 w 3146530"/>
                <a:gd name="connsiteY2" fmla="*/ 257442 h 257442"/>
                <a:gd name="connsiteX3" fmla="*/ 54721 w 3146530"/>
                <a:gd name="connsiteY3" fmla="*/ 0 h 257442"/>
                <a:gd name="connsiteX0" fmla="*/ 3146530 w 3146530"/>
                <a:gd name="connsiteY0" fmla="*/ 0 h 257442"/>
                <a:gd name="connsiteX1" fmla="*/ 3091809 w 3146530"/>
                <a:gd name="connsiteY1" fmla="*/ 257442 h 257442"/>
                <a:gd name="connsiteX2" fmla="*/ 0 w 3146530"/>
                <a:gd name="connsiteY2" fmla="*/ 257442 h 257442"/>
                <a:gd name="connsiteX3" fmla="*/ 54721 w 3146530"/>
                <a:gd name="connsiteY3" fmla="*/ 0 h 257442"/>
                <a:gd name="connsiteX0" fmla="*/ 3146530 w 3146530"/>
                <a:gd name="connsiteY0" fmla="*/ 0 h 257442"/>
                <a:gd name="connsiteX1" fmla="*/ 3091809 w 3146530"/>
                <a:gd name="connsiteY1" fmla="*/ 257442 h 257442"/>
                <a:gd name="connsiteX2" fmla="*/ 0 w 3146530"/>
                <a:gd name="connsiteY2" fmla="*/ 257442 h 257442"/>
                <a:gd name="connsiteX3" fmla="*/ 54721 w 3146530"/>
                <a:gd name="connsiteY3" fmla="*/ 0 h 257442"/>
                <a:gd name="connsiteX0" fmla="*/ 3324463 w 3324463"/>
                <a:gd name="connsiteY0" fmla="*/ 0 h 257442"/>
                <a:gd name="connsiteX1" fmla="*/ 3091809 w 3324463"/>
                <a:gd name="connsiteY1" fmla="*/ 257442 h 257442"/>
                <a:gd name="connsiteX2" fmla="*/ 0 w 3324463"/>
                <a:gd name="connsiteY2" fmla="*/ 257442 h 257442"/>
                <a:gd name="connsiteX3" fmla="*/ 54721 w 3324463"/>
                <a:gd name="connsiteY3" fmla="*/ 0 h 257442"/>
                <a:gd name="connsiteX0" fmla="*/ 3324463 w 3324463"/>
                <a:gd name="connsiteY0" fmla="*/ 0 h 257442"/>
                <a:gd name="connsiteX1" fmla="*/ 3269742 w 3324463"/>
                <a:gd name="connsiteY1" fmla="*/ 257442 h 257442"/>
                <a:gd name="connsiteX2" fmla="*/ 0 w 3324463"/>
                <a:gd name="connsiteY2" fmla="*/ 257442 h 257442"/>
                <a:gd name="connsiteX3" fmla="*/ 54721 w 3324463"/>
                <a:gd name="connsiteY3" fmla="*/ 0 h 257442"/>
                <a:gd name="connsiteX0" fmla="*/ 3324463 w 3324463"/>
                <a:gd name="connsiteY0" fmla="*/ 0 h 257442"/>
                <a:gd name="connsiteX1" fmla="*/ 3269742 w 3324463"/>
                <a:gd name="connsiteY1" fmla="*/ 257442 h 257442"/>
                <a:gd name="connsiteX2" fmla="*/ 0 w 3324463"/>
                <a:gd name="connsiteY2" fmla="*/ 257442 h 257442"/>
                <a:gd name="connsiteX3" fmla="*/ 54721 w 3324463"/>
                <a:gd name="connsiteY3" fmla="*/ 0 h 257442"/>
                <a:gd name="connsiteX0" fmla="*/ 3324463 w 3324463"/>
                <a:gd name="connsiteY0" fmla="*/ 0 h 257442"/>
                <a:gd name="connsiteX1" fmla="*/ 3269742 w 3324463"/>
                <a:gd name="connsiteY1" fmla="*/ 257442 h 257442"/>
                <a:gd name="connsiteX2" fmla="*/ 0 w 3324463"/>
                <a:gd name="connsiteY2" fmla="*/ 257442 h 257442"/>
                <a:gd name="connsiteX3" fmla="*/ 54721 w 3324463"/>
                <a:gd name="connsiteY3" fmla="*/ 0 h 257442"/>
                <a:gd name="connsiteX0" fmla="*/ 3492779 w 3492779"/>
                <a:gd name="connsiteY0" fmla="*/ 0 h 257442"/>
                <a:gd name="connsiteX1" fmla="*/ 3269742 w 3492779"/>
                <a:gd name="connsiteY1" fmla="*/ 257442 h 257442"/>
                <a:gd name="connsiteX2" fmla="*/ 0 w 3492779"/>
                <a:gd name="connsiteY2" fmla="*/ 257442 h 257442"/>
                <a:gd name="connsiteX3" fmla="*/ 54721 w 3492779"/>
                <a:gd name="connsiteY3" fmla="*/ 0 h 257442"/>
                <a:gd name="connsiteX0" fmla="*/ 3492779 w 3492779"/>
                <a:gd name="connsiteY0" fmla="*/ 0 h 257442"/>
                <a:gd name="connsiteX1" fmla="*/ 3438058 w 3492779"/>
                <a:gd name="connsiteY1" fmla="*/ 257442 h 257442"/>
                <a:gd name="connsiteX2" fmla="*/ 0 w 3492779"/>
                <a:gd name="connsiteY2" fmla="*/ 257442 h 257442"/>
                <a:gd name="connsiteX3" fmla="*/ 54721 w 3492779"/>
                <a:gd name="connsiteY3" fmla="*/ 0 h 257442"/>
                <a:gd name="connsiteX0" fmla="*/ 3492779 w 3492779"/>
                <a:gd name="connsiteY0" fmla="*/ 0 h 257442"/>
                <a:gd name="connsiteX1" fmla="*/ 3438058 w 3492779"/>
                <a:gd name="connsiteY1" fmla="*/ 257442 h 257442"/>
                <a:gd name="connsiteX2" fmla="*/ 0 w 3492779"/>
                <a:gd name="connsiteY2" fmla="*/ 257442 h 257442"/>
                <a:gd name="connsiteX3" fmla="*/ 54721 w 3492779"/>
                <a:gd name="connsiteY3" fmla="*/ 0 h 257442"/>
                <a:gd name="connsiteX0" fmla="*/ 3492779 w 3492779"/>
                <a:gd name="connsiteY0" fmla="*/ 0 h 257442"/>
                <a:gd name="connsiteX1" fmla="*/ 3438058 w 3492779"/>
                <a:gd name="connsiteY1" fmla="*/ 257442 h 257442"/>
                <a:gd name="connsiteX2" fmla="*/ 0 w 3492779"/>
                <a:gd name="connsiteY2" fmla="*/ 257442 h 257442"/>
                <a:gd name="connsiteX3" fmla="*/ 54721 w 3492779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92779" h="257442">
                  <a:moveTo>
                    <a:pt x="3492779" y="0"/>
                  </a:moveTo>
                  <a:lnTo>
                    <a:pt x="3438058" y="257442"/>
                  </a:lnTo>
                  <a:lnTo>
                    <a:pt x="0" y="257442"/>
                  </a:lnTo>
                  <a:lnTo>
                    <a:pt x="54721" y="0"/>
                  </a:lnTo>
                  <a:close/>
                </a:path>
              </a:pathLst>
            </a:custGeom>
            <a:solidFill>
              <a:srgbClr val="B4B4B4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2" name="btfpRunningAgenda2LevelTextRight445839">
              <a:extLst>
                <a:ext uri="{FF2B5EF4-FFF2-40B4-BE49-F238E27FC236}">
                  <a16:creationId xmlns:a16="http://schemas.microsoft.com/office/drawing/2014/main" id="{BDFC2539-3B2B-787C-5DA4-248E9A8A5890}"/>
                </a:ext>
              </a:extLst>
            </p:cNvPr>
            <p:cNvSpPr txBox="1"/>
            <p:nvPr/>
          </p:nvSpPr>
          <p:spPr bwMode="gray">
            <a:xfrm>
              <a:off x="2192938" y="876300"/>
              <a:ext cx="3438058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TALENT DESTINATION</a:t>
              </a:r>
            </a:p>
          </p:txBody>
        </p:sp>
      </p:grp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9655A35F-58B5-EE3F-DBE4-D84C874D9771}"/>
              </a:ext>
            </a:extLst>
          </p:cNvPr>
          <p:cNvSpPr/>
          <p:nvPr/>
        </p:nvSpPr>
        <p:spPr bwMode="gray">
          <a:xfrm>
            <a:off x="10747068" y="796006"/>
            <a:ext cx="956332" cy="382533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00" dirty="0">
                <a:solidFill>
                  <a:schemeClr val="tx1"/>
                </a:solidFill>
              </a:rPr>
              <a:t>BCN updated 11/09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CA4BC7EF-365F-4B9E-4B7A-A167C7E96120}"/>
              </a:ext>
            </a:extLst>
          </p:cNvPr>
          <p:cNvSpPr/>
          <p:nvPr/>
        </p:nvSpPr>
        <p:spPr bwMode="gray">
          <a:xfrm>
            <a:off x="9407356" y="1427514"/>
            <a:ext cx="125830" cy="125830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chemeClr val="tx1"/>
              </a:solidFill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A4BEF3E6-85E7-0318-E45F-8893510DA035}"/>
              </a:ext>
            </a:extLst>
          </p:cNvPr>
          <p:cNvSpPr txBox="1"/>
          <p:nvPr/>
        </p:nvSpPr>
        <p:spPr bwMode="gray">
          <a:xfrm>
            <a:off x="9595709" y="1388699"/>
            <a:ext cx="542495" cy="19581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800"/>
              <a:t>Peer Set 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9C606515-0B2D-2F06-F060-7995002B8103}"/>
              </a:ext>
            </a:extLst>
          </p:cNvPr>
          <p:cNvSpPr/>
          <p:nvPr/>
        </p:nvSpPr>
        <p:spPr bwMode="gray">
          <a:xfrm>
            <a:off x="10146642" y="1427514"/>
            <a:ext cx="125830" cy="12583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chemeClr val="tx1"/>
              </a:solidFill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BEA3D5FC-5BD7-FCA5-214E-0E862FA4ED5C}"/>
              </a:ext>
            </a:extLst>
          </p:cNvPr>
          <p:cNvSpPr txBox="1"/>
          <p:nvPr/>
        </p:nvSpPr>
        <p:spPr bwMode="gray">
          <a:xfrm>
            <a:off x="10334995" y="1388699"/>
            <a:ext cx="987914" cy="19581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800"/>
              <a:t>University/ Colleges</a:t>
            </a:r>
          </a:p>
        </p:txBody>
      </p:sp>
      <p:pic>
        <p:nvPicPr>
          <p:cNvPr id="57" name="Picture 56">
            <a:extLst>
              <a:ext uri="{FF2B5EF4-FFF2-40B4-BE49-F238E27FC236}">
                <a16:creationId xmlns:a16="http://schemas.microsoft.com/office/drawing/2014/main" id="{999083AB-FCC6-9159-96D7-55D6E21E4CD1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0646654" y="6219647"/>
            <a:ext cx="1261892" cy="35360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19443195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4" name="think-cell data - do not delete" hidden="1">
            <a:extLst>
              <a:ext uri="{FF2B5EF4-FFF2-40B4-BE49-F238E27FC236}">
                <a16:creationId xmlns:a16="http://schemas.microsoft.com/office/drawing/2014/main" id="{93F0492B-A78A-B489-664F-AC216335F9C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75550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04" imgH="405" progId="TCLayout.ActiveDocument.1">
                  <p:embed/>
                </p:oleObj>
              </mc:Choice>
              <mc:Fallback>
                <p:oleObj name="think-cell Slide" r:id="rId10" imgW="404" imgH="405" progId="TCLayout.ActiveDocument.1">
                  <p:embed/>
                  <p:pic>
                    <p:nvPicPr>
                      <p:cNvPr id="5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3F0492B-A78A-B489-664F-AC216335F9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r0lg9IPP9y8umrse/9AoLT5R0GKq+XM9pr/aTyOTf0wptcuHbHxeyqBm9svU01qeeEM1v0hpSHUgirOnAK/wuhh4R0jlrHnY+9pFyM8mIa/v+EBRT4DxCrO4MOZv053OPZGuBPBkVTM93MBe9Uwqf4aYnlMSZvsL3oxynmN4ZyHez2Gu5Besl3qxqPf4w7kkGjcfx21rtUtqz54pGW2EahJvCwJSTBgeYUe/G/Za7TK2ixHK+x3nW56q7eZo+z2won0JnoKCGwuAbm+KG95GAvJp9MB862hQs23z3qdKCjiZwGj33JaHcf7hyG9TAcfS4Q4kM7UpETKrfjCJJhZxJ/ddhWAVBiI/BwsHAOu2NO7XupYekC73SwZ3vnasUIHnsnipQvU5V0CMvAyDgZ1mGsBZ9xdCSMAbXnRS6uMk4pzj/wHdusC0xj1Ky444je+2BCvTV75uf8oPG4URHfWz4co+a4xV0aJ4lAz+4eaj+lEBFUfUCEsFdDygwaxpFeog3Czn/bfaTvwZrflgu305vNLvKiMYA7yXi7gZA3jzErJL6czmJaUXPAVC2B2tym619FmIxZDRGXBg/CsEuibnV8n7J2ceZCV4pI3FKAZia6pNhOZtv9ELqPzkXy0weROySSDeh+gpt+IVgHUxjbKPLcyzOl4muEDFaJGFQXDvJ7m9pqEal9tMjRWsUaq1OTnt+psU7ZlLC2HBktKZR8LAYNtYiNnUq5YSaWM90y/jlOW80ZC4M3yW+0jAUi2Z0J1CUgQl3LKxUFsMZWBbeJZ9i9mlIhn6YXWezDXHcMik8JQAeScRaV+YO1rwcDekzR7oUhLBG+Cbqy2qLStlcABFUs3eggQWD+ku0K6V21Xi9NCKkb/F87Yi44e2LZ/pvcPFepzLJ0fbD0rtuX2XZaXv9xDFpyuDL1UntpbLFneXyUo9++Q6G83ohL3CrnSoPI7kn0SBGsYTHw+9arWzOfnoGQC1wCjiS0rqOnAYuZO1Kl7KsGyeVZ71YPtYHngptSTfAVAzTeRNzAWFXYgoLlPc1wUijhBq/jor6+kxHAhuUOlCwVEIVlHmXms5H/cgJr8p+WJSBRxPLk52UYN11/wfXzYzUaGDPY0gAzIpm6aq7RHQ4BBAUNbqVMujcax4hfikk6s5YPwa87zFmjfOqNDsfOp3b4ANXWTdQXioxZAqS1Y8NyHLZDADpTc6hywa7pBj/4V44LTbVWhanZV2YrsVujnBP769LwdRK4Ed//eZ7B3khEts80vkckMZt0yLc9BTh9Rtj9mgtr+BoEHPGJXfOzlBHWQrs70qgGEuZaViH+1q2lojkadHxgNXEyAAv1+MmOLx2wbNJp/2iZUD81Bbttynkx7PHI6IqIZaH/0yXex2q2yxq38HRfFNN365pHifMcQsXjpzusczwfzivUVFB8M1urY2BMAt3bNvlrAPhk7xSNJtVIQJRnsfeBB/GjUa74aRp5ihHfIsq2w/Kv2/TrjXwTbcwpebjkMH5Cky6ezhpuWGNkb0SKht6hDumzqivzPMTbdhgH/qTZLxlZd0ON0cq9e2CrD3NmkU0eVWx+f1/DPSMX1YOas4ywxrSvpefRoytuq+p/bNdAKOivhAhx+kJVxtSfKaqERQqc0i0jnOtjh9lXj8m1e0+GJhjMEO6QaAqvLY6LbIovxInXwOQWEh9sFKi8Y0FFrEmqFWtTgbe6IDM3s7KmOlqdTlczBlkR5sU3QIs0h1faqrkNH5Tt8OmiXEboifhW8YsLjLmy1gcibzgDVkc1SxKsbWhO6eqYqDf7FPzVgZaiLNGpYjGGZnJ0eWIfemDFCswq1SUIiExd5txptqLzqxoctMxMhVnI7hzgtjZhuL7QPdLkOtiSo8hbYiqTKGQiubM4wU/pAUzJrCp60w8W9ouO7LVY7lmOFJkKgTbZfu+nfvZyrZ8I3eSqIh0bpSQuGyz+YOL15kxzvwfYDF1XbVXewK7MMtAha8iLFEd+mknQNBXQQ8ndOLkypg0iQYdPxYT3jUm2+TI+ooUuBHdmkgjHDDMk4U5LbbcO//GmXyGuy938ttKShbGVTlH20fKEM83TwkaXBtyS5Xl/F3x8V8SgFbzyD/JfgNz56c6etbL7atExAk+gctE9wtNcPrHvRoXtlTShHMctAcDsGviuwSCxnZKAvlmuP16XMsIXHL9KEvjxxbeps/HT4wVl4xU9aTDh8UZUsXH82Jz/mqEvVd9zfnH0dxYeDTcYnAXYyD4KIlx/Jztg/StwGzW0Yr8oIBcwW30z2FVTq48QJj0DhQUV+yikfIDbw6alVN76IFtcNk+CRrfPzIZ3N3isNkegN/NjAEjh74UWcg/GWSczDdWEUItlFM3un7dxa9RvYI1E4nEQ8No9cvjuz+Vlbfcld28S/9SlDp1OaJonRt5Oj5FTm0DizStOq1VZ44PKXjO37Fuy2iy3E+h+YjLwdn+SsGx9IXSxfpRYUdpnoQjHIactHSjrvNFuaji+Ar+Ah9etyQU3YA7HVCkSDpn3cEQa5hw+2bo1DWmXEnO40H6WVOrqV3/lS7RPBnWFU0TX1qOJCrgYJf2qouWE9i5xPlnIe0vBScD8v1JJp/TnmLtuhq0RF07UKMtmNuAjyAUohRSk0KETg0h0fgpElHI7U5he9wn9ibX5tNk77iZG/FnxXgm0QqIRBkTSv/n4C50RBj0OvyNBFmDvWp6V34U0o7ZgI9VQhmBeQoBSGZQyRzkylY/lXjx4XYFynOfoQ8xFqHWYLoPrGKNlabyJtbIs5bnNTJ6/YmFjZEdazGcptom6FdMgbjt520X7/po+gTm1A8Ma8+xCNMN7KqcT7WAU5QQ8Y9rfVy3FUilbh2afl2EWBVQJBQ7quDVGaDouTxckvAw5+TSP8GkxosFmSqidAG8LYbiu91vjohiRyOrBDecf1GqZ16EsIp9I1E3VLIRYQCFPi4OiSXgKzWdvbFVq1RJLG2l8tYz4AkPX8ocAlwuGYekZ3YzbKi2qctPNUZADDWKPds1svc3pxGBPoF2lDlMIRvlAnPXrgJsSHIAFBXcNHYzZivVLzmbTG8zRMxGc5QGgWOa4kpcT06rAmODfg/Livvoote9Zxae/MRSLb87VqmkJGUkukYe4uBBLimmaP+CHkxsaer0KmUCbnTOKvrptwRT3JtXRvlGF6z9koCmqq0WiqwVOytuaaf8k4rkdhhhVaHHdadsG3vl+v+a3FCtomhFH3yNCqjuBlAaAuyQhV9eZhk8wSkWqSkQiApKUDMro/uISSvJ3wEa4Ryt7xhNAiV+fP24C9CWWA/6I6/Qae9Fr6Xd/xlWlkXcupTHJ/G0JVhQOYTE2zPRY+2jNwbd4c8/GdIiKTLGyIlCi6PKWSwQ74d45JvlJuaEeC4uLyhhXnQlDzNUnOXbjmN+B5+W9BVA6qf/McmvMabNdkP7nmfE+la9lAApsrf/jbSWHC2CY7fT09DKg5HBjTNB1jyj+ohJtfeK03S7+t3Jwq363pFLHH0xqf94J0EsXhGhs3L/R6SzBmLTI0OpSTkM11PqjJU2BXS01jNPZHQJel9GDV2qJZE2Cn/kBdChbW/cI6GIqtBOc4qZChdoN9ZdkgMpDwGw0U9j3r/Q5WcwF7mxTjELyCLtwkG3wWxySPQ2dk/o9Qo75nfxfvkvyYe3ICV0rE5TrrM5bwGkHUi6cmqye+vUXFkxjB4rf8SFo6QXIAa8qjd6W9RQDLd9j3mvZpagBmbcMYbGSnGpbbQtLUQrKH09lCKx46kHlpbbivCgS3x8NTzlF34JQHzVGB3FwU80L2ySZ6JHC1qDvLCOEeFefSNUNetMMXXbgef6II32PhIJuKm1qjA1lwbQNBgbMILyXG5CHisjm0FZAOBO7ggEINLL0iIJ5qpW4qtviJSgaQmeUmGgjwoHd4Hh/wa6sYH+83PPtBz4kMCUinuBSABIEj4JlZzyHpegikbZ93dajutPLQwLRMztfFWxe4fUvJ6UMhiRTev364vRrtOkunFlVWCV336/8Nw+BorvhYkJU5ddr873nRgcxkdlviAohaqJIDb0NVLmA9unw9MXtoZmcCZ6h+1gvHX0RLSjdTz2ajZ4AYZiLDza9TBubmIieLNguZvjYM33kgIWKLbdXIKk2CAqwSoKD4hPDDGItSDnXMQ78B7Yo3wGZ0/887qi9eMT0H+h7v5ENqe0ueaLwJU8F6j2tsrUg+tb5kUIQFy3J1A4IP75G7yTpbOUFxVRCn4rb7iTCYIn+RrgxdFKeKticBZgOsqnQaJEggFQS4DMxb6DpHj+cdrFuQ6PJJbPYnxaytj8GukyHqMrqf0wMP2PRdvQ93w0HJ2CTtgulpNyfJTOx0LsFwHVL1MAQwxQlbsAPgs+GPEcAxzdbspBGH/Hfu7B10mFvowLmy6cptkcqFNV0pUu9w/r5gZhD9oBMRGnw9iD1TKlinLtneGPWsoBQOvk7GOr9IKHmlw/3+j302CxkqmKwH0JSyK8UzWpDuOkDDM+XAq5K4q/c5tZm9DzcJ0uaxosGTLMEzF3Iq65KdIL+h9pNRU7Endgi8g3wiG4WNN1Olp9cfPO0mAs30mJ5ByGWf4yONHCrP55RR1aerGNZnC8JBihwcJgpX4S/0cfKnsdAXHRP6kYDS7PVLi0jG6WhA+t67OrrVGx/4Sa233hifvwAaYKGYpC8zDbDbweg4Kzn+/QbZ5586bMdu2Y+vScJin32K6Use6iNYEDV2P0OuHhvr8k2YBkvsQitETU5eSRVTcwFMKgwELF0agLp4Vkfd0KjKhjKPVZl/RpnBxfplpfwFGYZQID7OsAHWcZGsdXPLGIf3ArPF3+bwk9gI+xmP7qYvkb4HftsfcUFPBuOdR1Gdw0sT65H0bsv7FXMCnAeK505eKIGa7RMaetZL3d/08TOca1YmeZjqbc4aCJVWb59geSrY8Z62miOZLBb1mtpbu7ygDQ+//xP+eMwH2sWS8oIJ3r5DP6e0NQPyLj2CtbKdVC5nFyS8tLKNp4akn04lCcUdWDQnEsRLO9luc8AdxAFmFKIMxSXrtKOy14yhO4LPpxAOQZItReDpyzYQeEO2dx5PSMs8qB+ODf/rD7+Oa0DY5P6Y+OrOpIkJBhlfr8WXLee9odmWgJaOyy0Z+Jt0HTm3Jm63zTNtn3S0pU9x5QAFVed3unkCLNSASFFDJapngh+ol0GQmV5fbWvdL04juJE6+KwMP90hj0N9rpQKv2KovKo+vJSzKHRTpy46PzpH3/x3QFE6bRjWyID0jslEfUwXfDT5QYusDCXmOve5fqvS6iLhdlkwD7HVshYDlLnh8ib/7kydk2SyfSQPazOk9zw5su0GFCs6wMJdqltPBV+s+sLg2v9XaqV+1diThNQrmXM4KvLAmGJT/5mGZbuSka/Or+2i5zZdvLUBDMN4KNVXXuhHPhFBjktDrT5F//UVtKpGiCUrD6Z4OW2rRZ3UjVMs4UxBL0UuXxJtP6K/4pFk/BSEsffFV8UJr9Ymon4RYiSQ5VF7HlX9G98xcbXxz7Ud5x7fbINIaIsPcYc5xQEJI37I4Vw3R0nCnc1NCRVceSXdTCpyXxFdcHpm3ty6PtE6jhzylu+SwsDPsKvynuXw0QqHRIoJU2Sf4LMidRIfKFFAKM3vfGo+B2lOiZcHdiGZAUs+0O7lhs2ABYL+32/VV9CFhU521d+TaoclMtgiHDuQO0GnDvfXlYj0M72OpJUnwA+6S0sWvCJvqkzMJQGu/GvrXG1CgRKV6RcNHL6COeGA1hF6vpE8BY9jng3/TrKfBN/r5pmUMTl3HptOxThPdvLMhbEGarGtbybocFAQuyF9+dLkeTOmEcWcj1XKUBq/oDDLWBDxrY+yXdD9b9c1f4FQP97rryJ9KBCxpbP9GknXhEdG1wCj3gyYH7suJqmfiGttQEOTaZPL2NXTEx8DzsIwdqNiqa45FKepF7LwS0M6Il+mUQw1CQaj4dxmkT2tYGtZ8jeuNpQ/mJAvAtKXHsNS8KSrFTv78Z2jpNYvI2UK2ybYnUWbeX0iCzzctXCg3RajPgSphJMsYExAN3xlGs7gzR6sBG4DK6n4AugdnBq0V4odLtxPXa3jWMKy5N4W5kVfmwvc4tk/NFvh+Tckm5/y5EmzSvHBTxv301uPW/31rGVHv9Gb+TvKOcJBlrW3Rgj7ecOfRa957PRWOiSHtvo17p/PB+XQzhnhFLYFt/kxcUyl5bSLM5+RWwRh0jG0l4OpFhNjXlI2bs6yB59vu3WTU+7rquCHyRikUbpaQdnS5zX+qInbmLreXe20Xwl0mi7fHjqtp6eikuQnv3DMepxzDjBkTPGiWT/4QQVCLxnxBmXztI6//KpILdRrXcGTMfo+/F/AKzjQvhPbKMqqPV6TiEHC9mKjCd3O6gKLLbRRbfMx0O3XjNindMJ/GErJ4DoLmcqX4VYCZL6PItbknpqwTIKKRk4/HuRldJJBKKb3id3s0ATI95f+3sTEBPyzSIHSLHo/1jcZwJIuGtPyg9ar53ZwniRVonrEOc32mZGlMBLHkcM97C4If0EYMZs4I0BQPGCTBanJMtlDL8ffD6plzXWOdv4flCJ5QJKlphYo9xnw6hPoVOhC+5XTTAyDfo9zgLnCxObDkTQIbiPYp6ef7Z69hGhnlNI70AvcEzPdVMie0Csz9HDYdpOrxtYVehtEN+RNnmHabZ7qEt0ozRX3DGdfOjFNO3Tg50fGPZ8MPxd3dApd5OmJl6XaRMlGDBHVwlNTt7SnwhCw9kivGwGT15kK2m5HK/6A2rx4Jr0cKVn6/7MMkLE93REL/DRAfmiH+doKhfMrcwgAHiBwIMYzhHEf023zuPeZQWJbxoLmWkX/Ly8tpSJFuvpnphst6j/G+GgrF3XLqIZjJ5Kpz25Bdmgpx654GH25BAucSJiWJ42jBOywmzDZWb1v5UiqfYFPNdCIv1RfdJlAp1zHobATYmhzcvddU8Wl4Pc0j3NELKKMKP9D7/UC9fVlOkOjD4f3ACMVh3rGzbhsVQ70O2wWbhuRYnQRdh0sXvHns7UE6xdhG5P9R7dPpUt9msC7X/x12N5wYDG6aRqFT1luepwGm4+4DyOn9J6OBF2O5bAmMA9MgjhSRFTQ5N7oM+vkac0yr8YSQtLQ+rMg7cqWrckp6f0ps+QntiExd66eIlYA7qkkiYHyc2bs7a45HSoNMWrnTVd2iZ4g8/kD9zQbBJfSE6J0Y7q34yxPJxD75Ky4NGIjTAyAPyIrZOGAfO0SwGnTNsUw0puye80rG18zS+WutoKKeCR18u4pHE4or5h8Z/8hPYC1w/pAj8eEW7ISvizQrAhvFMx+zexXV/rq4CjJpSO3RGD5cZb2UEKfJk4XsdlyzIqeS9rIzth1m1rh0nlgl6NfFG5q3kdYkYQTI8aak7YwHp6PwF9fkl9I6Wvad1FzuCp4K5aQjRxGyRxuZ5vLIVNl7CKY5RANEeWyUmD39ydnrpvVaRQFHbYxzNCmTBAXq8AKdRlbamm8yW1Lq5dGBfbH9TiWKNUy1ljmmZRKXA2zkb49Y4+hKB642iXEaAWthdifs3kWGoSz3UdnA2ziiZfVds//ir6V06DTluHEIPmmajp6MjH+N83uKWY3C7Kf728iYJyh/v+9C2S9ICD3EBRYPz+AcpvheP6MJhenj467yHTUKL5q8dtm4yYc29+o9Gs0LVS48c0lntM10tXrpF5WpUf4lDoynh9uIUI3h2Y7jkk+BudRHy34TmMsp2bnoU2bWoQn64fi23u7mG2Fh1/pappvoK6OfpFzuWROTUXNfHB56HmmHC3dZdD15/bpJNUC4ZL4g6DFNNoQNMdvKx/pLqrDQww+o31nm9vpR8tacdbdsIYEhwCJ5vCGEoygsNkb0V8TnFLguLD1ldwKEyFPQNppzKPMALU3NZfivxJO6N1u24B1FiOLI/tR7G9K9wqz5asLpjQVrtRkmWDybaVwoL5xrZQxOp9nkS1i2ReBk7u3mJv2Ch99DlbFyxMMbjG3eue0psCgoVKK3dMvWMDxnQwEga6H0D7JCMXMsuKxBSphFuo20fbFboFKco99lafz2ieWpzhjjSDbzq5JBRBpz26NJmNUKwS2WI+gJOzyst9pSjlmJgdK008FkSjW9sD10h337fKOKbvxb4kurnelJY8YWdbniaAZvHTSQtsORleBt0tZkusIZuQv9PbVXl+wUi05KWGMX8bwdAF1omZCaZAEtMo39+FSa1lDAeYRt6Zad3cXr/mdiRDyBp+dteHoHHC6kbjmx4HFk2v1udRrva2jh8YpBNVKUZvInDQo3G+7XRBJBcwQUUPODLMDKgUHnYOydY04NiE48O0Hj6NkPX4Wnaf1zxecMSOQbOZHZaaKL4zXWKi8banxqFLKzYz8RhZLyLiOAf02lfugulJeT/9jmcZqLqd9tZmvrcIT68lW+WMT0uy5/2lRvC8TC0c7sDvn1ZSKxziAp47qW2ueyT58DLLJ/5at01oBp0cMg6W/joyAG5dDEJ8thiBvd32UXhQ+6b0CR2/MLpIG/6Jz3GmbeCLac0qo8bpacG+DvESNkmi29OwL/kx4lqz8aklcHR0RorHtJDOBC1pOPzuyL17lN9ia3/GiylFmCmIxGv3du9MPiiI+rPuwtb81qXVvMniHc18gmAwJ7giaV337mOX7VGPmCAcDe3UID/ckNC01HsmxhNvQl+rHb1iAzoU7bEf8Vbze1Q4gmox4miV6Qzfsc6aK2YrrbvI9o8dqTPP9RFyyUzUA7zvy+DL/JtKPX9En/FoOJask5uqFLZ1ndvs06zrJ/XnDY9DaLnt6xQdUZrI0hyTZORcuz+2Tl95xewD8aIk5uPn6Xee0oEyR907pzG4awfLkydeweJL6R+EkjO3+O4MYpN4hQqx7JA8g3c58Nm3SDchsQviT17t/7Zf/qY0WNpRQbUJU65pDwv0miiJe9d+PSspoa1ZliLtg7fxhnGp8uBRLzbV3DW+YcyPpz+Gbzc95n39MlKH3RRP8NzVGFvBQ+E3DMF/f39K/c/0IrwtLWnoRPWWGWiv3a03moEM6aVYBWE3EIXqP5JLc8AoN50apQzPh0LBTq7b7KKZGV4GA0en/O7RH//mCPxK+uj5hZCoK+1nTmpWekxG8uIL4iAMObwQtUbE0vGREgKZllFUaQIVIRPmr9j8OHUT04ZOMf2YsWHIomNMgM5v0w9vHtg+5XXRFs8bspKmkXEKqU2cxdc7qcF0rnSr5n+sAbfPYSi4ZwM0JahBrjiZWd84lsU/LNQaBbGxaIeoO4GwsMPjy6dYzUmGcoEuXTStaJAovI1ojW2hnNlEpcmFYI+5fT+SbWwRWrP65wAoPaDiPSRnxYwm1gEF5s+9/0hZCd67SgslcqEtufnE1+O9oLZ52aKWyCbmZZLql4ly15CMA2yGO5rEln4Vb+ONX5mU6NN7QOSkQQYrG3Ac3oe3k1uXup715BfsNCIxQFslfa4tn6rQ6dvr4TAwEYhgytYljMuhfMtNi+CMSRrHeTghL3YLLI5+S6YiPgq3kOCYwG+YYfOt2QweMMMjEZtHoq+8OYJjENmL3cAZz/md0WAyISyV7Oc6n2vURPPxWXqPlAQd7Pr2O8eIcg9dLRERlcDmC9XWZsgnqR/6Aib7CFM1/+7/qmweDWhgBxVll0kwCjQh5WyDodYo4mB+1hYjDw1RTTKimC0Z46MFziv16SAULK8vvEYuqJ2TeccgpqMwhwloGJy+2GKQ9ylzn3ZyZieIz24pWC0QYRk2s+bTfDzMMzg0PCCHOKopnSNeIXdlLTH+bVzIYU1NhlIzHy/fsJefPRkX19/DIT2tqTDWyHpmD/0vxJVkiqliLZyUy6KKNI3svxSBIE8ecY2TXYlwGBcIdZGvqlXn9FLPvVseSAG93UIjf+7/8lwTS7Wa5rTiAK+SLrEnPz2rw5J8u65pyYQQs+vXVXuwMKfZe+aRcUthVT7W8VzeojceaRURXzx90XfbZZbriIFRh5cpTlbgbzVSCPuyEXGT7iMvb7BoQ1/pYpqZfVPiMI4i86t0KLVH0Mpy47zfpnxr9SXVHeb152ufxbqgKeCeYjnqfDHoyggTjtkNQ8Z71hsbRdpgXSWmDd24ZRHnjmVsrmeuaLiRZYBEDxJ4OeFqdtEL7nd1MF70EOEdGfuVhe9Eo1fXrZ9/kGidQnZmISORBPqNbWDvhJbsvyt0hqjSfVewVJpK6Djexhcm/iOnFpiYoLjZoFZwgabDyEFVzRLrvgMVAPC9U/tCYMgxwvJv3OewVSKeSGSuBT3/7Ny0f9p1giIwQWE0prgYzT+8+Qr6a8COBVTjnjWuWM6cP2vFQ2GaFJbEeiXg/Jz6O+gtAV0ojkQPL4UGXzz9OX/QvOckeeAoGEqSzl1MXJlHHqpmDAmcBxwS3Fg6IOfAU0uKkS2wfnrlctU7qH+VUVuwabmA2dPplmIvhqPh0eQep0x9y3XJh4VjySoMENWc8UVesQHFOWb/Rt5Yln7jatBYkH90OfiZzwfxVGSvtNX/ZQ3BxtmCkArTC3hOD+CjUgRpTn17Zo6yJvPuy9NvaW9HPrSqgAand9Eo4KyY+2SjEckfdcbICvfcIRxZZwUhC6FQQcYFKH70DkQqef/YbSq415+hb2iwtTsEJ0ajt9B0lRsUi3etoFd0m6dlgXr85wiLMDZR6LEM74MeoMqYV2ti/3dNZqaQQkOHRCQpNhFla1WqffBgJB5e5jZXcuzzx2SyZT3dI1bWpC4qaGYZUKoB+XBnVvC44Gfoouqux8FInyyyfS1/EFaFOkwnoEc5QbB02QZBQxxuGzGgfJK0vg0wfEdoZJmLPl2UfHJ6aTsxNVs3EWBbeWXCxzJVR8/n2XDz/TAuEWoRESpmaAJ9zHWTQZK7yyzYDB8WcWTvSeTbq8MWPuWecRkQK5BQsmH9uTSJx8rmFiuClQKfqE2Rq7bEmVp2UVd3KBQZ+Wo9MSSa7cbEH3vED8LPYVf4Ln+Yfy56eA2OJVppFZkkk9B5IqZCCTFxu/xLw0ymaaD6VR8MDBKwAxi47fmiRYM4MbdhZ1EQieIx4XIhbfoNJLeP20m38sCivVPNv0g2AraEryullVcsIR8ZzeoMpISoSYT/0QRDyLlckjRkTo9A+XjKi0K6f05pNFhAryttFmtjYmq+82VZUggiirk3GKuoPScI727TvPvgV7mG3NfAMlgDGjrxqBHyIqU3JbDtq79sZFWN8pscwr7jd4jef5MuPi4Y5yTibCzHVdE8Hdf/x1RbCElLATH8M/HWbPvvMskLNvZ5ODN5jcHqUB3xsM+WoM7vfyErXvedVdWHGGkaEwcyTgaJtiBgbHLCR2p8Xm3CQmYe4JQ6fUmifW8C7uXdjF62Ru6t/sjZmr87GjmBIcr8QbgrVBMc5p39qnz2iWZLC9Zp4j+/Fki1Vvsx/ghtjZwC1qqLL21d3JC1s5xOGPNIPmncvkIUqO2A/cIB9CUwEUfOmhpYgYxZAztMlL0+9/4K8eT9aiOaFBtipLIAgMAl1+vIaMZ+VTYi1x2yACExIeV3Jv8gieQ4nQG9hD3DD+ae9zeuaWSqFi9FHIjK/i9xbZv9d6jLFFziZfWXopo27xw3w5ZJ4zAKnWfDl+W9Wdo8VELcj+rin4ysa1hG76ByiNxAcU2ImYUSLqILWOV0FfzE6+x4Tpcm5/ZsPNkc2lVgkUdsqDyzAPTqdQrKuTu+z64QINhy+pipsrOsA0H2Ij3osJqFeOuLEsanptMQ7BMiqAgMc9eaBJIlVltQ1ijOVnHMLSEbkTPQCbAFyhOGEVQ2Wwfn5uZvby8GLAOiqImd8OfR08Sm0jigxbVN09mdmY+4Oj5oKPu1axA4xkknE5I9lczqeQULYPv2VNUHo7RKoCa+ZaQlVRVlym7acP1URdXGylrjlz5l/ttQ0Bb69u6McudZvY0hga0z476Vdh6iJGcFw4v2SuKl/VIRiO3g2nuccbpJi4ii/HQUfLiNQNRUYcV7KOZ2b46oc1qxoTVSDWJB/ZxShWXTMuwuy+AyjjRe/G5D7RGrwMge2xmvwjQNDDw24hqNk5Qsfvj32aI4hysN8HG+ioYh8afsjPnNJwU5y/X7K/b57pLgeMFE0P8/kXldenjWM5qQbYaieCv2ejPWw+6BZnqRpdM4NnjSR2h7o330QUoKSRDUoK0pBg2uW1/1U5eK7D0Kx7piOWB0czCTalY3iqE8NONjbMf0a2xW6m0qAZojcEGC4RekbY4+BEprXhc106dnQTfcD1q7MzaRJuw7xy+RGfUsT9gH+MR3pYUkA2mMOSJr0nRYR9pByjpG4Uj45owXsqT6KlOWzXRlJznXPRY4qs+sDM7gSc/rHQc1THStWCqle089dWiZJPlSek6HjE/U7/PY1C2vvt1eXIg7PjCIZJGQ3+FfraHnLTN4G7Tw7A54BrLBLzAIP/thYaLA++Ggm7H6DeZJ6hktoYcK8Rg5ZfphawZbIfE1bp2eq+/zMIrDBf0U9lqKpmmrROsZngLDs84BS9mhMYtisjnZPzp4ZQ3o5Mqd0uZOEVpxse8uad3GEzuciYM2mAA65xpZbHyn6WH1HN6hHlLP4XEWFGz3nblcTsEuksne5X0/n/T5bzNPD9HMWw7JleQXkmPKwsj953I5o5sLbYQra0QjZq9MCoXB0xQ/8xxVRJMZpiPTlx3LpnHLPaqv4fy93qk6ef75WjgZhIaeYjBLugZc3wbPoVmJjvSUE+SJ8owiNn8gu2M2xHMs/ZXBMZG7sB3K4slDWTccqy1G4YiILSf5vlDdEltScN+oCxCK1cuP7Ov9Q4GeztBzpwdXWQSTMkKSoV4MNapT0PHOUhAgqszoSBfV4bgb/h9khV1XPQTgHqhgdx6n0HZr2EH2oOfWQSdX7E4f/ThRu9YIkhmLwXkX7v2qcn0cAbQAZtePgRSRgr95bQOE3UIBKJeMhqOBaNk7jPwZwGCGDhp1CMV7QekbiZUNRg/klWurbAiwPnAtOdOR1sjDaET4H/kTRGjHu4LOQTqgslI7rz8+JyZgaHLl1b8cV6jqd5+XMfjDrqPPk4d4/RBXduboP1TBAHytrdhM4Q3tBOVypNXK7L4+LjroMkp2YLE0K7fHI5RIYcdR4nC/c8iOn3dF37/NCr0+HRGEHcktU+9SNuXyNYiJh1zGZ/hMaACTQKyZLFUicZAmO3CjdOhuO6jbhs1agdN+tWkdntaaUbDnxgIWX8UnsLORR2QIhDAfpNyz1ImENdLFwctscS1Fg0Ca1VD9VemZWZeaHqxy12CFpWmnx/sPu/o1WzlrSiek1b34kOYB+I+PNzecI2NHuXroA9gaMr+rQSrR4M71rKI0srN21Uh4h0XpN5FMNpAdDtm8wFzfYPW0BZSe+OlgIHsSWFjvbW5Pp/6uNxgSbCGmTcOyCfsoG3YIDGFFMRMUy63NhM0HHKMRC86lwuX3xKrdtgs/HcvoAijnVO/zkx53+D9B9f9M97jF2mAe6DpkGZgXbmh8tQjR2PjAzC0sb/C1cfSa5LpOGf3bBHCkVIqp7D6DVyMAYxThPZItb9zz/jkxfQgJRHbmOupnGm0o6Alx6pYyJ/KKCgGnBibucvQ4sEQ1nmDkRgBLO6BpYGMY4ZqL+vlnU34Uocwtroroz+ItWu2rxo2m9nlQTvD0ugBHo3Nl9Np+ODkBPLmcPKcKaGRdgro2z2TYXZlET8Qx0b/dUDrW8OpCxukqHWrwPBpbONabi8PyoI1QumpfPgfReoq9TYpnDlSQwsyrO65OQ1K+OtVozv5JbQKL9vzSUN6WjY6wv7S0xg9/80OLWjiwj9hVNF1PXwLbkx9l3G9BLLW3oZpbU3e44MB/dXkfoBJhpCF89tyLIR/vXfCH4m3TJOnAhZOUz6S12uYcxF41wPvywLmwTjSf10ArTwOSZp3UAG7KFihus3zs06lQOXmqNsPNjG4Ktg709j9k0e+YtT5O/ZiWVo5nPOM44pFOyfsCpX59UI3AzCE81Iv5kssiMfU6XPG7IqRgy+IGnhJsaFhEJeKk74BhBImrwV0TMWE/cgGHg+igz13ICRkX4XuQWLdWn9gKgFB291cBHpSX5YuLx7oGOg0BZ3xgUsUS5T6RoeRiX4UR57/PIU1EhGToDurw9ijmEaSTZ19X6xgfpgI7Y+kCYjWTLZEO9DteD5k11MmAvuskd76saiv7GFPQMKjNswlfU59Bm035DYxIQWqaNaCMTUwR1bX+RCWKwKQQETtQEDdCP2MY0/hBoPcEepx09yhpL+Gvkpx9AYb1vQ7FFPkOyGCwt9/ayieq3fYyL22csB0a0D0CzNA72o6enRMeYTILHucJg6A21tB1eKF1LWX19VCoC0xtsELVGa/UOubKkwAFjM49PAYE1SOpgdCXfWSGVcszMhx7co4pnNiimpPBcY4NDSaFXExJ3oWnxZ9aP7P45yNO9djluFQTAz9moxnaQkLJno5mY72uhRZOlOi4i95NZGtvngMAaaPkz+wj/tpbPylHLxyhJqPQ8LgJSOip5/Q3z5U7R3fev8idomh38bWaQOgmbo9mHJQOaDCL3rspQ3tMln8XJpsBU2RTmGLtoDy1FKfUDk23O9ESqewcKqEBXMiB/qwYBLzNu7Dw8Qjg85BFyJFnycMGTYOE8M4qBreSku4cXSmt4xnYTL7QQBVLqSe1hu1YhO8qCWXfWgaJNreULWyhEHd2l1x2EoYV4fMg/P7elzrG6v86rvZLuVj/oexfFzovnFqYKHa58vwdWt3kL8jHvK3ffooS2Vj7IsiUOtWO/vnmQyU5tcdt3vmSd17lw1H6Z8WnR/1YNNy2LoYm75n/xaWJDxqtLCmxtje+e56HRdxnDyesc1U/JXQedkI0ODOKfCvx7HJJXOraK6lxyWBRxiCTJBlSa9rS6sn0K4BLv1KWAqbzkBThK2S1Np8pkOFUvl+peASaD3jP4akNWiTCvzHzarbzNFjkFkSUpMQtoYw/jT7wWS2rDxxqMmW53zL4YSRIF0Em0qzwIF87YKBM89vUiTiVljrG0CnY66+4x80vNYV0KrkveB/zOmfhr5PUaZTvQHl7GOlh0BQ8C8kHojFlpRKbiIe1RftjCoSkfREjjCEcBt/gYYBCOvesPThsZ/4Dgq32xjyeJdlMRIacILBEhJRp1eQJhSW/UpH+/QraUCaNFuYCs4Tv6U4wahoZ+jElKkIkan0UKYAI1NWN7hhHH5LlMadNPql2kO2PVJQdSqK/W4GCv9c/84VZbKXXmj4wb5Hwk+nEc+4bdPM5Gg34zy7htXu5fOyF/zZSdItYSXjHPto++1qaSzlBsTmfMh/YcIxhqlW0ULqfdLnstnnq+yu3r2TdIIj6kG7sJbbkKZjzhsYqSj6kLQUXaW0KW+4SuyfJq+v92aTFVkDvbXEgTO/zvzmpUgSbin5Wi8/EWtvc0+TW7mIjZf2E+7/QI44tl7RjZ0ycEka0prstgHx6l2xu+Aj484NrXJIBeCIYS075O+DXzz39XILmgrsszpyHgIUTsw+NxrPsvgff8muSUaoKfoFA8iS8hoH9MpVMXQ3TYMuviELNk8i2SZq5TCxmwaH9C1QtSIqvBsb6R7WHR+6ZD16VVNKPtH5XFdPFMeN7Jb2W8X2WTTlIvb6pDfXgtCGt+4w0iD+cGYpVJ5KEKbAmAQnTcTaMtn0y3JghSRnAtxN7xkb6ld6khpm2sbclo7D/xVTbrMi+VusxzlJtfSKYrhRerF0owsjTkTEPIh6MsMQQJICnFl4RzET3tdJ60FdtAvmqLQv6LYOcKM32teE9XVmQRoJEOZViBDimFTfZ8LShGZd1UyO3iMNHj6aGMUR4PEwNUNGTmDrp1KdgT7NsLV0/6fYlx+DFCZ8fXqKc3kZfschEHnmGKCe3O5un+TcKQgk5Wu8RuUqs4/KcYBUxuIb7+rB0DDKY8oUsXulyU6tpF8/LrsqSjGogpLds/hk7Y5Ow3TtsEUnRHGH1wl5+8mnFXpiluGkYNNKFz+FrA6z4m0gj21M7n/bbnKXOA3SJwEtpAHKpZoTDet5ayAxTktbXpnNR7pzmuNuqc12PDEIA5zL6L69MjwhELM9PP5CroSeQZYmk01aWPJ66Iu/b2gefhXfe1vEuc1Q/3fpyTPe0KuSubRP8t/woGtt8LjR6ZwX3wS6IQZpQtzF5kb/2gpE5qqDwYobvuZq8+NlottiCPNihmvJ5hPbD5knUkYCRtX1onggPL4i6gSg24F/8yAA70gIPRpbUd7BFJ0qVEAa5zxhBA1bj16nRqw/i1XO5W+RC1If2yCoRrNSDwTBPdFEtxAZvQUmWr7pR/8NxFv7kdg27shtSmLzMrhog5qDGtvyCt+jqTNS5UNpQlYd0NBeliLBrg1Srcm5vBJo8JiXntpXwG8pRt+qoSX+C5K3eNZgfm2VJg4KcOuhGy/L9eVcg6WvEvrBD7rUlTx3xn0DYT3s9XPY8ixMv5lLUZPcgWk2sOtR1OxO0UgQXvD2XyqJ+1qFLiHVU+Uzgj+PDy6Flfqu3IuJQ9Bwq0/4ijZl0MHO5AK4q4iBtUAOIRLZlOlH6eotTrT+yUBfhi4g3EuDd0iFsKLZgEHlVl2LkbWnHfYqf0BrdjmdKjQsc463VQWy5lwI1jlUYyWlfdU4+kRRLgcVJsmRO6PgXbEzcIsuDGQQ3mSk3+E/K1KLEaxl83uS46KiE9Chbe9BpGdMLLxAfGbdy4kmQJDJdazlejxqj/Kd3IIhVJgaib5UC4m4N7pWpate1h/Vws6iQyib9VOw6EtSC5EyVUnqaNSd7gBuIMqUAzJZ+KW+KYeZUkU0GRWzg5KtAia4AucXHJlbX1LUP/R7uMuuzixkFWjV40vOnj70AMoWAH+p0y4AB/dr9UMBmPHJtyZVJE1OuqxPXDx+T4xTGGUYVpE3olOTy1nt8p0Mp3SE/z6NkBYIxldW+0af+tZ50vjJ1sEM7/aUIqiTJgIIGjXYu5jjZo6/Z//emHi4ln8bjtux3YeZD4rYWTLQfeNyfRz/gdcdf0ExzJK9NsD4bV/s1MZhDmk5qEENBhZMScu0dWqRsWGBp2mpXYveds+LTPLKiq+rgbjersCAa4kYN2ficDZXHDx85NANdnTCjZlRwkB4UVvNAeI/a5YZJ85GjpvoOLR5XKWC4VbyJensBy77irm2v1bd+o/s8AvaVvXgzEciutgZTqGnEv0QgVBNlwEzE8WPBCzSfsN1lvtTx2xkrbIIBcoP46jMCdLpqeQJ84n4OWvjHdXs/3BECjtHNoqk6eFcKkJ0uwHXiesTvtpRZu8lVAHxrbAV+1PSifm0SdWo6swJ+9eLDqUsVaPI1bBAS8a4M9c5Q3BMIZWct0sDLGkQgnEdTOQphLMrCRBaQon36/50/WV+jVmpcqpfzX5qJFciXQJe7oP5WwOCx9Yi2m2r4isDS4IIYWrNyJn51MDGcukljxK18BeZHPRe+jY1XXPTsDfM9rdA8aL/QPOB5lqCp/rGg7n22X/DBUtwijJ+ZWCI5gtQAaQoYhxb4F7S7y9R9q+iAdA2AypG52fjJCrQSGzYcNwE3EWt73a+3bZh614EmTlXkP25186wIUBhq7/YizTbOLquj2HhouMHSJMrxjQwmcIpx/4NvC6pCCn3PHfusrvbsho1wiTmtq/ItTWUUjBuz2MtVggKT+5h/rA2gDv7O/RIacP2kzCsYuvBqxPKALpGe5YSuYa5MQcLB8jUJGA/qcCbrncD1MfE7j/sX0FBqnJNpwKvKLKZOFzl+VfTs9Xzfm2ez232QeWFhbiUwrUCPAQt/14lDKqPBZaap2mXZtw+9jIIxQkhtSjkOQz3Mn4KNhp4ezZ5/OBbP2qdJ5BTNSc8ShFImLovvV2djky4DyujRYM8Ez7EKYlP4KsYwC0mkEFkSAX7nL5vFLKWjDyUl8LkFhIc5ohfj7CoUyZHvv8agQBL6RpMhTUm8l/PtImqRRf3NNhtSFLp5MlTmuxDy6RHPTpIVoxuD1L/XbQbcAtgNU6b2ITJ5m1gygjWsmay5XEYk74PtnSd9xhkvmU/LpzAB8ONZZubfTOqWNEHdk5i3JsiYWNFhYWqRl+QMb/by6DO5qlVNG062STNw4H8aFxty1k3Ife3F0abogpR7LUsPyb7XooHKt6548JGSJx1Spsz/eiWRclVLXgCkiBTs7DOaYV7hhT8u0HwzrRjtcNdeF7O+wa2VCMuRCrSH7QTmSLSwwmtldV0AuWZpo3Sg4gxOGG/UUqA5iLcnezLNQDL67eOjJAylQN/Z0rG7OFJHiqn3oMGjDJoUtvLHFeLzCW1n+y3LC+/NIStB06swx4WKQEgXGx9KWj9RpF4GA50sgYBvG1xSqLBUeEcbA7syBgTmAF6CiCrnji8i81S2ZLMhJasIiGSNuZmo6hcmSEzr7Gt5khMPYMsJuWX7UpoX5eKvEsz4jou2C7DB4cUPe8K2Ol6tmMZMEZVH/89NKzJBDeTdd27glV2ZHJObmq/JQEX9/89sDGcjoN82K58eaSxvSnCziaAL6xLZFmZnIbPofk0GZ3yal566EN7nW5hOE8OI3RZ19DjzNgiD6eupIeYthnZ0MZyuKNuKCD5hrWiZcwp/e/npbbbsZT9u90SEb/OgtActe2MaOAdMqfHnVfpUjhPMtTugLIzvjDJVjlKnEHuZuHGd2dZw3R19AquViVHvQ+/P0Hv4jFGhzgZg9brx5smW3Wv1DnuLw6b/xzBO4NLZ2fnOR7gN7ZI10bgOmgkNKr5uXeDTblD3S6VlFfiFXXH9AP5NIRZU59vzbQ5TP3KollJGsSkYAMmV3miUvk/XFkJRuRZdxO/UPhlm9vHtO2gyJXLecRjXo8BYFvqsJD+P8Q1w1IIrqc6qMiQqIVwJgAk9Oad65qrpHiZP40HN5Dn8/5iWbi4jSodEkYjDviz3GQAPQaauyJgi5bgAadkP6uc7oIMWmJ7S4ve6hZSx708OSFOBiMrwjoGAFYTi7zOHiqXzpGf6ApS8zegKyPmW5ox3CMJksUS+0AgQKMbHS3mufGfZKsaZgrvtorAHnKTco3zrRBLBw6+tSJerv5O3KRFVoqzFjJAAlqbWsTBA32yVHI/+HBxy2JQ0k3DoWRDkfEagBacvbsKOxWo2IBqs9kGiMBkRhr7Qc6u09NjGLAdru/+9o5Ys+QtBe1WyX7KGzOKkilAuxTdGKIgOvBN80D0Il3T15iPsUQ48m/SlcZdZu5f6D+drUF6NpsSmKTV6V3yRHdT7ToEq0/57VJReMku/TNDac1LKJMd9NjXTl9FKf5O6slrZN3FzP/+LC93Iv/cN0eG27r/z77Pl8ZVtpvznx8Q/6Pyt2tUiirjY3E0eaLDzr+4kvXwLlOUmlU3lu6estisdMhXVQZ+hJWlDPo4LoIigripqT+yVFWK5w99oWWaFSWlAdhw6mH304DxmXN1ImW1pi/xZ22MjFm32iCW0sxcstgMu5DQUzvLdVFLhnJ4hNPhpfBUnnDbvrF62gvGkMk7KYzz2ZDbohBKuehfMMF7xn70xCh+wKtifY3bi8KOzsYAsKgdJNMWkQkrxiUuDMQyzRVwdFZgf/6YOJqKOk99LKSqMKqZB6yp1WW8upwE/orNRIVq64QmMni9pQWA+gXHygdZV538WPwQCkA4OrWA5VXS+vdyeIkq5B8kIL3PChTH6hR271XiVa+9A4fpsEzs7pzWtVHPOpfSw4F/DBW+YR9NEhBCzjdexnGA2gZoVjfnID75o+eLW0TyzD6VqEQ2uA2Bz644C6MPgZ/+vjtpo58YJ8nqE0DQEQOY5lgsYuJdJV5QmIs4CuSrIyN8Cu/7fWlvASwTreltXBIPwlVSUhqPuihEYFnH0GwuFyg353qZWzSUdv6K65lWoU2DhAifuNmAHqLJZAZIkeiJUTFJNwkkV2+IcDvV9I/cxylyY69okSgvyDAmtT9OwYpU5HMW8tL7pW4eDgZOt941QHbbj/adMnZkScqchUehBjZ/j8esO/GYNxBB9n+IVGCtRzIjkA8gZ1j55EXSld0fZDm1A5WcY4OpK486RbmFHhChzsE6sQRA0ewFQK/UYxoQshnymXwhbQg7RX/brooA45zPDYCR883P86RJsqyRnnYfN7oFyZf3QVavPn/ngBCgCaDiPeCxIE2cGZIdVf0WNNza12qwlOUwSinA1F3qBuJaeIQDvbPodguWBPPR5kBowJ86UQSXamAOPN27d/Phm5SIrDtbxyQ52udNUpXzXjmWPbQFkYJQs56liSvdWr1e1Ks3S/BE6wvF+9jttfniaPHnNnnFsKtWrCKnDT7avyNblnU8bMve2zdXrH/JWWTpG93rSFMqDR64mxGZYuOYWpwXroiBa+/i880wLdSUyIIBZ/xSA1RNdCc6abtTedid04cxjxC/InOcPTCTOoQLalUGlTkE7KyTfhYsdyK83DqThUnJAseeDeDe088FjjGl6oVoY6tSvRMN0vncXN6pZJh62wnT98dXwzUSMjrSaUZj0EzNJ1406kd6R7JB7TjBrokk4blL/rTc+brzit7fTL9nvWoHDChN/XdlnPXhK3onU0W/8yv4pMfowDpviF5j4ty9GErFU6TtofzMI0lp5J6pF0zTHsWabUBEQothuvgcub1+aT8wXzrtawRPMYQFCsAbU7/foGqGBN5ixyqfy2/0p3iRoKjninwC3cfS2lB7bjk+OqWMxKIsZW7Rp1B7Zp5QSmghF+He6m87RhUl5oTmix+FLL3/qkhUr4y8kQlinr08JNsskCVpaFhI/B5j+ATG13zgRNXwrbwh3YWW9W2fR+P+NvJYV6rdB+OsnB4p5YwbfXF9CsewexBxdkYzuPc06KyMtCTB2K4Oy78hdYVD/ClZnvvthTWp+DzH/vfcmnTQ9mtFbPDbaJOD+SK3mCGYxI7ywTt3TyLwVDRQCg8lD0zb1BU98ubHax9jidFzrC/vbrcW6K56XXyqPp+LuPkvv1nDXvAv2NAP8I7u484PBMV2ulU+sbiJ01HIk4AAGafl6Ub4yHdG2Rv8k0i0Sjvz2LHFT5pqaEYRp2BcOqY9jnv1gssgBV1FnaWXxQHRLLVL2lYX+GyayRdwO5bfw/hfhietkcgdCaPejB0qRMbEdBYqlKKir+UWONj/oLA+lK6zru8N9zdtx6jEorUbcZEJOB+rQhEXVUBDrqkIHq75+lL+C2RYhZdGbTZgTSknnLQ+Off4yUnCrTfvR1aTqkeM8ltfpOzn0eECN+h8CPu7cJUaxlSPi8wnCJSue2Hz7dIcJpkTwJm2OmdqEuNVsfpZ0hiMoXCvBt54ChfSB2ptHMqwOA31hm6repRt8bJlosrtq7cjOZsGdxlz1KE/SgVaMUyXFtgkU/BlPK9PX6bZUV7pGI9zs+OOOOiewMozvuJP7tJlnmZmy5qzD77jMydscljlba7iCepPXOlyqvOTVZuJ6ZTQQaa443XgwmceVwr7spAkeECep4Cs7Oeear5PelJOxJNI5auqQPFC4PAbWvijShZ1UguJlZATuZ3p1hNmU9bVHbTkuKBotdNI/LxYCH6+5NM2z9TKurNaJW44+A7Pa98PYRzMLcx0JEm2QbIsNtBgohQI77eG2Gd79apVnzeLy9h+vRxyJxVfgsGQDVcHnJ4wHywqspmMaGUxOKIwEa5O9hHnjsj32evNclj+aOxjdK6bP53r1zYHMuX0zg+i3MqncdAIe0GtdtLZb1tUBrcgv6pwyT744d+fVeGmQUqM/DFRc4lv2hGgkC+Fjfs/EL8YfSVoQjN0xzzmUMWfxM0Avx/Q4GYKEF2LNzSkrcrCvHrVBTGmDJHlI3UrpTkcGDPAt4ehUVS9uAix89CzvEyftrM0slTDu4mwf+fLgrLUScnvDB+JVnqyeP1yp654c/WGVMVzX+NLk7+bTfUpeuKIFr8FQ/n4A/CshoIs+Kzgdb5hXwI7bhxvNw2CRBivC8a7+thAzRM/3ToHTcc+7C3cKATAeKx5q99+e8zonyWxdSLFje+HPdKcfIsx0SaI9KBYjyt66RaI6J5FKVkowJcCbVIJuVMpyJ7cNIZBi9/8iDmz5jlFalhcDjCN5TJchOF1yICJ3XDsQMP26Fum54XyYmzQeM4kOKk186Sy5aTMX7/uS0oFgExOuFqbuTjeYTxOsMhIU6vMk03DRXoEFxg8Ha41xMeWIKFqpE00CZCIRhrsPD5af/zUpZRLOXFVMkfUV4jq99LSG2E7aiZkz+wXZSuHkmceNX8Z54eM9GVcLRamEk6LlekBvFyJzWnCrZ/8LdQNsVsj5F2/lRAgiltYSeCUDDQx26fqvh7OY7MZkQw4n5Ps11fRROff2mrRTZ9xpiTd706y1rKKool5Zox4ddNd6Ijkg/Oxao6dfowIkJ7HQsgo1dNhyPtYK0TjAzaybXYyT9mzBTpBhrhFilVoqE0Hk+QMUBaMXHYdxnfLLSkw5dcHpxND0l4ki/ioMwdsXyjTwZFIufdDozG6FCGnO+QufbWzGe+sxLtIKYoEranWMuHSE2czrKD/c53qtN8iDtnnqFpMW3XofmvH3iS6UZvbv+k1UJUFDL3L7PymlvKxO0Y1pEhx7Rssi5vGd0LQVhPt2dLc/L36UxtOmSQj3I139UtH75/JF/hmQGSwmR4RAOC6AmgvFa7PyfXaoBId2g1ycsvo4J9vVfRgB65gU8kbHYqqZ9iZJQWJQAo3diFde0wkilfpKcTl1bV4Y7TPlWu3LH+K0MHb+kqQQSDqHIH7eaR3YgZ/MXSANUdu8SWfNuf9FLfoqJydTghnUo6nsqQuh78z5ouwpsQFjinEdQL1AWNOdjNT+XRa2/7yR7daD966wrSuef8n6e7czbIXdS25lRisMgZCkFYcQkwudKdYr1X3ZLCv//q9qOrLEL+mb5CKOrKT0i3/fTGx73MfQL6xvPq1ji+efD5V6HsZWZiqbPcDUiParLPDVoUn/EUNMAHhWiYUJ69eB7A99qLcZzmUupXrWhZvxx1rKAMVDkZnem0VmMsOwzahOVAqMxxjfEJXE6SSy4QQtEKxULE8EGO8TUwGdUEJSghZa4rNHI/GQO7UCzdWyfUdybElNWLhtMxoUZzA/a/Zno85j2rgIYDADZWQIsZHceaJhZXnX+4bVa9iDsdE9O1eHbd13pG3A0hBpivNEPHw7T5jBzgDDTgB3fclxwgGMa9wqNj8wM0+Ja4rLFWM91Npdll8xfavf8dZHjCdSI/d6ZOQ2G2XqC6jR9xav3vFBDILLm3rAO6x8Z+mVXZKhVu2PKxqpk3GEcbKSue8NqZ1+oZ9yRSctHZWHXz/Cei2TzNAr8vgWaiVQ4yLIkZFrhOgnQJFvvGXsOW+aUDLEO7+E/uL1v4Eu+N8deQoQ+4BCEUbNMN8qbyCvRmskBRQs2yvWSuOl/W5MYrDxYjmtipzSJfa4WMQA5zix4/JfFRo4lhHGQLxUrmtraZSenvEH1wOf8Pq/T6rXhCNSuKsNeZwH1rhCYCSqkLy6pPEIkJWAhvGBfZdR5cQLeKyQvH6ZCkMa12KS9+pl+uSiVqRyR0ia3qs13kBFGHbUOU8qKuoBo07f8LEWzeMDCKu7SVklS15/hrd3PJ/m6NBnJLYdZfXfJW4MFGZmVEAJAGQh4whwFLNDoaROPeEmybp+Z1poo0vjBEH4HaTHXZPmCVbvNYmmlX2DDeLDUPXgwCNuQrz2W16u5Py7Hg/ahvYM8aBR3U42ReQLmp3Xd2ihGFdTSpTajUTa2nWWABb6zTErUCmDRYAGaU/d2NqvAEKmenLIdYM5Uey8D9/nsGkSYNn3ymxoKl+cX+qBi//upxXB5mG1YcvoHbWXQ5yGZIIZKbSjR6R4ARfiaKW4Phmpcq41jOaYznMb85EbJBarUVnrn6C3alL+MWEN4g5rI+gTOdCVKjk0hdOuc61QCqX3SSt9I8h0rI68W/aR7oZz2SBxheeLy1rDck1dYh7PernsD67k5oe6nqK0aHgFJGQ7NU0LqlOX1PbCLUWp8XvT28vTiEwxTWDWS6+Ig/yBtHu6dOmABDEFHJfPTOuwt+W76cGNgKJ7jvXDN3HPeWDU77upFahXtedrcK/0+zHLVqIjGu+Itr5QSbS6BR4Ye7qTZZrx1gDzD6tUUq/W6kjmIA2jcWJH5dYxgR9Plcb/7X58CMqqkjeqf9ztmhh5q24xZe4oMTTFQitK3J/I/xrX15eWMOI/z+L5ZAyDrUEIIMT+oceh6ks+Zyx1yH/0+b5RexNTg7MpVFa+rf990PtstVMGM4X5LwFULiKzRliYDhTlzoBiMtfMgJDQyiyUWOGwkcwIXRHLiEdBi5W4vDhpAEgfm9MYGz3qcSQqtfMIXDXzu91CoeudgSSPkeEYSce9Ha6gzA5WEZiKaAdIFHXN3hd6KNmGrhm3Sx0uqkX5xBzlzwi0k0j3qB3pqPUspzkNbeChcMqfhIk5LMpiJHSJxW/aBMEkrkxhpJ35CqoA6+ByW5bJ1dFJsJwzSoAtLv1S3CgeeUt+KvZDbQexHahhu3fC4d546xQH1XhjN07rpdYZRqRlnqQKGFDFidV1jLDL480G7fPU48QXao7Kut7L6qQc4G/ijh/uo9Eq37HXS3XDpmB9GsDO1zQfnA01AdHohk8Y6MDxNiVnH2qbCRl0DP2se7ZF9NyOlyf6JkcWlr4g12jCZ6hYpc858cW9xU9IMJtKkYuQlBB3WKCUUCpuHkXftpwqO/ZPbtvoRaAz4ywabD7NlKYsku0v2cbO+NBODuEvPs1/01Iu8aive2NzW13JjzpRj0fwRLEXfr7x/+CIIUs3GZCSJFNHU9hAOcdSriZRRIS+4YprjKeGroETds8eMioGyy7jNyVstkKIkpGdvtNIcQjGUl/jB8CK6DXuadA7uLP2p+bQREE4s+03yYecbad7MZw1qsTOZ7uXC+EQs7C/ZSx5mytSIT9y4Cc/v/71CIJchTLW8zYekWXqoSJmnB8FAAiNQM7KUrf7Q5NG1er5/rb9s+tLsAvserSQ3YZ0xPDjjuAgw/t0wD0wYesxbNjCy5HS1covcLAOxpaIlvPG8ixcMQsw08KBz3T3cpn1f0xa8xv+3pq/hiBQ1eV6CwujCde/qQGr6QkERXvWiB4lHbHW5dZzuTUjX15LhJhqu0kUeraL08YCazmfO0igGCYXsb7DmPZg1NlWZrIHCNXxiUa0KT6G5X42QB+vwuNEr/pkOoXCSorbcjUumcbOYkXIDle1357Si1j4y4UsIDMTbcF9wS0DGLP6VaT5ppTmtC1+cVX4ltea1N3//t1i2XKFoDtIsVH3aWOCUoyl1v3k1akLeZnSL+RZ4PavowONUODNCHgooTmXKCrn79Wg+FSrVaLQk43l4e32Rmomk7nxR3Z3+UKmleO/msGeo901Nl8uVTbbHUrjLaDIGDd3xdd5ZZ3Vyl14eRqDUVHgNkos7eEi8ccNJS2JdYPxorCmPe+QTK2Ni+VdZgs5Xnv4UBKd7bcNzNSjytsWF8A7CrpRcUGw9wLWo+0ow036XQ8LNgJi/IIvjDzDJNplHrITsGklJwAlLa165+NhIx7o+ArQFhrBAVXeizW2DfwHI5mW0InBgko4k5jEC7ZYveRBxhEyjrFvpevOqNqJ9wL5qqSmK+yPxwr63YAUTWHNo0xHntM0okWNL+6lR+JLlNV9rOy/xC0Rj6ORmJ535yGSZ94uSVknVZRsIMkzMgWsM6+eyTC7MhAJtnyEHc1x1Mbx1fsRiSXF0qjnfEcPOAlCvAnz7/2lScS/1iuU0WciuTipla13MnZX7m2M7HsIwS2YvOAsKYLr7g5h+vtEOdgdz5bIcRPwAUfPISRIFMckbF/oQ6a9xceIFTfTlC9MH3t0Go31Hk7LNRNMdkomNTfEypspbP+E7KM21e1Ht8S1Nlm/IBJdLjenu931MtgQZuYDqL3VjQp66PV0HkTQXHaI18F2CiLxYjPpFfbio/tT2ko8tl7e8yw0s5Jnqs+1qTXudeOrgdkOTe0rzYKTnlVpYI81+rh8okxEu7LzwCoHmXyoCDrXPltHwO4zcIoYCnk2yM1pZTlQgapl4rL7OWTKZDdYDDURs/pqFQ0LjHMPQm1IkmsnrUuWjfHjbA6hsja3r9cMM+jB7cDR4MmlsdmvRmi9gWH0lnyPulEwJTFRi4SbtyZ7DdSbyFIUctGjbXZ92dnGnCXpNnYj3NwEVj+ZKKyZmdyxSH8NOPA06JdmWOZFd3LwWOh4lE2wAsuA7dNIAS/EmN2eZs/0iD2jugzlwp037/K9DDPXIyF7ohrgaSkcx+nolgV8np57ZwFXoIMtrTPzA1csDHCmhOWm9rhdvAzUkTUrlrlkCrq+rZcnB/ZukBlzTVoQrZZQNC3gM1Lgv0Eqr5PBZU/2iJSY47bYrovSt2DBLiBWP7bk9PRkt6JvCRy3+TvxkrixV/HiKVrXSxFSUGh4EL31siGHaZ248Yet9Q/MflSwxFZqysmbA4KBFvhxyUz/VtJBfU5Q1TyGWnXIYuQ5tr0FPHpqlTcMWrxjxMhuKRhItKMMxjvJRZI9hddBs2cNqTVmv9Q/zq2wuwEQZVcnOKRpQVzqCrpbOi6tRyXnmqeuzaMZXFiLGyV/Z83xTiKSkFU0gbN2/WwnpYccPl0l/0AXxpfvebi9KinUaPYggpA6JP0gqdRFaHEZaN4BBEks6agLYGuWZtSl0xEUYHd9vClHUJk4qpRTQ4+ivxEBCO2uYFKclJm9K37VwZxWusNdxrZ37ykoHceLL1i2rOSVMROrm4/+2dq5htSkO1P07Fu6ap4iy+8QPRsQPSnjkYVW2N/pXw3w7VMLGPhhJRoVNuAK6VwOJmpvpMvNDwVIwsKvBaVkqnYaqXPqLgLV2ZQT6nHICLOEs6ziVMpsFwHanFuHaW079T48OI1JMHChrf/DM/sjU/oGrlXzwHx6X467ArAB8JeLFhXvKiLc0RGafsZY+hXSvb9/nMCLD3qdoh5TKJLj1EqnRsWnihMGsOnSKcOAfF3nfMhRUs3lORFWoj1IHsL37r8NptwCnWaRprQw+yapA83BDU/k6OukWCgPJbmUxvZm0cb9082F6FltfnL/7cKuxg3Xhj1J8mx0vOdbLhpThVpkdFiNKgLp1oYV32qoFHschp01gFrLTZWpXfTr6cCncTuEoEVTFzAGuHU/NAEqQxn6EduLsHKvDA6dYZ7HQdkn9E4sH3sETgn9hN5eiTyd2nFt2Bjuubfd0X30Xk88ydWiIzt0XBPOePl7QfXyWORizvuZXVl+TjmIpuMGoJZX5GuBKWRe3p6uO1OKTxu+xDSCS82en/kscSdI8JP+bPZF4zrkSo9dpIbnr2HIN5MTpInK+miIYwekSSmcIq21H6U+OKqg2oTWYcFn7LoL784is/WZQU5la+z/ez+kf7Ua/P1RTZJVvfY+3OaqLlmMZAR6ExrvE+T9jN6NBx8s+zwo5Q0t1xFfKoxi2mwNQVXkzFUzVl307E62a18+QAx5K+cLQN+yuOE1xYpPGC2PrUzrLlRq00arUahFzxUaoh6zPJ6NURdL1vK0SRBLXR01mvm8Qenv4kB9M8WSVVNs7OIbLzUKsZyvS0/4h3x/LLGCpkXE24PTsS/1Bh3rJmF8uRIfPLz2WXuN91szuXI3DD4rUPdsRTRoUKaZNhqKSGPG7hHdovQWwbl4nJYSSZizJMslLZTa/BybK48wD5jmfRtDiiU1LH66bkhsHY7QulgtqDEesWntok3qGKvJHR65HVc6DxxU1gX/JTXWqMSLUyiNQPzg5o6m1rQa2MGl1TxBUv1MpOMS6tg+hL58RlWqUsl0lfhMslJGfmnGNTjO9kZEtt7cQ69wfLaUwzzcOV8OKepQyxqA0j17MLvoXdeR4Zbgmj5hDMGoLJqDn1Q19OiRdfQwQObxHNZUXfC3/jGy1rwsa7/O6MFSMldTKrTY9x9DjnNA98wWu91vQLiZog2Jh5wvDDSdwtqUj1hdKPzKmVbtR82R36ISy2EYYsdlBOsXyE5SpD/uFhp2FCTnesyMxWSNKqOd4v1uZxptJqG7F5TpBXacYDfMjD+tQ1WyTnQMIhwW5FcW2IhcIvJKbDFM2ccoanHED99Z2LnBRzwMCOM2F/9OWglcRc6cMgYlKVuwe2teHgq0xozZMQPXNVayLBCrpLznJRTsBVMAj2hmEQSrTgURdsU/Iow+wN+BXas6a2GJng5WCOvM893dlhdJtUbaUcF9DHS4BkpXpolOBVgkevTUqbUx/RNS8TDCVi04VR8JnAh+cVBfdj3HbGjvANvLfGxqKERNIWK17iFoyNwgi6+u8nq046dswlTdUy9coZXOCFKigb2wT8/nMajNAunwBNdVYCnyIpAjGyAJUeV4NFwHbDoqBfTAoeGFo3vtmHIeuLKGBxUBR/LrD5QmSxVGwuvYMNOizZjLUDgebp6nyGnqsqQMdO23h7eJzqxpKuS95aE4IQUmzFUPzXqlcd2RyPa52FjMpfmSN+/tuGeuY7gHKtbvRb4MZu0XbXobj0jBmUX9UgZy+GE3jm72nhmBQQAP5y/MZfVYVrJGWor9WN8HcrWzYja4rjYy/KceXn+0z3vMiHOfwmzEGUKvcH/iL8QkgpTzcPWnKyBI5JGk9creSr0F7EeEiS1v+NOxNPmYuJIQAr4miz0sbUqEvrkJ4+pKzGYRGCvEp6cyn30FOFbnzfjW/zsgXR9Lr/3z9aqiOpOWxzrgFqZqIbuTxVPC3PRhzkpSnJPn9tsgNO7GDMphXUzIuvP5KnAtq7htNIxB1pEds0dZvxaI9vIcwY/rS5CU4IYJisF1auN13lMKKfNJRwCYxj2jxxPtUURpqDKd+T3AOG8dHKoaAdg7oWDZbfR/lUVW7XXhm1JayWeCHAGaXwIv5DiRZKZIMc0VKB8x39KqF835FIH18mxKCB9gxm5qc10e2IW4c0444aseQuA6jNEdX1aFPMVYw7uDu5enHOWKbc3N1Yn9dIpw4cDGWVfKsCsr1kkLytxAQ9KvTZXChzuGgHmPIokGcyhzb4kL/21OeB+kUy0E1tF5wJg2XrISr4xUCP1pWIK6rzB6vcCl/2RanygkJGvGmjmyGWPlZBsMs/nhVhLmcnUIc1taPJoN7lfT+74Tgz/6WzY1En/+N2zto3xyGYFlplq3/evMJWHtULYMPbz2QEWjrw8OyfaNoGa2ZQP6RK+BVRVWoDqRugaIU2sgCLSMRfT87KxPvZoAivg7/JFu+eI8OJHD2/6tolWX2pjB8MqUXE8urlSPv4qEvvcJa19slaUNcJ3/rnfbF8BiwT2HzUuNSi7m2uWNCpUW8UjOdZ2nrJCxa82Bp9ttwPZybkIWyHOsPCjxJIDJvw8qjnQbfZuoW0FVPEA/fk7mtbgJ4Y7ZyhLyWLgPfHx2CM5yhyVl9GQ81NMD/w/DD6fJhUzra2byYuvtU7eOC5CjDIHTnkDXrAA+gUcNqWjCRCZVdEH5hOnpX0RUf/l8YB6nFUBWXCA60/wIPpiAbmOwOdsNbNmpF2zYj1TMhnhovVsWMF82duqe/CLmeE3GZiAfkAP1Ccf/7UlzH9WUpF+8q0Ir+sCNf/Og2blY6lbAn+kx8TYo9Jb2KLpho1F2wBGtWve4GIdWiOddbMczcRLmvctyUyrYHgFinM42SbFXcfBT44VUTuOD/elK6H10axyXTXb4sa1jfVcvR4y0tB4uAqYMhGNuYjBE4p9rIPz99eb9BqHcIp2+vmKgtJpCJZVuxnZT7o4Y9x4aFvojOv2IbHsmeK4rabNKWvjX4iUyeRYXLd9vRvZ5g1anMYh6ptDBji/hF81G6fGgLJqyGQlMhAZVK19Xbk8LKTgGoDHy9Z9uxRpJ1d00jW6kZEHMA2jLU3Eds/gxBqRxCwYXIMRIzX+zH7kn67Qeh7am07MtacASixd6FTm8DNYnNKO9glF8PNIJjfyIXgIDYGQtFLhWM7wNOFc8mkad3PiZFBVLnbNNxeUzpNVUahF1tpVYddCJCerGa7geBp7eOAuDAboLG9buE/agUHM50XIomE7xB9Fd7Q48POhFrqco2x4CWkljz7tGcriQD7y/z0+gFe3fxKRIP6Dl8gVMIO9G6cnJPqelkQNU4qQ1hXUyYVc3cgrjGsurNKEF3Gzx86THGzYHG9aWICL8/rFuJecu9mtcK2mueaIAIP1wHhRBBIc4sV9CNJuEu1mnSgdq47Jx5VPIN9Gns+6/4iTVqfa2/f7EXABWlKk3+m8B+8bj1js2D1j5p1QdI/zviXyJSHrujiKcjDzXnRlrRqNgMiAtZadmdL+AkgGKalAGKaD2zCvTi+3Ss78z9xeW9aRti7O6opRif6/ml5tzwIQlNpIe4pzqy4KBVZNPL2eyRnfv3pGZXaXRkwluVgSBNCRP7fQkZ0sfLLkeV3GW3MSWOrJd6kKn1Xu5/1cFamSOze8PwI8TSW7SoQsqhFqqrdKgdjItH0nSPv6GK43VZ4vZEXAX0klYTuQLG6sasptD82hPDnsvHTdQzGxTvatYL6h9iwCHlCV81cHjZpUNmnzbvaeTr3YOYjGVHRRhwTQvNesACanx4sjS+mCqidfpTqy41bav/DX4LX0afK1BYq6IRjPObTgcbAcpx7Kt5Cjtj6Sa8RdTGPmXt7hFet2wjZO7CIxGnaG7NmDOb/El6F9RR/YKXkoSvmMmt4ZFfotGckpYG/KdVJsTixfCj8fHTN+LiGOQKtsgT/I2otkXmdXNlmwXHwfP6yOVIHfUt2OOGoEfH7pVy4M+WJt57MGlwO24a1NNasbNvPVhlT/wtW21qb0pQp0/sLRdK2gkvzIhmch9PM9lw+f1MhMep9GmT8BuXA3r/BHIasaIlqJOj/esJamXRlnu2ZTpUKZFhcGQB940DulfP2YBpxW9DW3eh63xRZnF4XFrfiqtsut5zDKqY+5B168Xrb10KCPWdreJhjzF2An76ccKFBFsbfmB9Q7o4a551rPCeXxYjzPu7TdYR8nMvpB+VtiHiZ7tI/Qr7feQl6yCa1kdcOI9iMkjGoDKt1IVD77LVp4Y5/BSBEJ2C0jwP80QphicAYVKwCWCYyFswRWhcwbWCOJkwnBpE8A+7kBZngjxvNMd9X7D/zDp/dNv3CaRwSwXztFyUTHNmxqEUdDVYwZWq5/IqWXLiTQv51COzqSzzNmwKN+gRuKXMNuq8jsKObJjzHFCXQwJzhablL4PnI2kA43EoNdt8Ho3z3QMlCUPlQ3to6CvsAwwx3naW7Ys6KYOTqf/GahdIcns7tMCR4N2i5SDkzjcpapWcg6Nf5eMM3gQfJeAdeMd63tYApUMrVVgcBXgQx7Xk+6d9T7VS76v2csJu9VUQViSW7+qXtGcyF5BiC2zN2IcS8GcRFGjFLFmXv+tKwb11mMK8z2F3tos6dXc/8zfd8pYrb8Uh/9aemaLFAo7lAepY8VYJTisHvtZId89jmPP3Bo6qiCXeOmjM6FAnGZZwqb8rsJev2AKtmKj/Mlvm1MQuBCQmpohORZCKoSdSml1vXlS2mmbICV9lr++7mYsNDCtYJKQjPRAI34s8hU2l3tyr92lHqzagVCV+cEAbzulQUj3L3sChd4xipcmOWhJMOuOvHB1UjemUfPR0m3UyxXXYIQZ1CtQSv404iyexCZjYFQ9N15E9YRzrgYf+lQwgCNrl1biYryXJpXMqtlIF9nk0nIwgNEQavzIEEe6vLpWq2h5Ytv75fKSQYHMGyLE/69FklJwMXE2lqBn/w5LueyxMRvYiKB0ZKKuQIiaS9CFV6dHK8/v1hxRRMOOjqJ4YtopUgthqxpzgUAgV7GKt3KXpsFfmFRXlV7i79YeUsTcswY6StZD/nxxgqpmYwrqy3y7HCKMNz/tBe26pXxbosniq/sqtYHFyCvUOB0cFALPq30WHizJ8xxkMwes6IOX314NROqHAbqfhk+VdI6MU6rzHRddMcE6wgOCqyIZ73UOFfO6jYy1GnYR8Gd2sFpW1vBzS+AeGC+2M7uDET87TK/HJP+gbtZ0qenWSFYQOcyl3B5b7phLMR0+zNTLYGAaDzr0nl1v70Rv3MiL6K+h9FXj42XKxKowSvamlbwj+iBXqK512NJDPahogH3C7nJc9Kj7BiK9XsC5QPKbgL//P6/K9b8fYowpa3DbjmDEXN7xIDeo7s++N6sOyAMfQyXqpzcsHzO/PtAcXOJECzo1Uxuxdk/OQ+ejz8eRUaqWADPNXkQJjNdGNvOg9FO2BeQtnFohR8k5VgaTdO+qYTeNGGltnfgAkdKz5t9r2FOk7uEAq4jjH4wEUidNDw7Z9G4p0uYFKG7JOsZNeC/DNl9Dn2lyZfNwYpNj4xa+we+4ZcA6hXx2ZVtDnpR9ZtAGt3SP+gwIEiaAz74gw8TpzGYJyDIr1AeOoT4qWmZoc49QK8Q7njNW8qPJVRmz+KXjsioATgmNm3tDud5UlQjw21F6j/jd15UzodAgPCHAXylQQGq4so/+ly9u277ItYJ+egwNXvXP5WwsrrPezPbKjFgGwVdLolljh1eX5YefwTo27U6iykGUw2lkzz9rdY4FhQzjlBW78VrmdjuzGAtc/YuDnAiRiFf6tvuCP4Ho8AaMfNcjcOvStKzD2hiGCN4nlRs3jZxHa1xi4Gx08keUpxQ8TZ1u3fXiNrUg9eD7IUxQGjYR+XLshVeF7/BbIsRFbp4ZMpVZtTt8H10z64W5JbMe8fUKb4QmnfyhSb3PDkhalg+JzxoRKktU1LbVqOnsYKRrmOplEjAleyWEl69uCnDXAv9u03fskEyTPXsBE6vdNJM9y91owLgS9KSFlGKke83fr7K/nrwtFw6w4a2T2+xDKSgjXqWiEkzxtMNi8Hd9lVc1N8dagUolcF256AIxkXla4LDyD/ndx9D7yh29nQnR6B1CZ5aPKiVRtHKqSuMGbLybatD1oLsi37E8kquIkme9pN0ultyDEfKgLDK37HCfMw9sL66qg2CAx+Y6NM/hD38Dvt68KAzNBqvns+3i4hhjb0PY0N+l9bB/1Ar/7oibrN8RklrUTE4jXWDxHiMsjDgZ1xsW6cFqJJTyC9iaKypulzIJIPMnLoktc0tP4lbGjbJ4lxqUQbjJGuBulAVBMXgveorxXq+wWJLNkjkleFaMaktelSZmODujr6WtVXNJbQWRq9tufXOG5911LJ41AxwTd+/NaTbzkGCU53ayAkqO8ebCt6npFE+K1azshd7+TlWl+h3BabtrLKWypGhIVLZwp1xK7nWM6TeNvaZNpBsdXQyoy+JvRr4ojuGxMjmxdIojkFHzcv91S30E6hGv//0lI9cjn8XU/jhnNbGlQ3zPi3IdjImp1KtkExUs1gRJWPe72I+yWGiwIq5HBV8C+Hz99q5MwEAiCAIZVNZP9JY56gK1hMvlsXO8JGfiUy1/J/hUtT9Q65I5F8/d/xeAyp2mHhag6u/Hu+psxR6ov282fuGDqZFidrLnWbD5VItqctZn9/xEN5kHhLGf7/4YkXgK+z23BzbygqH6ae6o1TbPVo6iSJsoY3VFrTh/zbHfRUya7GMGyCSqLkc67NYJ3P2Ym1hGT3QsKKjOp6cDKsnRxuYeG53G0Ax+k8Ap4+UVE3fAqmplso5Vb/vdou/cPK7yn1bzUBKz0k+BkjODQEXAVt4xB98QwnLia6m04vDFIfsQ9l0JE4mCGFH+zkbAqw8VANxxdI4ikAyoc3foNe4eMCoWaRFFw93LxsTE1z0PEq/9oIyW3oph6JrNYhk1HgAMAyK/eOaYEJs5v2OrHCW9ULYWGAp8dD1hqD8RN9KrXHrnWoX0S4JPudxQ0b7dtZkU7E1MCtioqWvPS0xxtqU0/k+R+sendF2l4aXtodVRQo6KoWNWY5GJFd0z6oG2g9vostQbs+3Hd0DSYMj74Rz+CT7CZT7NJjYwMET0tuM59XE2d3ceq7Fg4FSTvmH6pfcv32gZShdUBN18f4LARZSihabjV8pbaFithb6fKUpLl20WSRefFLG2Tl8k41+JYYZZ0dnB9F7p0TYBSw1S2p+kJp3mIVUp9uhdHkaKgC9B+Bu2PzJ9OODUwusg47HaMtcYMSHiQdX+eINuaPAt0PZnzT6sI95k5s7vtKaf9cClkjjR1mex2a2uo5phccMx9bnKIYJBdxaHYEXoK63V0R1b+G8vW6hOTiV4l8GoyzV+xdgpFRirkv4IacE2NPVrYy+johD5yy58QpO71cNxq430N0hkdS49d+y9LFNU6X2nVBmdGewPJbmDDOPWKT30AlBEEfVO5h/sbbznDZ83rQAonAcTXQgCS9aVhO9fFOQLUi8fjgRhK2oX0BaBg2XGEPe8EI3tAofvvdP/OKB6sumQA3lXcjMTj00fejzC/sC1Qj3KRXTuzgSpZJWHLlP6aj61QbiH9GbwVM3Jq/ToOkLZyodMhplcmYM9d8pmdPk37Dhcrh5yqqHcx58iYeqrYOowqJp3Yl6zhqpcwfUTXNmXlGQOFwZwYvcCggQC7O6FVx+/hP2G9GskGN9RrA+n/bA/VnJ25tJTI6nTYr8A8yimo6IC58KpzhghJdfBQ+ZHKTUggmtcwMSDRulWL5hr3jCT8kdyBBQX3yDGyBH2nj0fq1uB1qoCOosZaZv3M+WDvQw8OSEtxRybQkh7A29stTXmk6nISzv5ut4S1CI6v2FMADNGSaI8aTm3DCuyJ7LINjQYSOv5CuKEIrBz7R39hZvVPL9fOB4JT91Hiyp9PDkt+ibpa+cnV1JRNRIj7oSLLKwZtZKM40pe2hB0A0/Mmxn0M7GwpNtZFjy1nUfidmY/Ag0filllgcmz1ptOvjy7HyOHigeDjU5VvFwoSGC1UjqnY+h8WUUGUOUMYt6QEmhNMk7sYn1KJScnxMe8tTmkzjSVRXnuWSMYIlV23P2o/V+v6dzkMpUXbZAzv7YG8eUy5ayRGE/u5Ttv9nrBnZtJhR0Aw7caFHrbKfEuRFucl84Rj0kUpFWwMJwCR/bMMu2jTfHJM6DngANvaSlFQmkl1fECftrDW+2AvJ37rqdoiXggOe0aP2Zbmx/6gI2uOZ/a1wZWMtpYznpLG1aUI2uDEw7+QfqmJ4flwVL5WaLlcBgxQCbaCaYVK14jfuagM8MT2L8SwSIJ2vwUl+1luec3jU8XeoAhwVTD47qNtVMgIcIk/djnaxcj5VzhAW8RLjYG+vMNY3ZMsVGdz/PUTPE7L06uC2mKEEYyvMXvXmcbr792/QWm5g5FoAEdgVHfNInq3aXrZRInR0w4CSz60MRwWBqP65Ajz27HoAM9fres/s4q37sz+AbFV6vi+QkQlSgUEmeCbRTvNK54oU+699x1fHcjneMo5mYUCNfqe7BtoMhM/aPuTlXp63DGQqYGlGXiGRwd20PmLr4HRPOWvnnlVazAGbuX43Xfi4XRE49NoLs5+zy/PbB+vr7Og7iNkdOVA7Q3FCkHzXL3GDtM1P0z1Jokxa4Sp02YvxSBjBzww37CSAmZb7bOJ4YNEHFwhccT+HxmNg9gCSbCSaECHdndrY5R1NrI5L8HsZjGbTDe4H/F9YOJoprrOgO4mZG9hqzEh4/wuDtnAwXSxCibe6rXj4VOxO2aTyj9s4alnNs0Qs4aJsD5f+3tXbZguI2AMhXBB6Hr+AfSsWfDk0sUlJrxSsaCItDwYAwLtByb95ThLVFQ5t3QPsQG2cpmTMjn8eCGpKC2XImJpee4Y5OgGGyZBp5exf18Xs4abC7d8tktfWCJMd+nKFxLRTewnqfeFkHmLg/yWR+rCmqtNJ6A2yXZ0Oy4QavBhXG8YLq29z+5T3Ru/LzINuAIqZA5KsIdhqJ1zdL6NAtmEXvvwZcYouKh+fCizLtGvgV2M84Ei4qNtJIWbP1Q3ND2ENRgg5TtuVMJCx5gO9JLqSgLgMYR0TJSamToXzlrEv5pXCFmyaiLyOzkJfTani4aozA5/jcEUVEDW3sNMjze+/wCiqVVQ8jxP0Ffe9hawj0gmoauqDtnlsoh/Rq0Eel5fzQfy5IAaOH5ce5S+1dcQmeHwhiyMWQDs+rYAdEDdCRvrRwoUbU/UDMKx0CMDwXyoz1+/ZUbuLQQ5BS8MWZbYqW1i1pyDVloedYz1+SLAyiQNxknqGvZWrd1cG1xaSfdgl3T1WA0ia2szemhI8+cc6Xd82BhuP0xFugPK4CeFgGw0Usn0K98gJwi2lAOzbMmUDSBErJXozyvHgAogYwGg/ouSYY2iO7gzE0Y6rT5gJq4UcrzL12RiQyPywBJR/mQhkwrRD26kp5dJiWXOPJ41QvDzLTedawDV5yRJSzpBX9RvynM3t6AVdt7lDSWKMG9HpSE7x9nGdkaSq2iD2Rjpes/v5ablViCqgI4Myl49Rdnv7PxkMWp/qmOmYUQ7UXz4UPG3bFzZzIsQB1oIr8rbizjiAO33nMd2xyNJUqZRLhxbIpyq4uI3rWnx5UJelMHvUGB5tCG9P8OMkU12Z2JqhLKoUBrOnZZEjlr95RUVWyFefzTuTteG3hCnkRvBF1aK0M9HYY2LVkS9Oo6WRd5dIpF/mQJdj6DqskZC6RaZTOd+D1YQDlheDTOVFhvMDwOhkRM6ZPNSqiRJwrIVcvxBHuRC+9EC6um/p0iGF8/lo0agUjwpkpt9sg5Pk/oz1kn7Bs5U6h04pPcK30QW2K8pAxeHpqZp85HFv8HddMM7HPN1yugUiIffZLQhwaVT7oqP96PytjbbQJPMOCq/zcP3GIJ7wDhAJ5mCf7KNk8Sb2ydzEstIYwT/LcDkwQ3Zvhj/UASSxmKbZyl6axudvA/LsH3xqDizL66K22XwBuJfI6TJfEC2S/GGZSoVttSimC7Fp7uAZBiVkHmPoThI4Uwn2tU1xUioDjDQOQQkhKBXR7xlKJEVzbR1nzkcAMLGyq/tpmVvcCDZIJsto3+w2MhIimimVp1eNLSxUJJO2mQDJlEURv1N27hZSsf2GWOANw1R1vWHsSywxpojYHKHpnQSdJCDZJ8iyR4lzYCpMcTLj49/7YqWDuwa/aTXMJl2ziBXC9XcMwsooJKN7rGWb4nKx+6lV/5pBHTIUhgsLuXnrS3BWj9g01MISZKZCvcOLpCgjaImXH0Yz59UgxnUatioU+xdN1CVnEmhyOJQbf+rlCtMFjU+pRj63oeRYOgtpGaYMLTh0CcL87pur7CRxCLBNU8b1BJRBUgSLHRs7f3wQ/i+I8xr5BsbCm83zRjGwXl4G3RK8vDcsJUD1izqifa9h7q677lNQlIBktOVV/rcUWq0tvHnvknHdmSd4Jl6TKKBW8CZROoULO3tvSC4SoaaWo58qBG8+JMYpnAVhj6Lxs0zzi1Pz85Qtnd6Hd0RMo8krAiYUOmNKUOjj89kcIJEPq7eKDKdE8xmbpiTtWVlnW3b6q653G99Er9nTNe3qm9iIFvtkqRFbcG/WxY/CcFcjmxPF+qUk4FmqJu+/jsa8uUD6kT0zlDyE8l63F2c5XkxpRCMDHoNfOzDn0AF7KSqwjCqbIemvKsXARTD6JgmCoi3lR5yHe11JZaI1pp68rACbY2zwStjxjYEhno34KCq4Hl7GIw1puGD4I/BWTEbKzOCjsZ+9qQ0iJdzsMKGevyfOAUjdxk2zaMIg3mzuX85yxVyx27po1A0wxdrXjpjLAEGpze3I8aVLQ6dbsiKp/SphNjIuu9ECDLkS8ZjbHpf1rLBcxRodrzJ95m6gBWEWJH0ebOgExMFH9wuTsgvTwUkNH8w9YZ1xtOCo9VgVgzryQd4ihOxyvfUnn2zk2ozm3eAxFGpauh+f7rEkEO1wVL+H58Zgmm/ulCY0GA4GeUGjdm42zjUt3GmjwnafHMmN0U5nPl7qDnRddq8WYZkXQd6gXWKpYZjKUpBuneC3FXzFt8O+DXKYi9x/poQYqi+uK9YE9wdctTBC/alVknWhlSawQDw4Bsg9mX4Usmp0twnHrcUlmSapFymwxXN5RNUMPqKbhV6dz3gtANfX2WlZDMujn2gT3YtS+JbLirbWVUoWYuGCuj6eTQcyXwo65vuxLYiSG7yR4AN5JHmM26CfJSu6hTE3txbwyOe1k7fdcdFYsecgwcYmEP5hCXBKA7rrWT68f0vsQWWgQmoJQ7MI9wuWxafiLVxNY6LSiPNUkygZpMmpJPaH7njkve5XDZ+Ac2aTcSxVBwKOyWRFOBjIqY15sS3fVZZmCkPP7eykTGdhRg64qNT98vE4upqCdjQ/jq3/QbMAZLIbt7ZwxBFs5uAOtClsGF2h6/2q9gVOqvibHZofV7nEyGxElYe3UdrGN2bL+R6wONzuTH+2WNJuBAHeVQdaEbVrCMF+DCsEcgyanObyKR7Famk+YAzVQd5R1aN996j2Vzn01io6oA4isIK7rlmTYIcbixgzwq1U4xizcT+yhbyYTZNnkToZHH/7vP9WK4wQrZ3rQAvyQhKchgFYsj5USQUCopvPlnDYddzyjQ5lxJAcVX1F/MJ8cdhguCt3vWN8fTCgmunxEafqBFpQDbLe2iDqx5+uQzB9ROfhVzFzZ6mzRnjK0hZ7UyX9oMxsa4KX5r4/ESg6R2VF8skDcyrShIOsgeGctsZxRKV08moBYSEy8/JitGJnZXkE8Yh6ldDriyLqVsm7JCCuBz7nQJc5+rzCrKywX14o1/UVX7NDVi+pgV3uYulLOIQE6WKqJZ5FWWkMgd4INMo3B+djvYUoQULBGCO2G/8F3iLa/GfNFMS58k3a/E6J1Stcl2uOzh1K8DLb5McnvdzcQV4T4I3ojsSYxwtrCqbGbKAjN/cxHeOf+S8lbPNj6EKW3mKSMoKnbgJI1cGuMpYODN8rwWL68eugJSADCgGRA0Oa41196ZPLHQxtviSRGQaej3v9vkK0yW4zj27VHR/xhllCywveOA2aRmACNf7JrRUYE8Hja8unzuNHla25RoFJwCrrTbNRMde52wWKnS+owNzXRhQxiWmt9r8slOboCgeq8YqejKg6E3G5A103Jgj7qjNQkFCGQRJYEDOMFyd2Z+3FdXx3i5UGq5E/pqKCC3mAsSfgKu8jOdXYc/UBD5MRv18m916sDm68Imfx4VjupATt3QLNrNvI99L0bgeV3ReT/cFye/n7aaJN9eAuW2Sa2haNmsF1MYE0G21NWSImCSwHSSPsHko2bq+h4nDRSOgrNeI78573rFczZyPZeJMLkr9N4tjpdSznKY4KRgqBL2GERVzWcXgaYTOAEgz45//h/Ei+SoJbRrpZvhOG1QvaKqXuHMtADw8yWVBP/wibd3kd76aNYuxQ0itGVhlmnJXKqq5ljpqRb/r2k3UCFJuPvJRA71FzXPcWE552lXlq02HpPpOFMIcBIKj8I+cG1CgCREuqkrZlg/GC7C5BGioAd6jQ7BPklYmJWZOwj70JdXWlKsYidqdEnTO+F2BCppTxFT//aBsJRnMOu0YD8RzivLWFsegfe+GS82SqXzU/Qt49g7ZKx5wk/2AHvzOGXaSEIPdfTB1yztZeH4cOpoCTFR+HHsq86s7Yu5jr43Gcoh5faVV9u8dLP1zWJV6rnklNlGJfLws3PZVAVZcfinNQTrKuR5y6cobwedpdqJcwUcnuqoiTGyfxAurr5sFGgK0bgBmyG8Sf75HOZ338rQqUOZGA2CzPZs4j7+AglxSotbqNwuWs+3cQkqUFFbqREACxT7tYTlLlYPjPElxHVtrvdBdn880O5R9lujsCo1h2PqnpTscgzgsh8OBU3SP8mDrAICc99m25mrhSLv00cPb6s7sDo0kUS5zOtbvEGFAmAUOQ7Zad/Gbb/X+IAUFOupbOty/KK6kTGVrfsqHromdqUAkiT3FNRaBsMOoZTbimfS5Nz0lqA73uRN9aFioyO3Z4Z5BKk73Vlll1kYbnJ/ZDi+6dGb7qsTjyZAmfsEwRN5SqzlQ3kDWoqxtj7mL2nXpJDlgH/mfpHusZgUOjnQ/OQbpZk0RChr0a75UIghgbwQG4+CON7v1SkjdSWIjs6DEWiVItOJDAq81T4rXDuNykgc6O122ZCQqOQRNLZ7SklyncpmgqB/oZDidz23JNnI/2UjlFtKGMMv4pv6RA5zPi70RRLsb7WHV+cumcAC2Ej+AbZrVIRyKKf6bmMzChumgbUN5XsYp5ow1KU+wpLgis/pyaiGQ5G4mFAibdYTLEXvW4hGlhUuiE/E3lMSXoej8cRT984AozaqZL/r6Uq90NGJF1WC9sJY1uPMgnYeRBGYx6sl8zERI5tvXYpdEYjVCGb8j53A0XCaeYI5+xCrD66w+pKSvCcjhf1i9k9XZ0ky7BGkpSKsW1gYq6I8an32CZP4btyXNn7HbNYiKeR1E4bvpPkNMz0CnKtiXJA4iFX3C4uNol1s2xQ0VM6Z0x0C8dyOmu41LiJkxWGiJaGd9loSyUke9B55qRlKQCrPk7biG7Ug6X/g3xeFHcDK7lrFWSEdRxkfP3d5ecBsdCLKey/SteO+YplVQjbaDEFrntsi/d+gBKnfi2//APVsjGbrN3WcxRItid1WsoZWuUoi3LbbVo/j1eqR+vJrGhviE5GHV2rJVmSREOHnr7TFRpxc+0pL/YViBOG/UeuAlmN+Zk4Po2Q9x1nCx73uu4gRalYXErDOD5jUtSAHHD038RtkEqWBOIiKn76z3YbO7GgjaTGNmgJGBBIWTYvkCBfHdr4r1tOmobPe4Ih+FLNjU1Hwp8mKuVUONntDUC/R8LDiVM3Pkob7bK885JQ62IHoPRSBMB76Od5U9tmBxN3mHPfIKAHYMaCG3b8yFEf8jeIAzcGmsR1DwyFtKC6+S3keqzQivd8hDPl22fQ2I488M2mUABiJAPrxnseo/E3xoqGei/ukibKaF5sy5+VQEKTUcExUCVNBkR29EP/dQVJ+4Yjg3a+8WTNNcyVPMvWuia/xuOAmfbAVS9wvcyOZpxP2MeZSz29oQpp/UQ2AVcN7O6RU0vfmQTGUREMyoWUMn2PMeqTomaOAMJZzD5mJnHzsy+KF8Q18F8La/uBFLT6zTRTom5msBY1Zd8RullaB245aS5hlYXDV1s4tC/RITzIbSDp8xRpSeXFomGhGTdA7gr1dqSs8+FVfIlgpyc7GY0ZXtPnKMFCUDJ3/GphgkZCq/3lCKhpFTCbLXYJug7cFKHgzXi2LrIXtigKTUGpG6rzHU5lnmzYgCk6ImK0E+bVV6/q0jH4HFbgvZRl9TA2mWp+z8G0toyqFZeDZZdADGaqLvb3K434DeB051CYEoDZDd9pUxKk5s3ZbdcL/y1pCQSBE7ur7YM33X9crO8kVUTjoCohH2sga/wCznLF4oP6pmiFKbyTDuB5h7Ny6unvrrUBDWvq3IAwpO5pxU76p+htKC1M6s3nW3YdF/+FaxY78oKD9COE0trRG0rVIojajrMRjOn2/A5/A5QQKg1UoONlWBY+pxZAKjQwMqZBybv3H/CP92x2GRAWeBCO0bXWr7mMtT6b96vHtLLKngAE0GmIV+j3poxBqCGLFac3Dcw+c6cLZ32ihsqze0NiIq+7ERTOHzZUVzNxY6Fr42UD+3NgRGPil0Vu0w7uq7VA5Pg9gH75lajAV9p8NK9f/05mtCgWuBZH/FnF1Pn0b3AXvkPoQ/b/+t4E6O2vci3vkva2TtyTnqjuZH71xAeSbUvSxXDJ6wCyKxPTqTvZzLysRrWEgQ3s/cTEQdHz73zSN7nA8xHNO4SR0Ig/1Y+DA64iwyZZUc9T7PJUASERYoRhZkS95TMS5+EGPearRSsImcAhMIS1T/RS3MrI4ZpI8iUXetWSg+8ijqkD64T3QAOpRhgAHWNDaTmhHTniX/rhrGT7SFnFnZebpN11OGqXpV5LYq9uLl/bkKrGDa+LJwS59yA2RgEOe0vaQfOsTzrN/dh34dTTW3N3h+45qGo1KQO8+D+TB1s0hen4zvA6i5akMHIHjjk8pjg78GgGGYnfXcvH5xOMiULHTiVWtvMBYwE0nElEmtdZ3925gxUcIaMMnZrj2Khi+tHoRx6IyFbUMACxnHKrZVNKoF31/g40mAqRQaCxt8NOVbxQjMW4maI/smcO5jtKg+aS45dPCOkmfIRVTbrPNc0fqWRSICRQ9fHqUvBdF0Hee9M6Vqy4QjBlKm8DnWWcb9VgNNMlVPIY604HbTX3Vw4pyzo9Xu5ad09c4ZlcT8IlLn2KuOtxlUeT4EDvn41eluNOy5Sv4w92r1XiYH+Wfvqze+6x7moS4C4I/yP+SSEgjSnATEWyeHYygh/8cKvn5rUkqbuu7ubEby1kDAez6m6MVCds2UuKmnOn6vRvMl+nfXDdrkLofkEa3siC3QOljgRC7g6sqNAei8Mc+DZ/SgUFRQRqEBKjP69+bPHTedFTLlrwhF/4+8qdRk/7jZYpFmu0HZRbwE4yiHROBlOWY5OHynQ/sJR+O7PVQpGbfz9F11g4q/BE20h84kguX2E9LFXgrGBqTTvOWQ56bnyJeNhtY/ItCtf2cssslnApxaxkUQ6Fvq54D6B2Hl1P9hvx21RCQcc+BxH1JPynaU+Z9nylMnvco1jPW5mLcYjj6jLr7s9JxQ/lzMF+0StZwt0e/HoqrENFITy3QLFecGpx+YEx/ixwXUKE3xwPWfuWlyfxZAepC/Url8hN1UTgARWTfAXZfYjbY+Vj6etGu0Cjsy+cuCDKhxjFk8B8VjCK1Qr583qWYA7RR0597ObkonNZX0TUqSNV6NKjtTVvnEro5b6DuMzHFmnhnk/w3ZtVtCNfT0GGeDzVUdvgkMB8//s0qX/sfMzsBzb9/wprV1ChF/wKJ9UsWCIQRBN3dHPQbYuO+9HVDIU4oQJkVqcUaE9bNb7Vk0zEsb1mubeg0LFEDrTGEyk3/e2U0FM9aIH2UueIpW0Zc9yR2/Y4RvcNAEBxiO8ps4bK7iweRFPJlG8S6TC42j+G67VHdjflXc5js5Ah7b3h3wYgGgecO2J5JSRwfPStyDhRyxnEJarIc7omKFM9S06pAwhvXNbqYIREtwtHd2oe/YXFVmp6jrtkuiUiJuTDVXrbciFd/nUtgZytEETxMicK25UxbxhquOa5zblh5x+3jPv95QgGZZiVeJwfpCQjuXqe2ldlE7701F+a4cIHtn6uYlVSg+2tuu1QZrz9s90Knt5dfYTpFIe8UtWAHZjFgvbcNDZOC+eDNV8Bkgfk8qT6ZQG+fAb8PR/lTd5iUusCETuB8y1UDghRzLRCprWhNE26oykVfLPxhQ8fuVgDg8ZqGnDNVudtgDwMqcZOYGaKkoERihD0PvzP4BhRULL5hZ5XzvFiwSXSHcvxHi7knpO9g3hIokQiyPE6YE95ThiNC9uyz84xAXOUa6fmqci8x4y1OZpSErIsHS4V/2VAeij/IwfIPEXVczWQwKm7/VAT2IAoJZIkuNZ9f7pFPxlury2YFpk2noQovk5CUThs2EjRJWybEfgc+BTIxnjGoYQ7bixTxbHbxZahDu3CleLuPQnqKhXaIc7S01sdxd3PiYvsFvUPg3DV/5ZiqDr8LbFqFPDEG6UXIdhmHFklGfsOqh2dOt1FU2pCge+PNoFYHsuXvAnGFCvaIVz9ik2KagfaHhvgASqvMxBoZ0DRTctPvRVhQmrdCWyUCDOBK/tVkslZx/K2e4HYwG//YBpap4asFn4VzQqP2yBA17DVlQ8hlyN3ql29+J8Oq/35ZMVTpzk2T9mL49teNRiJ8dcBQ1djcpoAMMktGbLv3gs/Yz2x9nux6uf0Csap96dK6tWO6O4K1wL1q69GlOPLUACSAb+U6qAoJed+q+QAVp1SNdF5rLFj8fKGtGD9QlNXN9dJynDXmr4CrwzAuCSxfiXWWmLB9cMfx5uMh4dm/1eHUw9gSEbOIFWHz7FrebgokANymPV/RFsiKFc2Zh9Lfa8NftFohvlR0Uz5+JRsj67/fzm3W9XKXWRtWphleP4ncdEwBeDNlhPD5N5Jsu7EWWxjYqKXrREMlEGNcE47Mh5Cl/o+joiwGgrePaIg2PTTiK6hMCLxg1yjkyGQ25/GHX3Dd1h1FsWwZguz0K5wCz9c/GluPnXQ5ZsFhoUQ+cZDrX6PHzygD68g/luUMQXakYzt1IvjMTh4vCJk2ao+tz/F5N3xHARlKcOvCAwaGjoEoaY64FZztZ/dCusxjbXLIv0AmQ3zvNQy5kwWSRdGkBxzo9zf4uuPCPmFUmBsxPnn0UjyWRCHCRs/5gof05EF21P2b4wmBcsfOlLTIPmY46s1JSDjWI/Zm2N576gNqI+6vB9d8vAqDg0GiUR7FHVkmCWpLYBN4jKcpzh3ziexkR/nzhdKTWyHVCz2+7aLiEDYff33Oj2xgerMerxx1XwjkLxNuUBfOZwzTjz3cJX4icc64yM+ALwv2tYOKCY116UFpj2T2FhrHPvap006U8uVjVLhcJEMuT7i0XeQ9xro4n/CU6EiYZo7aeX9n+octY1S0DNCaPh2BIs/LCNY/cl9zbaZLrjJfnCPViPRMikjhNyE6Dys1S1hIVyGBPOQYQKOjFQHZKQYZ5SguSJWFy2HsBg6AOcIqWRIcGAMa3M0m/Or+GRXtbNixZT71usZOmwv8vYvAHcAzHvgERug7fo6dfcC3SgiuU3Cn6WlcGO6QVQfQWOIGZuEk5/Fua1F+/HL0iY2pBef/XGnChcSDApLNTnKdJQL/9qovafQBYzjtsHLPBhz2KERoUK88D5DSi79mvPZvMxNw2mBo/J6xXNTuOJVubIKZZE190HnqRqZ5iQ45z7xgtDWgKj5RLq+0W7/Cdouc3rTJTEtpznTaN2KyoWuxsrrB0Fl3qtS7XpBgJJLXS2sUj1/tCwhpF5g9cIZojudrVK2uaS7HE5+MJOyRCgL5P6T4opkcfYCph82iMR697iKX78ad412L/I7+ae0CfWpo5W3W53s+3dbKWDS43XvmPjL5iOfdfNIO3wsVeEEBBG95jkFhKdGERrPTpBKk3MSN+hMCdhnRA0O2KbaWWxY5DYpXizq/MQj6P8L980EvD31JvDUg1mAb232zhzTzNh0+2XhALgblwY/bG7X+eNLidrTOTT9cpPfXN0P/+S3hxDaCfBRTKseKzIu+WUeW38Pyzc022Qvx+TWIlP1n1P8GRQhSeKjYEBmDcUnaw6VKLe4+JGxMLMUKwv3DUUYdshhrN8G3i8uGxFsuZ7ziM/VLGRB94fgBufkF6x0hZNJeCXxEzXKI4FJYwjyzYFhG88EfGOl4JsXGgGL7yXAyAFBHgkiSpsZQ0JvVKNl4eWoy8Sy0iOYokL+QfYWvtZXn1O4TJ0ik/cDKhWh9xIkqJDrxeOnUYWr4TkPuwVekEd9hgIGoajH2ivXDn1YhPpOFgj2peuPXdHhWUY3CqvsagPjC/daeRcYXBVB8fEgDkvtNPK6VuGX8ipBVA6oAm95uEhYfbDCgSsSbgW87yeqy52vC78yCZRAAwcKVBt9AnnfH3LEKYDJi3a2dA7gYXy8ZvjVSLRgy1yRyDWiOd8AxYyrZVGVeozHZJtiL4TE1SBwJCWThpPU9KdgI4CBwJF5BczVfEtjB5sha8uBIYdZts7oTV/OaGAkzOPqdoVi190JTSW/R2CKZXNjE1wAy8TK/z0uj+dJlu20zmH7bA3Gcn9USgibp1AX7yZd/xGydH/Wqud7DyrUxxVuE3gy8vIcg7fxbycprE7JSIW/cOr0pGTudgUmF+iAjfW4hqXE0Ic+ZZfwoLAg3dYqgVtW8Ja28daD7gOIV3jn+OHHsKINQbouAlRnvWl/bsoAEaNQH7VELmFL5AhcgEAAJBCwCPMxPrkhnqSISRAg2994yh6KAfcp6kXgMBXXY0Qi7abjV4pJeX3zM01hfgSeNx051rWA2OIAP3ZfVU+FdR3R/uZ1I5dsBZjOabDsfMy54ZbQJKqGpcCtGYn48yC32odCrsAbDvkLQ+EdqgQ1GEIjtiwN7lMH8BHoEFu7oQHVpkN8JBo1xPV9UAc1gk6ABBSMhA5L05tTqO+thf0woH29i509KzvhNmS5kHQpew+e3NwYvPLa75TCSXMKgG9Dv2cWdazjyb0gaBueEFAYzNpOADRvwXs9AngDjv0/q0aa5ghxE5p8Vgtah59H+n24sI2HYp5CKGnVkkr/WT05QPrDNc5jUiNlaguVro9zRzaMbUrWc4uF3E+Ufz83gX/cGCGxKvw9Dq+iLgBQ0m09X/8PpArVpmlAB8Qiox1Ky7XS14eo3+BPd8WvJLvbEtestsMkhNHN+9CJJxw+DrXEe71NGv/1v0kZehQbYp4L+Blcx7iVwgP5kiD5JvhyzufJPUsJd5APHKiigdCPMEhPOgwfT6OJThPETR3Ock6ufsfcv5eCxvgus/I0dKBStuq1PquycpuvbRDPARNhCtaCt3yq2CmYXQtnKLn3vUhWTIpF4iIOrcYjvFZuMPMkfMb+AE16owPBpSVhirJM3rJMIZvd0ovKOh/g2HxlfRtwnSfojz0Egj//M79FWMUgmUeE15C358M6ML351GL/fisZDSqXbMRZKjz1ToU78dbNpFtv91ER0XXBtiLg8ff4sPz3XvbCub3xW3wI0OcbDiFEnrOdfxHa2AU5H/NzrwSich3hi3aeBe+P9nJKJurN244pO+wTvB8MB4ZbojEvIiCR+tVicod5DpT2UPx9+EDmKqMo7PpStmGwWNm/YlSq95pp4oG9OuLSMWxJlN/RtLE9ZbQIjxNgCIftiGYkJdT/7Xh1KHZ+y2IzsNz74RIhXKyVxYeeeRDiKlm4uCTHkulk8J+YASN6Z6iDmAOO4Q0KTHmLIM3iILP5F+LdwjTFSgaKFMXNySXiW8s0dBql4llOuEcifDLmX0XkQOxV0u6VaWODVPkpFUHe+QsLJX1k2DmY2L2iUws4eXr0NFuwlnfMtkKtB/Xc2BZeNt0yO431ThkwfPm0FtYCFOMNDo5h6d21l2CKQGlt1X/C413fBEry3FHrzmtfwtXDfxQO3UQcYfujVqDq0kf9udKbaFmci+nD4BVt1yG+I9MqrK0nKJkWDF/HDhHt9dAKmvCoQ08bewW6bO/yO6S/zJ7aRfA1xndycvSSukGURALd5v+xp2WB/Q6KLpxe3mW8U/eUCbmbQuZVAXQMaX1Q0p9NkSbyf6R17az8bezbU6Zep6mQiHtFRIiCOeeha/ebLYJiB29tn65zLuq5XtJ1OPmfpwfaUsyij73An3BDteIvHVIhxXA5n/EcL0kMzM1GIV2aoFyFpZIhy6J3krSCCL0d3EvIwG6VE36050mPAMg3PEqq6neKu3bubr7BDHedVIn6+sO7edpJD/6QMZtmASk92TSpMqXLntn7MNRy06oHzCbcznQ16Wbt8Oz74zkoPrR3nQABmNsiduqCWgnB3/Gd1pM+2nTjRnGCDORNhqVADUmPeMIzbJDHN0nXDyTN+js0rV3l2ewctKv2XRSHDwzMb3BY4TZlTDk9idR4D57iOs+Blw2ru+kLdi/5ZrVmoq3Hd4mmBRw7bXmvdasdOBYd62GFtsFKce6oX3hs7yto/g5CXZKDz/2n9aMd+rEub95qnDMcpWdoMa61VjiXTy6Je9xiFNxUTtKBwB/g5YlIM6vsNfR4luPKeLGQE60w/QWyyn3ISsSQAbFFNNRNXDJvjKbCC4hxaGNiqvsfOK21caHfkG+a0wqCvdG+tJC8YA1tt6sL8Vr0I1FC/RvjT55wROe9T6Tx5ANNL65rrBqNCMjEmQJuYE555oqagWeyMZSGZywwQfXLKxRCrY6rpD4stZ8VIcUfDZqfkMezkyZE7z7aDTo/ddoojkWqvV6HAfCtUT+hgxgQC+GdgzEH88okeIVkDCdEmOqDILNWm6Z2aim5bU8jOxKQaQlH3cC9VWgo/anCxAJA+Wp0g4O2T/7NvGLR38DpjKfRELhVkRnmF2ciHWBdgMwGlyWt5z55l+79iYwdRXIuuReGNGmSNgXGe88l1arp61SBpPG7qPTL1fLwGcY8NKQAZbvZDZfr/zstnVXSDJw38EBltQVi804B44yOa8DCy2hwcUVHtNIOfF5HBIKMFWgEzcrXEAp4iOO7CmI3u7p+NIjP+VSC2T7xt/YV7qw23osKzgVlO1UMJcQ8aqHHKDlF8LW6ZTv7MBB0nZY9acn+rVb9IRxViVLLyJVLb/7bS/Q0T7gQnr6LSnHdnS2pas5/b6RmvAKkzeV2/yxmCTRLUAA2VHguSSZVgSRh898QV/MljUxRFtTAuWPdIK2O7H7Ip7+6GwpK6wGHP1bozKVBZ4uKNrQdW2bRmHFSCWuutLgKF6kGkfVrshQ7qE6CyN3JOAsnKJDXQuWFrW2cnTjlC24OEbZ8yTAzw94snZFVJluei9FAhA6iGyRIZPUfXtFNZRCdvsGDRQIm3qU3e1JCP4oyDc95llgRFFGkcbfajBs3ljyn8Qrh/5BHkkgUrqtdmYir+fUZQlOcf6AKF5m1Ww7RSEkCRcj1jYpoGSu9gCelg+WOFhP+9PNYSSp+RHT/TyVbXXZDIJNSU6WbJHVdjXCOgj7Q49hLIbFLYMT2G4hT34XB8Bf+W8OK+QGjazQyFBYa3VdRmBDTlJBeInBbCXDjZx4kjjKv9B8jeCtnO61c1gzDh5Fp3JCi42zSZpOTOO8XL0YQV9TiOyPTnGv0brSlhi7v9x09WsOevCqezq8xKsdEbxL/EkHQVR6lIpxpDBqw/fPSS7d4w1UKVckN4s2TuUjA4FY+grvnH6HeGIMTE/IhvoG0hh7dIybDzjkItnl2zO3wuKFAMd/LBmF30f8bkO6uViI37QJb2jQXkMYo3KyDVAQ17gZ2WgKfOBx+D0vLFb0bBKdndB77AM373uUPsfEmX7mkbO3WTjGKRmxdqAm7GJBkw0ZbnzDngB8XGsQxrN3f6/Nni34EitifxQ16mRbDNxnB4y8NT0DC4FDcUN/RNknBZvLD6xmnkzFSoDIzdsjDiq0/fwhTr1U7RWkLVN9PwmOFe3YXf5kri0fJZ72ECkhCiKkwdYSR90U2lk06VTih7455p/QDRyG46+Fuv2nSMlEurjL/emYbFj5u54nFxsMipags4AWPZJOtFwPLiFLBEil9pMbW08YkymRWhvYklBfT5sdzmoy2FkbqJE8t/K58WZ67ZyEoAYt6YWErU0a4wzgaEyd8X82pnF0bsEE3Sxj9gsoEXwznzIW1yul" title="Mekko Graphics Chart">
            <a:extLst>
              <a:ext uri="{FF2B5EF4-FFF2-40B4-BE49-F238E27FC236}">
                <a16:creationId xmlns:a16="http://schemas.microsoft.com/office/drawing/2014/main" id="{ADF9A08C-FD77-4FF3-9307-10D9D9652E8E}"/>
              </a:ext>
            </a:extLst>
          </p:cNvPr>
          <p:cNvSpPr>
            <a:spLocks noChangeAspect="1"/>
          </p:cNvSpPr>
          <p:nvPr>
            <p:custDataLst>
              <p:tags r:id="rId3"/>
            </p:custDataLst>
          </p:nvPr>
        </p:nvSpPr>
        <p:spPr bwMode="gray">
          <a:xfrm>
            <a:off x="398748" y="1301770"/>
            <a:ext cx="11437962" cy="4942524"/>
          </a:xfrm>
          <a:prstGeom prst="rect">
            <a:avLst/>
          </a:prstGeom>
          <a:blipFill>
            <a:blip r:embed="rId12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43" name="btfpColumnIndicatorGroup2">
            <a:extLst>
              <a:ext uri="{FF2B5EF4-FFF2-40B4-BE49-F238E27FC236}">
                <a16:creationId xmlns:a16="http://schemas.microsoft.com/office/drawing/2014/main" id="{1E684987-FD41-4CE4-9655-BD1C7E4FF729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40" name="btfpColumnGapBlocker942773">
              <a:extLst>
                <a:ext uri="{FF2B5EF4-FFF2-40B4-BE49-F238E27FC236}">
                  <a16:creationId xmlns:a16="http://schemas.microsoft.com/office/drawing/2014/main" id="{07779027-31DB-4A7B-87DE-AFB775D41FD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38" name="btfpColumnGapBlocker648732">
              <a:extLst>
                <a:ext uri="{FF2B5EF4-FFF2-40B4-BE49-F238E27FC236}">
                  <a16:creationId xmlns:a16="http://schemas.microsoft.com/office/drawing/2014/main" id="{D17D13B3-729A-4E10-933D-64E784401C1C}"/>
                </a:ext>
              </a:extLst>
            </p:cNvPr>
            <p:cNvSpPr/>
            <p:nvPr/>
          </p:nvSpPr>
          <p:spPr bwMode="gray">
            <a:xfrm>
              <a:off x="7837752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1" name="btfpColumnIndicator913244">
              <a:extLst>
                <a:ext uri="{FF2B5EF4-FFF2-40B4-BE49-F238E27FC236}">
                  <a16:creationId xmlns:a16="http://schemas.microsoft.com/office/drawing/2014/main" id="{C0267C4C-2040-4D67-99FD-04C22F5A14C8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btfpColumnIndicator700844">
              <a:extLst>
                <a:ext uri="{FF2B5EF4-FFF2-40B4-BE49-F238E27FC236}">
                  <a16:creationId xmlns:a16="http://schemas.microsoft.com/office/drawing/2014/main" id="{990689FB-5D33-43EB-A1C6-7B303FCEC0D2}"/>
                </a:ext>
              </a:extLst>
            </p:cNvPr>
            <p:cNvCxnSpPr/>
            <p:nvPr/>
          </p:nvCxnSpPr>
          <p:spPr bwMode="gray">
            <a:xfrm flipV="1">
              <a:off x="8378296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btfpColumnGapBlocker148025">
              <a:extLst>
                <a:ext uri="{FF2B5EF4-FFF2-40B4-BE49-F238E27FC236}">
                  <a16:creationId xmlns:a16="http://schemas.microsoft.com/office/drawing/2014/main" id="{7215A000-5BAF-441F-8F94-F84154727208}"/>
                </a:ext>
              </a:extLst>
            </p:cNvPr>
            <p:cNvSpPr/>
            <p:nvPr/>
          </p:nvSpPr>
          <p:spPr bwMode="gray">
            <a:xfrm>
              <a:off x="3813704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4" name="btfpColumnIndicator943053">
              <a:extLst>
                <a:ext uri="{FF2B5EF4-FFF2-40B4-BE49-F238E27FC236}">
                  <a16:creationId xmlns:a16="http://schemas.microsoft.com/office/drawing/2014/main" id="{A618271D-E2CE-4734-AE89-2CECCBAFF6EB}"/>
                </a:ext>
              </a:extLst>
            </p:cNvPr>
            <p:cNvCxnSpPr/>
            <p:nvPr/>
          </p:nvCxnSpPr>
          <p:spPr bwMode="gray">
            <a:xfrm flipV="1">
              <a:off x="783775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btfpColumnIndicator725581">
              <a:extLst>
                <a:ext uri="{FF2B5EF4-FFF2-40B4-BE49-F238E27FC236}">
                  <a16:creationId xmlns:a16="http://schemas.microsoft.com/office/drawing/2014/main" id="{E65A491C-9342-417A-AB76-FCE644C6B7A2}"/>
                </a:ext>
              </a:extLst>
            </p:cNvPr>
            <p:cNvCxnSpPr/>
            <p:nvPr/>
          </p:nvCxnSpPr>
          <p:spPr bwMode="gray">
            <a:xfrm flipV="1">
              <a:off x="435424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btfpColumnGapBlocker789773">
              <a:extLst>
                <a:ext uri="{FF2B5EF4-FFF2-40B4-BE49-F238E27FC236}">
                  <a16:creationId xmlns:a16="http://schemas.microsoft.com/office/drawing/2014/main" id="{7D319600-C5F3-4516-A666-99EC07F575BB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8" name="btfpColumnIndicator175847">
              <a:extLst>
                <a:ext uri="{FF2B5EF4-FFF2-40B4-BE49-F238E27FC236}">
                  <a16:creationId xmlns:a16="http://schemas.microsoft.com/office/drawing/2014/main" id="{4A99A18B-4592-485A-BCD0-479561679136}"/>
                </a:ext>
              </a:extLst>
            </p:cNvPr>
            <p:cNvCxnSpPr/>
            <p:nvPr/>
          </p:nvCxnSpPr>
          <p:spPr bwMode="gray">
            <a:xfrm flipV="1">
              <a:off x="3813704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253055">
              <a:extLst>
                <a:ext uri="{FF2B5EF4-FFF2-40B4-BE49-F238E27FC236}">
                  <a16:creationId xmlns:a16="http://schemas.microsoft.com/office/drawing/2014/main" id="{E5F20E72-CED5-41BB-8625-42E4883D0D17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2" name="btfpColumnIndicatorGroup1">
            <a:extLst>
              <a:ext uri="{FF2B5EF4-FFF2-40B4-BE49-F238E27FC236}">
                <a16:creationId xmlns:a16="http://schemas.microsoft.com/office/drawing/2014/main" id="{D9A572FE-67A9-4E0B-B67C-5C82B156F5B6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39" name="btfpColumnGapBlocker299740">
              <a:extLst>
                <a:ext uri="{FF2B5EF4-FFF2-40B4-BE49-F238E27FC236}">
                  <a16:creationId xmlns:a16="http://schemas.microsoft.com/office/drawing/2014/main" id="{B21BF74B-6198-4EBF-9D0A-D9351472AC78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35" name="btfpColumnGapBlocker281797">
              <a:extLst>
                <a:ext uri="{FF2B5EF4-FFF2-40B4-BE49-F238E27FC236}">
                  <a16:creationId xmlns:a16="http://schemas.microsoft.com/office/drawing/2014/main" id="{E959CFBF-4C0D-4A4B-94C7-44AF5A760415}"/>
                </a:ext>
              </a:extLst>
            </p:cNvPr>
            <p:cNvSpPr/>
            <p:nvPr/>
          </p:nvSpPr>
          <p:spPr bwMode="gray">
            <a:xfrm>
              <a:off x="7837752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9" name="btfpColumnIndicator499124">
              <a:extLst>
                <a:ext uri="{FF2B5EF4-FFF2-40B4-BE49-F238E27FC236}">
                  <a16:creationId xmlns:a16="http://schemas.microsoft.com/office/drawing/2014/main" id="{3FFD4269-D08A-4944-A7C3-60C133D2F3FA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btfpColumnIndicator834502">
              <a:extLst>
                <a:ext uri="{FF2B5EF4-FFF2-40B4-BE49-F238E27FC236}">
                  <a16:creationId xmlns:a16="http://schemas.microsoft.com/office/drawing/2014/main" id="{2B9295D0-BFA4-4985-B1BD-437383117985}"/>
                </a:ext>
              </a:extLst>
            </p:cNvPr>
            <p:cNvCxnSpPr/>
            <p:nvPr/>
          </p:nvCxnSpPr>
          <p:spPr bwMode="gray">
            <a:xfrm flipV="1">
              <a:off x="8378296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btfpColumnGapBlocker725468">
              <a:extLst>
                <a:ext uri="{FF2B5EF4-FFF2-40B4-BE49-F238E27FC236}">
                  <a16:creationId xmlns:a16="http://schemas.microsoft.com/office/drawing/2014/main" id="{6406FC8A-9158-47BB-A3E4-309F5D1883FC}"/>
                </a:ext>
              </a:extLst>
            </p:cNvPr>
            <p:cNvSpPr/>
            <p:nvPr/>
          </p:nvSpPr>
          <p:spPr bwMode="gray">
            <a:xfrm>
              <a:off x="3813704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3" name="btfpColumnIndicator207414">
              <a:extLst>
                <a:ext uri="{FF2B5EF4-FFF2-40B4-BE49-F238E27FC236}">
                  <a16:creationId xmlns:a16="http://schemas.microsoft.com/office/drawing/2014/main" id="{66693C35-70BD-4952-82AF-0C19305D4133}"/>
                </a:ext>
              </a:extLst>
            </p:cNvPr>
            <p:cNvCxnSpPr/>
            <p:nvPr/>
          </p:nvCxnSpPr>
          <p:spPr bwMode="gray">
            <a:xfrm flipV="1">
              <a:off x="783775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btfpColumnIndicator891237">
              <a:extLst>
                <a:ext uri="{FF2B5EF4-FFF2-40B4-BE49-F238E27FC236}">
                  <a16:creationId xmlns:a16="http://schemas.microsoft.com/office/drawing/2014/main" id="{E22E6B23-E6F4-4EED-9429-040AA09ABC1E}"/>
                </a:ext>
              </a:extLst>
            </p:cNvPr>
            <p:cNvCxnSpPr/>
            <p:nvPr/>
          </p:nvCxnSpPr>
          <p:spPr bwMode="gray">
            <a:xfrm flipV="1">
              <a:off x="435424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btfpColumnGapBlocker568354">
              <a:extLst>
                <a:ext uri="{FF2B5EF4-FFF2-40B4-BE49-F238E27FC236}">
                  <a16:creationId xmlns:a16="http://schemas.microsoft.com/office/drawing/2014/main" id="{A0A72D13-0FA5-4F74-A821-727CCD2D3F71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5" name="btfpColumnIndicator252422">
              <a:extLst>
                <a:ext uri="{FF2B5EF4-FFF2-40B4-BE49-F238E27FC236}">
                  <a16:creationId xmlns:a16="http://schemas.microsoft.com/office/drawing/2014/main" id="{C1B7B5E9-DAFE-419A-BDD7-0ACD42EB3483}"/>
                </a:ext>
              </a:extLst>
            </p:cNvPr>
            <p:cNvCxnSpPr/>
            <p:nvPr/>
          </p:nvCxnSpPr>
          <p:spPr bwMode="gray">
            <a:xfrm flipV="1">
              <a:off x="3813704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" name="btfpColumnIndicator889916">
              <a:extLst>
                <a:ext uri="{FF2B5EF4-FFF2-40B4-BE49-F238E27FC236}">
                  <a16:creationId xmlns:a16="http://schemas.microsoft.com/office/drawing/2014/main" id="{720F5DD7-A17A-49CD-B49F-4B097E76E749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2" name="btfpRunningAgenda2Level228391">
            <a:extLst>
              <a:ext uri="{FF2B5EF4-FFF2-40B4-BE49-F238E27FC236}">
                <a16:creationId xmlns:a16="http://schemas.microsoft.com/office/drawing/2014/main" id="{3C3ED3CF-9695-4C80-ACD0-EF63C1245ECF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-1" y="944429"/>
            <a:ext cx="4325153" cy="257442"/>
            <a:chOff x="-1" y="876300"/>
            <a:chExt cx="4325153" cy="257442"/>
          </a:xfrm>
        </p:grpSpPr>
        <p:sp>
          <p:nvSpPr>
            <p:cNvPr id="33" name="btfpRunningAgenda2LevelBarLeft228391">
              <a:extLst>
                <a:ext uri="{FF2B5EF4-FFF2-40B4-BE49-F238E27FC236}">
                  <a16:creationId xmlns:a16="http://schemas.microsoft.com/office/drawing/2014/main" id="{28C9D338-C5AF-48A5-A47C-2AEBA4F1D927}"/>
                </a:ext>
              </a:extLst>
            </p:cNvPr>
            <p:cNvSpPr/>
            <p:nvPr/>
          </p:nvSpPr>
          <p:spPr bwMode="gray">
            <a:xfrm>
              <a:off x="-1" y="876300"/>
              <a:ext cx="2327781" cy="257442"/>
            </a:xfrm>
            <a:custGeom>
              <a:avLst/>
              <a:gdLst>
                <a:gd name="connsiteX0" fmla="*/ 986067 w 2696920"/>
                <a:gd name="connsiteY0" fmla="*/ 0 h 257442"/>
                <a:gd name="connsiteX1" fmla="*/ 2696920 w 2696920"/>
                <a:gd name="connsiteY1" fmla="*/ 0 h 257442"/>
                <a:gd name="connsiteX2" fmla="*/ 2642199 w 2696920"/>
                <a:gd name="connsiteY2" fmla="*/ 257442 h 257442"/>
                <a:gd name="connsiteX3" fmla="*/ 0 w 2696920"/>
                <a:gd name="connsiteY3" fmla="*/ 257442 h 257442"/>
                <a:gd name="connsiteX0" fmla="*/ 986067 w 2642199"/>
                <a:gd name="connsiteY0" fmla="*/ 0 h 257442"/>
                <a:gd name="connsiteX1" fmla="*/ 931346 w 2642199"/>
                <a:gd name="connsiteY1" fmla="*/ 257442 h 257442"/>
                <a:gd name="connsiteX2" fmla="*/ 2642199 w 2642199"/>
                <a:gd name="connsiteY2" fmla="*/ 257442 h 257442"/>
                <a:gd name="connsiteX3" fmla="*/ 0 w 2642199"/>
                <a:gd name="connsiteY3" fmla="*/ 257442 h 257442"/>
                <a:gd name="connsiteX0" fmla="*/ 986067 w 986067"/>
                <a:gd name="connsiteY0" fmla="*/ 0 h 257442"/>
                <a:gd name="connsiteX1" fmla="*/ 931346 w 986067"/>
                <a:gd name="connsiteY1" fmla="*/ 257442 h 257442"/>
                <a:gd name="connsiteX2" fmla="*/ 1 w 986067"/>
                <a:gd name="connsiteY2" fmla="*/ 257442 h 257442"/>
                <a:gd name="connsiteX3" fmla="*/ 0 w 986067"/>
                <a:gd name="connsiteY3" fmla="*/ 257442 h 257442"/>
                <a:gd name="connsiteX0" fmla="*/ 986066 w 986066"/>
                <a:gd name="connsiteY0" fmla="*/ 0 h 257442"/>
                <a:gd name="connsiteX1" fmla="*/ 931345 w 986066"/>
                <a:gd name="connsiteY1" fmla="*/ 257442 h 257442"/>
                <a:gd name="connsiteX2" fmla="*/ 0 w 986066"/>
                <a:gd name="connsiteY2" fmla="*/ 257442 h 257442"/>
                <a:gd name="connsiteX3" fmla="*/ 0 w 986066"/>
                <a:gd name="connsiteY3" fmla="*/ 0 h 257442"/>
                <a:gd name="connsiteX0" fmla="*/ 1163999 w 1163999"/>
                <a:gd name="connsiteY0" fmla="*/ 0 h 257442"/>
                <a:gd name="connsiteX1" fmla="*/ 931345 w 1163999"/>
                <a:gd name="connsiteY1" fmla="*/ 257442 h 257442"/>
                <a:gd name="connsiteX2" fmla="*/ 0 w 1163999"/>
                <a:gd name="connsiteY2" fmla="*/ 257442 h 257442"/>
                <a:gd name="connsiteX3" fmla="*/ 0 w 1163999"/>
                <a:gd name="connsiteY3" fmla="*/ 0 h 257442"/>
                <a:gd name="connsiteX0" fmla="*/ 1163999 w 1163999"/>
                <a:gd name="connsiteY0" fmla="*/ 0 h 257442"/>
                <a:gd name="connsiteX1" fmla="*/ 1109278 w 1163999"/>
                <a:gd name="connsiteY1" fmla="*/ 257442 h 257442"/>
                <a:gd name="connsiteX2" fmla="*/ 0 w 1163999"/>
                <a:gd name="connsiteY2" fmla="*/ 257442 h 257442"/>
                <a:gd name="connsiteX3" fmla="*/ 0 w 1163999"/>
                <a:gd name="connsiteY3" fmla="*/ 0 h 257442"/>
                <a:gd name="connsiteX0" fmla="*/ 1164000 w 1164000"/>
                <a:gd name="connsiteY0" fmla="*/ 0 h 257442"/>
                <a:gd name="connsiteX1" fmla="*/ 1109279 w 1164000"/>
                <a:gd name="connsiteY1" fmla="*/ 257442 h 257442"/>
                <a:gd name="connsiteX2" fmla="*/ 0 w 1164000"/>
                <a:gd name="connsiteY2" fmla="*/ 257442 h 257442"/>
                <a:gd name="connsiteX3" fmla="*/ 1 w 1164000"/>
                <a:gd name="connsiteY3" fmla="*/ 0 h 257442"/>
                <a:gd name="connsiteX0" fmla="*/ 1164000 w 1164000"/>
                <a:gd name="connsiteY0" fmla="*/ 0 h 257442"/>
                <a:gd name="connsiteX1" fmla="*/ 1109279 w 1164000"/>
                <a:gd name="connsiteY1" fmla="*/ 257442 h 257442"/>
                <a:gd name="connsiteX2" fmla="*/ 0 w 1164000"/>
                <a:gd name="connsiteY2" fmla="*/ 257442 h 257442"/>
                <a:gd name="connsiteX3" fmla="*/ 0 w 1164000"/>
                <a:gd name="connsiteY3" fmla="*/ 0 h 257442"/>
                <a:gd name="connsiteX0" fmla="*/ 1332316 w 1332316"/>
                <a:gd name="connsiteY0" fmla="*/ 0 h 257442"/>
                <a:gd name="connsiteX1" fmla="*/ 1109279 w 1332316"/>
                <a:gd name="connsiteY1" fmla="*/ 257442 h 257442"/>
                <a:gd name="connsiteX2" fmla="*/ 0 w 1332316"/>
                <a:gd name="connsiteY2" fmla="*/ 257442 h 257442"/>
                <a:gd name="connsiteX3" fmla="*/ 0 w 1332316"/>
                <a:gd name="connsiteY3" fmla="*/ 0 h 257442"/>
                <a:gd name="connsiteX0" fmla="*/ 1332316 w 1332316"/>
                <a:gd name="connsiteY0" fmla="*/ 0 h 257442"/>
                <a:gd name="connsiteX1" fmla="*/ 1277595 w 1332316"/>
                <a:gd name="connsiteY1" fmla="*/ 257442 h 257442"/>
                <a:gd name="connsiteX2" fmla="*/ 0 w 1332316"/>
                <a:gd name="connsiteY2" fmla="*/ 257442 h 257442"/>
                <a:gd name="connsiteX3" fmla="*/ 0 w 1332316"/>
                <a:gd name="connsiteY3" fmla="*/ 0 h 257442"/>
                <a:gd name="connsiteX0" fmla="*/ 1332316 w 1332316"/>
                <a:gd name="connsiteY0" fmla="*/ 0 h 257442"/>
                <a:gd name="connsiteX1" fmla="*/ 1277595 w 1332316"/>
                <a:gd name="connsiteY1" fmla="*/ 257442 h 257442"/>
                <a:gd name="connsiteX2" fmla="*/ 0 w 1332316"/>
                <a:gd name="connsiteY2" fmla="*/ 257442 h 257442"/>
                <a:gd name="connsiteX3" fmla="*/ 0 w 1332316"/>
                <a:gd name="connsiteY3" fmla="*/ 0 h 257442"/>
                <a:gd name="connsiteX0" fmla="*/ 1332316 w 1332316"/>
                <a:gd name="connsiteY0" fmla="*/ 0 h 257442"/>
                <a:gd name="connsiteX1" fmla="*/ 1277595 w 1332316"/>
                <a:gd name="connsiteY1" fmla="*/ 257442 h 257442"/>
                <a:gd name="connsiteX2" fmla="*/ 0 w 1332316"/>
                <a:gd name="connsiteY2" fmla="*/ 257442 h 257442"/>
                <a:gd name="connsiteX3" fmla="*/ 0 w 1332316"/>
                <a:gd name="connsiteY3" fmla="*/ 0 h 257442"/>
                <a:gd name="connsiteX0" fmla="*/ 1164000 w 1277595"/>
                <a:gd name="connsiteY0" fmla="*/ 0 h 257442"/>
                <a:gd name="connsiteX1" fmla="*/ 1277595 w 1277595"/>
                <a:gd name="connsiteY1" fmla="*/ 257442 h 257442"/>
                <a:gd name="connsiteX2" fmla="*/ 0 w 1277595"/>
                <a:gd name="connsiteY2" fmla="*/ 257442 h 257442"/>
                <a:gd name="connsiteX3" fmla="*/ 0 w 1277595"/>
                <a:gd name="connsiteY3" fmla="*/ 0 h 257442"/>
                <a:gd name="connsiteX0" fmla="*/ 1164000 w 1164000"/>
                <a:gd name="connsiteY0" fmla="*/ 0 h 257442"/>
                <a:gd name="connsiteX1" fmla="*/ 1109280 w 1164000"/>
                <a:gd name="connsiteY1" fmla="*/ 257442 h 257442"/>
                <a:gd name="connsiteX2" fmla="*/ 0 w 1164000"/>
                <a:gd name="connsiteY2" fmla="*/ 257442 h 257442"/>
                <a:gd name="connsiteX3" fmla="*/ 0 w 1164000"/>
                <a:gd name="connsiteY3" fmla="*/ 0 h 257442"/>
                <a:gd name="connsiteX0" fmla="*/ 1164000 w 1164000"/>
                <a:gd name="connsiteY0" fmla="*/ 0 h 257442"/>
                <a:gd name="connsiteX1" fmla="*/ 1109280 w 1164000"/>
                <a:gd name="connsiteY1" fmla="*/ 257442 h 257442"/>
                <a:gd name="connsiteX2" fmla="*/ 1 w 1164000"/>
                <a:gd name="connsiteY2" fmla="*/ 257442 h 257442"/>
                <a:gd name="connsiteX3" fmla="*/ 0 w 1164000"/>
                <a:gd name="connsiteY3" fmla="*/ 0 h 257442"/>
                <a:gd name="connsiteX0" fmla="*/ 1163999 w 1163999"/>
                <a:gd name="connsiteY0" fmla="*/ 0 h 257442"/>
                <a:gd name="connsiteX1" fmla="*/ 1109279 w 1163999"/>
                <a:gd name="connsiteY1" fmla="*/ 257442 h 257442"/>
                <a:gd name="connsiteX2" fmla="*/ 0 w 1163999"/>
                <a:gd name="connsiteY2" fmla="*/ 257442 h 257442"/>
                <a:gd name="connsiteX3" fmla="*/ 0 w 1163999"/>
                <a:gd name="connsiteY3" fmla="*/ 0 h 257442"/>
                <a:gd name="connsiteX0" fmla="*/ 986067 w 1109279"/>
                <a:gd name="connsiteY0" fmla="*/ 0 h 257442"/>
                <a:gd name="connsiteX1" fmla="*/ 1109279 w 1109279"/>
                <a:gd name="connsiteY1" fmla="*/ 257442 h 257442"/>
                <a:gd name="connsiteX2" fmla="*/ 0 w 1109279"/>
                <a:gd name="connsiteY2" fmla="*/ 257442 h 257442"/>
                <a:gd name="connsiteX3" fmla="*/ 0 w 1109279"/>
                <a:gd name="connsiteY3" fmla="*/ 0 h 257442"/>
                <a:gd name="connsiteX0" fmla="*/ 986067 w 986067"/>
                <a:gd name="connsiteY0" fmla="*/ 0 h 257442"/>
                <a:gd name="connsiteX1" fmla="*/ 931346 w 986067"/>
                <a:gd name="connsiteY1" fmla="*/ 257442 h 257442"/>
                <a:gd name="connsiteX2" fmla="*/ 0 w 986067"/>
                <a:gd name="connsiteY2" fmla="*/ 257442 h 257442"/>
                <a:gd name="connsiteX3" fmla="*/ 0 w 986067"/>
                <a:gd name="connsiteY3" fmla="*/ 0 h 257442"/>
                <a:gd name="connsiteX0" fmla="*/ 986067 w 986067"/>
                <a:gd name="connsiteY0" fmla="*/ 0 h 257442"/>
                <a:gd name="connsiteX1" fmla="*/ 931346 w 986067"/>
                <a:gd name="connsiteY1" fmla="*/ 257442 h 257442"/>
                <a:gd name="connsiteX2" fmla="*/ 0 w 986067"/>
                <a:gd name="connsiteY2" fmla="*/ 257442 h 257442"/>
                <a:gd name="connsiteX3" fmla="*/ 0 w 986067"/>
                <a:gd name="connsiteY3" fmla="*/ 0 h 257442"/>
                <a:gd name="connsiteX0" fmla="*/ 986067 w 986067"/>
                <a:gd name="connsiteY0" fmla="*/ 0 h 257442"/>
                <a:gd name="connsiteX1" fmla="*/ 931346 w 986067"/>
                <a:gd name="connsiteY1" fmla="*/ 257442 h 257442"/>
                <a:gd name="connsiteX2" fmla="*/ 0 w 986067"/>
                <a:gd name="connsiteY2" fmla="*/ 257442 h 257442"/>
                <a:gd name="connsiteX3" fmla="*/ 0 w 986067"/>
                <a:gd name="connsiteY3" fmla="*/ 0 h 257442"/>
                <a:gd name="connsiteX0" fmla="*/ 782550 w 931346"/>
                <a:gd name="connsiteY0" fmla="*/ 0 h 257442"/>
                <a:gd name="connsiteX1" fmla="*/ 931346 w 931346"/>
                <a:gd name="connsiteY1" fmla="*/ 257442 h 257442"/>
                <a:gd name="connsiteX2" fmla="*/ 0 w 931346"/>
                <a:gd name="connsiteY2" fmla="*/ 257442 h 257442"/>
                <a:gd name="connsiteX3" fmla="*/ 0 w 931346"/>
                <a:gd name="connsiteY3" fmla="*/ 0 h 257442"/>
                <a:gd name="connsiteX0" fmla="*/ 782550 w 782550"/>
                <a:gd name="connsiteY0" fmla="*/ 0 h 257442"/>
                <a:gd name="connsiteX1" fmla="*/ 727829 w 782550"/>
                <a:gd name="connsiteY1" fmla="*/ 257442 h 257442"/>
                <a:gd name="connsiteX2" fmla="*/ 0 w 782550"/>
                <a:gd name="connsiteY2" fmla="*/ 257442 h 257442"/>
                <a:gd name="connsiteX3" fmla="*/ 0 w 782550"/>
                <a:gd name="connsiteY3" fmla="*/ 0 h 257442"/>
                <a:gd name="connsiteX0" fmla="*/ 782550 w 782550"/>
                <a:gd name="connsiteY0" fmla="*/ 0 h 257442"/>
                <a:gd name="connsiteX1" fmla="*/ 727829 w 782550"/>
                <a:gd name="connsiteY1" fmla="*/ 257442 h 257442"/>
                <a:gd name="connsiteX2" fmla="*/ 0 w 782550"/>
                <a:gd name="connsiteY2" fmla="*/ 257442 h 257442"/>
                <a:gd name="connsiteX3" fmla="*/ 0 w 782550"/>
                <a:gd name="connsiteY3" fmla="*/ 0 h 257442"/>
                <a:gd name="connsiteX0" fmla="*/ 782550 w 782550"/>
                <a:gd name="connsiteY0" fmla="*/ 0 h 257442"/>
                <a:gd name="connsiteX1" fmla="*/ 727829 w 782550"/>
                <a:gd name="connsiteY1" fmla="*/ 257442 h 257442"/>
                <a:gd name="connsiteX2" fmla="*/ 0 w 782550"/>
                <a:gd name="connsiteY2" fmla="*/ 257442 h 257442"/>
                <a:gd name="connsiteX3" fmla="*/ 0 w 782550"/>
                <a:gd name="connsiteY3" fmla="*/ 0 h 257442"/>
                <a:gd name="connsiteX0" fmla="*/ 986067 w 986067"/>
                <a:gd name="connsiteY0" fmla="*/ 0 h 257442"/>
                <a:gd name="connsiteX1" fmla="*/ 727829 w 986067"/>
                <a:gd name="connsiteY1" fmla="*/ 257442 h 257442"/>
                <a:gd name="connsiteX2" fmla="*/ 0 w 986067"/>
                <a:gd name="connsiteY2" fmla="*/ 257442 h 257442"/>
                <a:gd name="connsiteX3" fmla="*/ 0 w 986067"/>
                <a:gd name="connsiteY3" fmla="*/ 0 h 257442"/>
                <a:gd name="connsiteX0" fmla="*/ 986067 w 986067"/>
                <a:gd name="connsiteY0" fmla="*/ 0 h 257442"/>
                <a:gd name="connsiteX1" fmla="*/ 931346 w 986067"/>
                <a:gd name="connsiteY1" fmla="*/ 257442 h 257442"/>
                <a:gd name="connsiteX2" fmla="*/ 0 w 986067"/>
                <a:gd name="connsiteY2" fmla="*/ 257442 h 257442"/>
                <a:gd name="connsiteX3" fmla="*/ 0 w 986067"/>
                <a:gd name="connsiteY3" fmla="*/ 0 h 257442"/>
                <a:gd name="connsiteX0" fmla="*/ 986067 w 986067"/>
                <a:gd name="connsiteY0" fmla="*/ 0 h 257442"/>
                <a:gd name="connsiteX1" fmla="*/ 931346 w 986067"/>
                <a:gd name="connsiteY1" fmla="*/ 257442 h 257442"/>
                <a:gd name="connsiteX2" fmla="*/ 0 w 986067"/>
                <a:gd name="connsiteY2" fmla="*/ 257442 h 257442"/>
                <a:gd name="connsiteX3" fmla="*/ 0 w 986067"/>
                <a:gd name="connsiteY3" fmla="*/ 0 h 257442"/>
                <a:gd name="connsiteX0" fmla="*/ 986067 w 986067"/>
                <a:gd name="connsiteY0" fmla="*/ 0 h 257442"/>
                <a:gd name="connsiteX1" fmla="*/ 931346 w 986067"/>
                <a:gd name="connsiteY1" fmla="*/ 257442 h 257442"/>
                <a:gd name="connsiteX2" fmla="*/ 0 w 986067"/>
                <a:gd name="connsiteY2" fmla="*/ 257442 h 257442"/>
                <a:gd name="connsiteX3" fmla="*/ 0 w 986067"/>
                <a:gd name="connsiteY3" fmla="*/ 0 h 257442"/>
                <a:gd name="connsiteX0" fmla="*/ 1164000 w 1164000"/>
                <a:gd name="connsiteY0" fmla="*/ 0 h 257442"/>
                <a:gd name="connsiteX1" fmla="*/ 931346 w 1164000"/>
                <a:gd name="connsiteY1" fmla="*/ 257442 h 257442"/>
                <a:gd name="connsiteX2" fmla="*/ 0 w 1164000"/>
                <a:gd name="connsiteY2" fmla="*/ 257442 h 257442"/>
                <a:gd name="connsiteX3" fmla="*/ 0 w 1164000"/>
                <a:gd name="connsiteY3" fmla="*/ 0 h 257442"/>
                <a:gd name="connsiteX0" fmla="*/ 1164000 w 1164000"/>
                <a:gd name="connsiteY0" fmla="*/ 0 h 257442"/>
                <a:gd name="connsiteX1" fmla="*/ 1109278 w 1164000"/>
                <a:gd name="connsiteY1" fmla="*/ 257442 h 257442"/>
                <a:gd name="connsiteX2" fmla="*/ 0 w 1164000"/>
                <a:gd name="connsiteY2" fmla="*/ 257442 h 257442"/>
                <a:gd name="connsiteX3" fmla="*/ 0 w 1164000"/>
                <a:gd name="connsiteY3" fmla="*/ 0 h 257442"/>
                <a:gd name="connsiteX0" fmla="*/ 1164001 w 1164001"/>
                <a:gd name="connsiteY0" fmla="*/ 0 h 257442"/>
                <a:gd name="connsiteX1" fmla="*/ 1109279 w 1164001"/>
                <a:gd name="connsiteY1" fmla="*/ 257442 h 257442"/>
                <a:gd name="connsiteX2" fmla="*/ 0 w 1164001"/>
                <a:gd name="connsiteY2" fmla="*/ 257442 h 257442"/>
                <a:gd name="connsiteX3" fmla="*/ 1 w 1164001"/>
                <a:gd name="connsiteY3" fmla="*/ 0 h 257442"/>
                <a:gd name="connsiteX0" fmla="*/ 1164001 w 1164001"/>
                <a:gd name="connsiteY0" fmla="*/ 0 h 257442"/>
                <a:gd name="connsiteX1" fmla="*/ 1109279 w 1164001"/>
                <a:gd name="connsiteY1" fmla="*/ 257442 h 257442"/>
                <a:gd name="connsiteX2" fmla="*/ 0 w 1164001"/>
                <a:gd name="connsiteY2" fmla="*/ 257442 h 257442"/>
                <a:gd name="connsiteX3" fmla="*/ 1 w 1164001"/>
                <a:gd name="connsiteY3" fmla="*/ 0 h 257442"/>
                <a:gd name="connsiteX0" fmla="*/ 1332317 w 1332317"/>
                <a:gd name="connsiteY0" fmla="*/ 0 h 257442"/>
                <a:gd name="connsiteX1" fmla="*/ 1109279 w 1332317"/>
                <a:gd name="connsiteY1" fmla="*/ 257442 h 257442"/>
                <a:gd name="connsiteX2" fmla="*/ 0 w 1332317"/>
                <a:gd name="connsiteY2" fmla="*/ 257442 h 257442"/>
                <a:gd name="connsiteX3" fmla="*/ 1 w 1332317"/>
                <a:gd name="connsiteY3" fmla="*/ 0 h 257442"/>
                <a:gd name="connsiteX0" fmla="*/ 1332317 w 1332317"/>
                <a:gd name="connsiteY0" fmla="*/ 0 h 257442"/>
                <a:gd name="connsiteX1" fmla="*/ 1277596 w 1332317"/>
                <a:gd name="connsiteY1" fmla="*/ 257442 h 257442"/>
                <a:gd name="connsiteX2" fmla="*/ 0 w 1332317"/>
                <a:gd name="connsiteY2" fmla="*/ 257442 h 257442"/>
                <a:gd name="connsiteX3" fmla="*/ 1 w 1332317"/>
                <a:gd name="connsiteY3" fmla="*/ 0 h 257442"/>
                <a:gd name="connsiteX0" fmla="*/ 1332316 w 1332316"/>
                <a:gd name="connsiteY0" fmla="*/ 0 h 257442"/>
                <a:gd name="connsiteX1" fmla="*/ 1277595 w 1332316"/>
                <a:gd name="connsiteY1" fmla="*/ 257442 h 257442"/>
                <a:gd name="connsiteX2" fmla="*/ 0 w 1332316"/>
                <a:gd name="connsiteY2" fmla="*/ 257442 h 257442"/>
                <a:gd name="connsiteX3" fmla="*/ 0 w 1332316"/>
                <a:gd name="connsiteY3" fmla="*/ 0 h 257442"/>
                <a:gd name="connsiteX0" fmla="*/ 1332317 w 1332317"/>
                <a:gd name="connsiteY0" fmla="*/ 0 h 257442"/>
                <a:gd name="connsiteX1" fmla="*/ 1277596 w 1332317"/>
                <a:gd name="connsiteY1" fmla="*/ 257442 h 257442"/>
                <a:gd name="connsiteX2" fmla="*/ 1 w 1332317"/>
                <a:gd name="connsiteY2" fmla="*/ 257442 h 257442"/>
                <a:gd name="connsiteX3" fmla="*/ 0 w 1332317"/>
                <a:gd name="connsiteY3" fmla="*/ 0 h 257442"/>
                <a:gd name="connsiteX0" fmla="*/ 1500632 w 1500632"/>
                <a:gd name="connsiteY0" fmla="*/ 0 h 257442"/>
                <a:gd name="connsiteX1" fmla="*/ 1277596 w 1500632"/>
                <a:gd name="connsiteY1" fmla="*/ 257442 h 257442"/>
                <a:gd name="connsiteX2" fmla="*/ 1 w 1500632"/>
                <a:gd name="connsiteY2" fmla="*/ 257442 h 257442"/>
                <a:gd name="connsiteX3" fmla="*/ 0 w 1500632"/>
                <a:gd name="connsiteY3" fmla="*/ 0 h 257442"/>
                <a:gd name="connsiteX0" fmla="*/ 1500632 w 1500632"/>
                <a:gd name="connsiteY0" fmla="*/ 0 h 257442"/>
                <a:gd name="connsiteX1" fmla="*/ 1445910 w 1500632"/>
                <a:gd name="connsiteY1" fmla="*/ 257442 h 257442"/>
                <a:gd name="connsiteX2" fmla="*/ 1 w 1500632"/>
                <a:gd name="connsiteY2" fmla="*/ 257442 h 257442"/>
                <a:gd name="connsiteX3" fmla="*/ 0 w 1500632"/>
                <a:gd name="connsiteY3" fmla="*/ 0 h 257442"/>
                <a:gd name="connsiteX0" fmla="*/ 1500632 w 1500632"/>
                <a:gd name="connsiteY0" fmla="*/ 0 h 257442"/>
                <a:gd name="connsiteX1" fmla="*/ 1445910 w 1500632"/>
                <a:gd name="connsiteY1" fmla="*/ 257442 h 257442"/>
                <a:gd name="connsiteX2" fmla="*/ 0 w 1500632"/>
                <a:gd name="connsiteY2" fmla="*/ 257442 h 257442"/>
                <a:gd name="connsiteX3" fmla="*/ 0 w 1500632"/>
                <a:gd name="connsiteY3" fmla="*/ 0 h 257442"/>
                <a:gd name="connsiteX0" fmla="*/ 1500632 w 1500632"/>
                <a:gd name="connsiteY0" fmla="*/ 0 h 257442"/>
                <a:gd name="connsiteX1" fmla="*/ 1445910 w 1500632"/>
                <a:gd name="connsiteY1" fmla="*/ 257442 h 257442"/>
                <a:gd name="connsiteX2" fmla="*/ 0 w 1500632"/>
                <a:gd name="connsiteY2" fmla="*/ 257442 h 257442"/>
                <a:gd name="connsiteX3" fmla="*/ 0 w 1500632"/>
                <a:gd name="connsiteY3" fmla="*/ 0 h 257442"/>
                <a:gd name="connsiteX0" fmla="*/ 1652916 w 1652916"/>
                <a:gd name="connsiteY0" fmla="*/ 0 h 257442"/>
                <a:gd name="connsiteX1" fmla="*/ 1445910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652916 w 1652916"/>
                <a:gd name="connsiteY0" fmla="*/ 0 h 257442"/>
                <a:gd name="connsiteX1" fmla="*/ 1598195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652916 w 1652916"/>
                <a:gd name="connsiteY0" fmla="*/ 0 h 257442"/>
                <a:gd name="connsiteX1" fmla="*/ 1598195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652916 w 1652916"/>
                <a:gd name="connsiteY0" fmla="*/ 0 h 257442"/>
                <a:gd name="connsiteX1" fmla="*/ 1598195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821231 w 1821231"/>
                <a:gd name="connsiteY0" fmla="*/ 0 h 257442"/>
                <a:gd name="connsiteX1" fmla="*/ 1598195 w 1821231"/>
                <a:gd name="connsiteY1" fmla="*/ 257442 h 257442"/>
                <a:gd name="connsiteX2" fmla="*/ 0 w 1821231"/>
                <a:gd name="connsiteY2" fmla="*/ 257442 h 257442"/>
                <a:gd name="connsiteX3" fmla="*/ 0 w 1821231"/>
                <a:gd name="connsiteY3" fmla="*/ 0 h 257442"/>
                <a:gd name="connsiteX0" fmla="*/ 1821231 w 1821231"/>
                <a:gd name="connsiteY0" fmla="*/ 0 h 257442"/>
                <a:gd name="connsiteX1" fmla="*/ 1766510 w 1821231"/>
                <a:gd name="connsiteY1" fmla="*/ 257442 h 257442"/>
                <a:gd name="connsiteX2" fmla="*/ 0 w 1821231"/>
                <a:gd name="connsiteY2" fmla="*/ 257442 h 257442"/>
                <a:gd name="connsiteX3" fmla="*/ 0 w 1821231"/>
                <a:gd name="connsiteY3" fmla="*/ 0 h 257442"/>
                <a:gd name="connsiteX0" fmla="*/ 1821231 w 1821231"/>
                <a:gd name="connsiteY0" fmla="*/ 0 h 257442"/>
                <a:gd name="connsiteX1" fmla="*/ 1766510 w 1821231"/>
                <a:gd name="connsiteY1" fmla="*/ 257442 h 257442"/>
                <a:gd name="connsiteX2" fmla="*/ 0 w 1821231"/>
                <a:gd name="connsiteY2" fmla="*/ 257442 h 257442"/>
                <a:gd name="connsiteX3" fmla="*/ 0 w 1821231"/>
                <a:gd name="connsiteY3" fmla="*/ 0 h 257442"/>
                <a:gd name="connsiteX0" fmla="*/ 1821231 w 1821231"/>
                <a:gd name="connsiteY0" fmla="*/ 0 h 257442"/>
                <a:gd name="connsiteX1" fmla="*/ 1766510 w 1821231"/>
                <a:gd name="connsiteY1" fmla="*/ 257442 h 257442"/>
                <a:gd name="connsiteX2" fmla="*/ 0 w 1821231"/>
                <a:gd name="connsiteY2" fmla="*/ 257442 h 257442"/>
                <a:gd name="connsiteX3" fmla="*/ 0 w 1821231"/>
                <a:gd name="connsiteY3" fmla="*/ 0 h 257442"/>
                <a:gd name="connsiteX0" fmla="*/ 1999165 w 1999165"/>
                <a:gd name="connsiteY0" fmla="*/ 0 h 257442"/>
                <a:gd name="connsiteX1" fmla="*/ 1766510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2167480 w 2167480"/>
                <a:gd name="connsiteY0" fmla="*/ 0 h 257442"/>
                <a:gd name="connsiteX1" fmla="*/ 1944444 w 2167480"/>
                <a:gd name="connsiteY1" fmla="*/ 257442 h 257442"/>
                <a:gd name="connsiteX2" fmla="*/ 0 w 2167480"/>
                <a:gd name="connsiteY2" fmla="*/ 257442 h 257442"/>
                <a:gd name="connsiteX3" fmla="*/ 0 w 2167480"/>
                <a:gd name="connsiteY3" fmla="*/ 0 h 257442"/>
                <a:gd name="connsiteX0" fmla="*/ 2167480 w 2167480"/>
                <a:gd name="connsiteY0" fmla="*/ 0 h 257442"/>
                <a:gd name="connsiteX1" fmla="*/ 2112758 w 2167480"/>
                <a:gd name="connsiteY1" fmla="*/ 257442 h 257442"/>
                <a:gd name="connsiteX2" fmla="*/ 0 w 2167480"/>
                <a:gd name="connsiteY2" fmla="*/ 257442 h 257442"/>
                <a:gd name="connsiteX3" fmla="*/ 0 w 2167480"/>
                <a:gd name="connsiteY3" fmla="*/ 0 h 257442"/>
                <a:gd name="connsiteX0" fmla="*/ 2167481 w 2167481"/>
                <a:gd name="connsiteY0" fmla="*/ 0 h 257442"/>
                <a:gd name="connsiteX1" fmla="*/ 2112759 w 2167481"/>
                <a:gd name="connsiteY1" fmla="*/ 257442 h 257442"/>
                <a:gd name="connsiteX2" fmla="*/ 0 w 2167481"/>
                <a:gd name="connsiteY2" fmla="*/ 257442 h 257442"/>
                <a:gd name="connsiteX3" fmla="*/ 1 w 2167481"/>
                <a:gd name="connsiteY3" fmla="*/ 0 h 257442"/>
                <a:gd name="connsiteX0" fmla="*/ 2167481 w 2167481"/>
                <a:gd name="connsiteY0" fmla="*/ 0 h 257442"/>
                <a:gd name="connsiteX1" fmla="*/ 2112759 w 2167481"/>
                <a:gd name="connsiteY1" fmla="*/ 257442 h 257442"/>
                <a:gd name="connsiteX2" fmla="*/ 0 w 2167481"/>
                <a:gd name="connsiteY2" fmla="*/ 257442 h 257442"/>
                <a:gd name="connsiteX3" fmla="*/ 1 w 2167481"/>
                <a:gd name="connsiteY3" fmla="*/ 0 h 257442"/>
                <a:gd name="connsiteX0" fmla="*/ 2327781 w 2327781"/>
                <a:gd name="connsiteY0" fmla="*/ 0 h 257442"/>
                <a:gd name="connsiteX1" fmla="*/ 2112759 w 2327781"/>
                <a:gd name="connsiteY1" fmla="*/ 257442 h 257442"/>
                <a:gd name="connsiteX2" fmla="*/ 0 w 2327781"/>
                <a:gd name="connsiteY2" fmla="*/ 257442 h 257442"/>
                <a:gd name="connsiteX3" fmla="*/ 1 w 2327781"/>
                <a:gd name="connsiteY3" fmla="*/ 0 h 257442"/>
                <a:gd name="connsiteX0" fmla="*/ 2327781 w 2327781"/>
                <a:gd name="connsiteY0" fmla="*/ 0 h 257442"/>
                <a:gd name="connsiteX1" fmla="*/ 2273060 w 2327781"/>
                <a:gd name="connsiteY1" fmla="*/ 257442 h 257442"/>
                <a:gd name="connsiteX2" fmla="*/ 0 w 2327781"/>
                <a:gd name="connsiteY2" fmla="*/ 257442 h 257442"/>
                <a:gd name="connsiteX3" fmla="*/ 1 w 2327781"/>
                <a:gd name="connsiteY3" fmla="*/ 0 h 257442"/>
                <a:gd name="connsiteX0" fmla="*/ 2327780 w 2327780"/>
                <a:gd name="connsiteY0" fmla="*/ 0 h 257442"/>
                <a:gd name="connsiteX1" fmla="*/ 2273059 w 2327780"/>
                <a:gd name="connsiteY1" fmla="*/ 257442 h 257442"/>
                <a:gd name="connsiteX2" fmla="*/ 0 w 2327780"/>
                <a:gd name="connsiteY2" fmla="*/ 257442 h 257442"/>
                <a:gd name="connsiteX3" fmla="*/ 0 w 2327780"/>
                <a:gd name="connsiteY3" fmla="*/ 0 h 257442"/>
                <a:gd name="connsiteX0" fmla="*/ 2327781 w 2327781"/>
                <a:gd name="connsiteY0" fmla="*/ 0 h 257442"/>
                <a:gd name="connsiteX1" fmla="*/ 2273060 w 2327781"/>
                <a:gd name="connsiteY1" fmla="*/ 257442 h 257442"/>
                <a:gd name="connsiteX2" fmla="*/ 1 w 2327781"/>
                <a:gd name="connsiteY2" fmla="*/ 257442 h 257442"/>
                <a:gd name="connsiteX3" fmla="*/ 0 w 2327781"/>
                <a:gd name="connsiteY3" fmla="*/ 0 h 257442"/>
                <a:gd name="connsiteX0" fmla="*/ 2167481 w 2273060"/>
                <a:gd name="connsiteY0" fmla="*/ 0 h 257442"/>
                <a:gd name="connsiteX1" fmla="*/ 2273060 w 2273060"/>
                <a:gd name="connsiteY1" fmla="*/ 257442 h 257442"/>
                <a:gd name="connsiteX2" fmla="*/ 1 w 2273060"/>
                <a:gd name="connsiteY2" fmla="*/ 257442 h 257442"/>
                <a:gd name="connsiteX3" fmla="*/ 0 w 2273060"/>
                <a:gd name="connsiteY3" fmla="*/ 0 h 257442"/>
                <a:gd name="connsiteX0" fmla="*/ 2167481 w 2167481"/>
                <a:gd name="connsiteY0" fmla="*/ 0 h 257442"/>
                <a:gd name="connsiteX1" fmla="*/ 2112760 w 2167481"/>
                <a:gd name="connsiteY1" fmla="*/ 257442 h 257442"/>
                <a:gd name="connsiteX2" fmla="*/ 1 w 2167481"/>
                <a:gd name="connsiteY2" fmla="*/ 257442 h 257442"/>
                <a:gd name="connsiteX3" fmla="*/ 0 w 2167481"/>
                <a:gd name="connsiteY3" fmla="*/ 0 h 257442"/>
                <a:gd name="connsiteX0" fmla="*/ 2167481 w 2167481"/>
                <a:gd name="connsiteY0" fmla="*/ 0 h 257442"/>
                <a:gd name="connsiteX1" fmla="*/ 2112760 w 2167481"/>
                <a:gd name="connsiteY1" fmla="*/ 257442 h 257442"/>
                <a:gd name="connsiteX2" fmla="*/ 2 w 2167481"/>
                <a:gd name="connsiteY2" fmla="*/ 257442 h 257442"/>
                <a:gd name="connsiteX3" fmla="*/ 0 w 2167481"/>
                <a:gd name="connsiteY3" fmla="*/ 0 h 257442"/>
                <a:gd name="connsiteX0" fmla="*/ 2167479 w 2167479"/>
                <a:gd name="connsiteY0" fmla="*/ 0 h 257442"/>
                <a:gd name="connsiteX1" fmla="*/ 2112758 w 2167479"/>
                <a:gd name="connsiteY1" fmla="*/ 257442 h 257442"/>
                <a:gd name="connsiteX2" fmla="*/ 0 w 2167479"/>
                <a:gd name="connsiteY2" fmla="*/ 257442 h 257442"/>
                <a:gd name="connsiteX3" fmla="*/ 0 w 2167479"/>
                <a:gd name="connsiteY3" fmla="*/ 0 h 257442"/>
                <a:gd name="connsiteX0" fmla="*/ 1999165 w 2112758"/>
                <a:gd name="connsiteY0" fmla="*/ 0 h 257442"/>
                <a:gd name="connsiteX1" fmla="*/ 2112758 w 2112758"/>
                <a:gd name="connsiteY1" fmla="*/ 257442 h 257442"/>
                <a:gd name="connsiteX2" fmla="*/ 0 w 2112758"/>
                <a:gd name="connsiteY2" fmla="*/ 257442 h 257442"/>
                <a:gd name="connsiteX3" fmla="*/ 0 w 2112758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1 w 1999165"/>
                <a:gd name="connsiteY2" fmla="*/ 257442 h 257442"/>
                <a:gd name="connsiteX3" fmla="*/ 0 w 1999165"/>
                <a:gd name="connsiteY3" fmla="*/ 0 h 257442"/>
                <a:gd name="connsiteX0" fmla="*/ 1999164 w 1999164"/>
                <a:gd name="connsiteY0" fmla="*/ 0 h 257442"/>
                <a:gd name="connsiteX1" fmla="*/ 1944443 w 1999164"/>
                <a:gd name="connsiteY1" fmla="*/ 257442 h 257442"/>
                <a:gd name="connsiteX2" fmla="*/ 0 w 1999164"/>
                <a:gd name="connsiteY2" fmla="*/ 257442 h 257442"/>
                <a:gd name="connsiteX3" fmla="*/ 0 w 1999164"/>
                <a:gd name="connsiteY3" fmla="*/ 0 h 257442"/>
                <a:gd name="connsiteX0" fmla="*/ 1821230 w 1944443"/>
                <a:gd name="connsiteY0" fmla="*/ 0 h 257442"/>
                <a:gd name="connsiteX1" fmla="*/ 1944443 w 1944443"/>
                <a:gd name="connsiteY1" fmla="*/ 257442 h 257442"/>
                <a:gd name="connsiteX2" fmla="*/ 0 w 1944443"/>
                <a:gd name="connsiteY2" fmla="*/ 257442 h 257442"/>
                <a:gd name="connsiteX3" fmla="*/ 0 w 1944443"/>
                <a:gd name="connsiteY3" fmla="*/ 0 h 257442"/>
                <a:gd name="connsiteX0" fmla="*/ 1821230 w 1821230"/>
                <a:gd name="connsiteY0" fmla="*/ 0 h 257442"/>
                <a:gd name="connsiteX1" fmla="*/ 1766510 w 1821230"/>
                <a:gd name="connsiteY1" fmla="*/ 257442 h 257442"/>
                <a:gd name="connsiteX2" fmla="*/ 0 w 1821230"/>
                <a:gd name="connsiteY2" fmla="*/ 257442 h 257442"/>
                <a:gd name="connsiteX3" fmla="*/ 0 w 1821230"/>
                <a:gd name="connsiteY3" fmla="*/ 0 h 257442"/>
                <a:gd name="connsiteX0" fmla="*/ 1821230 w 1821230"/>
                <a:gd name="connsiteY0" fmla="*/ 0 h 257442"/>
                <a:gd name="connsiteX1" fmla="*/ 1766510 w 1821230"/>
                <a:gd name="connsiteY1" fmla="*/ 257442 h 257442"/>
                <a:gd name="connsiteX2" fmla="*/ 0 w 1821230"/>
                <a:gd name="connsiteY2" fmla="*/ 257442 h 257442"/>
                <a:gd name="connsiteX3" fmla="*/ 0 w 1821230"/>
                <a:gd name="connsiteY3" fmla="*/ 0 h 257442"/>
                <a:gd name="connsiteX0" fmla="*/ 1821230 w 1821230"/>
                <a:gd name="connsiteY0" fmla="*/ 0 h 257442"/>
                <a:gd name="connsiteX1" fmla="*/ 1766510 w 1821230"/>
                <a:gd name="connsiteY1" fmla="*/ 257442 h 257442"/>
                <a:gd name="connsiteX2" fmla="*/ 0 w 1821230"/>
                <a:gd name="connsiteY2" fmla="*/ 257442 h 257442"/>
                <a:gd name="connsiteX3" fmla="*/ 0 w 1821230"/>
                <a:gd name="connsiteY3" fmla="*/ 0 h 257442"/>
                <a:gd name="connsiteX0" fmla="*/ 1652916 w 1766510"/>
                <a:gd name="connsiteY0" fmla="*/ 0 h 257442"/>
                <a:gd name="connsiteX1" fmla="*/ 1766510 w 1766510"/>
                <a:gd name="connsiteY1" fmla="*/ 257442 h 257442"/>
                <a:gd name="connsiteX2" fmla="*/ 0 w 1766510"/>
                <a:gd name="connsiteY2" fmla="*/ 257442 h 257442"/>
                <a:gd name="connsiteX3" fmla="*/ 0 w 1766510"/>
                <a:gd name="connsiteY3" fmla="*/ 0 h 257442"/>
                <a:gd name="connsiteX0" fmla="*/ 1652916 w 1652916"/>
                <a:gd name="connsiteY0" fmla="*/ 0 h 257442"/>
                <a:gd name="connsiteX1" fmla="*/ 1598195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652916 w 1652916"/>
                <a:gd name="connsiteY0" fmla="*/ 0 h 257442"/>
                <a:gd name="connsiteX1" fmla="*/ 1598195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652916 w 1652916"/>
                <a:gd name="connsiteY0" fmla="*/ 0 h 257442"/>
                <a:gd name="connsiteX1" fmla="*/ 1598195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830849 w 1830849"/>
                <a:gd name="connsiteY0" fmla="*/ 0 h 257442"/>
                <a:gd name="connsiteX1" fmla="*/ 1598195 w 1830849"/>
                <a:gd name="connsiteY1" fmla="*/ 257442 h 257442"/>
                <a:gd name="connsiteX2" fmla="*/ 0 w 1830849"/>
                <a:gd name="connsiteY2" fmla="*/ 257442 h 257442"/>
                <a:gd name="connsiteX3" fmla="*/ 0 w 1830849"/>
                <a:gd name="connsiteY3" fmla="*/ 0 h 257442"/>
                <a:gd name="connsiteX0" fmla="*/ 1830849 w 1830849"/>
                <a:gd name="connsiteY0" fmla="*/ 0 h 257442"/>
                <a:gd name="connsiteX1" fmla="*/ 1776128 w 1830849"/>
                <a:gd name="connsiteY1" fmla="*/ 257442 h 257442"/>
                <a:gd name="connsiteX2" fmla="*/ 0 w 1830849"/>
                <a:gd name="connsiteY2" fmla="*/ 257442 h 257442"/>
                <a:gd name="connsiteX3" fmla="*/ 0 w 1830849"/>
                <a:gd name="connsiteY3" fmla="*/ 0 h 257442"/>
                <a:gd name="connsiteX0" fmla="*/ 1830849 w 1830849"/>
                <a:gd name="connsiteY0" fmla="*/ 0 h 257442"/>
                <a:gd name="connsiteX1" fmla="*/ 1776128 w 1830849"/>
                <a:gd name="connsiteY1" fmla="*/ 257442 h 257442"/>
                <a:gd name="connsiteX2" fmla="*/ 0 w 1830849"/>
                <a:gd name="connsiteY2" fmla="*/ 257442 h 257442"/>
                <a:gd name="connsiteX3" fmla="*/ 0 w 1830849"/>
                <a:gd name="connsiteY3" fmla="*/ 0 h 257442"/>
                <a:gd name="connsiteX0" fmla="*/ 1830849 w 1830849"/>
                <a:gd name="connsiteY0" fmla="*/ 0 h 257442"/>
                <a:gd name="connsiteX1" fmla="*/ 1776128 w 1830849"/>
                <a:gd name="connsiteY1" fmla="*/ 257442 h 257442"/>
                <a:gd name="connsiteX2" fmla="*/ 0 w 1830849"/>
                <a:gd name="connsiteY2" fmla="*/ 257442 h 257442"/>
                <a:gd name="connsiteX3" fmla="*/ 0 w 1830849"/>
                <a:gd name="connsiteY3" fmla="*/ 0 h 257442"/>
                <a:gd name="connsiteX0" fmla="*/ 1999165 w 1999165"/>
                <a:gd name="connsiteY0" fmla="*/ 0 h 257442"/>
                <a:gd name="connsiteX1" fmla="*/ 1776128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2167480 w 2167480"/>
                <a:gd name="connsiteY0" fmla="*/ 0 h 257442"/>
                <a:gd name="connsiteX1" fmla="*/ 1944444 w 2167480"/>
                <a:gd name="connsiteY1" fmla="*/ 257442 h 257442"/>
                <a:gd name="connsiteX2" fmla="*/ 0 w 2167480"/>
                <a:gd name="connsiteY2" fmla="*/ 257442 h 257442"/>
                <a:gd name="connsiteX3" fmla="*/ 0 w 2167480"/>
                <a:gd name="connsiteY3" fmla="*/ 0 h 257442"/>
                <a:gd name="connsiteX0" fmla="*/ 2167480 w 2167480"/>
                <a:gd name="connsiteY0" fmla="*/ 0 h 257442"/>
                <a:gd name="connsiteX1" fmla="*/ 2112758 w 2167480"/>
                <a:gd name="connsiteY1" fmla="*/ 257442 h 257442"/>
                <a:gd name="connsiteX2" fmla="*/ 0 w 2167480"/>
                <a:gd name="connsiteY2" fmla="*/ 257442 h 257442"/>
                <a:gd name="connsiteX3" fmla="*/ 0 w 2167480"/>
                <a:gd name="connsiteY3" fmla="*/ 0 h 257442"/>
                <a:gd name="connsiteX0" fmla="*/ 2167481 w 2167481"/>
                <a:gd name="connsiteY0" fmla="*/ 0 h 257442"/>
                <a:gd name="connsiteX1" fmla="*/ 2112759 w 2167481"/>
                <a:gd name="connsiteY1" fmla="*/ 257442 h 257442"/>
                <a:gd name="connsiteX2" fmla="*/ 0 w 2167481"/>
                <a:gd name="connsiteY2" fmla="*/ 257442 h 257442"/>
                <a:gd name="connsiteX3" fmla="*/ 1 w 2167481"/>
                <a:gd name="connsiteY3" fmla="*/ 0 h 257442"/>
                <a:gd name="connsiteX0" fmla="*/ 2167481 w 2167481"/>
                <a:gd name="connsiteY0" fmla="*/ 0 h 257442"/>
                <a:gd name="connsiteX1" fmla="*/ 2112759 w 2167481"/>
                <a:gd name="connsiteY1" fmla="*/ 257442 h 257442"/>
                <a:gd name="connsiteX2" fmla="*/ 0 w 2167481"/>
                <a:gd name="connsiteY2" fmla="*/ 257442 h 257442"/>
                <a:gd name="connsiteX3" fmla="*/ 1 w 2167481"/>
                <a:gd name="connsiteY3" fmla="*/ 0 h 257442"/>
                <a:gd name="connsiteX0" fmla="*/ 2327781 w 2327781"/>
                <a:gd name="connsiteY0" fmla="*/ 0 h 257442"/>
                <a:gd name="connsiteX1" fmla="*/ 2112759 w 2327781"/>
                <a:gd name="connsiteY1" fmla="*/ 257442 h 257442"/>
                <a:gd name="connsiteX2" fmla="*/ 0 w 2327781"/>
                <a:gd name="connsiteY2" fmla="*/ 257442 h 257442"/>
                <a:gd name="connsiteX3" fmla="*/ 1 w 2327781"/>
                <a:gd name="connsiteY3" fmla="*/ 0 h 257442"/>
                <a:gd name="connsiteX0" fmla="*/ 2327781 w 2327781"/>
                <a:gd name="connsiteY0" fmla="*/ 0 h 257442"/>
                <a:gd name="connsiteX1" fmla="*/ 2273060 w 2327781"/>
                <a:gd name="connsiteY1" fmla="*/ 257442 h 257442"/>
                <a:gd name="connsiteX2" fmla="*/ 0 w 2327781"/>
                <a:gd name="connsiteY2" fmla="*/ 257442 h 257442"/>
                <a:gd name="connsiteX3" fmla="*/ 1 w 2327781"/>
                <a:gd name="connsiteY3" fmla="*/ 0 h 257442"/>
                <a:gd name="connsiteX0" fmla="*/ 2327780 w 2327780"/>
                <a:gd name="connsiteY0" fmla="*/ 0 h 257442"/>
                <a:gd name="connsiteX1" fmla="*/ 2273059 w 2327780"/>
                <a:gd name="connsiteY1" fmla="*/ 257442 h 257442"/>
                <a:gd name="connsiteX2" fmla="*/ 0 w 2327780"/>
                <a:gd name="connsiteY2" fmla="*/ 257442 h 257442"/>
                <a:gd name="connsiteX3" fmla="*/ 0 w 2327780"/>
                <a:gd name="connsiteY3" fmla="*/ 0 h 257442"/>
                <a:gd name="connsiteX0" fmla="*/ 2327781 w 2327781"/>
                <a:gd name="connsiteY0" fmla="*/ 0 h 257442"/>
                <a:gd name="connsiteX1" fmla="*/ 2273060 w 2327781"/>
                <a:gd name="connsiteY1" fmla="*/ 257442 h 257442"/>
                <a:gd name="connsiteX2" fmla="*/ 1 w 2327781"/>
                <a:gd name="connsiteY2" fmla="*/ 257442 h 257442"/>
                <a:gd name="connsiteX3" fmla="*/ 0 w 2327781"/>
                <a:gd name="connsiteY3" fmla="*/ 0 h 257442"/>
                <a:gd name="connsiteX0" fmla="*/ 960420 w 2273060"/>
                <a:gd name="connsiteY0" fmla="*/ 0 h 257442"/>
                <a:gd name="connsiteX1" fmla="*/ 2273060 w 2273060"/>
                <a:gd name="connsiteY1" fmla="*/ 257442 h 257442"/>
                <a:gd name="connsiteX2" fmla="*/ 1 w 2273060"/>
                <a:gd name="connsiteY2" fmla="*/ 257442 h 257442"/>
                <a:gd name="connsiteX3" fmla="*/ 0 w 2273060"/>
                <a:gd name="connsiteY3" fmla="*/ 0 h 257442"/>
                <a:gd name="connsiteX0" fmla="*/ 960420 w 960420"/>
                <a:gd name="connsiteY0" fmla="*/ 0 h 257442"/>
                <a:gd name="connsiteX1" fmla="*/ 905699 w 960420"/>
                <a:gd name="connsiteY1" fmla="*/ 257442 h 257442"/>
                <a:gd name="connsiteX2" fmla="*/ 1 w 960420"/>
                <a:gd name="connsiteY2" fmla="*/ 257442 h 257442"/>
                <a:gd name="connsiteX3" fmla="*/ 0 w 960420"/>
                <a:gd name="connsiteY3" fmla="*/ 0 h 257442"/>
                <a:gd name="connsiteX0" fmla="*/ 960420 w 960420"/>
                <a:gd name="connsiteY0" fmla="*/ 0 h 257442"/>
                <a:gd name="connsiteX1" fmla="*/ 905699 w 960420"/>
                <a:gd name="connsiteY1" fmla="*/ 257442 h 257442"/>
                <a:gd name="connsiteX2" fmla="*/ 1 w 960420"/>
                <a:gd name="connsiteY2" fmla="*/ 257442 h 257442"/>
                <a:gd name="connsiteX3" fmla="*/ 0 w 960420"/>
                <a:gd name="connsiteY3" fmla="*/ 0 h 257442"/>
                <a:gd name="connsiteX0" fmla="*/ 960419 w 960419"/>
                <a:gd name="connsiteY0" fmla="*/ 0 h 257442"/>
                <a:gd name="connsiteX1" fmla="*/ 905698 w 960419"/>
                <a:gd name="connsiteY1" fmla="*/ 257442 h 257442"/>
                <a:gd name="connsiteX2" fmla="*/ 0 w 960419"/>
                <a:gd name="connsiteY2" fmla="*/ 257442 h 257442"/>
                <a:gd name="connsiteX3" fmla="*/ 0 w 960419"/>
                <a:gd name="connsiteY3" fmla="*/ 0 h 257442"/>
                <a:gd name="connsiteX0" fmla="*/ 1128734 w 1128734"/>
                <a:gd name="connsiteY0" fmla="*/ 0 h 257442"/>
                <a:gd name="connsiteX1" fmla="*/ 905698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128734 w 1128734"/>
                <a:gd name="connsiteY0" fmla="*/ 0 h 257442"/>
                <a:gd name="connsiteX1" fmla="*/ 1074012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128735 w 1128735"/>
                <a:gd name="connsiteY0" fmla="*/ 0 h 257442"/>
                <a:gd name="connsiteX1" fmla="*/ 1074013 w 1128735"/>
                <a:gd name="connsiteY1" fmla="*/ 257442 h 257442"/>
                <a:gd name="connsiteX2" fmla="*/ 0 w 1128735"/>
                <a:gd name="connsiteY2" fmla="*/ 257442 h 257442"/>
                <a:gd name="connsiteX3" fmla="*/ 1 w 1128735"/>
                <a:gd name="connsiteY3" fmla="*/ 0 h 257442"/>
                <a:gd name="connsiteX0" fmla="*/ 1128735 w 1128735"/>
                <a:gd name="connsiteY0" fmla="*/ 0 h 257442"/>
                <a:gd name="connsiteX1" fmla="*/ 1074013 w 1128735"/>
                <a:gd name="connsiteY1" fmla="*/ 257442 h 257442"/>
                <a:gd name="connsiteX2" fmla="*/ 0 w 1128735"/>
                <a:gd name="connsiteY2" fmla="*/ 257442 h 257442"/>
                <a:gd name="connsiteX3" fmla="*/ 1 w 1128735"/>
                <a:gd name="connsiteY3" fmla="*/ 0 h 257442"/>
                <a:gd name="connsiteX0" fmla="*/ 1306669 w 1306669"/>
                <a:gd name="connsiteY0" fmla="*/ 0 h 257442"/>
                <a:gd name="connsiteX1" fmla="*/ 1074013 w 1306669"/>
                <a:gd name="connsiteY1" fmla="*/ 257442 h 257442"/>
                <a:gd name="connsiteX2" fmla="*/ 0 w 1306669"/>
                <a:gd name="connsiteY2" fmla="*/ 257442 h 257442"/>
                <a:gd name="connsiteX3" fmla="*/ 1 w 1306669"/>
                <a:gd name="connsiteY3" fmla="*/ 0 h 257442"/>
                <a:gd name="connsiteX0" fmla="*/ 1306669 w 1306669"/>
                <a:gd name="connsiteY0" fmla="*/ 0 h 257442"/>
                <a:gd name="connsiteX1" fmla="*/ 1251948 w 1306669"/>
                <a:gd name="connsiteY1" fmla="*/ 257442 h 257442"/>
                <a:gd name="connsiteX2" fmla="*/ 0 w 1306669"/>
                <a:gd name="connsiteY2" fmla="*/ 257442 h 257442"/>
                <a:gd name="connsiteX3" fmla="*/ 1 w 1306669"/>
                <a:gd name="connsiteY3" fmla="*/ 0 h 257442"/>
                <a:gd name="connsiteX0" fmla="*/ 1306668 w 1306668"/>
                <a:gd name="connsiteY0" fmla="*/ 0 h 257442"/>
                <a:gd name="connsiteX1" fmla="*/ 1251947 w 1306668"/>
                <a:gd name="connsiteY1" fmla="*/ 257442 h 257442"/>
                <a:gd name="connsiteX2" fmla="*/ 0 w 1306668"/>
                <a:gd name="connsiteY2" fmla="*/ 257442 h 257442"/>
                <a:gd name="connsiteX3" fmla="*/ 0 w 1306668"/>
                <a:gd name="connsiteY3" fmla="*/ 0 h 257442"/>
                <a:gd name="connsiteX0" fmla="*/ 1306669 w 1306669"/>
                <a:gd name="connsiteY0" fmla="*/ 0 h 257442"/>
                <a:gd name="connsiteX1" fmla="*/ 1251948 w 1306669"/>
                <a:gd name="connsiteY1" fmla="*/ 257442 h 257442"/>
                <a:gd name="connsiteX2" fmla="*/ 1 w 1306669"/>
                <a:gd name="connsiteY2" fmla="*/ 257442 h 257442"/>
                <a:gd name="connsiteX3" fmla="*/ 0 w 1306669"/>
                <a:gd name="connsiteY3" fmla="*/ 0 h 257442"/>
                <a:gd name="connsiteX0" fmla="*/ 1407657 w 1407657"/>
                <a:gd name="connsiteY0" fmla="*/ 0 h 257442"/>
                <a:gd name="connsiteX1" fmla="*/ 1251948 w 1407657"/>
                <a:gd name="connsiteY1" fmla="*/ 257442 h 257442"/>
                <a:gd name="connsiteX2" fmla="*/ 1 w 1407657"/>
                <a:gd name="connsiteY2" fmla="*/ 257442 h 257442"/>
                <a:gd name="connsiteX3" fmla="*/ 0 w 1407657"/>
                <a:gd name="connsiteY3" fmla="*/ 0 h 257442"/>
                <a:gd name="connsiteX0" fmla="*/ 1407657 w 1407657"/>
                <a:gd name="connsiteY0" fmla="*/ 0 h 257442"/>
                <a:gd name="connsiteX1" fmla="*/ 1352936 w 1407657"/>
                <a:gd name="connsiteY1" fmla="*/ 257442 h 257442"/>
                <a:gd name="connsiteX2" fmla="*/ 1 w 1407657"/>
                <a:gd name="connsiteY2" fmla="*/ 257442 h 257442"/>
                <a:gd name="connsiteX3" fmla="*/ 0 w 1407657"/>
                <a:gd name="connsiteY3" fmla="*/ 0 h 257442"/>
                <a:gd name="connsiteX0" fmla="*/ 1407657 w 1407657"/>
                <a:gd name="connsiteY0" fmla="*/ 0 h 257442"/>
                <a:gd name="connsiteX1" fmla="*/ 1352936 w 1407657"/>
                <a:gd name="connsiteY1" fmla="*/ 257442 h 257442"/>
                <a:gd name="connsiteX2" fmla="*/ 1 w 1407657"/>
                <a:gd name="connsiteY2" fmla="*/ 257442 h 257442"/>
                <a:gd name="connsiteX3" fmla="*/ 0 w 1407657"/>
                <a:gd name="connsiteY3" fmla="*/ 0 h 257442"/>
                <a:gd name="connsiteX0" fmla="*/ 1407656 w 1407656"/>
                <a:gd name="connsiteY0" fmla="*/ 0 h 257442"/>
                <a:gd name="connsiteX1" fmla="*/ 1352935 w 1407656"/>
                <a:gd name="connsiteY1" fmla="*/ 257442 h 257442"/>
                <a:gd name="connsiteX2" fmla="*/ 0 w 1407656"/>
                <a:gd name="connsiteY2" fmla="*/ 257442 h 257442"/>
                <a:gd name="connsiteX3" fmla="*/ 0 w 1407656"/>
                <a:gd name="connsiteY3" fmla="*/ 0 h 257442"/>
                <a:gd name="connsiteX0" fmla="*/ 1585589 w 1585589"/>
                <a:gd name="connsiteY0" fmla="*/ 0 h 257442"/>
                <a:gd name="connsiteX1" fmla="*/ 1352935 w 1585589"/>
                <a:gd name="connsiteY1" fmla="*/ 257442 h 257442"/>
                <a:gd name="connsiteX2" fmla="*/ 0 w 1585589"/>
                <a:gd name="connsiteY2" fmla="*/ 257442 h 257442"/>
                <a:gd name="connsiteX3" fmla="*/ 0 w 1585589"/>
                <a:gd name="connsiteY3" fmla="*/ 0 h 257442"/>
                <a:gd name="connsiteX0" fmla="*/ 1585589 w 1585589"/>
                <a:gd name="connsiteY0" fmla="*/ 0 h 257442"/>
                <a:gd name="connsiteX1" fmla="*/ 1530868 w 1585589"/>
                <a:gd name="connsiteY1" fmla="*/ 257442 h 257442"/>
                <a:gd name="connsiteX2" fmla="*/ 0 w 1585589"/>
                <a:gd name="connsiteY2" fmla="*/ 257442 h 257442"/>
                <a:gd name="connsiteX3" fmla="*/ 0 w 1585589"/>
                <a:gd name="connsiteY3" fmla="*/ 0 h 257442"/>
                <a:gd name="connsiteX0" fmla="*/ 1585590 w 1585590"/>
                <a:gd name="connsiteY0" fmla="*/ 0 h 257442"/>
                <a:gd name="connsiteX1" fmla="*/ 1530869 w 1585590"/>
                <a:gd name="connsiteY1" fmla="*/ 257442 h 257442"/>
                <a:gd name="connsiteX2" fmla="*/ 0 w 1585590"/>
                <a:gd name="connsiteY2" fmla="*/ 257442 h 257442"/>
                <a:gd name="connsiteX3" fmla="*/ 1 w 1585590"/>
                <a:gd name="connsiteY3" fmla="*/ 0 h 257442"/>
                <a:gd name="connsiteX0" fmla="*/ 1585590 w 1585590"/>
                <a:gd name="connsiteY0" fmla="*/ 0 h 257442"/>
                <a:gd name="connsiteX1" fmla="*/ 1530869 w 1585590"/>
                <a:gd name="connsiteY1" fmla="*/ 257442 h 257442"/>
                <a:gd name="connsiteX2" fmla="*/ 0 w 1585590"/>
                <a:gd name="connsiteY2" fmla="*/ 257442 h 257442"/>
                <a:gd name="connsiteX3" fmla="*/ 0 w 1585590"/>
                <a:gd name="connsiteY3" fmla="*/ 0 h 257442"/>
                <a:gd name="connsiteX0" fmla="*/ 1745891 w 1745891"/>
                <a:gd name="connsiteY0" fmla="*/ 0 h 257442"/>
                <a:gd name="connsiteX1" fmla="*/ 1530869 w 1745891"/>
                <a:gd name="connsiteY1" fmla="*/ 257442 h 257442"/>
                <a:gd name="connsiteX2" fmla="*/ 0 w 1745891"/>
                <a:gd name="connsiteY2" fmla="*/ 257442 h 257442"/>
                <a:gd name="connsiteX3" fmla="*/ 0 w 1745891"/>
                <a:gd name="connsiteY3" fmla="*/ 0 h 257442"/>
                <a:gd name="connsiteX0" fmla="*/ 1745891 w 1745891"/>
                <a:gd name="connsiteY0" fmla="*/ 0 h 257442"/>
                <a:gd name="connsiteX1" fmla="*/ 1691170 w 1745891"/>
                <a:gd name="connsiteY1" fmla="*/ 257442 h 257442"/>
                <a:gd name="connsiteX2" fmla="*/ 0 w 1745891"/>
                <a:gd name="connsiteY2" fmla="*/ 257442 h 257442"/>
                <a:gd name="connsiteX3" fmla="*/ 0 w 1745891"/>
                <a:gd name="connsiteY3" fmla="*/ 0 h 257442"/>
                <a:gd name="connsiteX0" fmla="*/ 1745891 w 1745891"/>
                <a:gd name="connsiteY0" fmla="*/ 0 h 257442"/>
                <a:gd name="connsiteX1" fmla="*/ 1691170 w 1745891"/>
                <a:gd name="connsiteY1" fmla="*/ 257442 h 257442"/>
                <a:gd name="connsiteX2" fmla="*/ 0 w 1745891"/>
                <a:gd name="connsiteY2" fmla="*/ 257442 h 257442"/>
                <a:gd name="connsiteX3" fmla="*/ 0 w 1745891"/>
                <a:gd name="connsiteY3" fmla="*/ 0 h 257442"/>
                <a:gd name="connsiteX0" fmla="*/ 1745891 w 1745891"/>
                <a:gd name="connsiteY0" fmla="*/ 0 h 257442"/>
                <a:gd name="connsiteX1" fmla="*/ 1691170 w 1745891"/>
                <a:gd name="connsiteY1" fmla="*/ 257442 h 257442"/>
                <a:gd name="connsiteX2" fmla="*/ 0 w 1745891"/>
                <a:gd name="connsiteY2" fmla="*/ 257442 h 257442"/>
                <a:gd name="connsiteX3" fmla="*/ 0 w 1745891"/>
                <a:gd name="connsiteY3" fmla="*/ 0 h 257442"/>
                <a:gd name="connsiteX0" fmla="*/ 1906191 w 1906191"/>
                <a:gd name="connsiteY0" fmla="*/ 0 h 257442"/>
                <a:gd name="connsiteX1" fmla="*/ 1691170 w 1906191"/>
                <a:gd name="connsiteY1" fmla="*/ 257442 h 257442"/>
                <a:gd name="connsiteX2" fmla="*/ 0 w 1906191"/>
                <a:gd name="connsiteY2" fmla="*/ 257442 h 257442"/>
                <a:gd name="connsiteX3" fmla="*/ 0 w 1906191"/>
                <a:gd name="connsiteY3" fmla="*/ 0 h 257442"/>
                <a:gd name="connsiteX0" fmla="*/ 1906191 w 1906191"/>
                <a:gd name="connsiteY0" fmla="*/ 0 h 257442"/>
                <a:gd name="connsiteX1" fmla="*/ 1851470 w 1906191"/>
                <a:gd name="connsiteY1" fmla="*/ 257442 h 257442"/>
                <a:gd name="connsiteX2" fmla="*/ 0 w 1906191"/>
                <a:gd name="connsiteY2" fmla="*/ 257442 h 257442"/>
                <a:gd name="connsiteX3" fmla="*/ 0 w 1906191"/>
                <a:gd name="connsiteY3" fmla="*/ 0 h 257442"/>
                <a:gd name="connsiteX0" fmla="*/ 1906191 w 1906191"/>
                <a:gd name="connsiteY0" fmla="*/ 0 h 257442"/>
                <a:gd name="connsiteX1" fmla="*/ 1851470 w 1906191"/>
                <a:gd name="connsiteY1" fmla="*/ 257442 h 257442"/>
                <a:gd name="connsiteX2" fmla="*/ 0 w 1906191"/>
                <a:gd name="connsiteY2" fmla="*/ 257442 h 257442"/>
                <a:gd name="connsiteX3" fmla="*/ 0 w 1906191"/>
                <a:gd name="connsiteY3" fmla="*/ 0 h 257442"/>
                <a:gd name="connsiteX0" fmla="*/ 1906191 w 1906191"/>
                <a:gd name="connsiteY0" fmla="*/ 0 h 257442"/>
                <a:gd name="connsiteX1" fmla="*/ 1851470 w 1906191"/>
                <a:gd name="connsiteY1" fmla="*/ 257442 h 257442"/>
                <a:gd name="connsiteX2" fmla="*/ 0 w 1906191"/>
                <a:gd name="connsiteY2" fmla="*/ 257442 h 257442"/>
                <a:gd name="connsiteX3" fmla="*/ 0 w 1906191"/>
                <a:gd name="connsiteY3" fmla="*/ 0 h 257442"/>
                <a:gd name="connsiteX0" fmla="*/ 2074506 w 2074506"/>
                <a:gd name="connsiteY0" fmla="*/ 0 h 257442"/>
                <a:gd name="connsiteX1" fmla="*/ 1851470 w 2074506"/>
                <a:gd name="connsiteY1" fmla="*/ 257442 h 257442"/>
                <a:gd name="connsiteX2" fmla="*/ 0 w 2074506"/>
                <a:gd name="connsiteY2" fmla="*/ 257442 h 257442"/>
                <a:gd name="connsiteX3" fmla="*/ 0 w 2074506"/>
                <a:gd name="connsiteY3" fmla="*/ 0 h 257442"/>
                <a:gd name="connsiteX0" fmla="*/ 2074506 w 2074506"/>
                <a:gd name="connsiteY0" fmla="*/ 0 h 257442"/>
                <a:gd name="connsiteX1" fmla="*/ 2019784 w 2074506"/>
                <a:gd name="connsiteY1" fmla="*/ 257442 h 257442"/>
                <a:gd name="connsiteX2" fmla="*/ 0 w 2074506"/>
                <a:gd name="connsiteY2" fmla="*/ 257442 h 257442"/>
                <a:gd name="connsiteX3" fmla="*/ 0 w 2074506"/>
                <a:gd name="connsiteY3" fmla="*/ 0 h 257442"/>
                <a:gd name="connsiteX0" fmla="*/ 2074507 w 2074507"/>
                <a:gd name="connsiteY0" fmla="*/ 0 h 257442"/>
                <a:gd name="connsiteX1" fmla="*/ 2019785 w 2074507"/>
                <a:gd name="connsiteY1" fmla="*/ 257442 h 257442"/>
                <a:gd name="connsiteX2" fmla="*/ 0 w 2074507"/>
                <a:gd name="connsiteY2" fmla="*/ 257442 h 257442"/>
                <a:gd name="connsiteX3" fmla="*/ 1 w 2074507"/>
                <a:gd name="connsiteY3" fmla="*/ 0 h 257442"/>
                <a:gd name="connsiteX0" fmla="*/ 2074507 w 2074507"/>
                <a:gd name="connsiteY0" fmla="*/ 0 h 257442"/>
                <a:gd name="connsiteX1" fmla="*/ 2019785 w 2074507"/>
                <a:gd name="connsiteY1" fmla="*/ 257442 h 257442"/>
                <a:gd name="connsiteX2" fmla="*/ 0 w 2074507"/>
                <a:gd name="connsiteY2" fmla="*/ 257442 h 257442"/>
                <a:gd name="connsiteX3" fmla="*/ 1 w 2074507"/>
                <a:gd name="connsiteY3" fmla="*/ 0 h 257442"/>
                <a:gd name="connsiteX0" fmla="*/ 2232050 w 2232050"/>
                <a:gd name="connsiteY0" fmla="*/ 0 h 257442"/>
                <a:gd name="connsiteX1" fmla="*/ 2019785 w 2232050"/>
                <a:gd name="connsiteY1" fmla="*/ 257442 h 257442"/>
                <a:gd name="connsiteX2" fmla="*/ 0 w 2232050"/>
                <a:gd name="connsiteY2" fmla="*/ 257442 h 257442"/>
                <a:gd name="connsiteX3" fmla="*/ 1 w 2232050"/>
                <a:gd name="connsiteY3" fmla="*/ 0 h 257442"/>
                <a:gd name="connsiteX0" fmla="*/ 2232050 w 2232050"/>
                <a:gd name="connsiteY0" fmla="*/ 0 h 257442"/>
                <a:gd name="connsiteX1" fmla="*/ 2177328 w 2232050"/>
                <a:gd name="connsiteY1" fmla="*/ 257442 h 257442"/>
                <a:gd name="connsiteX2" fmla="*/ 0 w 2232050"/>
                <a:gd name="connsiteY2" fmla="*/ 257442 h 257442"/>
                <a:gd name="connsiteX3" fmla="*/ 1 w 2232050"/>
                <a:gd name="connsiteY3" fmla="*/ 0 h 257442"/>
                <a:gd name="connsiteX0" fmla="*/ 2232050 w 2232050"/>
                <a:gd name="connsiteY0" fmla="*/ 0 h 257442"/>
                <a:gd name="connsiteX1" fmla="*/ 2177328 w 2232050"/>
                <a:gd name="connsiteY1" fmla="*/ 257442 h 257442"/>
                <a:gd name="connsiteX2" fmla="*/ 0 w 2232050"/>
                <a:gd name="connsiteY2" fmla="*/ 257442 h 257442"/>
                <a:gd name="connsiteX3" fmla="*/ 1 w 2232050"/>
                <a:gd name="connsiteY3" fmla="*/ 0 h 257442"/>
                <a:gd name="connsiteX0" fmla="*/ 2232050 w 2232050"/>
                <a:gd name="connsiteY0" fmla="*/ 0 h 257442"/>
                <a:gd name="connsiteX1" fmla="*/ 2177328 w 2232050"/>
                <a:gd name="connsiteY1" fmla="*/ 257442 h 257442"/>
                <a:gd name="connsiteX2" fmla="*/ 0 w 2232050"/>
                <a:gd name="connsiteY2" fmla="*/ 257442 h 257442"/>
                <a:gd name="connsiteX3" fmla="*/ 0 w 2232050"/>
                <a:gd name="connsiteY3" fmla="*/ 0 h 257442"/>
                <a:gd name="connsiteX0" fmla="*/ 2333038 w 2333038"/>
                <a:gd name="connsiteY0" fmla="*/ 0 h 257442"/>
                <a:gd name="connsiteX1" fmla="*/ 2177328 w 2333038"/>
                <a:gd name="connsiteY1" fmla="*/ 257442 h 257442"/>
                <a:gd name="connsiteX2" fmla="*/ 0 w 2333038"/>
                <a:gd name="connsiteY2" fmla="*/ 257442 h 257442"/>
                <a:gd name="connsiteX3" fmla="*/ 0 w 2333038"/>
                <a:gd name="connsiteY3" fmla="*/ 0 h 257442"/>
                <a:gd name="connsiteX0" fmla="*/ 2333038 w 2333038"/>
                <a:gd name="connsiteY0" fmla="*/ 0 h 257442"/>
                <a:gd name="connsiteX1" fmla="*/ 2278317 w 2333038"/>
                <a:gd name="connsiteY1" fmla="*/ 257442 h 257442"/>
                <a:gd name="connsiteX2" fmla="*/ 0 w 2333038"/>
                <a:gd name="connsiteY2" fmla="*/ 257442 h 257442"/>
                <a:gd name="connsiteX3" fmla="*/ 0 w 2333038"/>
                <a:gd name="connsiteY3" fmla="*/ 0 h 257442"/>
                <a:gd name="connsiteX0" fmla="*/ 2333038 w 2333038"/>
                <a:gd name="connsiteY0" fmla="*/ 0 h 257442"/>
                <a:gd name="connsiteX1" fmla="*/ 2278317 w 2333038"/>
                <a:gd name="connsiteY1" fmla="*/ 257442 h 257442"/>
                <a:gd name="connsiteX2" fmla="*/ 0 w 2333038"/>
                <a:gd name="connsiteY2" fmla="*/ 257442 h 257442"/>
                <a:gd name="connsiteX3" fmla="*/ 0 w 2333038"/>
                <a:gd name="connsiteY3" fmla="*/ 0 h 257442"/>
                <a:gd name="connsiteX0" fmla="*/ 2333038 w 2333038"/>
                <a:gd name="connsiteY0" fmla="*/ 0 h 257442"/>
                <a:gd name="connsiteX1" fmla="*/ 2278317 w 2333038"/>
                <a:gd name="connsiteY1" fmla="*/ 257442 h 257442"/>
                <a:gd name="connsiteX2" fmla="*/ 0 w 2333038"/>
                <a:gd name="connsiteY2" fmla="*/ 257442 h 257442"/>
                <a:gd name="connsiteX3" fmla="*/ 0 w 2333038"/>
                <a:gd name="connsiteY3" fmla="*/ 0 h 257442"/>
                <a:gd name="connsiteX0" fmla="*/ 2493338 w 2493338"/>
                <a:gd name="connsiteY0" fmla="*/ 0 h 257442"/>
                <a:gd name="connsiteX1" fmla="*/ 2278317 w 2493338"/>
                <a:gd name="connsiteY1" fmla="*/ 257442 h 257442"/>
                <a:gd name="connsiteX2" fmla="*/ 0 w 2493338"/>
                <a:gd name="connsiteY2" fmla="*/ 257442 h 257442"/>
                <a:gd name="connsiteX3" fmla="*/ 0 w 2493338"/>
                <a:gd name="connsiteY3" fmla="*/ 0 h 257442"/>
                <a:gd name="connsiteX0" fmla="*/ 2493338 w 2493338"/>
                <a:gd name="connsiteY0" fmla="*/ 0 h 257442"/>
                <a:gd name="connsiteX1" fmla="*/ 2438617 w 2493338"/>
                <a:gd name="connsiteY1" fmla="*/ 257442 h 257442"/>
                <a:gd name="connsiteX2" fmla="*/ 0 w 2493338"/>
                <a:gd name="connsiteY2" fmla="*/ 257442 h 257442"/>
                <a:gd name="connsiteX3" fmla="*/ 0 w 2493338"/>
                <a:gd name="connsiteY3" fmla="*/ 0 h 257442"/>
                <a:gd name="connsiteX0" fmla="*/ 2493338 w 2493338"/>
                <a:gd name="connsiteY0" fmla="*/ 0 h 257442"/>
                <a:gd name="connsiteX1" fmla="*/ 2438617 w 2493338"/>
                <a:gd name="connsiteY1" fmla="*/ 257442 h 257442"/>
                <a:gd name="connsiteX2" fmla="*/ 0 w 2493338"/>
                <a:gd name="connsiteY2" fmla="*/ 257442 h 257442"/>
                <a:gd name="connsiteX3" fmla="*/ 0 w 2493338"/>
                <a:gd name="connsiteY3" fmla="*/ 0 h 257442"/>
                <a:gd name="connsiteX0" fmla="*/ 2493338 w 2493338"/>
                <a:gd name="connsiteY0" fmla="*/ 0 h 257442"/>
                <a:gd name="connsiteX1" fmla="*/ 2438617 w 2493338"/>
                <a:gd name="connsiteY1" fmla="*/ 257442 h 257442"/>
                <a:gd name="connsiteX2" fmla="*/ 0 w 2493338"/>
                <a:gd name="connsiteY2" fmla="*/ 257442 h 257442"/>
                <a:gd name="connsiteX3" fmla="*/ 0 w 2493338"/>
                <a:gd name="connsiteY3" fmla="*/ 0 h 257442"/>
                <a:gd name="connsiteX0" fmla="*/ 2696920 w 2696920"/>
                <a:gd name="connsiteY0" fmla="*/ 0 h 257442"/>
                <a:gd name="connsiteX1" fmla="*/ 2438617 w 2696920"/>
                <a:gd name="connsiteY1" fmla="*/ 257442 h 257442"/>
                <a:gd name="connsiteX2" fmla="*/ 0 w 2696920"/>
                <a:gd name="connsiteY2" fmla="*/ 257442 h 257442"/>
                <a:gd name="connsiteX3" fmla="*/ 0 w 2696920"/>
                <a:gd name="connsiteY3" fmla="*/ 0 h 257442"/>
                <a:gd name="connsiteX0" fmla="*/ 2696920 w 2696920"/>
                <a:gd name="connsiteY0" fmla="*/ 0 h 257442"/>
                <a:gd name="connsiteX1" fmla="*/ 2642199 w 2696920"/>
                <a:gd name="connsiteY1" fmla="*/ 257442 h 257442"/>
                <a:gd name="connsiteX2" fmla="*/ 0 w 2696920"/>
                <a:gd name="connsiteY2" fmla="*/ 257442 h 257442"/>
                <a:gd name="connsiteX3" fmla="*/ 0 w 2696920"/>
                <a:gd name="connsiteY3" fmla="*/ 0 h 257442"/>
                <a:gd name="connsiteX0" fmla="*/ 2696920 w 2696920"/>
                <a:gd name="connsiteY0" fmla="*/ 0 h 257442"/>
                <a:gd name="connsiteX1" fmla="*/ 2642199 w 2696920"/>
                <a:gd name="connsiteY1" fmla="*/ 257442 h 257442"/>
                <a:gd name="connsiteX2" fmla="*/ 0 w 2696920"/>
                <a:gd name="connsiteY2" fmla="*/ 257442 h 257442"/>
                <a:gd name="connsiteX3" fmla="*/ 0 w 2696920"/>
                <a:gd name="connsiteY3" fmla="*/ 0 h 257442"/>
                <a:gd name="connsiteX0" fmla="*/ 2696920 w 2696920"/>
                <a:gd name="connsiteY0" fmla="*/ 0 h 257442"/>
                <a:gd name="connsiteX1" fmla="*/ 2642199 w 2696920"/>
                <a:gd name="connsiteY1" fmla="*/ 257442 h 257442"/>
                <a:gd name="connsiteX2" fmla="*/ 0 w 2696920"/>
                <a:gd name="connsiteY2" fmla="*/ 257442 h 257442"/>
                <a:gd name="connsiteX3" fmla="*/ 0 w 2696920"/>
                <a:gd name="connsiteY3" fmla="*/ 0 h 257442"/>
                <a:gd name="connsiteX0" fmla="*/ 986067 w 2642199"/>
                <a:gd name="connsiteY0" fmla="*/ 0 h 257442"/>
                <a:gd name="connsiteX1" fmla="*/ 2642199 w 2642199"/>
                <a:gd name="connsiteY1" fmla="*/ 257442 h 257442"/>
                <a:gd name="connsiteX2" fmla="*/ 0 w 2642199"/>
                <a:gd name="connsiteY2" fmla="*/ 257442 h 257442"/>
                <a:gd name="connsiteX3" fmla="*/ 0 w 2642199"/>
                <a:gd name="connsiteY3" fmla="*/ 0 h 257442"/>
                <a:gd name="connsiteX0" fmla="*/ 986067 w 986067"/>
                <a:gd name="connsiteY0" fmla="*/ 0 h 257442"/>
                <a:gd name="connsiteX1" fmla="*/ 931347 w 986067"/>
                <a:gd name="connsiteY1" fmla="*/ 257442 h 257442"/>
                <a:gd name="connsiteX2" fmla="*/ 0 w 986067"/>
                <a:gd name="connsiteY2" fmla="*/ 257442 h 257442"/>
                <a:gd name="connsiteX3" fmla="*/ 0 w 986067"/>
                <a:gd name="connsiteY3" fmla="*/ 0 h 257442"/>
                <a:gd name="connsiteX0" fmla="*/ 986067 w 986067"/>
                <a:gd name="connsiteY0" fmla="*/ 0 h 257442"/>
                <a:gd name="connsiteX1" fmla="*/ 931347 w 986067"/>
                <a:gd name="connsiteY1" fmla="*/ 257442 h 257442"/>
                <a:gd name="connsiteX2" fmla="*/ 1 w 986067"/>
                <a:gd name="connsiteY2" fmla="*/ 257442 h 257442"/>
                <a:gd name="connsiteX3" fmla="*/ 0 w 986067"/>
                <a:gd name="connsiteY3" fmla="*/ 0 h 257442"/>
                <a:gd name="connsiteX0" fmla="*/ 986066 w 986066"/>
                <a:gd name="connsiteY0" fmla="*/ 0 h 257442"/>
                <a:gd name="connsiteX1" fmla="*/ 931346 w 986066"/>
                <a:gd name="connsiteY1" fmla="*/ 257442 h 257442"/>
                <a:gd name="connsiteX2" fmla="*/ 0 w 986066"/>
                <a:gd name="connsiteY2" fmla="*/ 257442 h 257442"/>
                <a:gd name="connsiteX3" fmla="*/ 0 w 986066"/>
                <a:gd name="connsiteY3" fmla="*/ 0 h 257442"/>
                <a:gd name="connsiteX0" fmla="*/ 1163999 w 1163999"/>
                <a:gd name="connsiteY0" fmla="*/ 0 h 257442"/>
                <a:gd name="connsiteX1" fmla="*/ 931346 w 1163999"/>
                <a:gd name="connsiteY1" fmla="*/ 257442 h 257442"/>
                <a:gd name="connsiteX2" fmla="*/ 0 w 1163999"/>
                <a:gd name="connsiteY2" fmla="*/ 257442 h 257442"/>
                <a:gd name="connsiteX3" fmla="*/ 0 w 1163999"/>
                <a:gd name="connsiteY3" fmla="*/ 0 h 257442"/>
                <a:gd name="connsiteX0" fmla="*/ 1163999 w 1163999"/>
                <a:gd name="connsiteY0" fmla="*/ 0 h 257442"/>
                <a:gd name="connsiteX1" fmla="*/ 1109278 w 1163999"/>
                <a:gd name="connsiteY1" fmla="*/ 257442 h 257442"/>
                <a:gd name="connsiteX2" fmla="*/ 0 w 1163999"/>
                <a:gd name="connsiteY2" fmla="*/ 257442 h 257442"/>
                <a:gd name="connsiteX3" fmla="*/ 0 w 1163999"/>
                <a:gd name="connsiteY3" fmla="*/ 0 h 257442"/>
                <a:gd name="connsiteX0" fmla="*/ 1164000 w 1164000"/>
                <a:gd name="connsiteY0" fmla="*/ 0 h 257442"/>
                <a:gd name="connsiteX1" fmla="*/ 1109279 w 1164000"/>
                <a:gd name="connsiteY1" fmla="*/ 257442 h 257442"/>
                <a:gd name="connsiteX2" fmla="*/ 0 w 1164000"/>
                <a:gd name="connsiteY2" fmla="*/ 257442 h 257442"/>
                <a:gd name="connsiteX3" fmla="*/ 1 w 1164000"/>
                <a:gd name="connsiteY3" fmla="*/ 0 h 257442"/>
                <a:gd name="connsiteX0" fmla="*/ 1164000 w 1164000"/>
                <a:gd name="connsiteY0" fmla="*/ 0 h 257442"/>
                <a:gd name="connsiteX1" fmla="*/ 1109279 w 1164000"/>
                <a:gd name="connsiteY1" fmla="*/ 257442 h 257442"/>
                <a:gd name="connsiteX2" fmla="*/ 0 w 1164000"/>
                <a:gd name="connsiteY2" fmla="*/ 257442 h 257442"/>
                <a:gd name="connsiteX3" fmla="*/ 0 w 1164000"/>
                <a:gd name="connsiteY3" fmla="*/ 0 h 257442"/>
                <a:gd name="connsiteX0" fmla="*/ 1332316 w 1332316"/>
                <a:gd name="connsiteY0" fmla="*/ 0 h 257442"/>
                <a:gd name="connsiteX1" fmla="*/ 1109279 w 1332316"/>
                <a:gd name="connsiteY1" fmla="*/ 257442 h 257442"/>
                <a:gd name="connsiteX2" fmla="*/ 0 w 1332316"/>
                <a:gd name="connsiteY2" fmla="*/ 257442 h 257442"/>
                <a:gd name="connsiteX3" fmla="*/ 0 w 1332316"/>
                <a:gd name="connsiteY3" fmla="*/ 0 h 257442"/>
                <a:gd name="connsiteX0" fmla="*/ 1332316 w 1332316"/>
                <a:gd name="connsiteY0" fmla="*/ 0 h 257442"/>
                <a:gd name="connsiteX1" fmla="*/ 1277595 w 1332316"/>
                <a:gd name="connsiteY1" fmla="*/ 257442 h 257442"/>
                <a:gd name="connsiteX2" fmla="*/ 0 w 1332316"/>
                <a:gd name="connsiteY2" fmla="*/ 257442 h 257442"/>
                <a:gd name="connsiteX3" fmla="*/ 0 w 1332316"/>
                <a:gd name="connsiteY3" fmla="*/ 0 h 257442"/>
                <a:gd name="connsiteX0" fmla="*/ 1332316 w 1332316"/>
                <a:gd name="connsiteY0" fmla="*/ 0 h 257442"/>
                <a:gd name="connsiteX1" fmla="*/ 1277595 w 1332316"/>
                <a:gd name="connsiteY1" fmla="*/ 257442 h 257442"/>
                <a:gd name="connsiteX2" fmla="*/ 0 w 1332316"/>
                <a:gd name="connsiteY2" fmla="*/ 257442 h 257442"/>
                <a:gd name="connsiteX3" fmla="*/ 0 w 1332316"/>
                <a:gd name="connsiteY3" fmla="*/ 0 h 257442"/>
                <a:gd name="connsiteX0" fmla="*/ 1332316 w 1332316"/>
                <a:gd name="connsiteY0" fmla="*/ 0 h 257442"/>
                <a:gd name="connsiteX1" fmla="*/ 1277595 w 1332316"/>
                <a:gd name="connsiteY1" fmla="*/ 257442 h 257442"/>
                <a:gd name="connsiteX2" fmla="*/ 0 w 1332316"/>
                <a:gd name="connsiteY2" fmla="*/ 257442 h 257442"/>
                <a:gd name="connsiteX3" fmla="*/ 0 w 1332316"/>
                <a:gd name="connsiteY3" fmla="*/ 0 h 257442"/>
                <a:gd name="connsiteX0" fmla="*/ 1500631 w 1500631"/>
                <a:gd name="connsiteY0" fmla="*/ 0 h 257442"/>
                <a:gd name="connsiteX1" fmla="*/ 1277595 w 1500631"/>
                <a:gd name="connsiteY1" fmla="*/ 257442 h 257442"/>
                <a:gd name="connsiteX2" fmla="*/ 0 w 1500631"/>
                <a:gd name="connsiteY2" fmla="*/ 257442 h 257442"/>
                <a:gd name="connsiteX3" fmla="*/ 0 w 1500631"/>
                <a:gd name="connsiteY3" fmla="*/ 0 h 257442"/>
                <a:gd name="connsiteX0" fmla="*/ 1500631 w 1500631"/>
                <a:gd name="connsiteY0" fmla="*/ 0 h 257442"/>
                <a:gd name="connsiteX1" fmla="*/ 1445910 w 1500631"/>
                <a:gd name="connsiteY1" fmla="*/ 257442 h 257442"/>
                <a:gd name="connsiteX2" fmla="*/ 0 w 1500631"/>
                <a:gd name="connsiteY2" fmla="*/ 257442 h 257442"/>
                <a:gd name="connsiteX3" fmla="*/ 0 w 1500631"/>
                <a:gd name="connsiteY3" fmla="*/ 0 h 257442"/>
                <a:gd name="connsiteX0" fmla="*/ 1500631 w 1500631"/>
                <a:gd name="connsiteY0" fmla="*/ 0 h 257442"/>
                <a:gd name="connsiteX1" fmla="*/ 1445910 w 1500631"/>
                <a:gd name="connsiteY1" fmla="*/ 257442 h 257442"/>
                <a:gd name="connsiteX2" fmla="*/ 0 w 1500631"/>
                <a:gd name="connsiteY2" fmla="*/ 257442 h 257442"/>
                <a:gd name="connsiteX3" fmla="*/ 0 w 1500631"/>
                <a:gd name="connsiteY3" fmla="*/ 0 h 257442"/>
                <a:gd name="connsiteX0" fmla="*/ 1500631 w 1500631"/>
                <a:gd name="connsiteY0" fmla="*/ 0 h 257442"/>
                <a:gd name="connsiteX1" fmla="*/ 1445910 w 1500631"/>
                <a:gd name="connsiteY1" fmla="*/ 257442 h 257442"/>
                <a:gd name="connsiteX2" fmla="*/ 0 w 1500631"/>
                <a:gd name="connsiteY2" fmla="*/ 257442 h 257442"/>
                <a:gd name="connsiteX3" fmla="*/ 0 w 1500631"/>
                <a:gd name="connsiteY3" fmla="*/ 0 h 257442"/>
                <a:gd name="connsiteX0" fmla="*/ 1652916 w 1652916"/>
                <a:gd name="connsiteY0" fmla="*/ 0 h 257442"/>
                <a:gd name="connsiteX1" fmla="*/ 1445910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652916 w 1652916"/>
                <a:gd name="connsiteY0" fmla="*/ 0 h 257442"/>
                <a:gd name="connsiteX1" fmla="*/ 1598194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652917 w 1652917"/>
                <a:gd name="connsiteY0" fmla="*/ 0 h 257442"/>
                <a:gd name="connsiteX1" fmla="*/ 1598195 w 1652917"/>
                <a:gd name="connsiteY1" fmla="*/ 257442 h 257442"/>
                <a:gd name="connsiteX2" fmla="*/ 0 w 1652917"/>
                <a:gd name="connsiteY2" fmla="*/ 257442 h 257442"/>
                <a:gd name="connsiteX3" fmla="*/ 1 w 1652917"/>
                <a:gd name="connsiteY3" fmla="*/ 0 h 257442"/>
                <a:gd name="connsiteX0" fmla="*/ 1652917 w 1652917"/>
                <a:gd name="connsiteY0" fmla="*/ 0 h 257442"/>
                <a:gd name="connsiteX1" fmla="*/ 1598195 w 1652917"/>
                <a:gd name="connsiteY1" fmla="*/ 257442 h 257442"/>
                <a:gd name="connsiteX2" fmla="*/ 0 w 1652917"/>
                <a:gd name="connsiteY2" fmla="*/ 257442 h 257442"/>
                <a:gd name="connsiteX3" fmla="*/ 1 w 1652917"/>
                <a:gd name="connsiteY3" fmla="*/ 0 h 257442"/>
                <a:gd name="connsiteX0" fmla="*/ 1830850 w 1830850"/>
                <a:gd name="connsiteY0" fmla="*/ 0 h 257442"/>
                <a:gd name="connsiteX1" fmla="*/ 1598195 w 1830850"/>
                <a:gd name="connsiteY1" fmla="*/ 257442 h 257442"/>
                <a:gd name="connsiteX2" fmla="*/ 0 w 1830850"/>
                <a:gd name="connsiteY2" fmla="*/ 257442 h 257442"/>
                <a:gd name="connsiteX3" fmla="*/ 1 w 1830850"/>
                <a:gd name="connsiteY3" fmla="*/ 0 h 257442"/>
                <a:gd name="connsiteX0" fmla="*/ 1830850 w 1830850"/>
                <a:gd name="connsiteY0" fmla="*/ 0 h 257442"/>
                <a:gd name="connsiteX1" fmla="*/ 1776128 w 1830850"/>
                <a:gd name="connsiteY1" fmla="*/ 257442 h 257442"/>
                <a:gd name="connsiteX2" fmla="*/ 0 w 1830850"/>
                <a:gd name="connsiteY2" fmla="*/ 257442 h 257442"/>
                <a:gd name="connsiteX3" fmla="*/ 1 w 1830850"/>
                <a:gd name="connsiteY3" fmla="*/ 0 h 257442"/>
                <a:gd name="connsiteX0" fmla="*/ 1830850 w 1830850"/>
                <a:gd name="connsiteY0" fmla="*/ 0 h 257442"/>
                <a:gd name="connsiteX1" fmla="*/ 1776128 w 1830850"/>
                <a:gd name="connsiteY1" fmla="*/ 257442 h 257442"/>
                <a:gd name="connsiteX2" fmla="*/ 0 w 1830850"/>
                <a:gd name="connsiteY2" fmla="*/ 257442 h 257442"/>
                <a:gd name="connsiteX3" fmla="*/ 1 w 1830850"/>
                <a:gd name="connsiteY3" fmla="*/ 0 h 257442"/>
                <a:gd name="connsiteX0" fmla="*/ 1830850 w 1830850"/>
                <a:gd name="connsiteY0" fmla="*/ 0 h 257442"/>
                <a:gd name="connsiteX1" fmla="*/ 1776128 w 1830850"/>
                <a:gd name="connsiteY1" fmla="*/ 257442 h 257442"/>
                <a:gd name="connsiteX2" fmla="*/ 0 w 1830850"/>
                <a:gd name="connsiteY2" fmla="*/ 257442 h 257442"/>
                <a:gd name="connsiteX3" fmla="*/ 0 w 1830850"/>
                <a:gd name="connsiteY3" fmla="*/ 0 h 257442"/>
                <a:gd name="connsiteX0" fmla="*/ 1999165 w 1999165"/>
                <a:gd name="connsiteY0" fmla="*/ 0 h 257442"/>
                <a:gd name="connsiteX1" fmla="*/ 1776128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2167480 w 2167480"/>
                <a:gd name="connsiteY0" fmla="*/ 0 h 257442"/>
                <a:gd name="connsiteX1" fmla="*/ 1944444 w 2167480"/>
                <a:gd name="connsiteY1" fmla="*/ 257442 h 257442"/>
                <a:gd name="connsiteX2" fmla="*/ 0 w 2167480"/>
                <a:gd name="connsiteY2" fmla="*/ 257442 h 257442"/>
                <a:gd name="connsiteX3" fmla="*/ 0 w 2167480"/>
                <a:gd name="connsiteY3" fmla="*/ 0 h 257442"/>
                <a:gd name="connsiteX0" fmla="*/ 2167480 w 2167480"/>
                <a:gd name="connsiteY0" fmla="*/ 0 h 257442"/>
                <a:gd name="connsiteX1" fmla="*/ 2112758 w 2167480"/>
                <a:gd name="connsiteY1" fmla="*/ 257442 h 257442"/>
                <a:gd name="connsiteX2" fmla="*/ 0 w 2167480"/>
                <a:gd name="connsiteY2" fmla="*/ 257442 h 257442"/>
                <a:gd name="connsiteX3" fmla="*/ 0 w 2167480"/>
                <a:gd name="connsiteY3" fmla="*/ 0 h 257442"/>
                <a:gd name="connsiteX0" fmla="*/ 2167481 w 2167481"/>
                <a:gd name="connsiteY0" fmla="*/ 0 h 257442"/>
                <a:gd name="connsiteX1" fmla="*/ 2112759 w 2167481"/>
                <a:gd name="connsiteY1" fmla="*/ 257442 h 257442"/>
                <a:gd name="connsiteX2" fmla="*/ 0 w 2167481"/>
                <a:gd name="connsiteY2" fmla="*/ 257442 h 257442"/>
                <a:gd name="connsiteX3" fmla="*/ 1 w 2167481"/>
                <a:gd name="connsiteY3" fmla="*/ 0 h 257442"/>
                <a:gd name="connsiteX0" fmla="*/ 2167481 w 2167481"/>
                <a:gd name="connsiteY0" fmla="*/ 0 h 257442"/>
                <a:gd name="connsiteX1" fmla="*/ 2112759 w 2167481"/>
                <a:gd name="connsiteY1" fmla="*/ 257442 h 257442"/>
                <a:gd name="connsiteX2" fmla="*/ 0 w 2167481"/>
                <a:gd name="connsiteY2" fmla="*/ 257442 h 257442"/>
                <a:gd name="connsiteX3" fmla="*/ 1 w 2167481"/>
                <a:gd name="connsiteY3" fmla="*/ 0 h 257442"/>
                <a:gd name="connsiteX0" fmla="*/ 2327781 w 2327781"/>
                <a:gd name="connsiteY0" fmla="*/ 0 h 257442"/>
                <a:gd name="connsiteX1" fmla="*/ 2112759 w 2327781"/>
                <a:gd name="connsiteY1" fmla="*/ 257442 h 257442"/>
                <a:gd name="connsiteX2" fmla="*/ 0 w 2327781"/>
                <a:gd name="connsiteY2" fmla="*/ 257442 h 257442"/>
                <a:gd name="connsiteX3" fmla="*/ 1 w 2327781"/>
                <a:gd name="connsiteY3" fmla="*/ 0 h 257442"/>
                <a:gd name="connsiteX0" fmla="*/ 2327781 w 2327781"/>
                <a:gd name="connsiteY0" fmla="*/ 0 h 257442"/>
                <a:gd name="connsiteX1" fmla="*/ 2273060 w 2327781"/>
                <a:gd name="connsiteY1" fmla="*/ 257442 h 257442"/>
                <a:gd name="connsiteX2" fmla="*/ 0 w 2327781"/>
                <a:gd name="connsiteY2" fmla="*/ 257442 h 257442"/>
                <a:gd name="connsiteX3" fmla="*/ 1 w 2327781"/>
                <a:gd name="connsiteY3" fmla="*/ 0 h 257442"/>
                <a:gd name="connsiteX0" fmla="*/ 2327780 w 2327780"/>
                <a:gd name="connsiteY0" fmla="*/ 0 h 257442"/>
                <a:gd name="connsiteX1" fmla="*/ 2273059 w 2327780"/>
                <a:gd name="connsiteY1" fmla="*/ 257442 h 257442"/>
                <a:gd name="connsiteX2" fmla="*/ 0 w 2327780"/>
                <a:gd name="connsiteY2" fmla="*/ 257442 h 257442"/>
                <a:gd name="connsiteX3" fmla="*/ 0 w 2327780"/>
                <a:gd name="connsiteY3" fmla="*/ 0 h 257442"/>
                <a:gd name="connsiteX0" fmla="*/ 2327781 w 2327781"/>
                <a:gd name="connsiteY0" fmla="*/ 0 h 257442"/>
                <a:gd name="connsiteX1" fmla="*/ 2273060 w 2327781"/>
                <a:gd name="connsiteY1" fmla="*/ 257442 h 257442"/>
                <a:gd name="connsiteX2" fmla="*/ 1 w 2327781"/>
                <a:gd name="connsiteY2" fmla="*/ 257442 h 257442"/>
                <a:gd name="connsiteX3" fmla="*/ 0 w 2327781"/>
                <a:gd name="connsiteY3" fmla="*/ 0 h 257442"/>
                <a:gd name="connsiteX0" fmla="*/ 950802 w 2273060"/>
                <a:gd name="connsiteY0" fmla="*/ 0 h 257442"/>
                <a:gd name="connsiteX1" fmla="*/ 2273060 w 2273060"/>
                <a:gd name="connsiteY1" fmla="*/ 257442 h 257442"/>
                <a:gd name="connsiteX2" fmla="*/ 1 w 2273060"/>
                <a:gd name="connsiteY2" fmla="*/ 257442 h 257442"/>
                <a:gd name="connsiteX3" fmla="*/ 0 w 2273060"/>
                <a:gd name="connsiteY3" fmla="*/ 0 h 257442"/>
                <a:gd name="connsiteX0" fmla="*/ 950802 w 950802"/>
                <a:gd name="connsiteY0" fmla="*/ 0 h 257442"/>
                <a:gd name="connsiteX1" fmla="*/ 896081 w 950802"/>
                <a:gd name="connsiteY1" fmla="*/ 257442 h 257442"/>
                <a:gd name="connsiteX2" fmla="*/ 1 w 950802"/>
                <a:gd name="connsiteY2" fmla="*/ 257442 h 257442"/>
                <a:gd name="connsiteX3" fmla="*/ 0 w 950802"/>
                <a:gd name="connsiteY3" fmla="*/ 0 h 257442"/>
                <a:gd name="connsiteX0" fmla="*/ 950802 w 950802"/>
                <a:gd name="connsiteY0" fmla="*/ 0 h 257442"/>
                <a:gd name="connsiteX1" fmla="*/ 896081 w 950802"/>
                <a:gd name="connsiteY1" fmla="*/ 257442 h 257442"/>
                <a:gd name="connsiteX2" fmla="*/ 1 w 950802"/>
                <a:gd name="connsiteY2" fmla="*/ 257442 h 257442"/>
                <a:gd name="connsiteX3" fmla="*/ 0 w 950802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1128734 w 1128734"/>
                <a:gd name="connsiteY0" fmla="*/ 0 h 257442"/>
                <a:gd name="connsiteX1" fmla="*/ 896080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128734 w 1128734"/>
                <a:gd name="connsiteY0" fmla="*/ 0 h 257442"/>
                <a:gd name="connsiteX1" fmla="*/ 1074012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128735 w 1128735"/>
                <a:gd name="connsiteY0" fmla="*/ 0 h 257442"/>
                <a:gd name="connsiteX1" fmla="*/ 1074013 w 1128735"/>
                <a:gd name="connsiteY1" fmla="*/ 257442 h 257442"/>
                <a:gd name="connsiteX2" fmla="*/ 0 w 1128735"/>
                <a:gd name="connsiteY2" fmla="*/ 257442 h 257442"/>
                <a:gd name="connsiteX3" fmla="*/ 1 w 1128735"/>
                <a:gd name="connsiteY3" fmla="*/ 0 h 257442"/>
                <a:gd name="connsiteX0" fmla="*/ 1128735 w 1128735"/>
                <a:gd name="connsiteY0" fmla="*/ 0 h 257442"/>
                <a:gd name="connsiteX1" fmla="*/ 1074013 w 1128735"/>
                <a:gd name="connsiteY1" fmla="*/ 257442 h 257442"/>
                <a:gd name="connsiteX2" fmla="*/ 0 w 1128735"/>
                <a:gd name="connsiteY2" fmla="*/ 257442 h 257442"/>
                <a:gd name="connsiteX3" fmla="*/ 1 w 1128735"/>
                <a:gd name="connsiteY3" fmla="*/ 0 h 257442"/>
                <a:gd name="connsiteX0" fmla="*/ 1314683 w 1314683"/>
                <a:gd name="connsiteY0" fmla="*/ 0 h 257442"/>
                <a:gd name="connsiteX1" fmla="*/ 1074013 w 1314683"/>
                <a:gd name="connsiteY1" fmla="*/ 257442 h 257442"/>
                <a:gd name="connsiteX2" fmla="*/ 0 w 1314683"/>
                <a:gd name="connsiteY2" fmla="*/ 257442 h 257442"/>
                <a:gd name="connsiteX3" fmla="*/ 1 w 1314683"/>
                <a:gd name="connsiteY3" fmla="*/ 0 h 257442"/>
                <a:gd name="connsiteX0" fmla="*/ 1314683 w 1314683"/>
                <a:gd name="connsiteY0" fmla="*/ 0 h 257442"/>
                <a:gd name="connsiteX1" fmla="*/ 1259962 w 1314683"/>
                <a:gd name="connsiteY1" fmla="*/ 257442 h 257442"/>
                <a:gd name="connsiteX2" fmla="*/ 0 w 1314683"/>
                <a:gd name="connsiteY2" fmla="*/ 257442 h 257442"/>
                <a:gd name="connsiteX3" fmla="*/ 1 w 1314683"/>
                <a:gd name="connsiteY3" fmla="*/ 0 h 257442"/>
                <a:gd name="connsiteX0" fmla="*/ 1314682 w 1314682"/>
                <a:gd name="connsiteY0" fmla="*/ 0 h 257442"/>
                <a:gd name="connsiteX1" fmla="*/ 1259961 w 1314682"/>
                <a:gd name="connsiteY1" fmla="*/ 257442 h 257442"/>
                <a:gd name="connsiteX2" fmla="*/ 0 w 1314682"/>
                <a:gd name="connsiteY2" fmla="*/ 257442 h 257442"/>
                <a:gd name="connsiteX3" fmla="*/ 0 w 1314682"/>
                <a:gd name="connsiteY3" fmla="*/ 0 h 257442"/>
                <a:gd name="connsiteX0" fmla="*/ 1314683 w 1314683"/>
                <a:gd name="connsiteY0" fmla="*/ 0 h 257442"/>
                <a:gd name="connsiteX1" fmla="*/ 1259962 w 1314683"/>
                <a:gd name="connsiteY1" fmla="*/ 257442 h 257442"/>
                <a:gd name="connsiteX2" fmla="*/ 1 w 1314683"/>
                <a:gd name="connsiteY2" fmla="*/ 257442 h 257442"/>
                <a:gd name="connsiteX3" fmla="*/ 0 w 1314683"/>
                <a:gd name="connsiteY3" fmla="*/ 0 h 257442"/>
                <a:gd name="connsiteX0" fmla="*/ 1474984 w 1474984"/>
                <a:gd name="connsiteY0" fmla="*/ 0 h 257442"/>
                <a:gd name="connsiteX1" fmla="*/ 1259962 w 1474984"/>
                <a:gd name="connsiteY1" fmla="*/ 257442 h 257442"/>
                <a:gd name="connsiteX2" fmla="*/ 1 w 1474984"/>
                <a:gd name="connsiteY2" fmla="*/ 257442 h 257442"/>
                <a:gd name="connsiteX3" fmla="*/ 0 w 1474984"/>
                <a:gd name="connsiteY3" fmla="*/ 0 h 257442"/>
                <a:gd name="connsiteX0" fmla="*/ 1474984 w 1474984"/>
                <a:gd name="connsiteY0" fmla="*/ 0 h 257442"/>
                <a:gd name="connsiteX1" fmla="*/ 1420262 w 1474984"/>
                <a:gd name="connsiteY1" fmla="*/ 257442 h 257442"/>
                <a:gd name="connsiteX2" fmla="*/ 1 w 1474984"/>
                <a:gd name="connsiteY2" fmla="*/ 257442 h 257442"/>
                <a:gd name="connsiteX3" fmla="*/ 0 w 1474984"/>
                <a:gd name="connsiteY3" fmla="*/ 0 h 257442"/>
                <a:gd name="connsiteX0" fmla="*/ 1474984 w 1474984"/>
                <a:gd name="connsiteY0" fmla="*/ 0 h 257442"/>
                <a:gd name="connsiteX1" fmla="*/ 1420262 w 1474984"/>
                <a:gd name="connsiteY1" fmla="*/ 257442 h 257442"/>
                <a:gd name="connsiteX2" fmla="*/ 0 w 1474984"/>
                <a:gd name="connsiteY2" fmla="*/ 257442 h 257442"/>
                <a:gd name="connsiteX3" fmla="*/ 0 w 1474984"/>
                <a:gd name="connsiteY3" fmla="*/ 0 h 257442"/>
                <a:gd name="connsiteX0" fmla="*/ 1474984 w 1474984"/>
                <a:gd name="connsiteY0" fmla="*/ 0 h 257442"/>
                <a:gd name="connsiteX1" fmla="*/ 1420262 w 1474984"/>
                <a:gd name="connsiteY1" fmla="*/ 257442 h 257442"/>
                <a:gd name="connsiteX2" fmla="*/ 0 w 1474984"/>
                <a:gd name="connsiteY2" fmla="*/ 257442 h 257442"/>
                <a:gd name="connsiteX3" fmla="*/ 0 w 1474984"/>
                <a:gd name="connsiteY3" fmla="*/ 0 h 257442"/>
                <a:gd name="connsiteX0" fmla="*/ 1635283 w 1635283"/>
                <a:gd name="connsiteY0" fmla="*/ 0 h 257442"/>
                <a:gd name="connsiteX1" fmla="*/ 1420262 w 1635283"/>
                <a:gd name="connsiteY1" fmla="*/ 257442 h 257442"/>
                <a:gd name="connsiteX2" fmla="*/ 0 w 1635283"/>
                <a:gd name="connsiteY2" fmla="*/ 257442 h 257442"/>
                <a:gd name="connsiteX3" fmla="*/ 0 w 1635283"/>
                <a:gd name="connsiteY3" fmla="*/ 0 h 257442"/>
                <a:gd name="connsiteX0" fmla="*/ 1635283 w 1635283"/>
                <a:gd name="connsiteY0" fmla="*/ 0 h 257442"/>
                <a:gd name="connsiteX1" fmla="*/ 1580562 w 1635283"/>
                <a:gd name="connsiteY1" fmla="*/ 257442 h 257442"/>
                <a:gd name="connsiteX2" fmla="*/ 0 w 1635283"/>
                <a:gd name="connsiteY2" fmla="*/ 257442 h 257442"/>
                <a:gd name="connsiteX3" fmla="*/ 0 w 1635283"/>
                <a:gd name="connsiteY3" fmla="*/ 0 h 257442"/>
                <a:gd name="connsiteX0" fmla="*/ 1635283 w 1635283"/>
                <a:gd name="connsiteY0" fmla="*/ 0 h 257442"/>
                <a:gd name="connsiteX1" fmla="*/ 1580562 w 1635283"/>
                <a:gd name="connsiteY1" fmla="*/ 257442 h 257442"/>
                <a:gd name="connsiteX2" fmla="*/ 0 w 1635283"/>
                <a:gd name="connsiteY2" fmla="*/ 257442 h 257442"/>
                <a:gd name="connsiteX3" fmla="*/ 0 w 1635283"/>
                <a:gd name="connsiteY3" fmla="*/ 0 h 257442"/>
                <a:gd name="connsiteX0" fmla="*/ 1635283 w 1635283"/>
                <a:gd name="connsiteY0" fmla="*/ 0 h 257442"/>
                <a:gd name="connsiteX1" fmla="*/ 1580562 w 1635283"/>
                <a:gd name="connsiteY1" fmla="*/ 257442 h 257442"/>
                <a:gd name="connsiteX2" fmla="*/ 0 w 1635283"/>
                <a:gd name="connsiteY2" fmla="*/ 257442 h 257442"/>
                <a:gd name="connsiteX3" fmla="*/ 0 w 1635283"/>
                <a:gd name="connsiteY3" fmla="*/ 0 h 257442"/>
                <a:gd name="connsiteX0" fmla="*/ 1787569 w 1787569"/>
                <a:gd name="connsiteY0" fmla="*/ 0 h 257442"/>
                <a:gd name="connsiteX1" fmla="*/ 1580562 w 1787569"/>
                <a:gd name="connsiteY1" fmla="*/ 257442 h 257442"/>
                <a:gd name="connsiteX2" fmla="*/ 0 w 1787569"/>
                <a:gd name="connsiteY2" fmla="*/ 257442 h 257442"/>
                <a:gd name="connsiteX3" fmla="*/ 0 w 1787569"/>
                <a:gd name="connsiteY3" fmla="*/ 0 h 257442"/>
                <a:gd name="connsiteX0" fmla="*/ 1787569 w 1787569"/>
                <a:gd name="connsiteY0" fmla="*/ 0 h 257442"/>
                <a:gd name="connsiteX1" fmla="*/ 1732848 w 1787569"/>
                <a:gd name="connsiteY1" fmla="*/ 257442 h 257442"/>
                <a:gd name="connsiteX2" fmla="*/ 0 w 1787569"/>
                <a:gd name="connsiteY2" fmla="*/ 257442 h 257442"/>
                <a:gd name="connsiteX3" fmla="*/ 0 w 1787569"/>
                <a:gd name="connsiteY3" fmla="*/ 0 h 257442"/>
                <a:gd name="connsiteX0" fmla="*/ 1787569 w 1787569"/>
                <a:gd name="connsiteY0" fmla="*/ 0 h 257442"/>
                <a:gd name="connsiteX1" fmla="*/ 1732848 w 1787569"/>
                <a:gd name="connsiteY1" fmla="*/ 257442 h 257442"/>
                <a:gd name="connsiteX2" fmla="*/ 0 w 1787569"/>
                <a:gd name="connsiteY2" fmla="*/ 257442 h 257442"/>
                <a:gd name="connsiteX3" fmla="*/ 0 w 1787569"/>
                <a:gd name="connsiteY3" fmla="*/ 0 h 257442"/>
                <a:gd name="connsiteX0" fmla="*/ 1787569 w 1787569"/>
                <a:gd name="connsiteY0" fmla="*/ 0 h 257442"/>
                <a:gd name="connsiteX1" fmla="*/ 1732848 w 1787569"/>
                <a:gd name="connsiteY1" fmla="*/ 257442 h 257442"/>
                <a:gd name="connsiteX2" fmla="*/ 0 w 1787569"/>
                <a:gd name="connsiteY2" fmla="*/ 257442 h 257442"/>
                <a:gd name="connsiteX3" fmla="*/ 0 w 1787569"/>
                <a:gd name="connsiteY3" fmla="*/ 0 h 257442"/>
                <a:gd name="connsiteX0" fmla="*/ 1888557 w 1888557"/>
                <a:gd name="connsiteY0" fmla="*/ 0 h 257442"/>
                <a:gd name="connsiteX1" fmla="*/ 1732848 w 1888557"/>
                <a:gd name="connsiteY1" fmla="*/ 257442 h 257442"/>
                <a:gd name="connsiteX2" fmla="*/ 0 w 1888557"/>
                <a:gd name="connsiteY2" fmla="*/ 257442 h 257442"/>
                <a:gd name="connsiteX3" fmla="*/ 0 w 1888557"/>
                <a:gd name="connsiteY3" fmla="*/ 0 h 257442"/>
                <a:gd name="connsiteX0" fmla="*/ 1888557 w 1888557"/>
                <a:gd name="connsiteY0" fmla="*/ 0 h 257442"/>
                <a:gd name="connsiteX1" fmla="*/ 1833836 w 1888557"/>
                <a:gd name="connsiteY1" fmla="*/ 257442 h 257442"/>
                <a:gd name="connsiteX2" fmla="*/ 0 w 1888557"/>
                <a:gd name="connsiteY2" fmla="*/ 257442 h 257442"/>
                <a:gd name="connsiteX3" fmla="*/ 0 w 1888557"/>
                <a:gd name="connsiteY3" fmla="*/ 0 h 257442"/>
                <a:gd name="connsiteX0" fmla="*/ 1888557 w 1888557"/>
                <a:gd name="connsiteY0" fmla="*/ 0 h 257442"/>
                <a:gd name="connsiteX1" fmla="*/ 1833836 w 1888557"/>
                <a:gd name="connsiteY1" fmla="*/ 257442 h 257442"/>
                <a:gd name="connsiteX2" fmla="*/ 0 w 1888557"/>
                <a:gd name="connsiteY2" fmla="*/ 257442 h 257442"/>
                <a:gd name="connsiteX3" fmla="*/ 0 w 1888557"/>
                <a:gd name="connsiteY3" fmla="*/ 0 h 257442"/>
                <a:gd name="connsiteX0" fmla="*/ 1888557 w 1888557"/>
                <a:gd name="connsiteY0" fmla="*/ 0 h 257442"/>
                <a:gd name="connsiteX1" fmla="*/ 1833836 w 1888557"/>
                <a:gd name="connsiteY1" fmla="*/ 257442 h 257442"/>
                <a:gd name="connsiteX2" fmla="*/ 0 w 1888557"/>
                <a:gd name="connsiteY2" fmla="*/ 257442 h 257442"/>
                <a:gd name="connsiteX3" fmla="*/ 0 w 1888557"/>
                <a:gd name="connsiteY3" fmla="*/ 0 h 257442"/>
                <a:gd name="connsiteX0" fmla="*/ 2040843 w 2040843"/>
                <a:gd name="connsiteY0" fmla="*/ 0 h 257442"/>
                <a:gd name="connsiteX1" fmla="*/ 1833836 w 2040843"/>
                <a:gd name="connsiteY1" fmla="*/ 257442 h 257442"/>
                <a:gd name="connsiteX2" fmla="*/ 0 w 2040843"/>
                <a:gd name="connsiteY2" fmla="*/ 257442 h 257442"/>
                <a:gd name="connsiteX3" fmla="*/ 0 w 2040843"/>
                <a:gd name="connsiteY3" fmla="*/ 0 h 257442"/>
                <a:gd name="connsiteX0" fmla="*/ 2040843 w 2040843"/>
                <a:gd name="connsiteY0" fmla="*/ 0 h 257442"/>
                <a:gd name="connsiteX1" fmla="*/ 1986122 w 2040843"/>
                <a:gd name="connsiteY1" fmla="*/ 257442 h 257442"/>
                <a:gd name="connsiteX2" fmla="*/ 0 w 2040843"/>
                <a:gd name="connsiteY2" fmla="*/ 257442 h 257442"/>
                <a:gd name="connsiteX3" fmla="*/ 0 w 2040843"/>
                <a:gd name="connsiteY3" fmla="*/ 0 h 257442"/>
                <a:gd name="connsiteX0" fmla="*/ 2040843 w 2040843"/>
                <a:gd name="connsiteY0" fmla="*/ 0 h 257442"/>
                <a:gd name="connsiteX1" fmla="*/ 1986122 w 2040843"/>
                <a:gd name="connsiteY1" fmla="*/ 257442 h 257442"/>
                <a:gd name="connsiteX2" fmla="*/ 0 w 2040843"/>
                <a:gd name="connsiteY2" fmla="*/ 257442 h 257442"/>
                <a:gd name="connsiteX3" fmla="*/ 0 w 2040843"/>
                <a:gd name="connsiteY3" fmla="*/ 0 h 257442"/>
                <a:gd name="connsiteX0" fmla="*/ 2040843 w 2040843"/>
                <a:gd name="connsiteY0" fmla="*/ 0 h 257442"/>
                <a:gd name="connsiteX1" fmla="*/ 1986122 w 2040843"/>
                <a:gd name="connsiteY1" fmla="*/ 257442 h 257442"/>
                <a:gd name="connsiteX2" fmla="*/ 0 w 2040843"/>
                <a:gd name="connsiteY2" fmla="*/ 257442 h 257442"/>
                <a:gd name="connsiteX3" fmla="*/ 0 w 2040843"/>
                <a:gd name="connsiteY3" fmla="*/ 0 h 257442"/>
                <a:gd name="connsiteX0" fmla="*/ 2141832 w 2141832"/>
                <a:gd name="connsiteY0" fmla="*/ 0 h 257442"/>
                <a:gd name="connsiteX1" fmla="*/ 1986122 w 2141832"/>
                <a:gd name="connsiteY1" fmla="*/ 257442 h 257442"/>
                <a:gd name="connsiteX2" fmla="*/ 0 w 2141832"/>
                <a:gd name="connsiteY2" fmla="*/ 257442 h 257442"/>
                <a:gd name="connsiteX3" fmla="*/ 0 w 2141832"/>
                <a:gd name="connsiteY3" fmla="*/ 0 h 257442"/>
                <a:gd name="connsiteX0" fmla="*/ 2141832 w 2141832"/>
                <a:gd name="connsiteY0" fmla="*/ 0 h 257442"/>
                <a:gd name="connsiteX1" fmla="*/ 2087110 w 2141832"/>
                <a:gd name="connsiteY1" fmla="*/ 257442 h 257442"/>
                <a:gd name="connsiteX2" fmla="*/ 0 w 2141832"/>
                <a:gd name="connsiteY2" fmla="*/ 257442 h 257442"/>
                <a:gd name="connsiteX3" fmla="*/ 0 w 2141832"/>
                <a:gd name="connsiteY3" fmla="*/ 0 h 257442"/>
                <a:gd name="connsiteX0" fmla="*/ 2141833 w 2141833"/>
                <a:gd name="connsiteY0" fmla="*/ 0 h 257442"/>
                <a:gd name="connsiteX1" fmla="*/ 2087111 w 2141833"/>
                <a:gd name="connsiteY1" fmla="*/ 257442 h 257442"/>
                <a:gd name="connsiteX2" fmla="*/ 0 w 2141833"/>
                <a:gd name="connsiteY2" fmla="*/ 257442 h 257442"/>
                <a:gd name="connsiteX3" fmla="*/ 1 w 2141833"/>
                <a:gd name="connsiteY3" fmla="*/ 0 h 257442"/>
                <a:gd name="connsiteX0" fmla="*/ 2141833 w 2141833"/>
                <a:gd name="connsiteY0" fmla="*/ 0 h 257442"/>
                <a:gd name="connsiteX1" fmla="*/ 2087111 w 2141833"/>
                <a:gd name="connsiteY1" fmla="*/ 257442 h 257442"/>
                <a:gd name="connsiteX2" fmla="*/ 0 w 2141833"/>
                <a:gd name="connsiteY2" fmla="*/ 257442 h 257442"/>
                <a:gd name="connsiteX3" fmla="*/ 1 w 2141833"/>
                <a:gd name="connsiteY3" fmla="*/ 0 h 257442"/>
                <a:gd name="connsiteX0" fmla="*/ 2302133 w 2302133"/>
                <a:gd name="connsiteY0" fmla="*/ 0 h 257442"/>
                <a:gd name="connsiteX1" fmla="*/ 2087111 w 2302133"/>
                <a:gd name="connsiteY1" fmla="*/ 257442 h 257442"/>
                <a:gd name="connsiteX2" fmla="*/ 0 w 2302133"/>
                <a:gd name="connsiteY2" fmla="*/ 257442 h 257442"/>
                <a:gd name="connsiteX3" fmla="*/ 1 w 2302133"/>
                <a:gd name="connsiteY3" fmla="*/ 0 h 257442"/>
                <a:gd name="connsiteX0" fmla="*/ 2302133 w 2302133"/>
                <a:gd name="connsiteY0" fmla="*/ 0 h 257442"/>
                <a:gd name="connsiteX1" fmla="*/ 2247412 w 2302133"/>
                <a:gd name="connsiteY1" fmla="*/ 257442 h 257442"/>
                <a:gd name="connsiteX2" fmla="*/ 0 w 2302133"/>
                <a:gd name="connsiteY2" fmla="*/ 257442 h 257442"/>
                <a:gd name="connsiteX3" fmla="*/ 1 w 2302133"/>
                <a:gd name="connsiteY3" fmla="*/ 0 h 257442"/>
                <a:gd name="connsiteX0" fmla="*/ 2302132 w 2302132"/>
                <a:gd name="connsiteY0" fmla="*/ 0 h 257442"/>
                <a:gd name="connsiteX1" fmla="*/ 2247411 w 2302132"/>
                <a:gd name="connsiteY1" fmla="*/ 257442 h 257442"/>
                <a:gd name="connsiteX2" fmla="*/ 0 w 2302132"/>
                <a:gd name="connsiteY2" fmla="*/ 257442 h 257442"/>
                <a:gd name="connsiteX3" fmla="*/ 0 w 2302132"/>
                <a:gd name="connsiteY3" fmla="*/ 0 h 257442"/>
                <a:gd name="connsiteX0" fmla="*/ 2302133 w 2302133"/>
                <a:gd name="connsiteY0" fmla="*/ 0 h 257442"/>
                <a:gd name="connsiteX1" fmla="*/ 2247412 w 2302133"/>
                <a:gd name="connsiteY1" fmla="*/ 257442 h 257442"/>
                <a:gd name="connsiteX2" fmla="*/ 1 w 2302133"/>
                <a:gd name="connsiteY2" fmla="*/ 257442 h 257442"/>
                <a:gd name="connsiteX3" fmla="*/ 0 w 2302133"/>
                <a:gd name="connsiteY3" fmla="*/ 0 h 257442"/>
                <a:gd name="connsiteX0" fmla="*/ 2462433 w 2462433"/>
                <a:gd name="connsiteY0" fmla="*/ 0 h 257442"/>
                <a:gd name="connsiteX1" fmla="*/ 2247412 w 2462433"/>
                <a:gd name="connsiteY1" fmla="*/ 257442 h 257442"/>
                <a:gd name="connsiteX2" fmla="*/ 1 w 2462433"/>
                <a:gd name="connsiteY2" fmla="*/ 257442 h 257442"/>
                <a:gd name="connsiteX3" fmla="*/ 0 w 2462433"/>
                <a:gd name="connsiteY3" fmla="*/ 0 h 257442"/>
                <a:gd name="connsiteX0" fmla="*/ 2462433 w 2462433"/>
                <a:gd name="connsiteY0" fmla="*/ 0 h 257442"/>
                <a:gd name="connsiteX1" fmla="*/ 2407712 w 2462433"/>
                <a:gd name="connsiteY1" fmla="*/ 257442 h 257442"/>
                <a:gd name="connsiteX2" fmla="*/ 1 w 2462433"/>
                <a:gd name="connsiteY2" fmla="*/ 257442 h 257442"/>
                <a:gd name="connsiteX3" fmla="*/ 0 w 2462433"/>
                <a:gd name="connsiteY3" fmla="*/ 0 h 257442"/>
                <a:gd name="connsiteX0" fmla="*/ 2462433 w 2462433"/>
                <a:gd name="connsiteY0" fmla="*/ 0 h 257442"/>
                <a:gd name="connsiteX1" fmla="*/ 2407712 w 2462433"/>
                <a:gd name="connsiteY1" fmla="*/ 257442 h 257442"/>
                <a:gd name="connsiteX2" fmla="*/ 1 w 2462433"/>
                <a:gd name="connsiteY2" fmla="*/ 257442 h 257442"/>
                <a:gd name="connsiteX3" fmla="*/ 0 w 2462433"/>
                <a:gd name="connsiteY3" fmla="*/ 0 h 257442"/>
                <a:gd name="connsiteX0" fmla="*/ 2462432 w 2462432"/>
                <a:gd name="connsiteY0" fmla="*/ 0 h 257442"/>
                <a:gd name="connsiteX1" fmla="*/ 2407711 w 2462432"/>
                <a:gd name="connsiteY1" fmla="*/ 257442 h 257442"/>
                <a:gd name="connsiteX2" fmla="*/ 0 w 2462432"/>
                <a:gd name="connsiteY2" fmla="*/ 257442 h 257442"/>
                <a:gd name="connsiteX3" fmla="*/ 0 w 2462432"/>
                <a:gd name="connsiteY3" fmla="*/ 0 h 257442"/>
                <a:gd name="connsiteX0" fmla="*/ 2563421 w 2563421"/>
                <a:gd name="connsiteY0" fmla="*/ 0 h 257442"/>
                <a:gd name="connsiteX1" fmla="*/ 2407711 w 2563421"/>
                <a:gd name="connsiteY1" fmla="*/ 257442 h 257442"/>
                <a:gd name="connsiteX2" fmla="*/ 0 w 2563421"/>
                <a:gd name="connsiteY2" fmla="*/ 257442 h 257442"/>
                <a:gd name="connsiteX3" fmla="*/ 0 w 2563421"/>
                <a:gd name="connsiteY3" fmla="*/ 0 h 257442"/>
                <a:gd name="connsiteX0" fmla="*/ 2563421 w 2563421"/>
                <a:gd name="connsiteY0" fmla="*/ 0 h 257442"/>
                <a:gd name="connsiteX1" fmla="*/ 2508700 w 2563421"/>
                <a:gd name="connsiteY1" fmla="*/ 257442 h 257442"/>
                <a:gd name="connsiteX2" fmla="*/ 0 w 2563421"/>
                <a:gd name="connsiteY2" fmla="*/ 257442 h 257442"/>
                <a:gd name="connsiteX3" fmla="*/ 0 w 2563421"/>
                <a:gd name="connsiteY3" fmla="*/ 0 h 257442"/>
                <a:gd name="connsiteX0" fmla="*/ 2563422 w 2563422"/>
                <a:gd name="connsiteY0" fmla="*/ 0 h 257442"/>
                <a:gd name="connsiteX1" fmla="*/ 2508701 w 2563422"/>
                <a:gd name="connsiteY1" fmla="*/ 257442 h 257442"/>
                <a:gd name="connsiteX2" fmla="*/ 0 w 2563422"/>
                <a:gd name="connsiteY2" fmla="*/ 257442 h 257442"/>
                <a:gd name="connsiteX3" fmla="*/ 1 w 2563422"/>
                <a:gd name="connsiteY3" fmla="*/ 0 h 257442"/>
                <a:gd name="connsiteX0" fmla="*/ 2563422 w 2563422"/>
                <a:gd name="connsiteY0" fmla="*/ 0 h 257442"/>
                <a:gd name="connsiteX1" fmla="*/ 2508701 w 2563422"/>
                <a:gd name="connsiteY1" fmla="*/ 257442 h 257442"/>
                <a:gd name="connsiteX2" fmla="*/ 0 w 2563422"/>
                <a:gd name="connsiteY2" fmla="*/ 257442 h 257442"/>
                <a:gd name="connsiteX3" fmla="*/ 0 w 2563422"/>
                <a:gd name="connsiteY3" fmla="*/ 0 h 257442"/>
                <a:gd name="connsiteX0" fmla="*/ 2731737 w 2731737"/>
                <a:gd name="connsiteY0" fmla="*/ 0 h 257442"/>
                <a:gd name="connsiteX1" fmla="*/ 2508701 w 2731737"/>
                <a:gd name="connsiteY1" fmla="*/ 257442 h 257442"/>
                <a:gd name="connsiteX2" fmla="*/ 0 w 2731737"/>
                <a:gd name="connsiteY2" fmla="*/ 257442 h 257442"/>
                <a:gd name="connsiteX3" fmla="*/ 0 w 2731737"/>
                <a:gd name="connsiteY3" fmla="*/ 0 h 257442"/>
                <a:gd name="connsiteX0" fmla="*/ 2731737 w 2731737"/>
                <a:gd name="connsiteY0" fmla="*/ 0 h 257442"/>
                <a:gd name="connsiteX1" fmla="*/ 2677016 w 2731737"/>
                <a:gd name="connsiteY1" fmla="*/ 257442 h 257442"/>
                <a:gd name="connsiteX2" fmla="*/ 0 w 2731737"/>
                <a:gd name="connsiteY2" fmla="*/ 257442 h 257442"/>
                <a:gd name="connsiteX3" fmla="*/ 0 w 2731737"/>
                <a:gd name="connsiteY3" fmla="*/ 0 h 257442"/>
                <a:gd name="connsiteX0" fmla="*/ 2731737 w 2731737"/>
                <a:gd name="connsiteY0" fmla="*/ 0 h 257442"/>
                <a:gd name="connsiteX1" fmla="*/ 2677016 w 2731737"/>
                <a:gd name="connsiteY1" fmla="*/ 257442 h 257442"/>
                <a:gd name="connsiteX2" fmla="*/ 0 w 2731737"/>
                <a:gd name="connsiteY2" fmla="*/ 257442 h 257442"/>
                <a:gd name="connsiteX3" fmla="*/ 0 w 2731737"/>
                <a:gd name="connsiteY3" fmla="*/ 0 h 257442"/>
                <a:gd name="connsiteX0" fmla="*/ 2731737 w 2731737"/>
                <a:gd name="connsiteY0" fmla="*/ 0 h 257442"/>
                <a:gd name="connsiteX1" fmla="*/ 2677016 w 2731737"/>
                <a:gd name="connsiteY1" fmla="*/ 257442 h 257442"/>
                <a:gd name="connsiteX2" fmla="*/ 0 w 2731737"/>
                <a:gd name="connsiteY2" fmla="*/ 257442 h 257442"/>
                <a:gd name="connsiteX3" fmla="*/ 0 w 2731737"/>
                <a:gd name="connsiteY3" fmla="*/ 0 h 257442"/>
                <a:gd name="connsiteX0" fmla="*/ 2892037 w 2892037"/>
                <a:gd name="connsiteY0" fmla="*/ 0 h 257442"/>
                <a:gd name="connsiteX1" fmla="*/ 2677016 w 2892037"/>
                <a:gd name="connsiteY1" fmla="*/ 257442 h 257442"/>
                <a:gd name="connsiteX2" fmla="*/ 0 w 2892037"/>
                <a:gd name="connsiteY2" fmla="*/ 257442 h 257442"/>
                <a:gd name="connsiteX3" fmla="*/ 0 w 2892037"/>
                <a:gd name="connsiteY3" fmla="*/ 0 h 257442"/>
                <a:gd name="connsiteX0" fmla="*/ 2892037 w 2892037"/>
                <a:gd name="connsiteY0" fmla="*/ 0 h 257442"/>
                <a:gd name="connsiteX1" fmla="*/ 2837316 w 2892037"/>
                <a:gd name="connsiteY1" fmla="*/ 257442 h 257442"/>
                <a:gd name="connsiteX2" fmla="*/ 0 w 2892037"/>
                <a:gd name="connsiteY2" fmla="*/ 257442 h 257442"/>
                <a:gd name="connsiteX3" fmla="*/ 0 w 2892037"/>
                <a:gd name="connsiteY3" fmla="*/ 0 h 257442"/>
                <a:gd name="connsiteX0" fmla="*/ 2892037 w 2892037"/>
                <a:gd name="connsiteY0" fmla="*/ 0 h 257442"/>
                <a:gd name="connsiteX1" fmla="*/ 2837316 w 2892037"/>
                <a:gd name="connsiteY1" fmla="*/ 257442 h 257442"/>
                <a:gd name="connsiteX2" fmla="*/ 0 w 2892037"/>
                <a:gd name="connsiteY2" fmla="*/ 257442 h 257442"/>
                <a:gd name="connsiteX3" fmla="*/ 0 w 2892037"/>
                <a:gd name="connsiteY3" fmla="*/ 0 h 257442"/>
                <a:gd name="connsiteX0" fmla="*/ 2892037 w 2892037"/>
                <a:gd name="connsiteY0" fmla="*/ 0 h 257442"/>
                <a:gd name="connsiteX1" fmla="*/ 2837316 w 2892037"/>
                <a:gd name="connsiteY1" fmla="*/ 257442 h 257442"/>
                <a:gd name="connsiteX2" fmla="*/ 0 w 2892037"/>
                <a:gd name="connsiteY2" fmla="*/ 257442 h 257442"/>
                <a:gd name="connsiteX3" fmla="*/ 0 w 2892037"/>
                <a:gd name="connsiteY3" fmla="*/ 0 h 257442"/>
                <a:gd name="connsiteX0" fmla="*/ 3060353 w 3060353"/>
                <a:gd name="connsiteY0" fmla="*/ 0 h 257442"/>
                <a:gd name="connsiteX1" fmla="*/ 2837316 w 3060353"/>
                <a:gd name="connsiteY1" fmla="*/ 257442 h 257442"/>
                <a:gd name="connsiteX2" fmla="*/ 0 w 3060353"/>
                <a:gd name="connsiteY2" fmla="*/ 257442 h 257442"/>
                <a:gd name="connsiteX3" fmla="*/ 0 w 3060353"/>
                <a:gd name="connsiteY3" fmla="*/ 0 h 257442"/>
                <a:gd name="connsiteX0" fmla="*/ 3060353 w 3060353"/>
                <a:gd name="connsiteY0" fmla="*/ 0 h 257442"/>
                <a:gd name="connsiteX1" fmla="*/ 3005632 w 3060353"/>
                <a:gd name="connsiteY1" fmla="*/ 257442 h 257442"/>
                <a:gd name="connsiteX2" fmla="*/ 0 w 3060353"/>
                <a:gd name="connsiteY2" fmla="*/ 257442 h 257442"/>
                <a:gd name="connsiteX3" fmla="*/ 0 w 3060353"/>
                <a:gd name="connsiteY3" fmla="*/ 0 h 257442"/>
                <a:gd name="connsiteX0" fmla="*/ 3060353 w 3060353"/>
                <a:gd name="connsiteY0" fmla="*/ 0 h 257442"/>
                <a:gd name="connsiteX1" fmla="*/ 3005632 w 3060353"/>
                <a:gd name="connsiteY1" fmla="*/ 257442 h 257442"/>
                <a:gd name="connsiteX2" fmla="*/ 0 w 3060353"/>
                <a:gd name="connsiteY2" fmla="*/ 257442 h 257442"/>
                <a:gd name="connsiteX3" fmla="*/ 0 w 3060353"/>
                <a:gd name="connsiteY3" fmla="*/ 0 h 257442"/>
                <a:gd name="connsiteX0" fmla="*/ 3060353 w 3060353"/>
                <a:gd name="connsiteY0" fmla="*/ 0 h 257442"/>
                <a:gd name="connsiteX1" fmla="*/ 3005632 w 3060353"/>
                <a:gd name="connsiteY1" fmla="*/ 257442 h 257442"/>
                <a:gd name="connsiteX2" fmla="*/ 0 w 3060353"/>
                <a:gd name="connsiteY2" fmla="*/ 257442 h 257442"/>
                <a:gd name="connsiteX3" fmla="*/ 0 w 3060353"/>
                <a:gd name="connsiteY3" fmla="*/ 0 h 257442"/>
                <a:gd name="connsiteX0" fmla="*/ 3228668 w 3228668"/>
                <a:gd name="connsiteY0" fmla="*/ 0 h 257442"/>
                <a:gd name="connsiteX1" fmla="*/ 3005632 w 3228668"/>
                <a:gd name="connsiteY1" fmla="*/ 257442 h 257442"/>
                <a:gd name="connsiteX2" fmla="*/ 0 w 3228668"/>
                <a:gd name="connsiteY2" fmla="*/ 257442 h 257442"/>
                <a:gd name="connsiteX3" fmla="*/ 0 w 3228668"/>
                <a:gd name="connsiteY3" fmla="*/ 0 h 257442"/>
                <a:gd name="connsiteX0" fmla="*/ 3228668 w 3228668"/>
                <a:gd name="connsiteY0" fmla="*/ 0 h 257442"/>
                <a:gd name="connsiteX1" fmla="*/ 3173946 w 3228668"/>
                <a:gd name="connsiteY1" fmla="*/ 257442 h 257442"/>
                <a:gd name="connsiteX2" fmla="*/ 0 w 3228668"/>
                <a:gd name="connsiteY2" fmla="*/ 257442 h 257442"/>
                <a:gd name="connsiteX3" fmla="*/ 0 w 3228668"/>
                <a:gd name="connsiteY3" fmla="*/ 0 h 257442"/>
                <a:gd name="connsiteX0" fmla="*/ 3228669 w 3228669"/>
                <a:gd name="connsiteY0" fmla="*/ 0 h 257442"/>
                <a:gd name="connsiteX1" fmla="*/ 3173947 w 3228669"/>
                <a:gd name="connsiteY1" fmla="*/ 257442 h 257442"/>
                <a:gd name="connsiteX2" fmla="*/ 0 w 3228669"/>
                <a:gd name="connsiteY2" fmla="*/ 257442 h 257442"/>
                <a:gd name="connsiteX3" fmla="*/ 1 w 3228669"/>
                <a:gd name="connsiteY3" fmla="*/ 0 h 257442"/>
                <a:gd name="connsiteX0" fmla="*/ 3228669 w 3228669"/>
                <a:gd name="connsiteY0" fmla="*/ 0 h 257442"/>
                <a:gd name="connsiteX1" fmla="*/ 3173947 w 3228669"/>
                <a:gd name="connsiteY1" fmla="*/ 257442 h 257442"/>
                <a:gd name="connsiteX2" fmla="*/ 0 w 3228669"/>
                <a:gd name="connsiteY2" fmla="*/ 257442 h 257442"/>
                <a:gd name="connsiteX3" fmla="*/ 1 w 3228669"/>
                <a:gd name="connsiteY3" fmla="*/ 0 h 257442"/>
                <a:gd name="connsiteX0" fmla="*/ 3414617 w 3414617"/>
                <a:gd name="connsiteY0" fmla="*/ 0 h 257442"/>
                <a:gd name="connsiteX1" fmla="*/ 3173947 w 3414617"/>
                <a:gd name="connsiteY1" fmla="*/ 257442 h 257442"/>
                <a:gd name="connsiteX2" fmla="*/ 0 w 3414617"/>
                <a:gd name="connsiteY2" fmla="*/ 257442 h 257442"/>
                <a:gd name="connsiteX3" fmla="*/ 1 w 3414617"/>
                <a:gd name="connsiteY3" fmla="*/ 0 h 257442"/>
                <a:gd name="connsiteX0" fmla="*/ 3414617 w 3414617"/>
                <a:gd name="connsiteY0" fmla="*/ 0 h 257442"/>
                <a:gd name="connsiteX1" fmla="*/ 3359896 w 3414617"/>
                <a:gd name="connsiteY1" fmla="*/ 257442 h 257442"/>
                <a:gd name="connsiteX2" fmla="*/ 0 w 3414617"/>
                <a:gd name="connsiteY2" fmla="*/ 257442 h 257442"/>
                <a:gd name="connsiteX3" fmla="*/ 1 w 3414617"/>
                <a:gd name="connsiteY3" fmla="*/ 0 h 257442"/>
                <a:gd name="connsiteX0" fmla="*/ 3414616 w 3414616"/>
                <a:gd name="connsiteY0" fmla="*/ 0 h 257442"/>
                <a:gd name="connsiteX1" fmla="*/ 3359895 w 3414616"/>
                <a:gd name="connsiteY1" fmla="*/ 257442 h 257442"/>
                <a:gd name="connsiteX2" fmla="*/ 0 w 3414616"/>
                <a:gd name="connsiteY2" fmla="*/ 257442 h 257442"/>
                <a:gd name="connsiteX3" fmla="*/ 0 w 3414616"/>
                <a:gd name="connsiteY3" fmla="*/ 0 h 257442"/>
                <a:gd name="connsiteX0" fmla="*/ 3414617 w 3414617"/>
                <a:gd name="connsiteY0" fmla="*/ 0 h 257442"/>
                <a:gd name="connsiteX1" fmla="*/ 3359896 w 3414617"/>
                <a:gd name="connsiteY1" fmla="*/ 257442 h 257442"/>
                <a:gd name="connsiteX2" fmla="*/ 1 w 3414617"/>
                <a:gd name="connsiteY2" fmla="*/ 257442 h 257442"/>
                <a:gd name="connsiteX3" fmla="*/ 0 w 3414617"/>
                <a:gd name="connsiteY3" fmla="*/ 0 h 257442"/>
                <a:gd name="connsiteX0" fmla="*/ 3515607 w 3515607"/>
                <a:gd name="connsiteY0" fmla="*/ 0 h 257442"/>
                <a:gd name="connsiteX1" fmla="*/ 3359896 w 3515607"/>
                <a:gd name="connsiteY1" fmla="*/ 257442 h 257442"/>
                <a:gd name="connsiteX2" fmla="*/ 1 w 3515607"/>
                <a:gd name="connsiteY2" fmla="*/ 257442 h 257442"/>
                <a:gd name="connsiteX3" fmla="*/ 0 w 3515607"/>
                <a:gd name="connsiteY3" fmla="*/ 0 h 257442"/>
                <a:gd name="connsiteX0" fmla="*/ 3515607 w 3515607"/>
                <a:gd name="connsiteY0" fmla="*/ 0 h 257442"/>
                <a:gd name="connsiteX1" fmla="*/ 3460886 w 3515607"/>
                <a:gd name="connsiteY1" fmla="*/ 257442 h 257442"/>
                <a:gd name="connsiteX2" fmla="*/ 1 w 3515607"/>
                <a:gd name="connsiteY2" fmla="*/ 257442 h 257442"/>
                <a:gd name="connsiteX3" fmla="*/ 0 w 3515607"/>
                <a:gd name="connsiteY3" fmla="*/ 0 h 257442"/>
                <a:gd name="connsiteX0" fmla="*/ 3515607 w 3515607"/>
                <a:gd name="connsiteY0" fmla="*/ 0 h 257442"/>
                <a:gd name="connsiteX1" fmla="*/ 3460886 w 3515607"/>
                <a:gd name="connsiteY1" fmla="*/ 257442 h 257442"/>
                <a:gd name="connsiteX2" fmla="*/ 1 w 3515607"/>
                <a:gd name="connsiteY2" fmla="*/ 257442 h 257442"/>
                <a:gd name="connsiteX3" fmla="*/ 0 w 3515607"/>
                <a:gd name="connsiteY3" fmla="*/ 0 h 257442"/>
                <a:gd name="connsiteX0" fmla="*/ 3515606 w 3515606"/>
                <a:gd name="connsiteY0" fmla="*/ 0 h 257442"/>
                <a:gd name="connsiteX1" fmla="*/ 3460885 w 3515606"/>
                <a:gd name="connsiteY1" fmla="*/ 257442 h 257442"/>
                <a:gd name="connsiteX2" fmla="*/ 0 w 3515606"/>
                <a:gd name="connsiteY2" fmla="*/ 257442 h 257442"/>
                <a:gd name="connsiteX3" fmla="*/ 0 w 3515606"/>
                <a:gd name="connsiteY3" fmla="*/ 0 h 257442"/>
                <a:gd name="connsiteX0" fmla="*/ 3683920 w 3683920"/>
                <a:gd name="connsiteY0" fmla="*/ 0 h 257442"/>
                <a:gd name="connsiteX1" fmla="*/ 3460885 w 3683920"/>
                <a:gd name="connsiteY1" fmla="*/ 257442 h 257442"/>
                <a:gd name="connsiteX2" fmla="*/ 0 w 3683920"/>
                <a:gd name="connsiteY2" fmla="*/ 257442 h 257442"/>
                <a:gd name="connsiteX3" fmla="*/ 0 w 3683920"/>
                <a:gd name="connsiteY3" fmla="*/ 0 h 257442"/>
                <a:gd name="connsiteX0" fmla="*/ 3683920 w 3683920"/>
                <a:gd name="connsiteY0" fmla="*/ 0 h 257442"/>
                <a:gd name="connsiteX1" fmla="*/ 3629199 w 3683920"/>
                <a:gd name="connsiteY1" fmla="*/ 257442 h 257442"/>
                <a:gd name="connsiteX2" fmla="*/ 0 w 3683920"/>
                <a:gd name="connsiteY2" fmla="*/ 257442 h 257442"/>
                <a:gd name="connsiteX3" fmla="*/ 0 w 3683920"/>
                <a:gd name="connsiteY3" fmla="*/ 0 h 257442"/>
                <a:gd name="connsiteX0" fmla="*/ 3683921 w 3683921"/>
                <a:gd name="connsiteY0" fmla="*/ 0 h 257442"/>
                <a:gd name="connsiteX1" fmla="*/ 3629200 w 3683921"/>
                <a:gd name="connsiteY1" fmla="*/ 257442 h 257442"/>
                <a:gd name="connsiteX2" fmla="*/ 0 w 3683921"/>
                <a:gd name="connsiteY2" fmla="*/ 257442 h 257442"/>
                <a:gd name="connsiteX3" fmla="*/ 1 w 3683921"/>
                <a:gd name="connsiteY3" fmla="*/ 0 h 257442"/>
                <a:gd name="connsiteX0" fmla="*/ 3683921 w 3683921"/>
                <a:gd name="connsiteY0" fmla="*/ 0 h 257442"/>
                <a:gd name="connsiteX1" fmla="*/ 3629200 w 3683921"/>
                <a:gd name="connsiteY1" fmla="*/ 257442 h 257442"/>
                <a:gd name="connsiteX2" fmla="*/ 0 w 3683921"/>
                <a:gd name="connsiteY2" fmla="*/ 257442 h 257442"/>
                <a:gd name="connsiteX3" fmla="*/ 1 w 3683921"/>
                <a:gd name="connsiteY3" fmla="*/ 0 h 257442"/>
                <a:gd name="connsiteX0" fmla="*/ 3844222 w 3844222"/>
                <a:gd name="connsiteY0" fmla="*/ 0 h 257442"/>
                <a:gd name="connsiteX1" fmla="*/ 3629200 w 3844222"/>
                <a:gd name="connsiteY1" fmla="*/ 257442 h 257442"/>
                <a:gd name="connsiteX2" fmla="*/ 0 w 3844222"/>
                <a:gd name="connsiteY2" fmla="*/ 257442 h 257442"/>
                <a:gd name="connsiteX3" fmla="*/ 1 w 3844222"/>
                <a:gd name="connsiteY3" fmla="*/ 0 h 257442"/>
                <a:gd name="connsiteX0" fmla="*/ 3844222 w 3844222"/>
                <a:gd name="connsiteY0" fmla="*/ 0 h 257442"/>
                <a:gd name="connsiteX1" fmla="*/ 3789500 w 3844222"/>
                <a:gd name="connsiteY1" fmla="*/ 257442 h 257442"/>
                <a:gd name="connsiteX2" fmla="*/ 0 w 3844222"/>
                <a:gd name="connsiteY2" fmla="*/ 257442 h 257442"/>
                <a:gd name="connsiteX3" fmla="*/ 1 w 3844222"/>
                <a:gd name="connsiteY3" fmla="*/ 0 h 257442"/>
                <a:gd name="connsiteX0" fmla="*/ 3844222 w 3844222"/>
                <a:gd name="connsiteY0" fmla="*/ 0 h 257442"/>
                <a:gd name="connsiteX1" fmla="*/ 3789500 w 3844222"/>
                <a:gd name="connsiteY1" fmla="*/ 257442 h 257442"/>
                <a:gd name="connsiteX2" fmla="*/ 0 w 3844222"/>
                <a:gd name="connsiteY2" fmla="*/ 257442 h 257442"/>
                <a:gd name="connsiteX3" fmla="*/ 1 w 3844222"/>
                <a:gd name="connsiteY3" fmla="*/ 0 h 257442"/>
                <a:gd name="connsiteX0" fmla="*/ 3844222 w 3844222"/>
                <a:gd name="connsiteY0" fmla="*/ 0 h 257442"/>
                <a:gd name="connsiteX1" fmla="*/ 3789500 w 3844222"/>
                <a:gd name="connsiteY1" fmla="*/ 257442 h 257442"/>
                <a:gd name="connsiteX2" fmla="*/ 0 w 3844222"/>
                <a:gd name="connsiteY2" fmla="*/ 257442 h 257442"/>
                <a:gd name="connsiteX3" fmla="*/ 0 w 3844222"/>
                <a:gd name="connsiteY3" fmla="*/ 0 h 257442"/>
                <a:gd name="connsiteX0" fmla="*/ 986067 w 3789500"/>
                <a:gd name="connsiteY0" fmla="*/ 0 h 257442"/>
                <a:gd name="connsiteX1" fmla="*/ 3789500 w 3789500"/>
                <a:gd name="connsiteY1" fmla="*/ 257442 h 257442"/>
                <a:gd name="connsiteX2" fmla="*/ 0 w 3789500"/>
                <a:gd name="connsiteY2" fmla="*/ 257442 h 257442"/>
                <a:gd name="connsiteX3" fmla="*/ 0 w 3789500"/>
                <a:gd name="connsiteY3" fmla="*/ 0 h 257442"/>
                <a:gd name="connsiteX0" fmla="*/ 986067 w 986067"/>
                <a:gd name="connsiteY0" fmla="*/ 0 h 257442"/>
                <a:gd name="connsiteX1" fmla="*/ 931346 w 986067"/>
                <a:gd name="connsiteY1" fmla="*/ 257442 h 257442"/>
                <a:gd name="connsiteX2" fmla="*/ 0 w 986067"/>
                <a:gd name="connsiteY2" fmla="*/ 257442 h 257442"/>
                <a:gd name="connsiteX3" fmla="*/ 0 w 986067"/>
                <a:gd name="connsiteY3" fmla="*/ 0 h 257442"/>
                <a:gd name="connsiteX0" fmla="*/ 986067 w 986067"/>
                <a:gd name="connsiteY0" fmla="*/ 0 h 257442"/>
                <a:gd name="connsiteX1" fmla="*/ 931346 w 986067"/>
                <a:gd name="connsiteY1" fmla="*/ 257442 h 257442"/>
                <a:gd name="connsiteX2" fmla="*/ 1 w 986067"/>
                <a:gd name="connsiteY2" fmla="*/ 257442 h 257442"/>
                <a:gd name="connsiteX3" fmla="*/ 0 w 986067"/>
                <a:gd name="connsiteY3" fmla="*/ 0 h 257442"/>
                <a:gd name="connsiteX0" fmla="*/ 986066 w 986066"/>
                <a:gd name="connsiteY0" fmla="*/ 0 h 257442"/>
                <a:gd name="connsiteX1" fmla="*/ 931345 w 986066"/>
                <a:gd name="connsiteY1" fmla="*/ 257442 h 257442"/>
                <a:gd name="connsiteX2" fmla="*/ 0 w 986066"/>
                <a:gd name="connsiteY2" fmla="*/ 257442 h 257442"/>
                <a:gd name="connsiteX3" fmla="*/ 0 w 986066"/>
                <a:gd name="connsiteY3" fmla="*/ 0 h 257442"/>
                <a:gd name="connsiteX0" fmla="*/ 1163999 w 1163999"/>
                <a:gd name="connsiteY0" fmla="*/ 0 h 257442"/>
                <a:gd name="connsiteX1" fmla="*/ 931345 w 1163999"/>
                <a:gd name="connsiteY1" fmla="*/ 257442 h 257442"/>
                <a:gd name="connsiteX2" fmla="*/ 0 w 1163999"/>
                <a:gd name="connsiteY2" fmla="*/ 257442 h 257442"/>
                <a:gd name="connsiteX3" fmla="*/ 0 w 1163999"/>
                <a:gd name="connsiteY3" fmla="*/ 0 h 257442"/>
                <a:gd name="connsiteX0" fmla="*/ 1163999 w 1163999"/>
                <a:gd name="connsiteY0" fmla="*/ 0 h 257442"/>
                <a:gd name="connsiteX1" fmla="*/ 1109278 w 1163999"/>
                <a:gd name="connsiteY1" fmla="*/ 257442 h 257442"/>
                <a:gd name="connsiteX2" fmla="*/ 0 w 1163999"/>
                <a:gd name="connsiteY2" fmla="*/ 257442 h 257442"/>
                <a:gd name="connsiteX3" fmla="*/ 0 w 1163999"/>
                <a:gd name="connsiteY3" fmla="*/ 0 h 257442"/>
                <a:gd name="connsiteX0" fmla="*/ 1164000 w 1164000"/>
                <a:gd name="connsiteY0" fmla="*/ 0 h 257442"/>
                <a:gd name="connsiteX1" fmla="*/ 1109279 w 1164000"/>
                <a:gd name="connsiteY1" fmla="*/ 257442 h 257442"/>
                <a:gd name="connsiteX2" fmla="*/ 0 w 1164000"/>
                <a:gd name="connsiteY2" fmla="*/ 257442 h 257442"/>
                <a:gd name="connsiteX3" fmla="*/ 1 w 1164000"/>
                <a:gd name="connsiteY3" fmla="*/ 0 h 257442"/>
                <a:gd name="connsiteX0" fmla="*/ 1164000 w 1164000"/>
                <a:gd name="connsiteY0" fmla="*/ 0 h 257442"/>
                <a:gd name="connsiteX1" fmla="*/ 1109279 w 1164000"/>
                <a:gd name="connsiteY1" fmla="*/ 257442 h 257442"/>
                <a:gd name="connsiteX2" fmla="*/ 0 w 1164000"/>
                <a:gd name="connsiteY2" fmla="*/ 257442 h 257442"/>
                <a:gd name="connsiteX3" fmla="*/ 0 w 1164000"/>
                <a:gd name="connsiteY3" fmla="*/ 0 h 257442"/>
                <a:gd name="connsiteX0" fmla="*/ 1332316 w 1332316"/>
                <a:gd name="connsiteY0" fmla="*/ 0 h 257442"/>
                <a:gd name="connsiteX1" fmla="*/ 1109279 w 1332316"/>
                <a:gd name="connsiteY1" fmla="*/ 257442 h 257442"/>
                <a:gd name="connsiteX2" fmla="*/ 0 w 1332316"/>
                <a:gd name="connsiteY2" fmla="*/ 257442 h 257442"/>
                <a:gd name="connsiteX3" fmla="*/ 0 w 1332316"/>
                <a:gd name="connsiteY3" fmla="*/ 0 h 257442"/>
                <a:gd name="connsiteX0" fmla="*/ 1332316 w 1332316"/>
                <a:gd name="connsiteY0" fmla="*/ 0 h 257442"/>
                <a:gd name="connsiteX1" fmla="*/ 1277595 w 1332316"/>
                <a:gd name="connsiteY1" fmla="*/ 257442 h 257442"/>
                <a:gd name="connsiteX2" fmla="*/ 0 w 1332316"/>
                <a:gd name="connsiteY2" fmla="*/ 257442 h 257442"/>
                <a:gd name="connsiteX3" fmla="*/ 0 w 1332316"/>
                <a:gd name="connsiteY3" fmla="*/ 0 h 257442"/>
                <a:gd name="connsiteX0" fmla="*/ 1332316 w 1332316"/>
                <a:gd name="connsiteY0" fmla="*/ 0 h 257442"/>
                <a:gd name="connsiteX1" fmla="*/ 1277595 w 1332316"/>
                <a:gd name="connsiteY1" fmla="*/ 257442 h 257442"/>
                <a:gd name="connsiteX2" fmla="*/ 0 w 1332316"/>
                <a:gd name="connsiteY2" fmla="*/ 257442 h 257442"/>
                <a:gd name="connsiteX3" fmla="*/ 0 w 1332316"/>
                <a:gd name="connsiteY3" fmla="*/ 0 h 257442"/>
                <a:gd name="connsiteX0" fmla="*/ 1332316 w 1332316"/>
                <a:gd name="connsiteY0" fmla="*/ 0 h 257442"/>
                <a:gd name="connsiteX1" fmla="*/ 1277595 w 1332316"/>
                <a:gd name="connsiteY1" fmla="*/ 257442 h 257442"/>
                <a:gd name="connsiteX2" fmla="*/ 0 w 1332316"/>
                <a:gd name="connsiteY2" fmla="*/ 257442 h 257442"/>
                <a:gd name="connsiteX3" fmla="*/ 0 w 1332316"/>
                <a:gd name="connsiteY3" fmla="*/ 0 h 257442"/>
                <a:gd name="connsiteX0" fmla="*/ 1500631 w 1500631"/>
                <a:gd name="connsiteY0" fmla="*/ 0 h 257442"/>
                <a:gd name="connsiteX1" fmla="*/ 1277595 w 1500631"/>
                <a:gd name="connsiteY1" fmla="*/ 257442 h 257442"/>
                <a:gd name="connsiteX2" fmla="*/ 0 w 1500631"/>
                <a:gd name="connsiteY2" fmla="*/ 257442 h 257442"/>
                <a:gd name="connsiteX3" fmla="*/ 0 w 1500631"/>
                <a:gd name="connsiteY3" fmla="*/ 0 h 257442"/>
                <a:gd name="connsiteX0" fmla="*/ 1500631 w 1500631"/>
                <a:gd name="connsiteY0" fmla="*/ 0 h 257442"/>
                <a:gd name="connsiteX1" fmla="*/ 1445910 w 1500631"/>
                <a:gd name="connsiteY1" fmla="*/ 257442 h 257442"/>
                <a:gd name="connsiteX2" fmla="*/ 0 w 1500631"/>
                <a:gd name="connsiteY2" fmla="*/ 257442 h 257442"/>
                <a:gd name="connsiteX3" fmla="*/ 0 w 1500631"/>
                <a:gd name="connsiteY3" fmla="*/ 0 h 257442"/>
                <a:gd name="connsiteX0" fmla="*/ 1500631 w 1500631"/>
                <a:gd name="connsiteY0" fmla="*/ 0 h 257442"/>
                <a:gd name="connsiteX1" fmla="*/ 1445910 w 1500631"/>
                <a:gd name="connsiteY1" fmla="*/ 257442 h 257442"/>
                <a:gd name="connsiteX2" fmla="*/ 0 w 1500631"/>
                <a:gd name="connsiteY2" fmla="*/ 257442 h 257442"/>
                <a:gd name="connsiteX3" fmla="*/ 0 w 1500631"/>
                <a:gd name="connsiteY3" fmla="*/ 0 h 257442"/>
                <a:gd name="connsiteX0" fmla="*/ 1500631 w 1500631"/>
                <a:gd name="connsiteY0" fmla="*/ 0 h 257442"/>
                <a:gd name="connsiteX1" fmla="*/ 1445910 w 1500631"/>
                <a:gd name="connsiteY1" fmla="*/ 257442 h 257442"/>
                <a:gd name="connsiteX2" fmla="*/ 0 w 1500631"/>
                <a:gd name="connsiteY2" fmla="*/ 257442 h 257442"/>
                <a:gd name="connsiteX3" fmla="*/ 0 w 1500631"/>
                <a:gd name="connsiteY3" fmla="*/ 0 h 257442"/>
                <a:gd name="connsiteX0" fmla="*/ 1652916 w 1652916"/>
                <a:gd name="connsiteY0" fmla="*/ 0 h 257442"/>
                <a:gd name="connsiteX1" fmla="*/ 1445910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652916 w 1652916"/>
                <a:gd name="connsiteY0" fmla="*/ 0 h 257442"/>
                <a:gd name="connsiteX1" fmla="*/ 1598194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652917 w 1652917"/>
                <a:gd name="connsiteY0" fmla="*/ 0 h 257442"/>
                <a:gd name="connsiteX1" fmla="*/ 1598195 w 1652917"/>
                <a:gd name="connsiteY1" fmla="*/ 257442 h 257442"/>
                <a:gd name="connsiteX2" fmla="*/ 0 w 1652917"/>
                <a:gd name="connsiteY2" fmla="*/ 257442 h 257442"/>
                <a:gd name="connsiteX3" fmla="*/ 1 w 1652917"/>
                <a:gd name="connsiteY3" fmla="*/ 0 h 257442"/>
                <a:gd name="connsiteX0" fmla="*/ 1652917 w 1652917"/>
                <a:gd name="connsiteY0" fmla="*/ 0 h 257442"/>
                <a:gd name="connsiteX1" fmla="*/ 1598195 w 1652917"/>
                <a:gd name="connsiteY1" fmla="*/ 257442 h 257442"/>
                <a:gd name="connsiteX2" fmla="*/ 0 w 1652917"/>
                <a:gd name="connsiteY2" fmla="*/ 257442 h 257442"/>
                <a:gd name="connsiteX3" fmla="*/ 1 w 1652917"/>
                <a:gd name="connsiteY3" fmla="*/ 0 h 257442"/>
                <a:gd name="connsiteX0" fmla="*/ 1830850 w 1830850"/>
                <a:gd name="connsiteY0" fmla="*/ 0 h 257442"/>
                <a:gd name="connsiteX1" fmla="*/ 1598195 w 1830850"/>
                <a:gd name="connsiteY1" fmla="*/ 257442 h 257442"/>
                <a:gd name="connsiteX2" fmla="*/ 0 w 1830850"/>
                <a:gd name="connsiteY2" fmla="*/ 257442 h 257442"/>
                <a:gd name="connsiteX3" fmla="*/ 1 w 1830850"/>
                <a:gd name="connsiteY3" fmla="*/ 0 h 257442"/>
                <a:gd name="connsiteX0" fmla="*/ 1830850 w 1830850"/>
                <a:gd name="connsiteY0" fmla="*/ 0 h 257442"/>
                <a:gd name="connsiteX1" fmla="*/ 1776128 w 1830850"/>
                <a:gd name="connsiteY1" fmla="*/ 257442 h 257442"/>
                <a:gd name="connsiteX2" fmla="*/ 0 w 1830850"/>
                <a:gd name="connsiteY2" fmla="*/ 257442 h 257442"/>
                <a:gd name="connsiteX3" fmla="*/ 1 w 1830850"/>
                <a:gd name="connsiteY3" fmla="*/ 0 h 257442"/>
                <a:gd name="connsiteX0" fmla="*/ 1830850 w 1830850"/>
                <a:gd name="connsiteY0" fmla="*/ 0 h 257442"/>
                <a:gd name="connsiteX1" fmla="*/ 1776128 w 1830850"/>
                <a:gd name="connsiteY1" fmla="*/ 257442 h 257442"/>
                <a:gd name="connsiteX2" fmla="*/ 0 w 1830850"/>
                <a:gd name="connsiteY2" fmla="*/ 257442 h 257442"/>
                <a:gd name="connsiteX3" fmla="*/ 1 w 1830850"/>
                <a:gd name="connsiteY3" fmla="*/ 0 h 257442"/>
                <a:gd name="connsiteX0" fmla="*/ 1830850 w 1830850"/>
                <a:gd name="connsiteY0" fmla="*/ 0 h 257442"/>
                <a:gd name="connsiteX1" fmla="*/ 1776128 w 1830850"/>
                <a:gd name="connsiteY1" fmla="*/ 257442 h 257442"/>
                <a:gd name="connsiteX2" fmla="*/ 0 w 1830850"/>
                <a:gd name="connsiteY2" fmla="*/ 257442 h 257442"/>
                <a:gd name="connsiteX3" fmla="*/ 0 w 1830850"/>
                <a:gd name="connsiteY3" fmla="*/ 0 h 257442"/>
                <a:gd name="connsiteX0" fmla="*/ 1999165 w 1999165"/>
                <a:gd name="connsiteY0" fmla="*/ 0 h 257442"/>
                <a:gd name="connsiteX1" fmla="*/ 1776128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2167480 w 2167480"/>
                <a:gd name="connsiteY0" fmla="*/ 0 h 257442"/>
                <a:gd name="connsiteX1" fmla="*/ 1944444 w 2167480"/>
                <a:gd name="connsiteY1" fmla="*/ 257442 h 257442"/>
                <a:gd name="connsiteX2" fmla="*/ 0 w 2167480"/>
                <a:gd name="connsiteY2" fmla="*/ 257442 h 257442"/>
                <a:gd name="connsiteX3" fmla="*/ 0 w 2167480"/>
                <a:gd name="connsiteY3" fmla="*/ 0 h 257442"/>
                <a:gd name="connsiteX0" fmla="*/ 2167480 w 2167480"/>
                <a:gd name="connsiteY0" fmla="*/ 0 h 257442"/>
                <a:gd name="connsiteX1" fmla="*/ 2112758 w 2167480"/>
                <a:gd name="connsiteY1" fmla="*/ 257442 h 257442"/>
                <a:gd name="connsiteX2" fmla="*/ 0 w 2167480"/>
                <a:gd name="connsiteY2" fmla="*/ 257442 h 257442"/>
                <a:gd name="connsiteX3" fmla="*/ 0 w 2167480"/>
                <a:gd name="connsiteY3" fmla="*/ 0 h 257442"/>
                <a:gd name="connsiteX0" fmla="*/ 2167481 w 2167481"/>
                <a:gd name="connsiteY0" fmla="*/ 0 h 257442"/>
                <a:gd name="connsiteX1" fmla="*/ 2112759 w 2167481"/>
                <a:gd name="connsiteY1" fmla="*/ 257442 h 257442"/>
                <a:gd name="connsiteX2" fmla="*/ 0 w 2167481"/>
                <a:gd name="connsiteY2" fmla="*/ 257442 h 257442"/>
                <a:gd name="connsiteX3" fmla="*/ 1 w 2167481"/>
                <a:gd name="connsiteY3" fmla="*/ 0 h 257442"/>
                <a:gd name="connsiteX0" fmla="*/ 2167481 w 2167481"/>
                <a:gd name="connsiteY0" fmla="*/ 0 h 257442"/>
                <a:gd name="connsiteX1" fmla="*/ 2112759 w 2167481"/>
                <a:gd name="connsiteY1" fmla="*/ 257442 h 257442"/>
                <a:gd name="connsiteX2" fmla="*/ 0 w 2167481"/>
                <a:gd name="connsiteY2" fmla="*/ 257442 h 257442"/>
                <a:gd name="connsiteX3" fmla="*/ 1 w 2167481"/>
                <a:gd name="connsiteY3" fmla="*/ 0 h 257442"/>
                <a:gd name="connsiteX0" fmla="*/ 2327781 w 2327781"/>
                <a:gd name="connsiteY0" fmla="*/ 0 h 257442"/>
                <a:gd name="connsiteX1" fmla="*/ 2112759 w 2327781"/>
                <a:gd name="connsiteY1" fmla="*/ 257442 h 257442"/>
                <a:gd name="connsiteX2" fmla="*/ 0 w 2327781"/>
                <a:gd name="connsiteY2" fmla="*/ 257442 h 257442"/>
                <a:gd name="connsiteX3" fmla="*/ 1 w 2327781"/>
                <a:gd name="connsiteY3" fmla="*/ 0 h 257442"/>
                <a:gd name="connsiteX0" fmla="*/ 2327781 w 2327781"/>
                <a:gd name="connsiteY0" fmla="*/ 0 h 257442"/>
                <a:gd name="connsiteX1" fmla="*/ 2273060 w 2327781"/>
                <a:gd name="connsiteY1" fmla="*/ 257442 h 257442"/>
                <a:gd name="connsiteX2" fmla="*/ 0 w 2327781"/>
                <a:gd name="connsiteY2" fmla="*/ 257442 h 257442"/>
                <a:gd name="connsiteX3" fmla="*/ 1 w 2327781"/>
                <a:gd name="connsiteY3" fmla="*/ 0 h 257442"/>
                <a:gd name="connsiteX0" fmla="*/ 2327780 w 2327780"/>
                <a:gd name="connsiteY0" fmla="*/ 0 h 257442"/>
                <a:gd name="connsiteX1" fmla="*/ 2273059 w 2327780"/>
                <a:gd name="connsiteY1" fmla="*/ 257442 h 257442"/>
                <a:gd name="connsiteX2" fmla="*/ 0 w 2327780"/>
                <a:gd name="connsiteY2" fmla="*/ 257442 h 257442"/>
                <a:gd name="connsiteX3" fmla="*/ 0 w 2327780"/>
                <a:gd name="connsiteY3" fmla="*/ 0 h 257442"/>
                <a:gd name="connsiteX0" fmla="*/ 2327781 w 2327781"/>
                <a:gd name="connsiteY0" fmla="*/ 0 h 257442"/>
                <a:gd name="connsiteX1" fmla="*/ 2273060 w 2327781"/>
                <a:gd name="connsiteY1" fmla="*/ 257442 h 257442"/>
                <a:gd name="connsiteX2" fmla="*/ 1 w 2327781"/>
                <a:gd name="connsiteY2" fmla="*/ 257442 h 257442"/>
                <a:gd name="connsiteX3" fmla="*/ 0 w 2327781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27781" h="257442">
                  <a:moveTo>
                    <a:pt x="2327781" y="0"/>
                  </a:moveTo>
                  <a:lnTo>
                    <a:pt x="2273060" y="257442"/>
                  </a:lnTo>
                  <a:lnTo>
                    <a:pt x="1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4" name="btfpRunningAgenda2LevelTextLeft228391">
              <a:extLst>
                <a:ext uri="{FF2B5EF4-FFF2-40B4-BE49-F238E27FC236}">
                  <a16:creationId xmlns:a16="http://schemas.microsoft.com/office/drawing/2014/main" id="{E66786D9-6F83-4AC7-9FA1-063103B29BC6}"/>
                </a:ext>
              </a:extLst>
            </p:cNvPr>
            <p:cNvSpPr txBox="1"/>
            <p:nvPr/>
          </p:nvSpPr>
          <p:spPr bwMode="gray">
            <a:xfrm>
              <a:off x="0" y="876300"/>
              <a:ext cx="2273059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all" spc="4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WORKFORCE</a:t>
              </a:r>
            </a:p>
          </p:txBody>
        </p:sp>
        <p:sp>
          <p:nvSpPr>
            <p:cNvPr id="36" name="btfpRunningAgenda2LevelBarRight228391">
              <a:extLst>
                <a:ext uri="{FF2B5EF4-FFF2-40B4-BE49-F238E27FC236}">
                  <a16:creationId xmlns:a16="http://schemas.microsoft.com/office/drawing/2014/main" id="{35FAFE6B-9B21-476F-94C6-C69C98E86AAB}"/>
                </a:ext>
              </a:extLst>
            </p:cNvPr>
            <p:cNvSpPr/>
            <p:nvPr/>
          </p:nvSpPr>
          <p:spPr bwMode="gray">
            <a:xfrm>
              <a:off x="2192938" y="876300"/>
              <a:ext cx="2132214" cy="257442"/>
            </a:xfrm>
            <a:custGeom>
              <a:avLst/>
              <a:gdLst>
                <a:gd name="connsiteX0" fmla="*/ 934771 w 2367856"/>
                <a:gd name="connsiteY0" fmla="*/ 0 h 257442"/>
                <a:gd name="connsiteX1" fmla="*/ 2367856 w 2367856"/>
                <a:gd name="connsiteY1" fmla="*/ 0 h 257442"/>
                <a:gd name="connsiteX2" fmla="*/ 2313135 w 2367856"/>
                <a:gd name="connsiteY2" fmla="*/ 257442 h 257442"/>
                <a:gd name="connsiteX3" fmla="*/ 0 w 2367856"/>
                <a:gd name="connsiteY3" fmla="*/ 257442 h 257442"/>
                <a:gd name="connsiteX0" fmla="*/ 934771 w 2313135"/>
                <a:gd name="connsiteY0" fmla="*/ 0 h 257442"/>
                <a:gd name="connsiteX1" fmla="*/ 880050 w 2313135"/>
                <a:gd name="connsiteY1" fmla="*/ 257442 h 257442"/>
                <a:gd name="connsiteX2" fmla="*/ 2313135 w 2313135"/>
                <a:gd name="connsiteY2" fmla="*/ 257442 h 257442"/>
                <a:gd name="connsiteX3" fmla="*/ 0 w 2313135"/>
                <a:gd name="connsiteY3" fmla="*/ 257442 h 257442"/>
                <a:gd name="connsiteX0" fmla="*/ 934771 w 934771"/>
                <a:gd name="connsiteY0" fmla="*/ 0 h 257442"/>
                <a:gd name="connsiteX1" fmla="*/ 880050 w 934771"/>
                <a:gd name="connsiteY1" fmla="*/ 257442 h 257442"/>
                <a:gd name="connsiteX2" fmla="*/ 1 w 934771"/>
                <a:gd name="connsiteY2" fmla="*/ 257442 h 257442"/>
                <a:gd name="connsiteX3" fmla="*/ 0 w 934771"/>
                <a:gd name="connsiteY3" fmla="*/ 257442 h 257442"/>
                <a:gd name="connsiteX0" fmla="*/ 934770 w 934770"/>
                <a:gd name="connsiteY0" fmla="*/ 0 h 257442"/>
                <a:gd name="connsiteX1" fmla="*/ 880049 w 934770"/>
                <a:gd name="connsiteY1" fmla="*/ 257442 h 257442"/>
                <a:gd name="connsiteX2" fmla="*/ 0 w 934770"/>
                <a:gd name="connsiteY2" fmla="*/ 257442 h 257442"/>
                <a:gd name="connsiteX3" fmla="*/ 54721 w 934770"/>
                <a:gd name="connsiteY3" fmla="*/ 0 h 257442"/>
                <a:gd name="connsiteX0" fmla="*/ 1103085 w 1103085"/>
                <a:gd name="connsiteY0" fmla="*/ 0 h 257442"/>
                <a:gd name="connsiteX1" fmla="*/ 880049 w 1103085"/>
                <a:gd name="connsiteY1" fmla="*/ 257442 h 257442"/>
                <a:gd name="connsiteX2" fmla="*/ 0 w 1103085"/>
                <a:gd name="connsiteY2" fmla="*/ 257442 h 257442"/>
                <a:gd name="connsiteX3" fmla="*/ 54721 w 1103085"/>
                <a:gd name="connsiteY3" fmla="*/ 0 h 257442"/>
                <a:gd name="connsiteX0" fmla="*/ 1103085 w 1103085"/>
                <a:gd name="connsiteY0" fmla="*/ 0 h 257442"/>
                <a:gd name="connsiteX1" fmla="*/ 1048364 w 1103085"/>
                <a:gd name="connsiteY1" fmla="*/ 257442 h 257442"/>
                <a:gd name="connsiteX2" fmla="*/ 0 w 1103085"/>
                <a:gd name="connsiteY2" fmla="*/ 257442 h 257442"/>
                <a:gd name="connsiteX3" fmla="*/ 54721 w 1103085"/>
                <a:gd name="connsiteY3" fmla="*/ 0 h 257442"/>
                <a:gd name="connsiteX0" fmla="*/ 1103086 w 1103086"/>
                <a:gd name="connsiteY0" fmla="*/ 0 h 257442"/>
                <a:gd name="connsiteX1" fmla="*/ 1048365 w 1103086"/>
                <a:gd name="connsiteY1" fmla="*/ 257442 h 257442"/>
                <a:gd name="connsiteX2" fmla="*/ 0 w 1103086"/>
                <a:gd name="connsiteY2" fmla="*/ 257442 h 257442"/>
                <a:gd name="connsiteX3" fmla="*/ 54722 w 1103086"/>
                <a:gd name="connsiteY3" fmla="*/ 0 h 257442"/>
                <a:gd name="connsiteX0" fmla="*/ 1103086 w 1103086"/>
                <a:gd name="connsiteY0" fmla="*/ 0 h 257442"/>
                <a:gd name="connsiteX1" fmla="*/ 1048365 w 1103086"/>
                <a:gd name="connsiteY1" fmla="*/ 257442 h 257442"/>
                <a:gd name="connsiteX2" fmla="*/ 0 w 1103086"/>
                <a:gd name="connsiteY2" fmla="*/ 257442 h 257442"/>
                <a:gd name="connsiteX3" fmla="*/ 54721 w 1103086"/>
                <a:gd name="connsiteY3" fmla="*/ 0 h 257442"/>
                <a:gd name="connsiteX0" fmla="*/ 1271402 w 1271402"/>
                <a:gd name="connsiteY0" fmla="*/ 0 h 257442"/>
                <a:gd name="connsiteX1" fmla="*/ 1048365 w 1271402"/>
                <a:gd name="connsiteY1" fmla="*/ 257442 h 257442"/>
                <a:gd name="connsiteX2" fmla="*/ 0 w 1271402"/>
                <a:gd name="connsiteY2" fmla="*/ 257442 h 257442"/>
                <a:gd name="connsiteX3" fmla="*/ 54721 w 1271402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54721 w 1271402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54721 w 1271402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54721 w 1271402"/>
                <a:gd name="connsiteY3" fmla="*/ 0 h 257442"/>
                <a:gd name="connsiteX0" fmla="*/ 1439717 w 1439717"/>
                <a:gd name="connsiteY0" fmla="*/ 0 h 257442"/>
                <a:gd name="connsiteX1" fmla="*/ 1216681 w 1439717"/>
                <a:gd name="connsiteY1" fmla="*/ 257442 h 257442"/>
                <a:gd name="connsiteX2" fmla="*/ 0 w 1439717"/>
                <a:gd name="connsiteY2" fmla="*/ 257442 h 257442"/>
                <a:gd name="connsiteX3" fmla="*/ 54721 w 1439717"/>
                <a:gd name="connsiteY3" fmla="*/ 0 h 257442"/>
                <a:gd name="connsiteX0" fmla="*/ 1439717 w 1439717"/>
                <a:gd name="connsiteY0" fmla="*/ 0 h 257442"/>
                <a:gd name="connsiteX1" fmla="*/ 1384996 w 1439717"/>
                <a:gd name="connsiteY1" fmla="*/ 257442 h 257442"/>
                <a:gd name="connsiteX2" fmla="*/ 0 w 1439717"/>
                <a:gd name="connsiteY2" fmla="*/ 257442 h 257442"/>
                <a:gd name="connsiteX3" fmla="*/ 54721 w 1439717"/>
                <a:gd name="connsiteY3" fmla="*/ 0 h 257442"/>
                <a:gd name="connsiteX0" fmla="*/ 1439717 w 1439717"/>
                <a:gd name="connsiteY0" fmla="*/ 0 h 257442"/>
                <a:gd name="connsiteX1" fmla="*/ 1384996 w 1439717"/>
                <a:gd name="connsiteY1" fmla="*/ 257442 h 257442"/>
                <a:gd name="connsiteX2" fmla="*/ 0 w 1439717"/>
                <a:gd name="connsiteY2" fmla="*/ 257442 h 257442"/>
                <a:gd name="connsiteX3" fmla="*/ 54721 w 1439717"/>
                <a:gd name="connsiteY3" fmla="*/ 0 h 257442"/>
                <a:gd name="connsiteX0" fmla="*/ 1439717 w 1439717"/>
                <a:gd name="connsiteY0" fmla="*/ 0 h 257442"/>
                <a:gd name="connsiteX1" fmla="*/ 1384996 w 1439717"/>
                <a:gd name="connsiteY1" fmla="*/ 257442 h 257442"/>
                <a:gd name="connsiteX2" fmla="*/ 0 w 1439717"/>
                <a:gd name="connsiteY2" fmla="*/ 257442 h 257442"/>
                <a:gd name="connsiteX3" fmla="*/ 54721 w 1439717"/>
                <a:gd name="connsiteY3" fmla="*/ 0 h 257442"/>
                <a:gd name="connsiteX0" fmla="*/ 1692991 w 1692991"/>
                <a:gd name="connsiteY0" fmla="*/ 0 h 257442"/>
                <a:gd name="connsiteX1" fmla="*/ 1384996 w 1692991"/>
                <a:gd name="connsiteY1" fmla="*/ 257442 h 257442"/>
                <a:gd name="connsiteX2" fmla="*/ 0 w 1692991"/>
                <a:gd name="connsiteY2" fmla="*/ 257442 h 257442"/>
                <a:gd name="connsiteX3" fmla="*/ 54721 w 1692991"/>
                <a:gd name="connsiteY3" fmla="*/ 0 h 257442"/>
                <a:gd name="connsiteX0" fmla="*/ 1692991 w 1692991"/>
                <a:gd name="connsiteY0" fmla="*/ 0 h 257442"/>
                <a:gd name="connsiteX1" fmla="*/ 1638270 w 1692991"/>
                <a:gd name="connsiteY1" fmla="*/ 257442 h 257442"/>
                <a:gd name="connsiteX2" fmla="*/ 0 w 1692991"/>
                <a:gd name="connsiteY2" fmla="*/ 257442 h 257442"/>
                <a:gd name="connsiteX3" fmla="*/ 54721 w 1692991"/>
                <a:gd name="connsiteY3" fmla="*/ 0 h 257442"/>
                <a:gd name="connsiteX0" fmla="*/ 1692991 w 1692991"/>
                <a:gd name="connsiteY0" fmla="*/ 0 h 257442"/>
                <a:gd name="connsiteX1" fmla="*/ 1638270 w 1692991"/>
                <a:gd name="connsiteY1" fmla="*/ 257442 h 257442"/>
                <a:gd name="connsiteX2" fmla="*/ 0 w 1692991"/>
                <a:gd name="connsiteY2" fmla="*/ 257442 h 257442"/>
                <a:gd name="connsiteX3" fmla="*/ 54721 w 1692991"/>
                <a:gd name="connsiteY3" fmla="*/ 0 h 257442"/>
                <a:gd name="connsiteX0" fmla="*/ 1692991 w 1692991"/>
                <a:gd name="connsiteY0" fmla="*/ 0 h 257442"/>
                <a:gd name="connsiteX1" fmla="*/ 1638270 w 1692991"/>
                <a:gd name="connsiteY1" fmla="*/ 257442 h 257442"/>
                <a:gd name="connsiteX2" fmla="*/ 0 w 1692991"/>
                <a:gd name="connsiteY2" fmla="*/ 257442 h 257442"/>
                <a:gd name="connsiteX3" fmla="*/ 54721 w 1692991"/>
                <a:gd name="connsiteY3" fmla="*/ 0 h 257442"/>
                <a:gd name="connsiteX0" fmla="*/ 1870925 w 1870925"/>
                <a:gd name="connsiteY0" fmla="*/ 0 h 257442"/>
                <a:gd name="connsiteX1" fmla="*/ 1638270 w 1870925"/>
                <a:gd name="connsiteY1" fmla="*/ 257442 h 257442"/>
                <a:gd name="connsiteX2" fmla="*/ 0 w 1870925"/>
                <a:gd name="connsiteY2" fmla="*/ 257442 h 257442"/>
                <a:gd name="connsiteX3" fmla="*/ 54721 w 1870925"/>
                <a:gd name="connsiteY3" fmla="*/ 0 h 257442"/>
                <a:gd name="connsiteX0" fmla="*/ 1870925 w 1870925"/>
                <a:gd name="connsiteY0" fmla="*/ 0 h 257442"/>
                <a:gd name="connsiteX1" fmla="*/ 1816204 w 1870925"/>
                <a:gd name="connsiteY1" fmla="*/ 257442 h 257442"/>
                <a:gd name="connsiteX2" fmla="*/ 0 w 1870925"/>
                <a:gd name="connsiteY2" fmla="*/ 257442 h 257442"/>
                <a:gd name="connsiteX3" fmla="*/ 54721 w 1870925"/>
                <a:gd name="connsiteY3" fmla="*/ 0 h 257442"/>
                <a:gd name="connsiteX0" fmla="*/ 1870925 w 1870925"/>
                <a:gd name="connsiteY0" fmla="*/ 0 h 257442"/>
                <a:gd name="connsiteX1" fmla="*/ 1816204 w 1870925"/>
                <a:gd name="connsiteY1" fmla="*/ 257442 h 257442"/>
                <a:gd name="connsiteX2" fmla="*/ 0 w 1870925"/>
                <a:gd name="connsiteY2" fmla="*/ 257442 h 257442"/>
                <a:gd name="connsiteX3" fmla="*/ 54721 w 1870925"/>
                <a:gd name="connsiteY3" fmla="*/ 0 h 257442"/>
                <a:gd name="connsiteX0" fmla="*/ 1870925 w 1870925"/>
                <a:gd name="connsiteY0" fmla="*/ 0 h 257442"/>
                <a:gd name="connsiteX1" fmla="*/ 1816204 w 1870925"/>
                <a:gd name="connsiteY1" fmla="*/ 257442 h 257442"/>
                <a:gd name="connsiteX2" fmla="*/ 0 w 1870925"/>
                <a:gd name="connsiteY2" fmla="*/ 257442 h 257442"/>
                <a:gd name="connsiteX3" fmla="*/ 54721 w 1870925"/>
                <a:gd name="connsiteY3" fmla="*/ 0 h 257442"/>
                <a:gd name="connsiteX0" fmla="*/ 2039240 w 2039240"/>
                <a:gd name="connsiteY0" fmla="*/ 0 h 257442"/>
                <a:gd name="connsiteX1" fmla="*/ 1816204 w 2039240"/>
                <a:gd name="connsiteY1" fmla="*/ 257442 h 257442"/>
                <a:gd name="connsiteX2" fmla="*/ 0 w 2039240"/>
                <a:gd name="connsiteY2" fmla="*/ 257442 h 257442"/>
                <a:gd name="connsiteX3" fmla="*/ 54721 w 2039240"/>
                <a:gd name="connsiteY3" fmla="*/ 0 h 257442"/>
                <a:gd name="connsiteX0" fmla="*/ 2039240 w 2039240"/>
                <a:gd name="connsiteY0" fmla="*/ 0 h 257442"/>
                <a:gd name="connsiteX1" fmla="*/ 1984518 w 2039240"/>
                <a:gd name="connsiteY1" fmla="*/ 257442 h 257442"/>
                <a:gd name="connsiteX2" fmla="*/ 0 w 2039240"/>
                <a:gd name="connsiteY2" fmla="*/ 257442 h 257442"/>
                <a:gd name="connsiteX3" fmla="*/ 54721 w 2039240"/>
                <a:gd name="connsiteY3" fmla="*/ 0 h 257442"/>
                <a:gd name="connsiteX0" fmla="*/ 2039241 w 2039241"/>
                <a:gd name="connsiteY0" fmla="*/ 0 h 257442"/>
                <a:gd name="connsiteX1" fmla="*/ 1984519 w 2039241"/>
                <a:gd name="connsiteY1" fmla="*/ 257442 h 257442"/>
                <a:gd name="connsiteX2" fmla="*/ 0 w 2039241"/>
                <a:gd name="connsiteY2" fmla="*/ 257442 h 257442"/>
                <a:gd name="connsiteX3" fmla="*/ 54722 w 2039241"/>
                <a:gd name="connsiteY3" fmla="*/ 0 h 257442"/>
                <a:gd name="connsiteX0" fmla="*/ 2039241 w 2039241"/>
                <a:gd name="connsiteY0" fmla="*/ 0 h 257442"/>
                <a:gd name="connsiteX1" fmla="*/ 1984519 w 2039241"/>
                <a:gd name="connsiteY1" fmla="*/ 257442 h 257442"/>
                <a:gd name="connsiteX2" fmla="*/ 0 w 2039241"/>
                <a:gd name="connsiteY2" fmla="*/ 257442 h 257442"/>
                <a:gd name="connsiteX3" fmla="*/ 54722 w 2039241"/>
                <a:gd name="connsiteY3" fmla="*/ 0 h 257442"/>
                <a:gd name="connsiteX0" fmla="*/ 950801 w 1984519"/>
                <a:gd name="connsiteY0" fmla="*/ 0 h 257442"/>
                <a:gd name="connsiteX1" fmla="*/ 1984519 w 1984519"/>
                <a:gd name="connsiteY1" fmla="*/ 257442 h 257442"/>
                <a:gd name="connsiteX2" fmla="*/ 0 w 1984519"/>
                <a:gd name="connsiteY2" fmla="*/ 257442 h 257442"/>
                <a:gd name="connsiteX3" fmla="*/ 54722 w 1984519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54722 w 950801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54722 w 950801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54721 w 950801"/>
                <a:gd name="connsiteY3" fmla="*/ 0 h 257442"/>
                <a:gd name="connsiteX0" fmla="*/ 1119116 w 1119116"/>
                <a:gd name="connsiteY0" fmla="*/ 0 h 257442"/>
                <a:gd name="connsiteX1" fmla="*/ 896080 w 1119116"/>
                <a:gd name="connsiteY1" fmla="*/ 257442 h 257442"/>
                <a:gd name="connsiteX2" fmla="*/ 0 w 1119116"/>
                <a:gd name="connsiteY2" fmla="*/ 257442 h 257442"/>
                <a:gd name="connsiteX3" fmla="*/ 54721 w 1119116"/>
                <a:gd name="connsiteY3" fmla="*/ 0 h 257442"/>
                <a:gd name="connsiteX0" fmla="*/ 1119116 w 1119116"/>
                <a:gd name="connsiteY0" fmla="*/ 0 h 257442"/>
                <a:gd name="connsiteX1" fmla="*/ 1064394 w 1119116"/>
                <a:gd name="connsiteY1" fmla="*/ 257442 h 257442"/>
                <a:gd name="connsiteX2" fmla="*/ 0 w 1119116"/>
                <a:gd name="connsiteY2" fmla="*/ 257442 h 257442"/>
                <a:gd name="connsiteX3" fmla="*/ 54721 w 1119116"/>
                <a:gd name="connsiteY3" fmla="*/ 0 h 257442"/>
                <a:gd name="connsiteX0" fmla="*/ 1119117 w 1119117"/>
                <a:gd name="connsiteY0" fmla="*/ 0 h 257442"/>
                <a:gd name="connsiteX1" fmla="*/ 1064395 w 1119117"/>
                <a:gd name="connsiteY1" fmla="*/ 257442 h 257442"/>
                <a:gd name="connsiteX2" fmla="*/ 0 w 1119117"/>
                <a:gd name="connsiteY2" fmla="*/ 257442 h 257442"/>
                <a:gd name="connsiteX3" fmla="*/ 54722 w 1119117"/>
                <a:gd name="connsiteY3" fmla="*/ 0 h 257442"/>
                <a:gd name="connsiteX0" fmla="*/ 1119117 w 1119117"/>
                <a:gd name="connsiteY0" fmla="*/ 0 h 257442"/>
                <a:gd name="connsiteX1" fmla="*/ 1064395 w 1119117"/>
                <a:gd name="connsiteY1" fmla="*/ 257442 h 257442"/>
                <a:gd name="connsiteX2" fmla="*/ 0 w 1119117"/>
                <a:gd name="connsiteY2" fmla="*/ 257442 h 257442"/>
                <a:gd name="connsiteX3" fmla="*/ 54722 w 1119117"/>
                <a:gd name="connsiteY3" fmla="*/ 0 h 257442"/>
                <a:gd name="connsiteX0" fmla="*/ 1287433 w 1287433"/>
                <a:gd name="connsiteY0" fmla="*/ 0 h 257442"/>
                <a:gd name="connsiteX1" fmla="*/ 1064395 w 1287433"/>
                <a:gd name="connsiteY1" fmla="*/ 257442 h 257442"/>
                <a:gd name="connsiteX2" fmla="*/ 0 w 1287433"/>
                <a:gd name="connsiteY2" fmla="*/ 257442 h 257442"/>
                <a:gd name="connsiteX3" fmla="*/ 54722 w 1287433"/>
                <a:gd name="connsiteY3" fmla="*/ 0 h 257442"/>
                <a:gd name="connsiteX0" fmla="*/ 1287433 w 1287433"/>
                <a:gd name="connsiteY0" fmla="*/ 0 h 257442"/>
                <a:gd name="connsiteX1" fmla="*/ 1232712 w 1287433"/>
                <a:gd name="connsiteY1" fmla="*/ 257442 h 257442"/>
                <a:gd name="connsiteX2" fmla="*/ 0 w 1287433"/>
                <a:gd name="connsiteY2" fmla="*/ 257442 h 257442"/>
                <a:gd name="connsiteX3" fmla="*/ 54722 w 1287433"/>
                <a:gd name="connsiteY3" fmla="*/ 0 h 257442"/>
                <a:gd name="connsiteX0" fmla="*/ 1287432 w 1287432"/>
                <a:gd name="connsiteY0" fmla="*/ 0 h 257442"/>
                <a:gd name="connsiteX1" fmla="*/ 1232711 w 1287432"/>
                <a:gd name="connsiteY1" fmla="*/ 257442 h 257442"/>
                <a:gd name="connsiteX2" fmla="*/ 0 w 1287432"/>
                <a:gd name="connsiteY2" fmla="*/ 257442 h 257442"/>
                <a:gd name="connsiteX3" fmla="*/ 54721 w 1287432"/>
                <a:gd name="connsiteY3" fmla="*/ 0 h 257442"/>
                <a:gd name="connsiteX0" fmla="*/ 1287432 w 1287432"/>
                <a:gd name="connsiteY0" fmla="*/ 0 h 257442"/>
                <a:gd name="connsiteX1" fmla="*/ 1232711 w 1287432"/>
                <a:gd name="connsiteY1" fmla="*/ 257442 h 257442"/>
                <a:gd name="connsiteX2" fmla="*/ 0 w 1287432"/>
                <a:gd name="connsiteY2" fmla="*/ 257442 h 257442"/>
                <a:gd name="connsiteX3" fmla="*/ 54720 w 1287432"/>
                <a:gd name="connsiteY3" fmla="*/ 0 h 257442"/>
                <a:gd name="connsiteX0" fmla="*/ 1455746 w 1455746"/>
                <a:gd name="connsiteY0" fmla="*/ 0 h 257442"/>
                <a:gd name="connsiteX1" fmla="*/ 1232711 w 1455746"/>
                <a:gd name="connsiteY1" fmla="*/ 257442 h 257442"/>
                <a:gd name="connsiteX2" fmla="*/ 0 w 1455746"/>
                <a:gd name="connsiteY2" fmla="*/ 257442 h 257442"/>
                <a:gd name="connsiteX3" fmla="*/ 54720 w 1455746"/>
                <a:gd name="connsiteY3" fmla="*/ 0 h 257442"/>
                <a:gd name="connsiteX0" fmla="*/ 1455746 w 1455746"/>
                <a:gd name="connsiteY0" fmla="*/ 0 h 257442"/>
                <a:gd name="connsiteX1" fmla="*/ 1401025 w 1455746"/>
                <a:gd name="connsiteY1" fmla="*/ 257442 h 257442"/>
                <a:gd name="connsiteX2" fmla="*/ 0 w 1455746"/>
                <a:gd name="connsiteY2" fmla="*/ 257442 h 257442"/>
                <a:gd name="connsiteX3" fmla="*/ 54720 w 1455746"/>
                <a:gd name="connsiteY3" fmla="*/ 0 h 257442"/>
                <a:gd name="connsiteX0" fmla="*/ 1455747 w 1455747"/>
                <a:gd name="connsiteY0" fmla="*/ 0 h 257442"/>
                <a:gd name="connsiteX1" fmla="*/ 1401026 w 1455747"/>
                <a:gd name="connsiteY1" fmla="*/ 257442 h 257442"/>
                <a:gd name="connsiteX2" fmla="*/ 0 w 1455747"/>
                <a:gd name="connsiteY2" fmla="*/ 257442 h 257442"/>
                <a:gd name="connsiteX3" fmla="*/ 54721 w 1455747"/>
                <a:gd name="connsiteY3" fmla="*/ 0 h 257442"/>
                <a:gd name="connsiteX0" fmla="*/ 1455747 w 1455747"/>
                <a:gd name="connsiteY0" fmla="*/ 0 h 257442"/>
                <a:gd name="connsiteX1" fmla="*/ 1401026 w 1455747"/>
                <a:gd name="connsiteY1" fmla="*/ 257442 h 257442"/>
                <a:gd name="connsiteX2" fmla="*/ 0 w 1455747"/>
                <a:gd name="connsiteY2" fmla="*/ 257442 h 257442"/>
                <a:gd name="connsiteX3" fmla="*/ 54722 w 1455747"/>
                <a:gd name="connsiteY3" fmla="*/ 0 h 257442"/>
                <a:gd name="connsiteX0" fmla="*/ 1633681 w 1633681"/>
                <a:gd name="connsiteY0" fmla="*/ 0 h 257442"/>
                <a:gd name="connsiteX1" fmla="*/ 1401026 w 1633681"/>
                <a:gd name="connsiteY1" fmla="*/ 257442 h 257442"/>
                <a:gd name="connsiteX2" fmla="*/ 0 w 1633681"/>
                <a:gd name="connsiteY2" fmla="*/ 257442 h 257442"/>
                <a:gd name="connsiteX3" fmla="*/ 54722 w 1633681"/>
                <a:gd name="connsiteY3" fmla="*/ 0 h 257442"/>
                <a:gd name="connsiteX0" fmla="*/ 1633681 w 1633681"/>
                <a:gd name="connsiteY0" fmla="*/ 0 h 257442"/>
                <a:gd name="connsiteX1" fmla="*/ 1578960 w 1633681"/>
                <a:gd name="connsiteY1" fmla="*/ 257442 h 257442"/>
                <a:gd name="connsiteX2" fmla="*/ 0 w 1633681"/>
                <a:gd name="connsiteY2" fmla="*/ 257442 h 257442"/>
                <a:gd name="connsiteX3" fmla="*/ 54722 w 1633681"/>
                <a:gd name="connsiteY3" fmla="*/ 0 h 257442"/>
                <a:gd name="connsiteX0" fmla="*/ 1633680 w 1633680"/>
                <a:gd name="connsiteY0" fmla="*/ 0 h 257442"/>
                <a:gd name="connsiteX1" fmla="*/ 1578959 w 1633680"/>
                <a:gd name="connsiteY1" fmla="*/ 257442 h 257442"/>
                <a:gd name="connsiteX2" fmla="*/ 0 w 1633680"/>
                <a:gd name="connsiteY2" fmla="*/ 257442 h 257442"/>
                <a:gd name="connsiteX3" fmla="*/ 54721 w 1633680"/>
                <a:gd name="connsiteY3" fmla="*/ 0 h 257442"/>
                <a:gd name="connsiteX0" fmla="*/ 1633680 w 1633680"/>
                <a:gd name="connsiteY0" fmla="*/ 0 h 257442"/>
                <a:gd name="connsiteX1" fmla="*/ 1578959 w 1633680"/>
                <a:gd name="connsiteY1" fmla="*/ 257442 h 257442"/>
                <a:gd name="connsiteX2" fmla="*/ 0 w 1633680"/>
                <a:gd name="connsiteY2" fmla="*/ 257442 h 257442"/>
                <a:gd name="connsiteX3" fmla="*/ 54720 w 1633680"/>
                <a:gd name="connsiteY3" fmla="*/ 0 h 257442"/>
                <a:gd name="connsiteX0" fmla="*/ 1801994 w 1801994"/>
                <a:gd name="connsiteY0" fmla="*/ 0 h 257442"/>
                <a:gd name="connsiteX1" fmla="*/ 1578959 w 1801994"/>
                <a:gd name="connsiteY1" fmla="*/ 257442 h 257442"/>
                <a:gd name="connsiteX2" fmla="*/ 0 w 1801994"/>
                <a:gd name="connsiteY2" fmla="*/ 257442 h 257442"/>
                <a:gd name="connsiteX3" fmla="*/ 54720 w 1801994"/>
                <a:gd name="connsiteY3" fmla="*/ 0 h 257442"/>
                <a:gd name="connsiteX0" fmla="*/ 1801994 w 1801994"/>
                <a:gd name="connsiteY0" fmla="*/ 0 h 257442"/>
                <a:gd name="connsiteX1" fmla="*/ 1747273 w 1801994"/>
                <a:gd name="connsiteY1" fmla="*/ 257442 h 257442"/>
                <a:gd name="connsiteX2" fmla="*/ 0 w 1801994"/>
                <a:gd name="connsiteY2" fmla="*/ 257442 h 257442"/>
                <a:gd name="connsiteX3" fmla="*/ 54720 w 1801994"/>
                <a:gd name="connsiteY3" fmla="*/ 0 h 257442"/>
                <a:gd name="connsiteX0" fmla="*/ 1801995 w 1801995"/>
                <a:gd name="connsiteY0" fmla="*/ 0 h 257442"/>
                <a:gd name="connsiteX1" fmla="*/ 1747274 w 1801995"/>
                <a:gd name="connsiteY1" fmla="*/ 257442 h 257442"/>
                <a:gd name="connsiteX2" fmla="*/ 0 w 1801995"/>
                <a:gd name="connsiteY2" fmla="*/ 257442 h 257442"/>
                <a:gd name="connsiteX3" fmla="*/ 54721 w 1801995"/>
                <a:gd name="connsiteY3" fmla="*/ 0 h 257442"/>
                <a:gd name="connsiteX0" fmla="*/ 1801995 w 1801995"/>
                <a:gd name="connsiteY0" fmla="*/ 0 h 257442"/>
                <a:gd name="connsiteX1" fmla="*/ 1747274 w 1801995"/>
                <a:gd name="connsiteY1" fmla="*/ 257442 h 257442"/>
                <a:gd name="connsiteX2" fmla="*/ 0 w 1801995"/>
                <a:gd name="connsiteY2" fmla="*/ 257442 h 257442"/>
                <a:gd name="connsiteX3" fmla="*/ 54722 w 1801995"/>
                <a:gd name="connsiteY3" fmla="*/ 0 h 257442"/>
                <a:gd name="connsiteX0" fmla="*/ 1979930 w 1979930"/>
                <a:gd name="connsiteY0" fmla="*/ 0 h 257442"/>
                <a:gd name="connsiteX1" fmla="*/ 1747274 w 1979930"/>
                <a:gd name="connsiteY1" fmla="*/ 257442 h 257442"/>
                <a:gd name="connsiteX2" fmla="*/ 0 w 1979930"/>
                <a:gd name="connsiteY2" fmla="*/ 257442 h 257442"/>
                <a:gd name="connsiteX3" fmla="*/ 54722 w 1979930"/>
                <a:gd name="connsiteY3" fmla="*/ 0 h 257442"/>
                <a:gd name="connsiteX0" fmla="*/ 1979930 w 1979930"/>
                <a:gd name="connsiteY0" fmla="*/ 0 h 257442"/>
                <a:gd name="connsiteX1" fmla="*/ 1925208 w 1979930"/>
                <a:gd name="connsiteY1" fmla="*/ 257442 h 257442"/>
                <a:gd name="connsiteX2" fmla="*/ 0 w 1979930"/>
                <a:gd name="connsiteY2" fmla="*/ 257442 h 257442"/>
                <a:gd name="connsiteX3" fmla="*/ 54722 w 1979930"/>
                <a:gd name="connsiteY3" fmla="*/ 0 h 257442"/>
                <a:gd name="connsiteX0" fmla="*/ 1979930 w 1979930"/>
                <a:gd name="connsiteY0" fmla="*/ 0 h 257442"/>
                <a:gd name="connsiteX1" fmla="*/ 1925208 w 1979930"/>
                <a:gd name="connsiteY1" fmla="*/ 257442 h 257442"/>
                <a:gd name="connsiteX2" fmla="*/ 0 w 1979930"/>
                <a:gd name="connsiteY2" fmla="*/ 257442 h 257442"/>
                <a:gd name="connsiteX3" fmla="*/ 54722 w 1979930"/>
                <a:gd name="connsiteY3" fmla="*/ 0 h 257442"/>
                <a:gd name="connsiteX0" fmla="*/ 1979930 w 1979930"/>
                <a:gd name="connsiteY0" fmla="*/ 0 h 257442"/>
                <a:gd name="connsiteX1" fmla="*/ 1925208 w 1979930"/>
                <a:gd name="connsiteY1" fmla="*/ 257442 h 257442"/>
                <a:gd name="connsiteX2" fmla="*/ 0 w 1979930"/>
                <a:gd name="connsiteY2" fmla="*/ 257442 h 257442"/>
                <a:gd name="connsiteX3" fmla="*/ 54721 w 1979930"/>
                <a:gd name="connsiteY3" fmla="*/ 0 h 257442"/>
                <a:gd name="connsiteX0" fmla="*/ 2148244 w 2148244"/>
                <a:gd name="connsiteY0" fmla="*/ 0 h 257442"/>
                <a:gd name="connsiteX1" fmla="*/ 1925208 w 2148244"/>
                <a:gd name="connsiteY1" fmla="*/ 257442 h 257442"/>
                <a:gd name="connsiteX2" fmla="*/ 0 w 2148244"/>
                <a:gd name="connsiteY2" fmla="*/ 257442 h 257442"/>
                <a:gd name="connsiteX3" fmla="*/ 54721 w 2148244"/>
                <a:gd name="connsiteY3" fmla="*/ 0 h 257442"/>
                <a:gd name="connsiteX0" fmla="*/ 2148244 w 2148244"/>
                <a:gd name="connsiteY0" fmla="*/ 0 h 257442"/>
                <a:gd name="connsiteX1" fmla="*/ 2093523 w 2148244"/>
                <a:gd name="connsiteY1" fmla="*/ 257442 h 257442"/>
                <a:gd name="connsiteX2" fmla="*/ 0 w 2148244"/>
                <a:gd name="connsiteY2" fmla="*/ 257442 h 257442"/>
                <a:gd name="connsiteX3" fmla="*/ 54721 w 2148244"/>
                <a:gd name="connsiteY3" fmla="*/ 0 h 257442"/>
                <a:gd name="connsiteX0" fmla="*/ 2148244 w 2148244"/>
                <a:gd name="connsiteY0" fmla="*/ 0 h 257442"/>
                <a:gd name="connsiteX1" fmla="*/ 2093523 w 2148244"/>
                <a:gd name="connsiteY1" fmla="*/ 257442 h 257442"/>
                <a:gd name="connsiteX2" fmla="*/ 0 w 2148244"/>
                <a:gd name="connsiteY2" fmla="*/ 257442 h 257442"/>
                <a:gd name="connsiteX3" fmla="*/ 54721 w 2148244"/>
                <a:gd name="connsiteY3" fmla="*/ 0 h 257442"/>
                <a:gd name="connsiteX0" fmla="*/ 2148244 w 2148244"/>
                <a:gd name="connsiteY0" fmla="*/ 0 h 257442"/>
                <a:gd name="connsiteX1" fmla="*/ 2093523 w 2148244"/>
                <a:gd name="connsiteY1" fmla="*/ 257442 h 257442"/>
                <a:gd name="connsiteX2" fmla="*/ 0 w 2148244"/>
                <a:gd name="connsiteY2" fmla="*/ 257442 h 257442"/>
                <a:gd name="connsiteX3" fmla="*/ 54721 w 2148244"/>
                <a:gd name="connsiteY3" fmla="*/ 0 h 257442"/>
                <a:gd name="connsiteX0" fmla="*/ 2316560 w 2316560"/>
                <a:gd name="connsiteY0" fmla="*/ 0 h 257442"/>
                <a:gd name="connsiteX1" fmla="*/ 2093523 w 2316560"/>
                <a:gd name="connsiteY1" fmla="*/ 257442 h 257442"/>
                <a:gd name="connsiteX2" fmla="*/ 0 w 2316560"/>
                <a:gd name="connsiteY2" fmla="*/ 257442 h 257442"/>
                <a:gd name="connsiteX3" fmla="*/ 54721 w 2316560"/>
                <a:gd name="connsiteY3" fmla="*/ 0 h 257442"/>
                <a:gd name="connsiteX0" fmla="*/ 2316560 w 2316560"/>
                <a:gd name="connsiteY0" fmla="*/ 0 h 257442"/>
                <a:gd name="connsiteX1" fmla="*/ 2261839 w 2316560"/>
                <a:gd name="connsiteY1" fmla="*/ 257442 h 257442"/>
                <a:gd name="connsiteX2" fmla="*/ 0 w 2316560"/>
                <a:gd name="connsiteY2" fmla="*/ 257442 h 257442"/>
                <a:gd name="connsiteX3" fmla="*/ 54721 w 2316560"/>
                <a:gd name="connsiteY3" fmla="*/ 0 h 257442"/>
                <a:gd name="connsiteX0" fmla="*/ 2316560 w 2316560"/>
                <a:gd name="connsiteY0" fmla="*/ 0 h 257442"/>
                <a:gd name="connsiteX1" fmla="*/ 2261839 w 2316560"/>
                <a:gd name="connsiteY1" fmla="*/ 257442 h 257442"/>
                <a:gd name="connsiteX2" fmla="*/ 0 w 2316560"/>
                <a:gd name="connsiteY2" fmla="*/ 257442 h 257442"/>
                <a:gd name="connsiteX3" fmla="*/ 54721 w 2316560"/>
                <a:gd name="connsiteY3" fmla="*/ 0 h 257442"/>
                <a:gd name="connsiteX0" fmla="*/ 2316560 w 2316560"/>
                <a:gd name="connsiteY0" fmla="*/ 0 h 257442"/>
                <a:gd name="connsiteX1" fmla="*/ 2261839 w 2316560"/>
                <a:gd name="connsiteY1" fmla="*/ 257442 h 257442"/>
                <a:gd name="connsiteX2" fmla="*/ 0 w 2316560"/>
                <a:gd name="connsiteY2" fmla="*/ 257442 h 257442"/>
                <a:gd name="connsiteX3" fmla="*/ 54721 w 2316560"/>
                <a:gd name="connsiteY3" fmla="*/ 0 h 257442"/>
                <a:gd name="connsiteX0" fmla="*/ 2484874 w 2484874"/>
                <a:gd name="connsiteY0" fmla="*/ 0 h 257442"/>
                <a:gd name="connsiteX1" fmla="*/ 2261839 w 2484874"/>
                <a:gd name="connsiteY1" fmla="*/ 257442 h 257442"/>
                <a:gd name="connsiteX2" fmla="*/ 0 w 2484874"/>
                <a:gd name="connsiteY2" fmla="*/ 257442 h 257442"/>
                <a:gd name="connsiteX3" fmla="*/ 54721 w 2484874"/>
                <a:gd name="connsiteY3" fmla="*/ 0 h 257442"/>
                <a:gd name="connsiteX0" fmla="*/ 2484874 w 2484874"/>
                <a:gd name="connsiteY0" fmla="*/ 0 h 257442"/>
                <a:gd name="connsiteX1" fmla="*/ 2430153 w 2484874"/>
                <a:gd name="connsiteY1" fmla="*/ 257442 h 257442"/>
                <a:gd name="connsiteX2" fmla="*/ 0 w 2484874"/>
                <a:gd name="connsiteY2" fmla="*/ 257442 h 257442"/>
                <a:gd name="connsiteX3" fmla="*/ 54721 w 2484874"/>
                <a:gd name="connsiteY3" fmla="*/ 0 h 257442"/>
                <a:gd name="connsiteX0" fmla="*/ 2484874 w 2484874"/>
                <a:gd name="connsiteY0" fmla="*/ 0 h 257442"/>
                <a:gd name="connsiteX1" fmla="*/ 2430153 w 2484874"/>
                <a:gd name="connsiteY1" fmla="*/ 257442 h 257442"/>
                <a:gd name="connsiteX2" fmla="*/ 0 w 2484874"/>
                <a:gd name="connsiteY2" fmla="*/ 257442 h 257442"/>
                <a:gd name="connsiteX3" fmla="*/ 54721 w 2484874"/>
                <a:gd name="connsiteY3" fmla="*/ 0 h 257442"/>
                <a:gd name="connsiteX0" fmla="*/ 2484874 w 2484874"/>
                <a:gd name="connsiteY0" fmla="*/ 0 h 257442"/>
                <a:gd name="connsiteX1" fmla="*/ 2430153 w 2484874"/>
                <a:gd name="connsiteY1" fmla="*/ 257442 h 257442"/>
                <a:gd name="connsiteX2" fmla="*/ 0 w 2484874"/>
                <a:gd name="connsiteY2" fmla="*/ 257442 h 257442"/>
                <a:gd name="connsiteX3" fmla="*/ 54721 w 2484874"/>
                <a:gd name="connsiteY3" fmla="*/ 0 h 257442"/>
                <a:gd name="connsiteX0" fmla="*/ 2645175 w 2645175"/>
                <a:gd name="connsiteY0" fmla="*/ 0 h 257442"/>
                <a:gd name="connsiteX1" fmla="*/ 2430153 w 2645175"/>
                <a:gd name="connsiteY1" fmla="*/ 257442 h 257442"/>
                <a:gd name="connsiteX2" fmla="*/ 0 w 2645175"/>
                <a:gd name="connsiteY2" fmla="*/ 257442 h 257442"/>
                <a:gd name="connsiteX3" fmla="*/ 54721 w 2645175"/>
                <a:gd name="connsiteY3" fmla="*/ 0 h 257442"/>
                <a:gd name="connsiteX0" fmla="*/ 2645175 w 2645175"/>
                <a:gd name="connsiteY0" fmla="*/ 0 h 257442"/>
                <a:gd name="connsiteX1" fmla="*/ 2590454 w 2645175"/>
                <a:gd name="connsiteY1" fmla="*/ 257442 h 257442"/>
                <a:gd name="connsiteX2" fmla="*/ 0 w 2645175"/>
                <a:gd name="connsiteY2" fmla="*/ 257442 h 257442"/>
                <a:gd name="connsiteX3" fmla="*/ 54721 w 2645175"/>
                <a:gd name="connsiteY3" fmla="*/ 0 h 257442"/>
                <a:gd name="connsiteX0" fmla="*/ 2645175 w 2645175"/>
                <a:gd name="connsiteY0" fmla="*/ 0 h 257442"/>
                <a:gd name="connsiteX1" fmla="*/ 2590454 w 2645175"/>
                <a:gd name="connsiteY1" fmla="*/ 257442 h 257442"/>
                <a:gd name="connsiteX2" fmla="*/ 0 w 2645175"/>
                <a:gd name="connsiteY2" fmla="*/ 257442 h 257442"/>
                <a:gd name="connsiteX3" fmla="*/ 54721 w 2645175"/>
                <a:gd name="connsiteY3" fmla="*/ 0 h 257442"/>
                <a:gd name="connsiteX0" fmla="*/ 2645175 w 2645175"/>
                <a:gd name="connsiteY0" fmla="*/ 0 h 257442"/>
                <a:gd name="connsiteX1" fmla="*/ 2590454 w 2645175"/>
                <a:gd name="connsiteY1" fmla="*/ 257442 h 257442"/>
                <a:gd name="connsiteX2" fmla="*/ 0 w 2645175"/>
                <a:gd name="connsiteY2" fmla="*/ 257442 h 257442"/>
                <a:gd name="connsiteX3" fmla="*/ 54721 w 2645175"/>
                <a:gd name="connsiteY3" fmla="*/ 0 h 257442"/>
                <a:gd name="connsiteX0" fmla="*/ 2813491 w 2813491"/>
                <a:gd name="connsiteY0" fmla="*/ 0 h 257442"/>
                <a:gd name="connsiteX1" fmla="*/ 2590454 w 2813491"/>
                <a:gd name="connsiteY1" fmla="*/ 257442 h 257442"/>
                <a:gd name="connsiteX2" fmla="*/ 0 w 2813491"/>
                <a:gd name="connsiteY2" fmla="*/ 257442 h 257442"/>
                <a:gd name="connsiteX3" fmla="*/ 54721 w 2813491"/>
                <a:gd name="connsiteY3" fmla="*/ 0 h 257442"/>
                <a:gd name="connsiteX0" fmla="*/ 2813491 w 2813491"/>
                <a:gd name="connsiteY0" fmla="*/ 0 h 257442"/>
                <a:gd name="connsiteX1" fmla="*/ 2758770 w 2813491"/>
                <a:gd name="connsiteY1" fmla="*/ 257442 h 257442"/>
                <a:gd name="connsiteX2" fmla="*/ 0 w 2813491"/>
                <a:gd name="connsiteY2" fmla="*/ 257442 h 257442"/>
                <a:gd name="connsiteX3" fmla="*/ 54721 w 2813491"/>
                <a:gd name="connsiteY3" fmla="*/ 0 h 257442"/>
                <a:gd name="connsiteX0" fmla="*/ 2813491 w 2813491"/>
                <a:gd name="connsiteY0" fmla="*/ 0 h 257442"/>
                <a:gd name="connsiteX1" fmla="*/ 2758770 w 2813491"/>
                <a:gd name="connsiteY1" fmla="*/ 257442 h 257442"/>
                <a:gd name="connsiteX2" fmla="*/ 0 w 2813491"/>
                <a:gd name="connsiteY2" fmla="*/ 257442 h 257442"/>
                <a:gd name="connsiteX3" fmla="*/ 54721 w 2813491"/>
                <a:gd name="connsiteY3" fmla="*/ 0 h 257442"/>
                <a:gd name="connsiteX0" fmla="*/ 2813491 w 2813491"/>
                <a:gd name="connsiteY0" fmla="*/ 0 h 257442"/>
                <a:gd name="connsiteX1" fmla="*/ 2758770 w 2813491"/>
                <a:gd name="connsiteY1" fmla="*/ 257442 h 257442"/>
                <a:gd name="connsiteX2" fmla="*/ 0 w 2813491"/>
                <a:gd name="connsiteY2" fmla="*/ 257442 h 257442"/>
                <a:gd name="connsiteX3" fmla="*/ 54721 w 2813491"/>
                <a:gd name="connsiteY3" fmla="*/ 0 h 257442"/>
                <a:gd name="connsiteX0" fmla="*/ 2981805 w 2981805"/>
                <a:gd name="connsiteY0" fmla="*/ 0 h 257442"/>
                <a:gd name="connsiteX1" fmla="*/ 2758770 w 2981805"/>
                <a:gd name="connsiteY1" fmla="*/ 257442 h 257442"/>
                <a:gd name="connsiteX2" fmla="*/ 0 w 2981805"/>
                <a:gd name="connsiteY2" fmla="*/ 257442 h 257442"/>
                <a:gd name="connsiteX3" fmla="*/ 54721 w 2981805"/>
                <a:gd name="connsiteY3" fmla="*/ 0 h 257442"/>
                <a:gd name="connsiteX0" fmla="*/ 2981805 w 2981805"/>
                <a:gd name="connsiteY0" fmla="*/ 0 h 257442"/>
                <a:gd name="connsiteX1" fmla="*/ 2927084 w 2981805"/>
                <a:gd name="connsiteY1" fmla="*/ 257442 h 257442"/>
                <a:gd name="connsiteX2" fmla="*/ 0 w 2981805"/>
                <a:gd name="connsiteY2" fmla="*/ 257442 h 257442"/>
                <a:gd name="connsiteX3" fmla="*/ 54721 w 2981805"/>
                <a:gd name="connsiteY3" fmla="*/ 0 h 257442"/>
                <a:gd name="connsiteX0" fmla="*/ 2981805 w 2981805"/>
                <a:gd name="connsiteY0" fmla="*/ 0 h 257442"/>
                <a:gd name="connsiteX1" fmla="*/ 2927084 w 2981805"/>
                <a:gd name="connsiteY1" fmla="*/ 257442 h 257442"/>
                <a:gd name="connsiteX2" fmla="*/ 0 w 2981805"/>
                <a:gd name="connsiteY2" fmla="*/ 257442 h 257442"/>
                <a:gd name="connsiteX3" fmla="*/ 54721 w 2981805"/>
                <a:gd name="connsiteY3" fmla="*/ 0 h 257442"/>
                <a:gd name="connsiteX0" fmla="*/ 2981805 w 2981805"/>
                <a:gd name="connsiteY0" fmla="*/ 0 h 257442"/>
                <a:gd name="connsiteX1" fmla="*/ 2927084 w 2981805"/>
                <a:gd name="connsiteY1" fmla="*/ 257442 h 257442"/>
                <a:gd name="connsiteX2" fmla="*/ 0 w 2981805"/>
                <a:gd name="connsiteY2" fmla="*/ 257442 h 257442"/>
                <a:gd name="connsiteX3" fmla="*/ 54721 w 2981805"/>
                <a:gd name="connsiteY3" fmla="*/ 0 h 257442"/>
                <a:gd name="connsiteX0" fmla="*/ 3150121 w 3150121"/>
                <a:gd name="connsiteY0" fmla="*/ 0 h 257442"/>
                <a:gd name="connsiteX1" fmla="*/ 2927084 w 3150121"/>
                <a:gd name="connsiteY1" fmla="*/ 257442 h 257442"/>
                <a:gd name="connsiteX2" fmla="*/ 0 w 3150121"/>
                <a:gd name="connsiteY2" fmla="*/ 257442 h 257442"/>
                <a:gd name="connsiteX3" fmla="*/ 54721 w 3150121"/>
                <a:gd name="connsiteY3" fmla="*/ 0 h 257442"/>
                <a:gd name="connsiteX0" fmla="*/ 3150121 w 3150121"/>
                <a:gd name="connsiteY0" fmla="*/ 0 h 257442"/>
                <a:gd name="connsiteX1" fmla="*/ 3095400 w 3150121"/>
                <a:gd name="connsiteY1" fmla="*/ 257442 h 257442"/>
                <a:gd name="connsiteX2" fmla="*/ 0 w 3150121"/>
                <a:gd name="connsiteY2" fmla="*/ 257442 h 257442"/>
                <a:gd name="connsiteX3" fmla="*/ 54721 w 3150121"/>
                <a:gd name="connsiteY3" fmla="*/ 0 h 257442"/>
                <a:gd name="connsiteX0" fmla="*/ 3150121 w 3150121"/>
                <a:gd name="connsiteY0" fmla="*/ 0 h 257442"/>
                <a:gd name="connsiteX1" fmla="*/ 3095400 w 3150121"/>
                <a:gd name="connsiteY1" fmla="*/ 257442 h 257442"/>
                <a:gd name="connsiteX2" fmla="*/ 0 w 3150121"/>
                <a:gd name="connsiteY2" fmla="*/ 257442 h 257442"/>
                <a:gd name="connsiteX3" fmla="*/ 54721 w 3150121"/>
                <a:gd name="connsiteY3" fmla="*/ 0 h 257442"/>
                <a:gd name="connsiteX0" fmla="*/ 3150121 w 3150121"/>
                <a:gd name="connsiteY0" fmla="*/ 0 h 257442"/>
                <a:gd name="connsiteX1" fmla="*/ 3095400 w 3150121"/>
                <a:gd name="connsiteY1" fmla="*/ 257442 h 257442"/>
                <a:gd name="connsiteX2" fmla="*/ 0 w 3150121"/>
                <a:gd name="connsiteY2" fmla="*/ 257442 h 257442"/>
                <a:gd name="connsiteX3" fmla="*/ 54721 w 3150121"/>
                <a:gd name="connsiteY3" fmla="*/ 0 h 257442"/>
                <a:gd name="connsiteX0" fmla="*/ 3318436 w 3318436"/>
                <a:gd name="connsiteY0" fmla="*/ 0 h 257442"/>
                <a:gd name="connsiteX1" fmla="*/ 3095400 w 3318436"/>
                <a:gd name="connsiteY1" fmla="*/ 257442 h 257442"/>
                <a:gd name="connsiteX2" fmla="*/ 0 w 3318436"/>
                <a:gd name="connsiteY2" fmla="*/ 257442 h 257442"/>
                <a:gd name="connsiteX3" fmla="*/ 54721 w 3318436"/>
                <a:gd name="connsiteY3" fmla="*/ 0 h 257442"/>
                <a:gd name="connsiteX0" fmla="*/ 3318436 w 3318436"/>
                <a:gd name="connsiteY0" fmla="*/ 0 h 257442"/>
                <a:gd name="connsiteX1" fmla="*/ 3263714 w 3318436"/>
                <a:gd name="connsiteY1" fmla="*/ 257442 h 257442"/>
                <a:gd name="connsiteX2" fmla="*/ 0 w 3318436"/>
                <a:gd name="connsiteY2" fmla="*/ 257442 h 257442"/>
                <a:gd name="connsiteX3" fmla="*/ 54721 w 3318436"/>
                <a:gd name="connsiteY3" fmla="*/ 0 h 257442"/>
                <a:gd name="connsiteX0" fmla="*/ 3318437 w 3318437"/>
                <a:gd name="connsiteY0" fmla="*/ 0 h 257442"/>
                <a:gd name="connsiteX1" fmla="*/ 3263715 w 3318437"/>
                <a:gd name="connsiteY1" fmla="*/ 257442 h 257442"/>
                <a:gd name="connsiteX2" fmla="*/ 0 w 3318437"/>
                <a:gd name="connsiteY2" fmla="*/ 257442 h 257442"/>
                <a:gd name="connsiteX3" fmla="*/ 54722 w 3318437"/>
                <a:gd name="connsiteY3" fmla="*/ 0 h 257442"/>
                <a:gd name="connsiteX0" fmla="*/ 3318437 w 3318437"/>
                <a:gd name="connsiteY0" fmla="*/ 0 h 257442"/>
                <a:gd name="connsiteX1" fmla="*/ 3263715 w 3318437"/>
                <a:gd name="connsiteY1" fmla="*/ 257442 h 257442"/>
                <a:gd name="connsiteX2" fmla="*/ 0 w 3318437"/>
                <a:gd name="connsiteY2" fmla="*/ 257442 h 257442"/>
                <a:gd name="connsiteX3" fmla="*/ 54722 w 3318437"/>
                <a:gd name="connsiteY3" fmla="*/ 0 h 257442"/>
                <a:gd name="connsiteX0" fmla="*/ 3560298 w 3560298"/>
                <a:gd name="connsiteY0" fmla="*/ 0 h 257442"/>
                <a:gd name="connsiteX1" fmla="*/ 3263715 w 3560298"/>
                <a:gd name="connsiteY1" fmla="*/ 257442 h 257442"/>
                <a:gd name="connsiteX2" fmla="*/ 0 w 3560298"/>
                <a:gd name="connsiteY2" fmla="*/ 257442 h 257442"/>
                <a:gd name="connsiteX3" fmla="*/ 54722 w 3560298"/>
                <a:gd name="connsiteY3" fmla="*/ 0 h 257442"/>
                <a:gd name="connsiteX0" fmla="*/ 3560298 w 3560298"/>
                <a:gd name="connsiteY0" fmla="*/ 0 h 257442"/>
                <a:gd name="connsiteX1" fmla="*/ 3505576 w 3560298"/>
                <a:gd name="connsiteY1" fmla="*/ 257442 h 257442"/>
                <a:gd name="connsiteX2" fmla="*/ 0 w 3560298"/>
                <a:gd name="connsiteY2" fmla="*/ 257442 h 257442"/>
                <a:gd name="connsiteX3" fmla="*/ 54722 w 3560298"/>
                <a:gd name="connsiteY3" fmla="*/ 0 h 257442"/>
                <a:gd name="connsiteX0" fmla="*/ 3560298 w 3560298"/>
                <a:gd name="connsiteY0" fmla="*/ 0 h 257442"/>
                <a:gd name="connsiteX1" fmla="*/ 3505576 w 3560298"/>
                <a:gd name="connsiteY1" fmla="*/ 257442 h 257442"/>
                <a:gd name="connsiteX2" fmla="*/ 0 w 3560298"/>
                <a:gd name="connsiteY2" fmla="*/ 257442 h 257442"/>
                <a:gd name="connsiteX3" fmla="*/ 54722 w 3560298"/>
                <a:gd name="connsiteY3" fmla="*/ 0 h 257442"/>
                <a:gd name="connsiteX0" fmla="*/ 3560298 w 3560298"/>
                <a:gd name="connsiteY0" fmla="*/ 0 h 257442"/>
                <a:gd name="connsiteX1" fmla="*/ 3505576 w 3560298"/>
                <a:gd name="connsiteY1" fmla="*/ 257442 h 257442"/>
                <a:gd name="connsiteX2" fmla="*/ 0 w 3560298"/>
                <a:gd name="connsiteY2" fmla="*/ 257442 h 257442"/>
                <a:gd name="connsiteX3" fmla="*/ 54721 w 3560298"/>
                <a:gd name="connsiteY3" fmla="*/ 0 h 257442"/>
                <a:gd name="connsiteX0" fmla="*/ 3738231 w 3738231"/>
                <a:gd name="connsiteY0" fmla="*/ 0 h 257442"/>
                <a:gd name="connsiteX1" fmla="*/ 3505576 w 3738231"/>
                <a:gd name="connsiteY1" fmla="*/ 257442 h 257442"/>
                <a:gd name="connsiteX2" fmla="*/ 0 w 3738231"/>
                <a:gd name="connsiteY2" fmla="*/ 257442 h 257442"/>
                <a:gd name="connsiteX3" fmla="*/ 54721 w 3738231"/>
                <a:gd name="connsiteY3" fmla="*/ 0 h 257442"/>
                <a:gd name="connsiteX0" fmla="*/ 3738231 w 3738231"/>
                <a:gd name="connsiteY0" fmla="*/ 0 h 257442"/>
                <a:gd name="connsiteX1" fmla="*/ 3683510 w 3738231"/>
                <a:gd name="connsiteY1" fmla="*/ 257442 h 257442"/>
                <a:gd name="connsiteX2" fmla="*/ 0 w 3738231"/>
                <a:gd name="connsiteY2" fmla="*/ 257442 h 257442"/>
                <a:gd name="connsiteX3" fmla="*/ 54721 w 3738231"/>
                <a:gd name="connsiteY3" fmla="*/ 0 h 257442"/>
                <a:gd name="connsiteX0" fmla="*/ 3738231 w 3738231"/>
                <a:gd name="connsiteY0" fmla="*/ 0 h 257442"/>
                <a:gd name="connsiteX1" fmla="*/ 3683510 w 3738231"/>
                <a:gd name="connsiteY1" fmla="*/ 257442 h 257442"/>
                <a:gd name="connsiteX2" fmla="*/ 0 w 3738231"/>
                <a:gd name="connsiteY2" fmla="*/ 257442 h 257442"/>
                <a:gd name="connsiteX3" fmla="*/ 54721 w 3738231"/>
                <a:gd name="connsiteY3" fmla="*/ 0 h 257442"/>
                <a:gd name="connsiteX0" fmla="*/ 3738231 w 3738231"/>
                <a:gd name="connsiteY0" fmla="*/ 0 h 257442"/>
                <a:gd name="connsiteX1" fmla="*/ 3683510 w 3738231"/>
                <a:gd name="connsiteY1" fmla="*/ 257442 h 257442"/>
                <a:gd name="connsiteX2" fmla="*/ 0 w 3738231"/>
                <a:gd name="connsiteY2" fmla="*/ 257442 h 257442"/>
                <a:gd name="connsiteX3" fmla="*/ 54721 w 3738231"/>
                <a:gd name="connsiteY3" fmla="*/ 0 h 257442"/>
                <a:gd name="connsiteX0" fmla="*/ 3906546 w 3906546"/>
                <a:gd name="connsiteY0" fmla="*/ 0 h 257442"/>
                <a:gd name="connsiteX1" fmla="*/ 3683510 w 3906546"/>
                <a:gd name="connsiteY1" fmla="*/ 257442 h 257442"/>
                <a:gd name="connsiteX2" fmla="*/ 0 w 3906546"/>
                <a:gd name="connsiteY2" fmla="*/ 257442 h 257442"/>
                <a:gd name="connsiteX3" fmla="*/ 54721 w 3906546"/>
                <a:gd name="connsiteY3" fmla="*/ 0 h 257442"/>
                <a:gd name="connsiteX0" fmla="*/ 3906546 w 3906546"/>
                <a:gd name="connsiteY0" fmla="*/ 0 h 257442"/>
                <a:gd name="connsiteX1" fmla="*/ 3851824 w 3906546"/>
                <a:gd name="connsiteY1" fmla="*/ 257442 h 257442"/>
                <a:gd name="connsiteX2" fmla="*/ 0 w 3906546"/>
                <a:gd name="connsiteY2" fmla="*/ 257442 h 257442"/>
                <a:gd name="connsiteX3" fmla="*/ 54721 w 3906546"/>
                <a:gd name="connsiteY3" fmla="*/ 0 h 257442"/>
                <a:gd name="connsiteX0" fmla="*/ 3906547 w 3906547"/>
                <a:gd name="connsiteY0" fmla="*/ 0 h 257442"/>
                <a:gd name="connsiteX1" fmla="*/ 3851825 w 3906547"/>
                <a:gd name="connsiteY1" fmla="*/ 257442 h 257442"/>
                <a:gd name="connsiteX2" fmla="*/ 0 w 3906547"/>
                <a:gd name="connsiteY2" fmla="*/ 257442 h 257442"/>
                <a:gd name="connsiteX3" fmla="*/ 54722 w 3906547"/>
                <a:gd name="connsiteY3" fmla="*/ 0 h 257442"/>
                <a:gd name="connsiteX0" fmla="*/ 3906547 w 3906547"/>
                <a:gd name="connsiteY0" fmla="*/ 0 h 257442"/>
                <a:gd name="connsiteX1" fmla="*/ 3851825 w 3906547"/>
                <a:gd name="connsiteY1" fmla="*/ 257442 h 257442"/>
                <a:gd name="connsiteX2" fmla="*/ 0 w 3906547"/>
                <a:gd name="connsiteY2" fmla="*/ 257442 h 257442"/>
                <a:gd name="connsiteX3" fmla="*/ 54722 w 3906547"/>
                <a:gd name="connsiteY3" fmla="*/ 0 h 257442"/>
                <a:gd name="connsiteX0" fmla="*/ 4074863 w 4074863"/>
                <a:gd name="connsiteY0" fmla="*/ 0 h 257442"/>
                <a:gd name="connsiteX1" fmla="*/ 3851825 w 4074863"/>
                <a:gd name="connsiteY1" fmla="*/ 257442 h 257442"/>
                <a:gd name="connsiteX2" fmla="*/ 0 w 4074863"/>
                <a:gd name="connsiteY2" fmla="*/ 257442 h 257442"/>
                <a:gd name="connsiteX3" fmla="*/ 54722 w 4074863"/>
                <a:gd name="connsiteY3" fmla="*/ 0 h 257442"/>
                <a:gd name="connsiteX0" fmla="*/ 4074863 w 4074863"/>
                <a:gd name="connsiteY0" fmla="*/ 0 h 257442"/>
                <a:gd name="connsiteX1" fmla="*/ 4020142 w 4074863"/>
                <a:gd name="connsiteY1" fmla="*/ 257442 h 257442"/>
                <a:gd name="connsiteX2" fmla="*/ 0 w 4074863"/>
                <a:gd name="connsiteY2" fmla="*/ 257442 h 257442"/>
                <a:gd name="connsiteX3" fmla="*/ 54722 w 4074863"/>
                <a:gd name="connsiteY3" fmla="*/ 0 h 257442"/>
                <a:gd name="connsiteX0" fmla="*/ 4074862 w 4074862"/>
                <a:gd name="connsiteY0" fmla="*/ 0 h 257442"/>
                <a:gd name="connsiteX1" fmla="*/ 4020141 w 4074862"/>
                <a:gd name="connsiteY1" fmla="*/ 257442 h 257442"/>
                <a:gd name="connsiteX2" fmla="*/ 0 w 4074862"/>
                <a:gd name="connsiteY2" fmla="*/ 257442 h 257442"/>
                <a:gd name="connsiteX3" fmla="*/ 54721 w 4074862"/>
                <a:gd name="connsiteY3" fmla="*/ 0 h 257442"/>
                <a:gd name="connsiteX0" fmla="*/ 4074862 w 4074862"/>
                <a:gd name="connsiteY0" fmla="*/ 0 h 257442"/>
                <a:gd name="connsiteX1" fmla="*/ 4020141 w 4074862"/>
                <a:gd name="connsiteY1" fmla="*/ 257442 h 257442"/>
                <a:gd name="connsiteX2" fmla="*/ 0 w 4074862"/>
                <a:gd name="connsiteY2" fmla="*/ 257442 h 257442"/>
                <a:gd name="connsiteX3" fmla="*/ 54720 w 4074862"/>
                <a:gd name="connsiteY3" fmla="*/ 0 h 257442"/>
                <a:gd name="connsiteX0" fmla="*/ 4325377 w 4325377"/>
                <a:gd name="connsiteY0" fmla="*/ 0 h 257442"/>
                <a:gd name="connsiteX1" fmla="*/ 4020141 w 4325377"/>
                <a:gd name="connsiteY1" fmla="*/ 257442 h 257442"/>
                <a:gd name="connsiteX2" fmla="*/ 0 w 4325377"/>
                <a:gd name="connsiteY2" fmla="*/ 257442 h 257442"/>
                <a:gd name="connsiteX3" fmla="*/ 54720 w 4325377"/>
                <a:gd name="connsiteY3" fmla="*/ 0 h 257442"/>
                <a:gd name="connsiteX0" fmla="*/ 4325377 w 4325377"/>
                <a:gd name="connsiteY0" fmla="*/ 0 h 257442"/>
                <a:gd name="connsiteX1" fmla="*/ 4270656 w 4325377"/>
                <a:gd name="connsiteY1" fmla="*/ 257442 h 257442"/>
                <a:gd name="connsiteX2" fmla="*/ 0 w 4325377"/>
                <a:gd name="connsiteY2" fmla="*/ 257442 h 257442"/>
                <a:gd name="connsiteX3" fmla="*/ 54720 w 4325377"/>
                <a:gd name="connsiteY3" fmla="*/ 0 h 257442"/>
                <a:gd name="connsiteX0" fmla="*/ 4325378 w 4325378"/>
                <a:gd name="connsiteY0" fmla="*/ 0 h 257442"/>
                <a:gd name="connsiteX1" fmla="*/ 4270657 w 4325378"/>
                <a:gd name="connsiteY1" fmla="*/ 257442 h 257442"/>
                <a:gd name="connsiteX2" fmla="*/ 0 w 4325378"/>
                <a:gd name="connsiteY2" fmla="*/ 257442 h 257442"/>
                <a:gd name="connsiteX3" fmla="*/ 54721 w 4325378"/>
                <a:gd name="connsiteY3" fmla="*/ 0 h 257442"/>
                <a:gd name="connsiteX0" fmla="*/ 4325378 w 4325378"/>
                <a:gd name="connsiteY0" fmla="*/ 0 h 257442"/>
                <a:gd name="connsiteX1" fmla="*/ 4270657 w 4325378"/>
                <a:gd name="connsiteY1" fmla="*/ 257442 h 257442"/>
                <a:gd name="connsiteX2" fmla="*/ 0 w 4325378"/>
                <a:gd name="connsiteY2" fmla="*/ 257442 h 257442"/>
                <a:gd name="connsiteX3" fmla="*/ 54721 w 4325378"/>
                <a:gd name="connsiteY3" fmla="*/ 0 h 257442"/>
                <a:gd name="connsiteX0" fmla="*/ 942786 w 4270657"/>
                <a:gd name="connsiteY0" fmla="*/ 0 h 257442"/>
                <a:gd name="connsiteX1" fmla="*/ 4270657 w 4270657"/>
                <a:gd name="connsiteY1" fmla="*/ 257442 h 257442"/>
                <a:gd name="connsiteX2" fmla="*/ 0 w 4270657"/>
                <a:gd name="connsiteY2" fmla="*/ 257442 h 257442"/>
                <a:gd name="connsiteX3" fmla="*/ 54721 w 4270657"/>
                <a:gd name="connsiteY3" fmla="*/ 0 h 257442"/>
                <a:gd name="connsiteX0" fmla="*/ 942786 w 942786"/>
                <a:gd name="connsiteY0" fmla="*/ 0 h 257442"/>
                <a:gd name="connsiteX1" fmla="*/ 888066 w 942786"/>
                <a:gd name="connsiteY1" fmla="*/ 257442 h 257442"/>
                <a:gd name="connsiteX2" fmla="*/ 0 w 942786"/>
                <a:gd name="connsiteY2" fmla="*/ 257442 h 257442"/>
                <a:gd name="connsiteX3" fmla="*/ 54721 w 942786"/>
                <a:gd name="connsiteY3" fmla="*/ 0 h 257442"/>
                <a:gd name="connsiteX0" fmla="*/ 942785 w 942785"/>
                <a:gd name="connsiteY0" fmla="*/ 0 h 257442"/>
                <a:gd name="connsiteX1" fmla="*/ 888065 w 942785"/>
                <a:gd name="connsiteY1" fmla="*/ 257442 h 257442"/>
                <a:gd name="connsiteX2" fmla="*/ 0 w 942785"/>
                <a:gd name="connsiteY2" fmla="*/ 257442 h 257442"/>
                <a:gd name="connsiteX3" fmla="*/ 54720 w 942785"/>
                <a:gd name="connsiteY3" fmla="*/ 0 h 257442"/>
                <a:gd name="connsiteX0" fmla="*/ 942785 w 942785"/>
                <a:gd name="connsiteY0" fmla="*/ 0 h 257442"/>
                <a:gd name="connsiteX1" fmla="*/ 888065 w 942785"/>
                <a:gd name="connsiteY1" fmla="*/ 257442 h 257442"/>
                <a:gd name="connsiteX2" fmla="*/ 0 w 942785"/>
                <a:gd name="connsiteY2" fmla="*/ 257442 h 257442"/>
                <a:gd name="connsiteX3" fmla="*/ 54721 w 942785"/>
                <a:gd name="connsiteY3" fmla="*/ 0 h 257442"/>
                <a:gd name="connsiteX0" fmla="*/ 1111101 w 1111101"/>
                <a:gd name="connsiteY0" fmla="*/ 0 h 257442"/>
                <a:gd name="connsiteX1" fmla="*/ 888065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279416 w 1279416"/>
                <a:gd name="connsiteY0" fmla="*/ 0 h 257442"/>
                <a:gd name="connsiteX1" fmla="*/ 1056380 w 1279416"/>
                <a:gd name="connsiteY1" fmla="*/ 257442 h 257442"/>
                <a:gd name="connsiteX2" fmla="*/ 0 w 1279416"/>
                <a:gd name="connsiteY2" fmla="*/ 257442 h 257442"/>
                <a:gd name="connsiteX3" fmla="*/ 54721 w 1279416"/>
                <a:gd name="connsiteY3" fmla="*/ 0 h 257442"/>
                <a:gd name="connsiteX0" fmla="*/ 1279416 w 1279416"/>
                <a:gd name="connsiteY0" fmla="*/ 0 h 257442"/>
                <a:gd name="connsiteX1" fmla="*/ 1224694 w 1279416"/>
                <a:gd name="connsiteY1" fmla="*/ 257442 h 257442"/>
                <a:gd name="connsiteX2" fmla="*/ 0 w 1279416"/>
                <a:gd name="connsiteY2" fmla="*/ 257442 h 257442"/>
                <a:gd name="connsiteX3" fmla="*/ 54721 w 1279416"/>
                <a:gd name="connsiteY3" fmla="*/ 0 h 257442"/>
                <a:gd name="connsiteX0" fmla="*/ 1279417 w 1279417"/>
                <a:gd name="connsiteY0" fmla="*/ 0 h 257442"/>
                <a:gd name="connsiteX1" fmla="*/ 1224695 w 1279417"/>
                <a:gd name="connsiteY1" fmla="*/ 257442 h 257442"/>
                <a:gd name="connsiteX2" fmla="*/ 0 w 1279417"/>
                <a:gd name="connsiteY2" fmla="*/ 257442 h 257442"/>
                <a:gd name="connsiteX3" fmla="*/ 54722 w 1279417"/>
                <a:gd name="connsiteY3" fmla="*/ 0 h 257442"/>
                <a:gd name="connsiteX0" fmla="*/ 1279417 w 1279417"/>
                <a:gd name="connsiteY0" fmla="*/ 0 h 257442"/>
                <a:gd name="connsiteX1" fmla="*/ 1224695 w 1279417"/>
                <a:gd name="connsiteY1" fmla="*/ 257442 h 257442"/>
                <a:gd name="connsiteX2" fmla="*/ 0 w 1279417"/>
                <a:gd name="connsiteY2" fmla="*/ 257442 h 257442"/>
                <a:gd name="connsiteX3" fmla="*/ 54722 w 1279417"/>
                <a:gd name="connsiteY3" fmla="*/ 0 h 257442"/>
                <a:gd name="connsiteX0" fmla="*/ 1447733 w 1447733"/>
                <a:gd name="connsiteY0" fmla="*/ 0 h 257442"/>
                <a:gd name="connsiteX1" fmla="*/ 1224695 w 1447733"/>
                <a:gd name="connsiteY1" fmla="*/ 257442 h 257442"/>
                <a:gd name="connsiteX2" fmla="*/ 0 w 1447733"/>
                <a:gd name="connsiteY2" fmla="*/ 257442 h 257442"/>
                <a:gd name="connsiteX3" fmla="*/ 54722 w 1447733"/>
                <a:gd name="connsiteY3" fmla="*/ 0 h 257442"/>
                <a:gd name="connsiteX0" fmla="*/ 1447733 w 1447733"/>
                <a:gd name="connsiteY0" fmla="*/ 0 h 257442"/>
                <a:gd name="connsiteX1" fmla="*/ 1393012 w 1447733"/>
                <a:gd name="connsiteY1" fmla="*/ 257442 h 257442"/>
                <a:gd name="connsiteX2" fmla="*/ 0 w 1447733"/>
                <a:gd name="connsiteY2" fmla="*/ 257442 h 257442"/>
                <a:gd name="connsiteX3" fmla="*/ 54722 w 1447733"/>
                <a:gd name="connsiteY3" fmla="*/ 0 h 257442"/>
                <a:gd name="connsiteX0" fmla="*/ 1447732 w 1447732"/>
                <a:gd name="connsiteY0" fmla="*/ 0 h 257442"/>
                <a:gd name="connsiteX1" fmla="*/ 1393011 w 1447732"/>
                <a:gd name="connsiteY1" fmla="*/ 257442 h 257442"/>
                <a:gd name="connsiteX2" fmla="*/ 0 w 1447732"/>
                <a:gd name="connsiteY2" fmla="*/ 257442 h 257442"/>
                <a:gd name="connsiteX3" fmla="*/ 54721 w 1447732"/>
                <a:gd name="connsiteY3" fmla="*/ 0 h 257442"/>
                <a:gd name="connsiteX0" fmla="*/ 1447732 w 1447732"/>
                <a:gd name="connsiteY0" fmla="*/ 0 h 257442"/>
                <a:gd name="connsiteX1" fmla="*/ 1393011 w 1447732"/>
                <a:gd name="connsiteY1" fmla="*/ 257442 h 257442"/>
                <a:gd name="connsiteX2" fmla="*/ 0 w 1447732"/>
                <a:gd name="connsiteY2" fmla="*/ 257442 h 257442"/>
                <a:gd name="connsiteX3" fmla="*/ 54720 w 1447732"/>
                <a:gd name="connsiteY3" fmla="*/ 0 h 257442"/>
                <a:gd name="connsiteX0" fmla="*/ 1616046 w 1616046"/>
                <a:gd name="connsiteY0" fmla="*/ 0 h 257442"/>
                <a:gd name="connsiteX1" fmla="*/ 1393011 w 1616046"/>
                <a:gd name="connsiteY1" fmla="*/ 257442 h 257442"/>
                <a:gd name="connsiteX2" fmla="*/ 0 w 1616046"/>
                <a:gd name="connsiteY2" fmla="*/ 257442 h 257442"/>
                <a:gd name="connsiteX3" fmla="*/ 54720 w 1616046"/>
                <a:gd name="connsiteY3" fmla="*/ 0 h 257442"/>
                <a:gd name="connsiteX0" fmla="*/ 1616046 w 1616046"/>
                <a:gd name="connsiteY0" fmla="*/ 0 h 257442"/>
                <a:gd name="connsiteX1" fmla="*/ 1561325 w 1616046"/>
                <a:gd name="connsiteY1" fmla="*/ 257442 h 257442"/>
                <a:gd name="connsiteX2" fmla="*/ 0 w 1616046"/>
                <a:gd name="connsiteY2" fmla="*/ 257442 h 257442"/>
                <a:gd name="connsiteX3" fmla="*/ 54720 w 1616046"/>
                <a:gd name="connsiteY3" fmla="*/ 0 h 257442"/>
                <a:gd name="connsiteX0" fmla="*/ 1616047 w 1616047"/>
                <a:gd name="connsiteY0" fmla="*/ 0 h 257442"/>
                <a:gd name="connsiteX1" fmla="*/ 1561326 w 1616047"/>
                <a:gd name="connsiteY1" fmla="*/ 257442 h 257442"/>
                <a:gd name="connsiteX2" fmla="*/ 0 w 1616047"/>
                <a:gd name="connsiteY2" fmla="*/ 257442 h 257442"/>
                <a:gd name="connsiteX3" fmla="*/ 54721 w 1616047"/>
                <a:gd name="connsiteY3" fmla="*/ 0 h 257442"/>
                <a:gd name="connsiteX0" fmla="*/ 1616047 w 1616047"/>
                <a:gd name="connsiteY0" fmla="*/ 0 h 257442"/>
                <a:gd name="connsiteX1" fmla="*/ 1561326 w 1616047"/>
                <a:gd name="connsiteY1" fmla="*/ 257442 h 257442"/>
                <a:gd name="connsiteX2" fmla="*/ 0 w 1616047"/>
                <a:gd name="connsiteY2" fmla="*/ 257442 h 257442"/>
                <a:gd name="connsiteX3" fmla="*/ 54722 w 1616047"/>
                <a:gd name="connsiteY3" fmla="*/ 0 h 257442"/>
                <a:gd name="connsiteX0" fmla="*/ 1857909 w 1857909"/>
                <a:gd name="connsiteY0" fmla="*/ 0 h 257442"/>
                <a:gd name="connsiteX1" fmla="*/ 1561326 w 1857909"/>
                <a:gd name="connsiteY1" fmla="*/ 257442 h 257442"/>
                <a:gd name="connsiteX2" fmla="*/ 0 w 1857909"/>
                <a:gd name="connsiteY2" fmla="*/ 257442 h 257442"/>
                <a:gd name="connsiteX3" fmla="*/ 54722 w 1857909"/>
                <a:gd name="connsiteY3" fmla="*/ 0 h 257442"/>
                <a:gd name="connsiteX0" fmla="*/ 1857909 w 1857909"/>
                <a:gd name="connsiteY0" fmla="*/ 0 h 257442"/>
                <a:gd name="connsiteX1" fmla="*/ 1803188 w 1857909"/>
                <a:gd name="connsiteY1" fmla="*/ 257442 h 257442"/>
                <a:gd name="connsiteX2" fmla="*/ 0 w 1857909"/>
                <a:gd name="connsiteY2" fmla="*/ 257442 h 257442"/>
                <a:gd name="connsiteX3" fmla="*/ 54722 w 1857909"/>
                <a:gd name="connsiteY3" fmla="*/ 0 h 257442"/>
                <a:gd name="connsiteX0" fmla="*/ 1857908 w 1857908"/>
                <a:gd name="connsiteY0" fmla="*/ 0 h 257442"/>
                <a:gd name="connsiteX1" fmla="*/ 1803187 w 1857908"/>
                <a:gd name="connsiteY1" fmla="*/ 257442 h 257442"/>
                <a:gd name="connsiteX2" fmla="*/ 0 w 1857908"/>
                <a:gd name="connsiteY2" fmla="*/ 257442 h 257442"/>
                <a:gd name="connsiteX3" fmla="*/ 54721 w 1857908"/>
                <a:gd name="connsiteY3" fmla="*/ 0 h 257442"/>
                <a:gd name="connsiteX0" fmla="*/ 1857908 w 1857908"/>
                <a:gd name="connsiteY0" fmla="*/ 0 h 257442"/>
                <a:gd name="connsiteX1" fmla="*/ 1803187 w 1857908"/>
                <a:gd name="connsiteY1" fmla="*/ 257442 h 257442"/>
                <a:gd name="connsiteX2" fmla="*/ 0 w 1857908"/>
                <a:gd name="connsiteY2" fmla="*/ 257442 h 257442"/>
                <a:gd name="connsiteX3" fmla="*/ 54720 w 1857908"/>
                <a:gd name="connsiteY3" fmla="*/ 0 h 257442"/>
                <a:gd name="connsiteX0" fmla="*/ 2035841 w 2035841"/>
                <a:gd name="connsiteY0" fmla="*/ 0 h 257442"/>
                <a:gd name="connsiteX1" fmla="*/ 1803187 w 2035841"/>
                <a:gd name="connsiteY1" fmla="*/ 257442 h 257442"/>
                <a:gd name="connsiteX2" fmla="*/ 0 w 2035841"/>
                <a:gd name="connsiteY2" fmla="*/ 257442 h 257442"/>
                <a:gd name="connsiteX3" fmla="*/ 54720 w 2035841"/>
                <a:gd name="connsiteY3" fmla="*/ 0 h 257442"/>
                <a:gd name="connsiteX0" fmla="*/ 2035841 w 2035841"/>
                <a:gd name="connsiteY0" fmla="*/ 0 h 257442"/>
                <a:gd name="connsiteX1" fmla="*/ 1981120 w 2035841"/>
                <a:gd name="connsiteY1" fmla="*/ 257442 h 257442"/>
                <a:gd name="connsiteX2" fmla="*/ 0 w 2035841"/>
                <a:gd name="connsiteY2" fmla="*/ 257442 h 257442"/>
                <a:gd name="connsiteX3" fmla="*/ 54720 w 2035841"/>
                <a:gd name="connsiteY3" fmla="*/ 0 h 257442"/>
                <a:gd name="connsiteX0" fmla="*/ 2035842 w 2035842"/>
                <a:gd name="connsiteY0" fmla="*/ 0 h 257442"/>
                <a:gd name="connsiteX1" fmla="*/ 1981121 w 2035842"/>
                <a:gd name="connsiteY1" fmla="*/ 257442 h 257442"/>
                <a:gd name="connsiteX2" fmla="*/ 0 w 2035842"/>
                <a:gd name="connsiteY2" fmla="*/ 257442 h 257442"/>
                <a:gd name="connsiteX3" fmla="*/ 54721 w 2035842"/>
                <a:gd name="connsiteY3" fmla="*/ 0 h 257442"/>
                <a:gd name="connsiteX0" fmla="*/ 2035842 w 2035842"/>
                <a:gd name="connsiteY0" fmla="*/ 0 h 257442"/>
                <a:gd name="connsiteX1" fmla="*/ 1981121 w 2035842"/>
                <a:gd name="connsiteY1" fmla="*/ 257442 h 257442"/>
                <a:gd name="connsiteX2" fmla="*/ 0 w 2035842"/>
                <a:gd name="connsiteY2" fmla="*/ 257442 h 257442"/>
                <a:gd name="connsiteX3" fmla="*/ 54721 w 2035842"/>
                <a:gd name="connsiteY3" fmla="*/ 0 h 257442"/>
                <a:gd name="connsiteX0" fmla="*/ 2204157 w 2204157"/>
                <a:gd name="connsiteY0" fmla="*/ 0 h 257442"/>
                <a:gd name="connsiteX1" fmla="*/ 1981121 w 2204157"/>
                <a:gd name="connsiteY1" fmla="*/ 257442 h 257442"/>
                <a:gd name="connsiteX2" fmla="*/ 0 w 2204157"/>
                <a:gd name="connsiteY2" fmla="*/ 257442 h 257442"/>
                <a:gd name="connsiteX3" fmla="*/ 54721 w 2204157"/>
                <a:gd name="connsiteY3" fmla="*/ 0 h 257442"/>
                <a:gd name="connsiteX0" fmla="*/ 2204157 w 2204157"/>
                <a:gd name="connsiteY0" fmla="*/ 0 h 257442"/>
                <a:gd name="connsiteX1" fmla="*/ 2149436 w 2204157"/>
                <a:gd name="connsiteY1" fmla="*/ 257442 h 257442"/>
                <a:gd name="connsiteX2" fmla="*/ 0 w 2204157"/>
                <a:gd name="connsiteY2" fmla="*/ 257442 h 257442"/>
                <a:gd name="connsiteX3" fmla="*/ 54721 w 2204157"/>
                <a:gd name="connsiteY3" fmla="*/ 0 h 257442"/>
                <a:gd name="connsiteX0" fmla="*/ 2204157 w 2204157"/>
                <a:gd name="connsiteY0" fmla="*/ 0 h 257442"/>
                <a:gd name="connsiteX1" fmla="*/ 2149436 w 2204157"/>
                <a:gd name="connsiteY1" fmla="*/ 257442 h 257442"/>
                <a:gd name="connsiteX2" fmla="*/ 0 w 2204157"/>
                <a:gd name="connsiteY2" fmla="*/ 257442 h 257442"/>
                <a:gd name="connsiteX3" fmla="*/ 54721 w 2204157"/>
                <a:gd name="connsiteY3" fmla="*/ 0 h 257442"/>
                <a:gd name="connsiteX0" fmla="*/ 2204157 w 2204157"/>
                <a:gd name="connsiteY0" fmla="*/ 0 h 257442"/>
                <a:gd name="connsiteX1" fmla="*/ 2149436 w 2204157"/>
                <a:gd name="connsiteY1" fmla="*/ 257442 h 257442"/>
                <a:gd name="connsiteX2" fmla="*/ 0 w 2204157"/>
                <a:gd name="connsiteY2" fmla="*/ 257442 h 257442"/>
                <a:gd name="connsiteX3" fmla="*/ 54721 w 2204157"/>
                <a:gd name="connsiteY3" fmla="*/ 0 h 257442"/>
                <a:gd name="connsiteX0" fmla="*/ 934771 w 2149436"/>
                <a:gd name="connsiteY0" fmla="*/ 0 h 257442"/>
                <a:gd name="connsiteX1" fmla="*/ 2149436 w 2149436"/>
                <a:gd name="connsiteY1" fmla="*/ 257442 h 257442"/>
                <a:gd name="connsiteX2" fmla="*/ 0 w 2149436"/>
                <a:gd name="connsiteY2" fmla="*/ 257442 h 257442"/>
                <a:gd name="connsiteX3" fmla="*/ 54721 w 2149436"/>
                <a:gd name="connsiteY3" fmla="*/ 0 h 257442"/>
                <a:gd name="connsiteX0" fmla="*/ 934771 w 934771"/>
                <a:gd name="connsiteY0" fmla="*/ 0 h 257442"/>
                <a:gd name="connsiteX1" fmla="*/ 880050 w 934771"/>
                <a:gd name="connsiteY1" fmla="*/ 257442 h 257442"/>
                <a:gd name="connsiteX2" fmla="*/ 0 w 934771"/>
                <a:gd name="connsiteY2" fmla="*/ 257442 h 257442"/>
                <a:gd name="connsiteX3" fmla="*/ 54721 w 934771"/>
                <a:gd name="connsiteY3" fmla="*/ 0 h 257442"/>
                <a:gd name="connsiteX0" fmla="*/ 934770 w 934770"/>
                <a:gd name="connsiteY0" fmla="*/ 0 h 257442"/>
                <a:gd name="connsiteX1" fmla="*/ 880049 w 934770"/>
                <a:gd name="connsiteY1" fmla="*/ 257442 h 257442"/>
                <a:gd name="connsiteX2" fmla="*/ 0 w 934770"/>
                <a:gd name="connsiteY2" fmla="*/ 257442 h 257442"/>
                <a:gd name="connsiteX3" fmla="*/ 54720 w 934770"/>
                <a:gd name="connsiteY3" fmla="*/ 0 h 257442"/>
                <a:gd name="connsiteX0" fmla="*/ 934770 w 934770"/>
                <a:gd name="connsiteY0" fmla="*/ 0 h 257442"/>
                <a:gd name="connsiteX1" fmla="*/ 880049 w 934770"/>
                <a:gd name="connsiteY1" fmla="*/ 257442 h 257442"/>
                <a:gd name="connsiteX2" fmla="*/ 0 w 934770"/>
                <a:gd name="connsiteY2" fmla="*/ 257442 h 257442"/>
                <a:gd name="connsiteX3" fmla="*/ 54720 w 934770"/>
                <a:gd name="connsiteY3" fmla="*/ 0 h 257442"/>
                <a:gd name="connsiteX0" fmla="*/ 1243957 w 1243957"/>
                <a:gd name="connsiteY0" fmla="*/ 0 h 257442"/>
                <a:gd name="connsiteX1" fmla="*/ 880049 w 1243957"/>
                <a:gd name="connsiteY1" fmla="*/ 257442 h 257442"/>
                <a:gd name="connsiteX2" fmla="*/ 0 w 1243957"/>
                <a:gd name="connsiteY2" fmla="*/ 257442 h 257442"/>
                <a:gd name="connsiteX3" fmla="*/ 54720 w 1243957"/>
                <a:gd name="connsiteY3" fmla="*/ 0 h 257442"/>
                <a:gd name="connsiteX0" fmla="*/ 1243957 w 1243957"/>
                <a:gd name="connsiteY0" fmla="*/ 0 h 257442"/>
                <a:gd name="connsiteX1" fmla="*/ 1189236 w 1243957"/>
                <a:gd name="connsiteY1" fmla="*/ 257442 h 257442"/>
                <a:gd name="connsiteX2" fmla="*/ 0 w 1243957"/>
                <a:gd name="connsiteY2" fmla="*/ 257442 h 257442"/>
                <a:gd name="connsiteX3" fmla="*/ 54720 w 1243957"/>
                <a:gd name="connsiteY3" fmla="*/ 0 h 257442"/>
                <a:gd name="connsiteX0" fmla="*/ 1243958 w 1243958"/>
                <a:gd name="connsiteY0" fmla="*/ 0 h 257442"/>
                <a:gd name="connsiteX1" fmla="*/ 1189237 w 1243958"/>
                <a:gd name="connsiteY1" fmla="*/ 257442 h 257442"/>
                <a:gd name="connsiteX2" fmla="*/ 0 w 1243958"/>
                <a:gd name="connsiteY2" fmla="*/ 257442 h 257442"/>
                <a:gd name="connsiteX3" fmla="*/ 54721 w 1243958"/>
                <a:gd name="connsiteY3" fmla="*/ 0 h 257442"/>
                <a:gd name="connsiteX0" fmla="*/ 1243958 w 1243958"/>
                <a:gd name="connsiteY0" fmla="*/ 0 h 257442"/>
                <a:gd name="connsiteX1" fmla="*/ 1189237 w 1243958"/>
                <a:gd name="connsiteY1" fmla="*/ 257442 h 257442"/>
                <a:gd name="connsiteX2" fmla="*/ 0 w 1243958"/>
                <a:gd name="connsiteY2" fmla="*/ 257442 h 257442"/>
                <a:gd name="connsiteX3" fmla="*/ 54721 w 1243958"/>
                <a:gd name="connsiteY3" fmla="*/ 0 h 257442"/>
                <a:gd name="connsiteX0" fmla="*/ 1404259 w 1404259"/>
                <a:gd name="connsiteY0" fmla="*/ 0 h 257442"/>
                <a:gd name="connsiteX1" fmla="*/ 1189237 w 1404259"/>
                <a:gd name="connsiteY1" fmla="*/ 257442 h 257442"/>
                <a:gd name="connsiteX2" fmla="*/ 0 w 1404259"/>
                <a:gd name="connsiteY2" fmla="*/ 257442 h 257442"/>
                <a:gd name="connsiteX3" fmla="*/ 54721 w 1404259"/>
                <a:gd name="connsiteY3" fmla="*/ 0 h 257442"/>
                <a:gd name="connsiteX0" fmla="*/ 1404259 w 1404259"/>
                <a:gd name="connsiteY0" fmla="*/ 0 h 257442"/>
                <a:gd name="connsiteX1" fmla="*/ 1349538 w 1404259"/>
                <a:gd name="connsiteY1" fmla="*/ 257442 h 257442"/>
                <a:gd name="connsiteX2" fmla="*/ 0 w 1404259"/>
                <a:gd name="connsiteY2" fmla="*/ 257442 h 257442"/>
                <a:gd name="connsiteX3" fmla="*/ 54721 w 1404259"/>
                <a:gd name="connsiteY3" fmla="*/ 0 h 257442"/>
                <a:gd name="connsiteX0" fmla="*/ 1404259 w 1404259"/>
                <a:gd name="connsiteY0" fmla="*/ 0 h 257442"/>
                <a:gd name="connsiteX1" fmla="*/ 1349538 w 1404259"/>
                <a:gd name="connsiteY1" fmla="*/ 257442 h 257442"/>
                <a:gd name="connsiteX2" fmla="*/ 0 w 1404259"/>
                <a:gd name="connsiteY2" fmla="*/ 257442 h 257442"/>
                <a:gd name="connsiteX3" fmla="*/ 54721 w 1404259"/>
                <a:gd name="connsiteY3" fmla="*/ 0 h 257442"/>
                <a:gd name="connsiteX0" fmla="*/ 1404259 w 1404259"/>
                <a:gd name="connsiteY0" fmla="*/ 0 h 257442"/>
                <a:gd name="connsiteX1" fmla="*/ 1349538 w 1404259"/>
                <a:gd name="connsiteY1" fmla="*/ 257442 h 257442"/>
                <a:gd name="connsiteX2" fmla="*/ 0 w 1404259"/>
                <a:gd name="connsiteY2" fmla="*/ 257442 h 257442"/>
                <a:gd name="connsiteX3" fmla="*/ 54721 w 1404259"/>
                <a:gd name="connsiteY3" fmla="*/ 0 h 257442"/>
                <a:gd name="connsiteX0" fmla="*/ 1572573 w 1572573"/>
                <a:gd name="connsiteY0" fmla="*/ 0 h 257442"/>
                <a:gd name="connsiteX1" fmla="*/ 1349538 w 1572573"/>
                <a:gd name="connsiteY1" fmla="*/ 257442 h 257442"/>
                <a:gd name="connsiteX2" fmla="*/ 0 w 1572573"/>
                <a:gd name="connsiteY2" fmla="*/ 257442 h 257442"/>
                <a:gd name="connsiteX3" fmla="*/ 54721 w 1572573"/>
                <a:gd name="connsiteY3" fmla="*/ 0 h 257442"/>
                <a:gd name="connsiteX0" fmla="*/ 1572573 w 1572573"/>
                <a:gd name="connsiteY0" fmla="*/ 0 h 257442"/>
                <a:gd name="connsiteX1" fmla="*/ 1517852 w 1572573"/>
                <a:gd name="connsiteY1" fmla="*/ 257442 h 257442"/>
                <a:gd name="connsiteX2" fmla="*/ 0 w 1572573"/>
                <a:gd name="connsiteY2" fmla="*/ 257442 h 257442"/>
                <a:gd name="connsiteX3" fmla="*/ 54721 w 1572573"/>
                <a:gd name="connsiteY3" fmla="*/ 0 h 257442"/>
                <a:gd name="connsiteX0" fmla="*/ 1572573 w 1572573"/>
                <a:gd name="connsiteY0" fmla="*/ 0 h 257442"/>
                <a:gd name="connsiteX1" fmla="*/ 1517852 w 1572573"/>
                <a:gd name="connsiteY1" fmla="*/ 257442 h 257442"/>
                <a:gd name="connsiteX2" fmla="*/ 0 w 1572573"/>
                <a:gd name="connsiteY2" fmla="*/ 257442 h 257442"/>
                <a:gd name="connsiteX3" fmla="*/ 54721 w 1572573"/>
                <a:gd name="connsiteY3" fmla="*/ 0 h 257442"/>
                <a:gd name="connsiteX0" fmla="*/ 1572573 w 1572573"/>
                <a:gd name="connsiteY0" fmla="*/ 0 h 257442"/>
                <a:gd name="connsiteX1" fmla="*/ 1517852 w 1572573"/>
                <a:gd name="connsiteY1" fmla="*/ 257442 h 257442"/>
                <a:gd name="connsiteX2" fmla="*/ 0 w 1572573"/>
                <a:gd name="connsiteY2" fmla="*/ 257442 h 257442"/>
                <a:gd name="connsiteX3" fmla="*/ 54721 w 1572573"/>
                <a:gd name="connsiteY3" fmla="*/ 0 h 257442"/>
                <a:gd name="connsiteX0" fmla="*/ 942786 w 1517852"/>
                <a:gd name="connsiteY0" fmla="*/ 0 h 257442"/>
                <a:gd name="connsiteX1" fmla="*/ 1517852 w 1517852"/>
                <a:gd name="connsiteY1" fmla="*/ 257442 h 257442"/>
                <a:gd name="connsiteX2" fmla="*/ 0 w 1517852"/>
                <a:gd name="connsiteY2" fmla="*/ 257442 h 257442"/>
                <a:gd name="connsiteX3" fmla="*/ 54721 w 1517852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0 w 942786"/>
                <a:gd name="connsiteY2" fmla="*/ 257442 h 257442"/>
                <a:gd name="connsiteX3" fmla="*/ 54721 w 942786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0 w 942786"/>
                <a:gd name="connsiteY2" fmla="*/ 257442 h 257442"/>
                <a:gd name="connsiteX3" fmla="*/ 54721 w 942786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0 w 942786"/>
                <a:gd name="connsiteY2" fmla="*/ 257442 h 257442"/>
                <a:gd name="connsiteX3" fmla="*/ 54721 w 942786"/>
                <a:gd name="connsiteY3" fmla="*/ 0 h 257442"/>
                <a:gd name="connsiteX0" fmla="*/ 1111101 w 1111101"/>
                <a:gd name="connsiteY0" fmla="*/ 0 h 257442"/>
                <a:gd name="connsiteX1" fmla="*/ 888065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279416 w 1279416"/>
                <a:gd name="connsiteY0" fmla="*/ 0 h 257442"/>
                <a:gd name="connsiteX1" fmla="*/ 1056380 w 1279416"/>
                <a:gd name="connsiteY1" fmla="*/ 257442 h 257442"/>
                <a:gd name="connsiteX2" fmla="*/ 0 w 1279416"/>
                <a:gd name="connsiteY2" fmla="*/ 257442 h 257442"/>
                <a:gd name="connsiteX3" fmla="*/ 54721 w 1279416"/>
                <a:gd name="connsiteY3" fmla="*/ 0 h 257442"/>
                <a:gd name="connsiteX0" fmla="*/ 1279416 w 1279416"/>
                <a:gd name="connsiteY0" fmla="*/ 0 h 257442"/>
                <a:gd name="connsiteX1" fmla="*/ 1224694 w 1279416"/>
                <a:gd name="connsiteY1" fmla="*/ 257442 h 257442"/>
                <a:gd name="connsiteX2" fmla="*/ 0 w 1279416"/>
                <a:gd name="connsiteY2" fmla="*/ 257442 h 257442"/>
                <a:gd name="connsiteX3" fmla="*/ 54721 w 1279416"/>
                <a:gd name="connsiteY3" fmla="*/ 0 h 257442"/>
                <a:gd name="connsiteX0" fmla="*/ 1279417 w 1279417"/>
                <a:gd name="connsiteY0" fmla="*/ 0 h 257442"/>
                <a:gd name="connsiteX1" fmla="*/ 1224695 w 1279417"/>
                <a:gd name="connsiteY1" fmla="*/ 257442 h 257442"/>
                <a:gd name="connsiteX2" fmla="*/ 0 w 1279417"/>
                <a:gd name="connsiteY2" fmla="*/ 257442 h 257442"/>
                <a:gd name="connsiteX3" fmla="*/ 54722 w 1279417"/>
                <a:gd name="connsiteY3" fmla="*/ 0 h 257442"/>
                <a:gd name="connsiteX0" fmla="*/ 1279417 w 1279417"/>
                <a:gd name="connsiteY0" fmla="*/ 0 h 257442"/>
                <a:gd name="connsiteX1" fmla="*/ 1224695 w 1279417"/>
                <a:gd name="connsiteY1" fmla="*/ 257442 h 257442"/>
                <a:gd name="connsiteX2" fmla="*/ 0 w 1279417"/>
                <a:gd name="connsiteY2" fmla="*/ 257442 h 257442"/>
                <a:gd name="connsiteX3" fmla="*/ 54722 w 1279417"/>
                <a:gd name="connsiteY3" fmla="*/ 0 h 257442"/>
                <a:gd name="connsiteX0" fmla="*/ 1447733 w 1447733"/>
                <a:gd name="connsiteY0" fmla="*/ 0 h 257442"/>
                <a:gd name="connsiteX1" fmla="*/ 1224695 w 1447733"/>
                <a:gd name="connsiteY1" fmla="*/ 257442 h 257442"/>
                <a:gd name="connsiteX2" fmla="*/ 0 w 1447733"/>
                <a:gd name="connsiteY2" fmla="*/ 257442 h 257442"/>
                <a:gd name="connsiteX3" fmla="*/ 54722 w 1447733"/>
                <a:gd name="connsiteY3" fmla="*/ 0 h 257442"/>
                <a:gd name="connsiteX0" fmla="*/ 1447733 w 1447733"/>
                <a:gd name="connsiteY0" fmla="*/ 0 h 257442"/>
                <a:gd name="connsiteX1" fmla="*/ 1393012 w 1447733"/>
                <a:gd name="connsiteY1" fmla="*/ 257442 h 257442"/>
                <a:gd name="connsiteX2" fmla="*/ 0 w 1447733"/>
                <a:gd name="connsiteY2" fmla="*/ 257442 h 257442"/>
                <a:gd name="connsiteX3" fmla="*/ 54722 w 1447733"/>
                <a:gd name="connsiteY3" fmla="*/ 0 h 257442"/>
                <a:gd name="connsiteX0" fmla="*/ 1447732 w 1447732"/>
                <a:gd name="connsiteY0" fmla="*/ 0 h 257442"/>
                <a:gd name="connsiteX1" fmla="*/ 1393011 w 1447732"/>
                <a:gd name="connsiteY1" fmla="*/ 257442 h 257442"/>
                <a:gd name="connsiteX2" fmla="*/ 0 w 1447732"/>
                <a:gd name="connsiteY2" fmla="*/ 257442 h 257442"/>
                <a:gd name="connsiteX3" fmla="*/ 54721 w 1447732"/>
                <a:gd name="connsiteY3" fmla="*/ 0 h 257442"/>
                <a:gd name="connsiteX0" fmla="*/ 1447732 w 1447732"/>
                <a:gd name="connsiteY0" fmla="*/ 0 h 257442"/>
                <a:gd name="connsiteX1" fmla="*/ 1393011 w 1447732"/>
                <a:gd name="connsiteY1" fmla="*/ 257442 h 257442"/>
                <a:gd name="connsiteX2" fmla="*/ 0 w 1447732"/>
                <a:gd name="connsiteY2" fmla="*/ 257442 h 257442"/>
                <a:gd name="connsiteX3" fmla="*/ 54720 w 1447732"/>
                <a:gd name="connsiteY3" fmla="*/ 0 h 257442"/>
                <a:gd name="connsiteX0" fmla="*/ 1756918 w 1756918"/>
                <a:gd name="connsiteY0" fmla="*/ 0 h 257442"/>
                <a:gd name="connsiteX1" fmla="*/ 1393011 w 1756918"/>
                <a:gd name="connsiteY1" fmla="*/ 257442 h 257442"/>
                <a:gd name="connsiteX2" fmla="*/ 0 w 1756918"/>
                <a:gd name="connsiteY2" fmla="*/ 257442 h 257442"/>
                <a:gd name="connsiteX3" fmla="*/ 54720 w 1756918"/>
                <a:gd name="connsiteY3" fmla="*/ 0 h 257442"/>
                <a:gd name="connsiteX0" fmla="*/ 1756918 w 1756918"/>
                <a:gd name="connsiteY0" fmla="*/ 0 h 257442"/>
                <a:gd name="connsiteX1" fmla="*/ 1702197 w 1756918"/>
                <a:gd name="connsiteY1" fmla="*/ 257442 h 257442"/>
                <a:gd name="connsiteX2" fmla="*/ 0 w 1756918"/>
                <a:gd name="connsiteY2" fmla="*/ 257442 h 257442"/>
                <a:gd name="connsiteX3" fmla="*/ 54720 w 1756918"/>
                <a:gd name="connsiteY3" fmla="*/ 0 h 257442"/>
                <a:gd name="connsiteX0" fmla="*/ 1756919 w 1756919"/>
                <a:gd name="connsiteY0" fmla="*/ 0 h 257442"/>
                <a:gd name="connsiteX1" fmla="*/ 1702198 w 1756919"/>
                <a:gd name="connsiteY1" fmla="*/ 257442 h 257442"/>
                <a:gd name="connsiteX2" fmla="*/ 0 w 1756919"/>
                <a:gd name="connsiteY2" fmla="*/ 257442 h 257442"/>
                <a:gd name="connsiteX3" fmla="*/ 54721 w 1756919"/>
                <a:gd name="connsiteY3" fmla="*/ 0 h 257442"/>
                <a:gd name="connsiteX0" fmla="*/ 1756919 w 1756919"/>
                <a:gd name="connsiteY0" fmla="*/ 0 h 257442"/>
                <a:gd name="connsiteX1" fmla="*/ 1702198 w 1756919"/>
                <a:gd name="connsiteY1" fmla="*/ 257442 h 257442"/>
                <a:gd name="connsiteX2" fmla="*/ 0 w 1756919"/>
                <a:gd name="connsiteY2" fmla="*/ 257442 h 257442"/>
                <a:gd name="connsiteX3" fmla="*/ 54722 w 1756919"/>
                <a:gd name="connsiteY3" fmla="*/ 0 h 257442"/>
                <a:gd name="connsiteX0" fmla="*/ 2035843 w 2035843"/>
                <a:gd name="connsiteY0" fmla="*/ 0 h 257442"/>
                <a:gd name="connsiteX1" fmla="*/ 1702198 w 2035843"/>
                <a:gd name="connsiteY1" fmla="*/ 257442 h 257442"/>
                <a:gd name="connsiteX2" fmla="*/ 0 w 2035843"/>
                <a:gd name="connsiteY2" fmla="*/ 257442 h 257442"/>
                <a:gd name="connsiteX3" fmla="*/ 54722 w 2035843"/>
                <a:gd name="connsiteY3" fmla="*/ 0 h 257442"/>
                <a:gd name="connsiteX0" fmla="*/ 2035843 w 2035843"/>
                <a:gd name="connsiteY0" fmla="*/ 0 h 257442"/>
                <a:gd name="connsiteX1" fmla="*/ 1981122 w 2035843"/>
                <a:gd name="connsiteY1" fmla="*/ 257442 h 257442"/>
                <a:gd name="connsiteX2" fmla="*/ 0 w 2035843"/>
                <a:gd name="connsiteY2" fmla="*/ 257442 h 257442"/>
                <a:gd name="connsiteX3" fmla="*/ 54722 w 2035843"/>
                <a:gd name="connsiteY3" fmla="*/ 0 h 257442"/>
                <a:gd name="connsiteX0" fmla="*/ 2035842 w 2035842"/>
                <a:gd name="connsiteY0" fmla="*/ 0 h 257442"/>
                <a:gd name="connsiteX1" fmla="*/ 1981121 w 2035842"/>
                <a:gd name="connsiteY1" fmla="*/ 257442 h 257442"/>
                <a:gd name="connsiteX2" fmla="*/ 0 w 2035842"/>
                <a:gd name="connsiteY2" fmla="*/ 257442 h 257442"/>
                <a:gd name="connsiteX3" fmla="*/ 54721 w 2035842"/>
                <a:gd name="connsiteY3" fmla="*/ 0 h 257442"/>
                <a:gd name="connsiteX0" fmla="*/ 2035842 w 2035842"/>
                <a:gd name="connsiteY0" fmla="*/ 0 h 257442"/>
                <a:gd name="connsiteX1" fmla="*/ 1981121 w 2035842"/>
                <a:gd name="connsiteY1" fmla="*/ 257442 h 257442"/>
                <a:gd name="connsiteX2" fmla="*/ 0 w 2035842"/>
                <a:gd name="connsiteY2" fmla="*/ 257442 h 257442"/>
                <a:gd name="connsiteX3" fmla="*/ 54720 w 2035842"/>
                <a:gd name="connsiteY3" fmla="*/ 0 h 257442"/>
                <a:gd name="connsiteX0" fmla="*/ 2204156 w 2204156"/>
                <a:gd name="connsiteY0" fmla="*/ 0 h 257442"/>
                <a:gd name="connsiteX1" fmla="*/ 1981121 w 2204156"/>
                <a:gd name="connsiteY1" fmla="*/ 257442 h 257442"/>
                <a:gd name="connsiteX2" fmla="*/ 0 w 2204156"/>
                <a:gd name="connsiteY2" fmla="*/ 257442 h 257442"/>
                <a:gd name="connsiteX3" fmla="*/ 54720 w 2204156"/>
                <a:gd name="connsiteY3" fmla="*/ 0 h 257442"/>
                <a:gd name="connsiteX0" fmla="*/ 2204156 w 2204156"/>
                <a:gd name="connsiteY0" fmla="*/ 0 h 257442"/>
                <a:gd name="connsiteX1" fmla="*/ 2149435 w 2204156"/>
                <a:gd name="connsiteY1" fmla="*/ 257442 h 257442"/>
                <a:gd name="connsiteX2" fmla="*/ 0 w 2204156"/>
                <a:gd name="connsiteY2" fmla="*/ 257442 h 257442"/>
                <a:gd name="connsiteX3" fmla="*/ 54720 w 2204156"/>
                <a:gd name="connsiteY3" fmla="*/ 0 h 257442"/>
                <a:gd name="connsiteX0" fmla="*/ 2204157 w 2204157"/>
                <a:gd name="connsiteY0" fmla="*/ 0 h 257442"/>
                <a:gd name="connsiteX1" fmla="*/ 2149436 w 2204157"/>
                <a:gd name="connsiteY1" fmla="*/ 257442 h 257442"/>
                <a:gd name="connsiteX2" fmla="*/ 0 w 2204157"/>
                <a:gd name="connsiteY2" fmla="*/ 257442 h 257442"/>
                <a:gd name="connsiteX3" fmla="*/ 54721 w 2204157"/>
                <a:gd name="connsiteY3" fmla="*/ 0 h 257442"/>
                <a:gd name="connsiteX0" fmla="*/ 2204157 w 2204157"/>
                <a:gd name="connsiteY0" fmla="*/ 0 h 257442"/>
                <a:gd name="connsiteX1" fmla="*/ 2149436 w 2204157"/>
                <a:gd name="connsiteY1" fmla="*/ 257442 h 257442"/>
                <a:gd name="connsiteX2" fmla="*/ 0 w 2204157"/>
                <a:gd name="connsiteY2" fmla="*/ 257442 h 257442"/>
                <a:gd name="connsiteX3" fmla="*/ 54722 w 2204157"/>
                <a:gd name="connsiteY3" fmla="*/ 0 h 257442"/>
                <a:gd name="connsiteX0" fmla="*/ 2047256 w 2149436"/>
                <a:gd name="connsiteY0" fmla="*/ 0 h 257442"/>
                <a:gd name="connsiteX1" fmla="*/ 2149436 w 2149436"/>
                <a:gd name="connsiteY1" fmla="*/ 257442 h 257442"/>
                <a:gd name="connsiteX2" fmla="*/ 0 w 2149436"/>
                <a:gd name="connsiteY2" fmla="*/ 257442 h 257442"/>
                <a:gd name="connsiteX3" fmla="*/ 54722 w 2149436"/>
                <a:gd name="connsiteY3" fmla="*/ 0 h 257442"/>
                <a:gd name="connsiteX0" fmla="*/ 2047256 w 2047256"/>
                <a:gd name="connsiteY0" fmla="*/ 0 h 257442"/>
                <a:gd name="connsiteX1" fmla="*/ 1992535 w 2047256"/>
                <a:gd name="connsiteY1" fmla="*/ 257442 h 257442"/>
                <a:gd name="connsiteX2" fmla="*/ 0 w 2047256"/>
                <a:gd name="connsiteY2" fmla="*/ 257442 h 257442"/>
                <a:gd name="connsiteX3" fmla="*/ 54722 w 2047256"/>
                <a:gd name="connsiteY3" fmla="*/ 0 h 257442"/>
                <a:gd name="connsiteX0" fmla="*/ 2047255 w 2047255"/>
                <a:gd name="connsiteY0" fmla="*/ 0 h 257442"/>
                <a:gd name="connsiteX1" fmla="*/ 1992534 w 2047255"/>
                <a:gd name="connsiteY1" fmla="*/ 257442 h 257442"/>
                <a:gd name="connsiteX2" fmla="*/ 0 w 2047255"/>
                <a:gd name="connsiteY2" fmla="*/ 257442 h 257442"/>
                <a:gd name="connsiteX3" fmla="*/ 54721 w 2047255"/>
                <a:gd name="connsiteY3" fmla="*/ 0 h 257442"/>
                <a:gd name="connsiteX0" fmla="*/ 2047255 w 2047255"/>
                <a:gd name="connsiteY0" fmla="*/ 0 h 257442"/>
                <a:gd name="connsiteX1" fmla="*/ 1992534 w 2047255"/>
                <a:gd name="connsiteY1" fmla="*/ 257442 h 257442"/>
                <a:gd name="connsiteX2" fmla="*/ 0 w 2047255"/>
                <a:gd name="connsiteY2" fmla="*/ 257442 h 257442"/>
                <a:gd name="connsiteX3" fmla="*/ 54721 w 2047255"/>
                <a:gd name="connsiteY3" fmla="*/ 0 h 257442"/>
                <a:gd name="connsiteX0" fmla="*/ 1894969 w 1992534"/>
                <a:gd name="connsiteY0" fmla="*/ 0 h 257442"/>
                <a:gd name="connsiteX1" fmla="*/ 1992534 w 1992534"/>
                <a:gd name="connsiteY1" fmla="*/ 257442 h 257442"/>
                <a:gd name="connsiteX2" fmla="*/ 0 w 1992534"/>
                <a:gd name="connsiteY2" fmla="*/ 257442 h 257442"/>
                <a:gd name="connsiteX3" fmla="*/ 54721 w 1992534"/>
                <a:gd name="connsiteY3" fmla="*/ 0 h 257442"/>
                <a:gd name="connsiteX0" fmla="*/ 1894969 w 1894969"/>
                <a:gd name="connsiteY0" fmla="*/ 0 h 257442"/>
                <a:gd name="connsiteX1" fmla="*/ 1840248 w 1894969"/>
                <a:gd name="connsiteY1" fmla="*/ 257442 h 257442"/>
                <a:gd name="connsiteX2" fmla="*/ 0 w 1894969"/>
                <a:gd name="connsiteY2" fmla="*/ 257442 h 257442"/>
                <a:gd name="connsiteX3" fmla="*/ 54721 w 1894969"/>
                <a:gd name="connsiteY3" fmla="*/ 0 h 257442"/>
                <a:gd name="connsiteX0" fmla="*/ 1894968 w 1894968"/>
                <a:gd name="connsiteY0" fmla="*/ 0 h 257442"/>
                <a:gd name="connsiteX1" fmla="*/ 1840247 w 1894968"/>
                <a:gd name="connsiteY1" fmla="*/ 257442 h 257442"/>
                <a:gd name="connsiteX2" fmla="*/ 0 w 1894968"/>
                <a:gd name="connsiteY2" fmla="*/ 257442 h 257442"/>
                <a:gd name="connsiteX3" fmla="*/ 54720 w 1894968"/>
                <a:gd name="connsiteY3" fmla="*/ 0 h 257442"/>
                <a:gd name="connsiteX0" fmla="*/ 1894968 w 1894968"/>
                <a:gd name="connsiteY0" fmla="*/ 0 h 257442"/>
                <a:gd name="connsiteX1" fmla="*/ 1840247 w 1894968"/>
                <a:gd name="connsiteY1" fmla="*/ 257442 h 257442"/>
                <a:gd name="connsiteX2" fmla="*/ 0 w 1894968"/>
                <a:gd name="connsiteY2" fmla="*/ 257442 h 257442"/>
                <a:gd name="connsiteX3" fmla="*/ 54720 w 1894968"/>
                <a:gd name="connsiteY3" fmla="*/ 0 h 257442"/>
                <a:gd name="connsiteX0" fmla="*/ 2063284 w 2063284"/>
                <a:gd name="connsiteY0" fmla="*/ 0 h 257442"/>
                <a:gd name="connsiteX1" fmla="*/ 1840247 w 2063284"/>
                <a:gd name="connsiteY1" fmla="*/ 257442 h 257442"/>
                <a:gd name="connsiteX2" fmla="*/ 0 w 2063284"/>
                <a:gd name="connsiteY2" fmla="*/ 257442 h 257442"/>
                <a:gd name="connsiteX3" fmla="*/ 54720 w 2063284"/>
                <a:gd name="connsiteY3" fmla="*/ 0 h 257442"/>
                <a:gd name="connsiteX0" fmla="*/ 2063284 w 2063284"/>
                <a:gd name="connsiteY0" fmla="*/ 0 h 257442"/>
                <a:gd name="connsiteX1" fmla="*/ 2008563 w 2063284"/>
                <a:gd name="connsiteY1" fmla="*/ 257442 h 257442"/>
                <a:gd name="connsiteX2" fmla="*/ 0 w 2063284"/>
                <a:gd name="connsiteY2" fmla="*/ 257442 h 257442"/>
                <a:gd name="connsiteX3" fmla="*/ 54720 w 2063284"/>
                <a:gd name="connsiteY3" fmla="*/ 0 h 257442"/>
                <a:gd name="connsiteX0" fmla="*/ 2063285 w 2063285"/>
                <a:gd name="connsiteY0" fmla="*/ 0 h 257442"/>
                <a:gd name="connsiteX1" fmla="*/ 2008564 w 2063285"/>
                <a:gd name="connsiteY1" fmla="*/ 257442 h 257442"/>
                <a:gd name="connsiteX2" fmla="*/ 0 w 2063285"/>
                <a:gd name="connsiteY2" fmla="*/ 257442 h 257442"/>
                <a:gd name="connsiteX3" fmla="*/ 54721 w 2063285"/>
                <a:gd name="connsiteY3" fmla="*/ 0 h 257442"/>
                <a:gd name="connsiteX0" fmla="*/ 2063285 w 2063285"/>
                <a:gd name="connsiteY0" fmla="*/ 0 h 257442"/>
                <a:gd name="connsiteX1" fmla="*/ 2008564 w 2063285"/>
                <a:gd name="connsiteY1" fmla="*/ 257442 h 257442"/>
                <a:gd name="connsiteX2" fmla="*/ 0 w 2063285"/>
                <a:gd name="connsiteY2" fmla="*/ 257442 h 257442"/>
                <a:gd name="connsiteX3" fmla="*/ 54722 w 2063285"/>
                <a:gd name="connsiteY3" fmla="*/ 0 h 257442"/>
                <a:gd name="connsiteX0" fmla="*/ 2305147 w 2305147"/>
                <a:gd name="connsiteY0" fmla="*/ 0 h 257442"/>
                <a:gd name="connsiteX1" fmla="*/ 2008564 w 2305147"/>
                <a:gd name="connsiteY1" fmla="*/ 257442 h 257442"/>
                <a:gd name="connsiteX2" fmla="*/ 0 w 2305147"/>
                <a:gd name="connsiteY2" fmla="*/ 257442 h 257442"/>
                <a:gd name="connsiteX3" fmla="*/ 54722 w 2305147"/>
                <a:gd name="connsiteY3" fmla="*/ 0 h 257442"/>
                <a:gd name="connsiteX0" fmla="*/ 2305147 w 2305147"/>
                <a:gd name="connsiteY0" fmla="*/ 0 h 257442"/>
                <a:gd name="connsiteX1" fmla="*/ 2250426 w 2305147"/>
                <a:gd name="connsiteY1" fmla="*/ 257442 h 257442"/>
                <a:gd name="connsiteX2" fmla="*/ 0 w 2305147"/>
                <a:gd name="connsiteY2" fmla="*/ 257442 h 257442"/>
                <a:gd name="connsiteX3" fmla="*/ 54722 w 2305147"/>
                <a:gd name="connsiteY3" fmla="*/ 0 h 257442"/>
                <a:gd name="connsiteX0" fmla="*/ 2305146 w 2305146"/>
                <a:gd name="connsiteY0" fmla="*/ 0 h 257442"/>
                <a:gd name="connsiteX1" fmla="*/ 2250425 w 2305146"/>
                <a:gd name="connsiteY1" fmla="*/ 257442 h 257442"/>
                <a:gd name="connsiteX2" fmla="*/ 0 w 2305146"/>
                <a:gd name="connsiteY2" fmla="*/ 257442 h 257442"/>
                <a:gd name="connsiteX3" fmla="*/ 54721 w 2305146"/>
                <a:gd name="connsiteY3" fmla="*/ 0 h 257442"/>
                <a:gd name="connsiteX0" fmla="*/ 2305146 w 2305146"/>
                <a:gd name="connsiteY0" fmla="*/ 0 h 257442"/>
                <a:gd name="connsiteX1" fmla="*/ 2250425 w 2305146"/>
                <a:gd name="connsiteY1" fmla="*/ 257442 h 257442"/>
                <a:gd name="connsiteX2" fmla="*/ 0 w 2305146"/>
                <a:gd name="connsiteY2" fmla="*/ 257442 h 257442"/>
                <a:gd name="connsiteX3" fmla="*/ 54720 w 2305146"/>
                <a:gd name="connsiteY3" fmla="*/ 0 h 257442"/>
                <a:gd name="connsiteX0" fmla="*/ 2204156 w 2250425"/>
                <a:gd name="connsiteY0" fmla="*/ 0 h 257442"/>
                <a:gd name="connsiteX1" fmla="*/ 2250425 w 2250425"/>
                <a:gd name="connsiteY1" fmla="*/ 257442 h 257442"/>
                <a:gd name="connsiteX2" fmla="*/ 0 w 2250425"/>
                <a:gd name="connsiteY2" fmla="*/ 257442 h 257442"/>
                <a:gd name="connsiteX3" fmla="*/ 54720 w 2250425"/>
                <a:gd name="connsiteY3" fmla="*/ 0 h 257442"/>
                <a:gd name="connsiteX0" fmla="*/ 2204156 w 2204156"/>
                <a:gd name="connsiteY0" fmla="*/ 0 h 257442"/>
                <a:gd name="connsiteX1" fmla="*/ 2149436 w 2204156"/>
                <a:gd name="connsiteY1" fmla="*/ 257442 h 257442"/>
                <a:gd name="connsiteX2" fmla="*/ 0 w 2204156"/>
                <a:gd name="connsiteY2" fmla="*/ 257442 h 257442"/>
                <a:gd name="connsiteX3" fmla="*/ 54720 w 2204156"/>
                <a:gd name="connsiteY3" fmla="*/ 0 h 257442"/>
                <a:gd name="connsiteX0" fmla="*/ 2204156 w 2204156"/>
                <a:gd name="connsiteY0" fmla="*/ 0 h 257442"/>
                <a:gd name="connsiteX1" fmla="*/ 2149436 w 2204156"/>
                <a:gd name="connsiteY1" fmla="*/ 257442 h 257442"/>
                <a:gd name="connsiteX2" fmla="*/ 0 w 2204156"/>
                <a:gd name="connsiteY2" fmla="*/ 257442 h 257442"/>
                <a:gd name="connsiteX3" fmla="*/ 54720 w 2204156"/>
                <a:gd name="connsiteY3" fmla="*/ 0 h 257442"/>
                <a:gd name="connsiteX0" fmla="*/ 2204156 w 2204156"/>
                <a:gd name="connsiteY0" fmla="*/ 0 h 257442"/>
                <a:gd name="connsiteX1" fmla="*/ 2149436 w 2204156"/>
                <a:gd name="connsiteY1" fmla="*/ 257442 h 257442"/>
                <a:gd name="connsiteX2" fmla="*/ 0 w 2204156"/>
                <a:gd name="connsiteY2" fmla="*/ 257442 h 257442"/>
                <a:gd name="connsiteX3" fmla="*/ 54721 w 2204156"/>
                <a:gd name="connsiteY3" fmla="*/ 0 h 257442"/>
                <a:gd name="connsiteX0" fmla="*/ 942786 w 2149436"/>
                <a:gd name="connsiteY0" fmla="*/ 0 h 257442"/>
                <a:gd name="connsiteX1" fmla="*/ 2149436 w 2149436"/>
                <a:gd name="connsiteY1" fmla="*/ 257442 h 257442"/>
                <a:gd name="connsiteX2" fmla="*/ 0 w 2149436"/>
                <a:gd name="connsiteY2" fmla="*/ 257442 h 257442"/>
                <a:gd name="connsiteX3" fmla="*/ 54721 w 2149436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0 w 942786"/>
                <a:gd name="connsiteY2" fmla="*/ 257442 h 257442"/>
                <a:gd name="connsiteX3" fmla="*/ 54721 w 942786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0 w 942786"/>
                <a:gd name="connsiteY2" fmla="*/ 257442 h 257442"/>
                <a:gd name="connsiteX3" fmla="*/ 54721 w 942786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0 w 942786"/>
                <a:gd name="connsiteY2" fmla="*/ 257442 h 257442"/>
                <a:gd name="connsiteX3" fmla="*/ 54721 w 942786"/>
                <a:gd name="connsiteY3" fmla="*/ 0 h 257442"/>
                <a:gd name="connsiteX0" fmla="*/ 1103086 w 1103086"/>
                <a:gd name="connsiteY0" fmla="*/ 0 h 257442"/>
                <a:gd name="connsiteX1" fmla="*/ 888065 w 1103086"/>
                <a:gd name="connsiteY1" fmla="*/ 257442 h 257442"/>
                <a:gd name="connsiteX2" fmla="*/ 0 w 1103086"/>
                <a:gd name="connsiteY2" fmla="*/ 257442 h 257442"/>
                <a:gd name="connsiteX3" fmla="*/ 54721 w 1103086"/>
                <a:gd name="connsiteY3" fmla="*/ 0 h 257442"/>
                <a:gd name="connsiteX0" fmla="*/ 1103086 w 1103086"/>
                <a:gd name="connsiteY0" fmla="*/ 0 h 257442"/>
                <a:gd name="connsiteX1" fmla="*/ 1048365 w 1103086"/>
                <a:gd name="connsiteY1" fmla="*/ 257442 h 257442"/>
                <a:gd name="connsiteX2" fmla="*/ 0 w 1103086"/>
                <a:gd name="connsiteY2" fmla="*/ 257442 h 257442"/>
                <a:gd name="connsiteX3" fmla="*/ 54721 w 1103086"/>
                <a:gd name="connsiteY3" fmla="*/ 0 h 257442"/>
                <a:gd name="connsiteX0" fmla="*/ 1103086 w 1103086"/>
                <a:gd name="connsiteY0" fmla="*/ 0 h 257442"/>
                <a:gd name="connsiteX1" fmla="*/ 1048365 w 1103086"/>
                <a:gd name="connsiteY1" fmla="*/ 257442 h 257442"/>
                <a:gd name="connsiteX2" fmla="*/ 0 w 1103086"/>
                <a:gd name="connsiteY2" fmla="*/ 257442 h 257442"/>
                <a:gd name="connsiteX3" fmla="*/ 54721 w 1103086"/>
                <a:gd name="connsiteY3" fmla="*/ 0 h 257442"/>
                <a:gd name="connsiteX0" fmla="*/ 1103086 w 1103086"/>
                <a:gd name="connsiteY0" fmla="*/ 0 h 257442"/>
                <a:gd name="connsiteX1" fmla="*/ 1048365 w 1103086"/>
                <a:gd name="connsiteY1" fmla="*/ 257442 h 257442"/>
                <a:gd name="connsiteX2" fmla="*/ 0 w 1103086"/>
                <a:gd name="connsiteY2" fmla="*/ 257442 h 257442"/>
                <a:gd name="connsiteX3" fmla="*/ 54721 w 1103086"/>
                <a:gd name="connsiteY3" fmla="*/ 0 h 257442"/>
                <a:gd name="connsiteX0" fmla="*/ 1271402 w 1271402"/>
                <a:gd name="connsiteY0" fmla="*/ 0 h 257442"/>
                <a:gd name="connsiteX1" fmla="*/ 1048365 w 1271402"/>
                <a:gd name="connsiteY1" fmla="*/ 257442 h 257442"/>
                <a:gd name="connsiteX2" fmla="*/ 0 w 1271402"/>
                <a:gd name="connsiteY2" fmla="*/ 257442 h 257442"/>
                <a:gd name="connsiteX3" fmla="*/ 54721 w 1271402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54721 w 1271402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54721 w 1271402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54721 w 1271402"/>
                <a:gd name="connsiteY3" fmla="*/ 0 h 257442"/>
                <a:gd name="connsiteX0" fmla="*/ 1550324 w 1550324"/>
                <a:gd name="connsiteY0" fmla="*/ 0 h 257442"/>
                <a:gd name="connsiteX1" fmla="*/ 1216681 w 1550324"/>
                <a:gd name="connsiteY1" fmla="*/ 257442 h 257442"/>
                <a:gd name="connsiteX2" fmla="*/ 0 w 1550324"/>
                <a:gd name="connsiteY2" fmla="*/ 257442 h 257442"/>
                <a:gd name="connsiteX3" fmla="*/ 54721 w 1550324"/>
                <a:gd name="connsiteY3" fmla="*/ 0 h 257442"/>
                <a:gd name="connsiteX0" fmla="*/ 1550324 w 1550324"/>
                <a:gd name="connsiteY0" fmla="*/ 0 h 257442"/>
                <a:gd name="connsiteX1" fmla="*/ 1495603 w 1550324"/>
                <a:gd name="connsiteY1" fmla="*/ 257442 h 257442"/>
                <a:gd name="connsiteX2" fmla="*/ 0 w 1550324"/>
                <a:gd name="connsiteY2" fmla="*/ 257442 h 257442"/>
                <a:gd name="connsiteX3" fmla="*/ 54721 w 1550324"/>
                <a:gd name="connsiteY3" fmla="*/ 0 h 257442"/>
                <a:gd name="connsiteX0" fmla="*/ 1550324 w 1550324"/>
                <a:gd name="connsiteY0" fmla="*/ 0 h 257442"/>
                <a:gd name="connsiteX1" fmla="*/ 1495603 w 1550324"/>
                <a:gd name="connsiteY1" fmla="*/ 257442 h 257442"/>
                <a:gd name="connsiteX2" fmla="*/ 0 w 1550324"/>
                <a:gd name="connsiteY2" fmla="*/ 257442 h 257442"/>
                <a:gd name="connsiteX3" fmla="*/ 54721 w 1550324"/>
                <a:gd name="connsiteY3" fmla="*/ 0 h 257442"/>
                <a:gd name="connsiteX0" fmla="*/ 1550324 w 1550324"/>
                <a:gd name="connsiteY0" fmla="*/ 0 h 257442"/>
                <a:gd name="connsiteX1" fmla="*/ 1495603 w 1550324"/>
                <a:gd name="connsiteY1" fmla="*/ 257442 h 257442"/>
                <a:gd name="connsiteX2" fmla="*/ 0 w 1550324"/>
                <a:gd name="connsiteY2" fmla="*/ 257442 h 257442"/>
                <a:gd name="connsiteX3" fmla="*/ 54721 w 1550324"/>
                <a:gd name="connsiteY3" fmla="*/ 0 h 257442"/>
                <a:gd name="connsiteX0" fmla="*/ 1718639 w 1718639"/>
                <a:gd name="connsiteY0" fmla="*/ 0 h 257442"/>
                <a:gd name="connsiteX1" fmla="*/ 1495603 w 1718639"/>
                <a:gd name="connsiteY1" fmla="*/ 257442 h 257442"/>
                <a:gd name="connsiteX2" fmla="*/ 0 w 1718639"/>
                <a:gd name="connsiteY2" fmla="*/ 257442 h 257442"/>
                <a:gd name="connsiteX3" fmla="*/ 54721 w 1718639"/>
                <a:gd name="connsiteY3" fmla="*/ 0 h 257442"/>
                <a:gd name="connsiteX0" fmla="*/ 1718639 w 1718639"/>
                <a:gd name="connsiteY0" fmla="*/ 0 h 257442"/>
                <a:gd name="connsiteX1" fmla="*/ 1663918 w 1718639"/>
                <a:gd name="connsiteY1" fmla="*/ 257442 h 257442"/>
                <a:gd name="connsiteX2" fmla="*/ 0 w 1718639"/>
                <a:gd name="connsiteY2" fmla="*/ 257442 h 257442"/>
                <a:gd name="connsiteX3" fmla="*/ 54721 w 1718639"/>
                <a:gd name="connsiteY3" fmla="*/ 0 h 257442"/>
                <a:gd name="connsiteX0" fmla="*/ 1718639 w 1718639"/>
                <a:gd name="connsiteY0" fmla="*/ 0 h 257442"/>
                <a:gd name="connsiteX1" fmla="*/ 1663918 w 1718639"/>
                <a:gd name="connsiteY1" fmla="*/ 257442 h 257442"/>
                <a:gd name="connsiteX2" fmla="*/ 0 w 1718639"/>
                <a:gd name="connsiteY2" fmla="*/ 257442 h 257442"/>
                <a:gd name="connsiteX3" fmla="*/ 54721 w 1718639"/>
                <a:gd name="connsiteY3" fmla="*/ 0 h 257442"/>
                <a:gd name="connsiteX0" fmla="*/ 1718639 w 1718639"/>
                <a:gd name="connsiteY0" fmla="*/ 0 h 257442"/>
                <a:gd name="connsiteX1" fmla="*/ 1663918 w 1718639"/>
                <a:gd name="connsiteY1" fmla="*/ 257442 h 257442"/>
                <a:gd name="connsiteX2" fmla="*/ 0 w 1718639"/>
                <a:gd name="connsiteY2" fmla="*/ 257442 h 257442"/>
                <a:gd name="connsiteX3" fmla="*/ 54721 w 1718639"/>
                <a:gd name="connsiteY3" fmla="*/ 0 h 257442"/>
                <a:gd name="connsiteX0" fmla="*/ 1971914 w 1971914"/>
                <a:gd name="connsiteY0" fmla="*/ 0 h 257442"/>
                <a:gd name="connsiteX1" fmla="*/ 1663918 w 1971914"/>
                <a:gd name="connsiteY1" fmla="*/ 257442 h 257442"/>
                <a:gd name="connsiteX2" fmla="*/ 0 w 1971914"/>
                <a:gd name="connsiteY2" fmla="*/ 257442 h 257442"/>
                <a:gd name="connsiteX3" fmla="*/ 54721 w 1971914"/>
                <a:gd name="connsiteY3" fmla="*/ 0 h 257442"/>
                <a:gd name="connsiteX0" fmla="*/ 1971914 w 1971914"/>
                <a:gd name="connsiteY0" fmla="*/ 0 h 257442"/>
                <a:gd name="connsiteX1" fmla="*/ 1917192 w 1971914"/>
                <a:gd name="connsiteY1" fmla="*/ 257442 h 257442"/>
                <a:gd name="connsiteX2" fmla="*/ 0 w 1971914"/>
                <a:gd name="connsiteY2" fmla="*/ 257442 h 257442"/>
                <a:gd name="connsiteX3" fmla="*/ 54721 w 1971914"/>
                <a:gd name="connsiteY3" fmla="*/ 0 h 257442"/>
                <a:gd name="connsiteX0" fmla="*/ 1971915 w 1971915"/>
                <a:gd name="connsiteY0" fmla="*/ 0 h 257442"/>
                <a:gd name="connsiteX1" fmla="*/ 1917193 w 1971915"/>
                <a:gd name="connsiteY1" fmla="*/ 257442 h 257442"/>
                <a:gd name="connsiteX2" fmla="*/ 0 w 1971915"/>
                <a:gd name="connsiteY2" fmla="*/ 257442 h 257442"/>
                <a:gd name="connsiteX3" fmla="*/ 54722 w 1971915"/>
                <a:gd name="connsiteY3" fmla="*/ 0 h 257442"/>
                <a:gd name="connsiteX0" fmla="*/ 1971915 w 1971915"/>
                <a:gd name="connsiteY0" fmla="*/ 0 h 257442"/>
                <a:gd name="connsiteX1" fmla="*/ 1917193 w 1971915"/>
                <a:gd name="connsiteY1" fmla="*/ 257442 h 257442"/>
                <a:gd name="connsiteX2" fmla="*/ 0 w 1971915"/>
                <a:gd name="connsiteY2" fmla="*/ 257442 h 257442"/>
                <a:gd name="connsiteX3" fmla="*/ 54722 w 1971915"/>
                <a:gd name="connsiteY3" fmla="*/ 0 h 257442"/>
                <a:gd name="connsiteX0" fmla="*/ 2132215 w 2132215"/>
                <a:gd name="connsiteY0" fmla="*/ 0 h 257442"/>
                <a:gd name="connsiteX1" fmla="*/ 1917193 w 2132215"/>
                <a:gd name="connsiteY1" fmla="*/ 257442 h 257442"/>
                <a:gd name="connsiteX2" fmla="*/ 0 w 2132215"/>
                <a:gd name="connsiteY2" fmla="*/ 257442 h 257442"/>
                <a:gd name="connsiteX3" fmla="*/ 54722 w 2132215"/>
                <a:gd name="connsiteY3" fmla="*/ 0 h 257442"/>
                <a:gd name="connsiteX0" fmla="*/ 2132215 w 2132215"/>
                <a:gd name="connsiteY0" fmla="*/ 0 h 257442"/>
                <a:gd name="connsiteX1" fmla="*/ 2077494 w 2132215"/>
                <a:gd name="connsiteY1" fmla="*/ 257442 h 257442"/>
                <a:gd name="connsiteX2" fmla="*/ 0 w 2132215"/>
                <a:gd name="connsiteY2" fmla="*/ 257442 h 257442"/>
                <a:gd name="connsiteX3" fmla="*/ 54722 w 2132215"/>
                <a:gd name="connsiteY3" fmla="*/ 0 h 257442"/>
                <a:gd name="connsiteX0" fmla="*/ 2132214 w 2132214"/>
                <a:gd name="connsiteY0" fmla="*/ 0 h 257442"/>
                <a:gd name="connsiteX1" fmla="*/ 2077493 w 2132214"/>
                <a:gd name="connsiteY1" fmla="*/ 257442 h 257442"/>
                <a:gd name="connsiteX2" fmla="*/ 0 w 2132214"/>
                <a:gd name="connsiteY2" fmla="*/ 257442 h 257442"/>
                <a:gd name="connsiteX3" fmla="*/ 54721 w 2132214"/>
                <a:gd name="connsiteY3" fmla="*/ 0 h 257442"/>
                <a:gd name="connsiteX0" fmla="*/ 2132214 w 2132214"/>
                <a:gd name="connsiteY0" fmla="*/ 0 h 257442"/>
                <a:gd name="connsiteX1" fmla="*/ 2077493 w 2132214"/>
                <a:gd name="connsiteY1" fmla="*/ 257442 h 257442"/>
                <a:gd name="connsiteX2" fmla="*/ 0 w 2132214"/>
                <a:gd name="connsiteY2" fmla="*/ 257442 h 257442"/>
                <a:gd name="connsiteX3" fmla="*/ 54720 w 2132214"/>
                <a:gd name="connsiteY3" fmla="*/ 0 h 257442"/>
                <a:gd name="connsiteX0" fmla="*/ 934770 w 2077493"/>
                <a:gd name="connsiteY0" fmla="*/ 0 h 257442"/>
                <a:gd name="connsiteX1" fmla="*/ 2077493 w 2077493"/>
                <a:gd name="connsiteY1" fmla="*/ 257442 h 257442"/>
                <a:gd name="connsiteX2" fmla="*/ 0 w 2077493"/>
                <a:gd name="connsiteY2" fmla="*/ 257442 h 257442"/>
                <a:gd name="connsiteX3" fmla="*/ 54720 w 2077493"/>
                <a:gd name="connsiteY3" fmla="*/ 0 h 257442"/>
                <a:gd name="connsiteX0" fmla="*/ 934770 w 934770"/>
                <a:gd name="connsiteY0" fmla="*/ 0 h 257442"/>
                <a:gd name="connsiteX1" fmla="*/ 880050 w 934770"/>
                <a:gd name="connsiteY1" fmla="*/ 257442 h 257442"/>
                <a:gd name="connsiteX2" fmla="*/ 0 w 934770"/>
                <a:gd name="connsiteY2" fmla="*/ 257442 h 257442"/>
                <a:gd name="connsiteX3" fmla="*/ 54720 w 934770"/>
                <a:gd name="connsiteY3" fmla="*/ 0 h 257442"/>
                <a:gd name="connsiteX0" fmla="*/ 934770 w 934770"/>
                <a:gd name="connsiteY0" fmla="*/ 0 h 257442"/>
                <a:gd name="connsiteX1" fmla="*/ 880050 w 934770"/>
                <a:gd name="connsiteY1" fmla="*/ 257442 h 257442"/>
                <a:gd name="connsiteX2" fmla="*/ 0 w 934770"/>
                <a:gd name="connsiteY2" fmla="*/ 257442 h 257442"/>
                <a:gd name="connsiteX3" fmla="*/ 54720 w 934770"/>
                <a:gd name="connsiteY3" fmla="*/ 0 h 257442"/>
                <a:gd name="connsiteX0" fmla="*/ 934770 w 934770"/>
                <a:gd name="connsiteY0" fmla="*/ 0 h 257442"/>
                <a:gd name="connsiteX1" fmla="*/ 880050 w 934770"/>
                <a:gd name="connsiteY1" fmla="*/ 257442 h 257442"/>
                <a:gd name="connsiteX2" fmla="*/ 0 w 934770"/>
                <a:gd name="connsiteY2" fmla="*/ 257442 h 257442"/>
                <a:gd name="connsiteX3" fmla="*/ 54721 w 934770"/>
                <a:gd name="connsiteY3" fmla="*/ 0 h 257442"/>
                <a:gd name="connsiteX0" fmla="*/ 1188046 w 1188046"/>
                <a:gd name="connsiteY0" fmla="*/ 0 h 257442"/>
                <a:gd name="connsiteX1" fmla="*/ 880050 w 1188046"/>
                <a:gd name="connsiteY1" fmla="*/ 257442 h 257442"/>
                <a:gd name="connsiteX2" fmla="*/ 0 w 1188046"/>
                <a:gd name="connsiteY2" fmla="*/ 257442 h 257442"/>
                <a:gd name="connsiteX3" fmla="*/ 54721 w 1188046"/>
                <a:gd name="connsiteY3" fmla="*/ 0 h 257442"/>
                <a:gd name="connsiteX0" fmla="*/ 1188046 w 1188046"/>
                <a:gd name="connsiteY0" fmla="*/ 0 h 257442"/>
                <a:gd name="connsiteX1" fmla="*/ 1133325 w 1188046"/>
                <a:gd name="connsiteY1" fmla="*/ 257442 h 257442"/>
                <a:gd name="connsiteX2" fmla="*/ 0 w 1188046"/>
                <a:gd name="connsiteY2" fmla="*/ 257442 h 257442"/>
                <a:gd name="connsiteX3" fmla="*/ 54721 w 1188046"/>
                <a:gd name="connsiteY3" fmla="*/ 0 h 257442"/>
                <a:gd name="connsiteX0" fmla="*/ 1188046 w 1188046"/>
                <a:gd name="connsiteY0" fmla="*/ 0 h 257442"/>
                <a:gd name="connsiteX1" fmla="*/ 1133325 w 1188046"/>
                <a:gd name="connsiteY1" fmla="*/ 257442 h 257442"/>
                <a:gd name="connsiteX2" fmla="*/ 0 w 1188046"/>
                <a:gd name="connsiteY2" fmla="*/ 257442 h 257442"/>
                <a:gd name="connsiteX3" fmla="*/ 54721 w 1188046"/>
                <a:gd name="connsiteY3" fmla="*/ 0 h 257442"/>
                <a:gd name="connsiteX0" fmla="*/ 1188046 w 1188046"/>
                <a:gd name="connsiteY0" fmla="*/ 0 h 257442"/>
                <a:gd name="connsiteX1" fmla="*/ 1133325 w 1188046"/>
                <a:gd name="connsiteY1" fmla="*/ 257442 h 257442"/>
                <a:gd name="connsiteX2" fmla="*/ 0 w 1188046"/>
                <a:gd name="connsiteY2" fmla="*/ 257442 h 257442"/>
                <a:gd name="connsiteX3" fmla="*/ 54721 w 1188046"/>
                <a:gd name="connsiteY3" fmla="*/ 0 h 257442"/>
                <a:gd name="connsiteX0" fmla="*/ 1348346 w 1348346"/>
                <a:gd name="connsiteY0" fmla="*/ 0 h 257442"/>
                <a:gd name="connsiteX1" fmla="*/ 1133325 w 1348346"/>
                <a:gd name="connsiteY1" fmla="*/ 257442 h 257442"/>
                <a:gd name="connsiteX2" fmla="*/ 0 w 1348346"/>
                <a:gd name="connsiteY2" fmla="*/ 257442 h 257442"/>
                <a:gd name="connsiteX3" fmla="*/ 54721 w 1348346"/>
                <a:gd name="connsiteY3" fmla="*/ 0 h 257442"/>
                <a:gd name="connsiteX0" fmla="*/ 1348346 w 1348346"/>
                <a:gd name="connsiteY0" fmla="*/ 0 h 257442"/>
                <a:gd name="connsiteX1" fmla="*/ 1293625 w 1348346"/>
                <a:gd name="connsiteY1" fmla="*/ 257442 h 257442"/>
                <a:gd name="connsiteX2" fmla="*/ 0 w 1348346"/>
                <a:gd name="connsiteY2" fmla="*/ 257442 h 257442"/>
                <a:gd name="connsiteX3" fmla="*/ 54721 w 1348346"/>
                <a:gd name="connsiteY3" fmla="*/ 0 h 257442"/>
                <a:gd name="connsiteX0" fmla="*/ 1348346 w 1348346"/>
                <a:gd name="connsiteY0" fmla="*/ 0 h 257442"/>
                <a:gd name="connsiteX1" fmla="*/ 1293625 w 1348346"/>
                <a:gd name="connsiteY1" fmla="*/ 257442 h 257442"/>
                <a:gd name="connsiteX2" fmla="*/ 0 w 1348346"/>
                <a:gd name="connsiteY2" fmla="*/ 257442 h 257442"/>
                <a:gd name="connsiteX3" fmla="*/ 54721 w 1348346"/>
                <a:gd name="connsiteY3" fmla="*/ 0 h 257442"/>
                <a:gd name="connsiteX0" fmla="*/ 1348346 w 1348346"/>
                <a:gd name="connsiteY0" fmla="*/ 0 h 257442"/>
                <a:gd name="connsiteX1" fmla="*/ 1293625 w 1348346"/>
                <a:gd name="connsiteY1" fmla="*/ 257442 h 257442"/>
                <a:gd name="connsiteX2" fmla="*/ 0 w 1348346"/>
                <a:gd name="connsiteY2" fmla="*/ 257442 h 257442"/>
                <a:gd name="connsiteX3" fmla="*/ 54721 w 1348346"/>
                <a:gd name="connsiteY3" fmla="*/ 0 h 257442"/>
                <a:gd name="connsiteX0" fmla="*/ 1188046 w 1293625"/>
                <a:gd name="connsiteY0" fmla="*/ 0 h 257442"/>
                <a:gd name="connsiteX1" fmla="*/ 1293625 w 1293625"/>
                <a:gd name="connsiteY1" fmla="*/ 257442 h 257442"/>
                <a:gd name="connsiteX2" fmla="*/ 0 w 1293625"/>
                <a:gd name="connsiteY2" fmla="*/ 257442 h 257442"/>
                <a:gd name="connsiteX3" fmla="*/ 54721 w 1293625"/>
                <a:gd name="connsiteY3" fmla="*/ 0 h 257442"/>
                <a:gd name="connsiteX0" fmla="*/ 1188046 w 1188046"/>
                <a:gd name="connsiteY0" fmla="*/ 0 h 257442"/>
                <a:gd name="connsiteX1" fmla="*/ 1133326 w 1188046"/>
                <a:gd name="connsiteY1" fmla="*/ 257442 h 257442"/>
                <a:gd name="connsiteX2" fmla="*/ 0 w 1188046"/>
                <a:gd name="connsiteY2" fmla="*/ 257442 h 257442"/>
                <a:gd name="connsiteX3" fmla="*/ 54721 w 1188046"/>
                <a:gd name="connsiteY3" fmla="*/ 0 h 257442"/>
                <a:gd name="connsiteX0" fmla="*/ 1188045 w 1188045"/>
                <a:gd name="connsiteY0" fmla="*/ 0 h 257442"/>
                <a:gd name="connsiteX1" fmla="*/ 1133325 w 1188045"/>
                <a:gd name="connsiteY1" fmla="*/ 257442 h 257442"/>
                <a:gd name="connsiteX2" fmla="*/ 0 w 1188045"/>
                <a:gd name="connsiteY2" fmla="*/ 257442 h 257442"/>
                <a:gd name="connsiteX3" fmla="*/ 54720 w 1188045"/>
                <a:gd name="connsiteY3" fmla="*/ 0 h 257442"/>
                <a:gd name="connsiteX0" fmla="*/ 1188045 w 1188045"/>
                <a:gd name="connsiteY0" fmla="*/ 0 h 257442"/>
                <a:gd name="connsiteX1" fmla="*/ 1133325 w 1188045"/>
                <a:gd name="connsiteY1" fmla="*/ 257442 h 257442"/>
                <a:gd name="connsiteX2" fmla="*/ 0 w 1188045"/>
                <a:gd name="connsiteY2" fmla="*/ 257442 h 257442"/>
                <a:gd name="connsiteX3" fmla="*/ 54721 w 1188045"/>
                <a:gd name="connsiteY3" fmla="*/ 0 h 257442"/>
                <a:gd name="connsiteX0" fmla="*/ 1500631 w 1500631"/>
                <a:gd name="connsiteY0" fmla="*/ 0 h 257442"/>
                <a:gd name="connsiteX1" fmla="*/ 1133325 w 1500631"/>
                <a:gd name="connsiteY1" fmla="*/ 257442 h 257442"/>
                <a:gd name="connsiteX2" fmla="*/ 0 w 1500631"/>
                <a:gd name="connsiteY2" fmla="*/ 257442 h 257442"/>
                <a:gd name="connsiteX3" fmla="*/ 54721 w 1500631"/>
                <a:gd name="connsiteY3" fmla="*/ 0 h 257442"/>
                <a:gd name="connsiteX0" fmla="*/ 1500631 w 1500631"/>
                <a:gd name="connsiteY0" fmla="*/ 0 h 257442"/>
                <a:gd name="connsiteX1" fmla="*/ 1445910 w 1500631"/>
                <a:gd name="connsiteY1" fmla="*/ 257442 h 257442"/>
                <a:gd name="connsiteX2" fmla="*/ 0 w 1500631"/>
                <a:gd name="connsiteY2" fmla="*/ 257442 h 257442"/>
                <a:gd name="connsiteX3" fmla="*/ 54721 w 1500631"/>
                <a:gd name="connsiteY3" fmla="*/ 0 h 257442"/>
                <a:gd name="connsiteX0" fmla="*/ 1500631 w 1500631"/>
                <a:gd name="connsiteY0" fmla="*/ 0 h 257442"/>
                <a:gd name="connsiteX1" fmla="*/ 1445910 w 1500631"/>
                <a:gd name="connsiteY1" fmla="*/ 257442 h 257442"/>
                <a:gd name="connsiteX2" fmla="*/ 0 w 1500631"/>
                <a:gd name="connsiteY2" fmla="*/ 257442 h 257442"/>
                <a:gd name="connsiteX3" fmla="*/ 54721 w 1500631"/>
                <a:gd name="connsiteY3" fmla="*/ 0 h 257442"/>
                <a:gd name="connsiteX0" fmla="*/ 1500631 w 1500631"/>
                <a:gd name="connsiteY0" fmla="*/ 0 h 257442"/>
                <a:gd name="connsiteX1" fmla="*/ 1445910 w 1500631"/>
                <a:gd name="connsiteY1" fmla="*/ 257442 h 257442"/>
                <a:gd name="connsiteX2" fmla="*/ 0 w 1500631"/>
                <a:gd name="connsiteY2" fmla="*/ 257442 h 257442"/>
                <a:gd name="connsiteX3" fmla="*/ 54721 w 1500631"/>
                <a:gd name="connsiteY3" fmla="*/ 0 h 257442"/>
                <a:gd name="connsiteX0" fmla="*/ 1660931 w 1660931"/>
                <a:gd name="connsiteY0" fmla="*/ 0 h 257442"/>
                <a:gd name="connsiteX1" fmla="*/ 1445910 w 1660931"/>
                <a:gd name="connsiteY1" fmla="*/ 257442 h 257442"/>
                <a:gd name="connsiteX2" fmla="*/ 0 w 1660931"/>
                <a:gd name="connsiteY2" fmla="*/ 257442 h 257442"/>
                <a:gd name="connsiteX3" fmla="*/ 54721 w 1660931"/>
                <a:gd name="connsiteY3" fmla="*/ 0 h 257442"/>
                <a:gd name="connsiteX0" fmla="*/ 1660931 w 1660931"/>
                <a:gd name="connsiteY0" fmla="*/ 0 h 257442"/>
                <a:gd name="connsiteX1" fmla="*/ 1606210 w 1660931"/>
                <a:gd name="connsiteY1" fmla="*/ 257442 h 257442"/>
                <a:gd name="connsiteX2" fmla="*/ 0 w 1660931"/>
                <a:gd name="connsiteY2" fmla="*/ 257442 h 257442"/>
                <a:gd name="connsiteX3" fmla="*/ 54721 w 1660931"/>
                <a:gd name="connsiteY3" fmla="*/ 0 h 257442"/>
                <a:gd name="connsiteX0" fmla="*/ 1660931 w 1660931"/>
                <a:gd name="connsiteY0" fmla="*/ 0 h 257442"/>
                <a:gd name="connsiteX1" fmla="*/ 1606210 w 1660931"/>
                <a:gd name="connsiteY1" fmla="*/ 257442 h 257442"/>
                <a:gd name="connsiteX2" fmla="*/ 0 w 1660931"/>
                <a:gd name="connsiteY2" fmla="*/ 257442 h 257442"/>
                <a:gd name="connsiteX3" fmla="*/ 54721 w 1660931"/>
                <a:gd name="connsiteY3" fmla="*/ 0 h 257442"/>
                <a:gd name="connsiteX0" fmla="*/ 1660931 w 1660931"/>
                <a:gd name="connsiteY0" fmla="*/ 0 h 257442"/>
                <a:gd name="connsiteX1" fmla="*/ 1606210 w 1660931"/>
                <a:gd name="connsiteY1" fmla="*/ 257442 h 257442"/>
                <a:gd name="connsiteX2" fmla="*/ 0 w 1660931"/>
                <a:gd name="connsiteY2" fmla="*/ 257442 h 257442"/>
                <a:gd name="connsiteX3" fmla="*/ 54721 w 1660931"/>
                <a:gd name="connsiteY3" fmla="*/ 0 h 257442"/>
                <a:gd name="connsiteX0" fmla="*/ 934771 w 1606210"/>
                <a:gd name="connsiteY0" fmla="*/ 0 h 257442"/>
                <a:gd name="connsiteX1" fmla="*/ 1606210 w 1606210"/>
                <a:gd name="connsiteY1" fmla="*/ 257442 h 257442"/>
                <a:gd name="connsiteX2" fmla="*/ 0 w 1606210"/>
                <a:gd name="connsiteY2" fmla="*/ 257442 h 257442"/>
                <a:gd name="connsiteX3" fmla="*/ 54721 w 1606210"/>
                <a:gd name="connsiteY3" fmla="*/ 0 h 257442"/>
                <a:gd name="connsiteX0" fmla="*/ 934771 w 934771"/>
                <a:gd name="connsiteY0" fmla="*/ 0 h 257442"/>
                <a:gd name="connsiteX1" fmla="*/ 880050 w 934771"/>
                <a:gd name="connsiteY1" fmla="*/ 257442 h 257442"/>
                <a:gd name="connsiteX2" fmla="*/ 0 w 934771"/>
                <a:gd name="connsiteY2" fmla="*/ 257442 h 257442"/>
                <a:gd name="connsiteX3" fmla="*/ 54721 w 934771"/>
                <a:gd name="connsiteY3" fmla="*/ 0 h 257442"/>
                <a:gd name="connsiteX0" fmla="*/ 934770 w 934770"/>
                <a:gd name="connsiteY0" fmla="*/ 0 h 257442"/>
                <a:gd name="connsiteX1" fmla="*/ 880049 w 934770"/>
                <a:gd name="connsiteY1" fmla="*/ 257442 h 257442"/>
                <a:gd name="connsiteX2" fmla="*/ 0 w 934770"/>
                <a:gd name="connsiteY2" fmla="*/ 257442 h 257442"/>
                <a:gd name="connsiteX3" fmla="*/ 54720 w 934770"/>
                <a:gd name="connsiteY3" fmla="*/ 0 h 257442"/>
                <a:gd name="connsiteX0" fmla="*/ 934770 w 934770"/>
                <a:gd name="connsiteY0" fmla="*/ 0 h 257442"/>
                <a:gd name="connsiteX1" fmla="*/ 880049 w 934770"/>
                <a:gd name="connsiteY1" fmla="*/ 257442 h 257442"/>
                <a:gd name="connsiteX2" fmla="*/ 0 w 934770"/>
                <a:gd name="connsiteY2" fmla="*/ 257442 h 257442"/>
                <a:gd name="connsiteX3" fmla="*/ 54720 w 934770"/>
                <a:gd name="connsiteY3" fmla="*/ 0 h 257442"/>
                <a:gd name="connsiteX0" fmla="*/ 1103085 w 1103085"/>
                <a:gd name="connsiteY0" fmla="*/ 0 h 257442"/>
                <a:gd name="connsiteX1" fmla="*/ 880049 w 1103085"/>
                <a:gd name="connsiteY1" fmla="*/ 257442 h 257442"/>
                <a:gd name="connsiteX2" fmla="*/ 0 w 1103085"/>
                <a:gd name="connsiteY2" fmla="*/ 257442 h 257442"/>
                <a:gd name="connsiteX3" fmla="*/ 54720 w 1103085"/>
                <a:gd name="connsiteY3" fmla="*/ 0 h 257442"/>
                <a:gd name="connsiteX0" fmla="*/ 1103085 w 1103085"/>
                <a:gd name="connsiteY0" fmla="*/ 0 h 257442"/>
                <a:gd name="connsiteX1" fmla="*/ 1048364 w 1103085"/>
                <a:gd name="connsiteY1" fmla="*/ 257442 h 257442"/>
                <a:gd name="connsiteX2" fmla="*/ 0 w 1103085"/>
                <a:gd name="connsiteY2" fmla="*/ 257442 h 257442"/>
                <a:gd name="connsiteX3" fmla="*/ 54720 w 1103085"/>
                <a:gd name="connsiteY3" fmla="*/ 0 h 257442"/>
                <a:gd name="connsiteX0" fmla="*/ 1103086 w 1103086"/>
                <a:gd name="connsiteY0" fmla="*/ 0 h 257442"/>
                <a:gd name="connsiteX1" fmla="*/ 1048365 w 1103086"/>
                <a:gd name="connsiteY1" fmla="*/ 257442 h 257442"/>
                <a:gd name="connsiteX2" fmla="*/ 0 w 1103086"/>
                <a:gd name="connsiteY2" fmla="*/ 257442 h 257442"/>
                <a:gd name="connsiteX3" fmla="*/ 54721 w 1103086"/>
                <a:gd name="connsiteY3" fmla="*/ 0 h 257442"/>
                <a:gd name="connsiteX0" fmla="*/ 1103086 w 1103086"/>
                <a:gd name="connsiteY0" fmla="*/ 0 h 257442"/>
                <a:gd name="connsiteX1" fmla="*/ 1048365 w 1103086"/>
                <a:gd name="connsiteY1" fmla="*/ 257442 h 257442"/>
                <a:gd name="connsiteX2" fmla="*/ 0 w 1103086"/>
                <a:gd name="connsiteY2" fmla="*/ 257442 h 257442"/>
                <a:gd name="connsiteX3" fmla="*/ 54721 w 1103086"/>
                <a:gd name="connsiteY3" fmla="*/ 0 h 257442"/>
                <a:gd name="connsiteX0" fmla="*/ 1271402 w 1271402"/>
                <a:gd name="connsiteY0" fmla="*/ 0 h 257442"/>
                <a:gd name="connsiteX1" fmla="*/ 1048365 w 1271402"/>
                <a:gd name="connsiteY1" fmla="*/ 257442 h 257442"/>
                <a:gd name="connsiteX2" fmla="*/ 0 w 1271402"/>
                <a:gd name="connsiteY2" fmla="*/ 257442 h 257442"/>
                <a:gd name="connsiteX3" fmla="*/ 54721 w 1271402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54721 w 1271402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54721 w 1271402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54721 w 1271402"/>
                <a:gd name="connsiteY3" fmla="*/ 0 h 257442"/>
                <a:gd name="connsiteX0" fmla="*/ 1439717 w 1439717"/>
                <a:gd name="connsiteY0" fmla="*/ 0 h 257442"/>
                <a:gd name="connsiteX1" fmla="*/ 1216681 w 1439717"/>
                <a:gd name="connsiteY1" fmla="*/ 257442 h 257442"/>
                <a:gd name="connsiteX2" fmla="*/ 0 w 1439717"/>
                <a:gd name="connsiteY2" fmla="*/ 257442 h 257442"/>
                <a:gd name="connsiteX3" fmla="*/ 54721 w 1439717"/>
                <a:gd name="connsiteY3" fmla="*/ 0 h 257442"/>
                <a:gd name="connsiteX0" fmla="*/ 1439717 w 1439717"/>
                <a:gd name="connsiteY0" fmla="*/ 0 h 257442"/>
                <a:gd name="connsiteX1" fmla="*/ 1384996 w 1439717"/>
                <a:gd name="connsiteY1" fmla="*/ 257442 h 257442"/>
                <a:gd name="connsiteX2" fmla="*/ 0 w 1439717"/>
                <a:gd name="connsiteY2" fmla="*/ 257442 h 257442"/>
                <a:gd name="connsiteX3" fmla="*/ 54721 w 1439717"/>
                <a:gd name="connsiteY3" fmla="*/ 0 h 257442"/>
                <a:gd name="connsiteX0" fmla="*/ 1439717 w 1439717"/>
                <a:gd name="connsiteY0" fmla="*/ 0 h 257442"/>
                <a:gd name="connsiteX1" fmla="*/ 1384996 w 1439717"/>
                <a:gd name="connsiteY1" fmla="*/ 257442 h 257442"/>
                <a:gd name="connsiteX2" fmla="*/ 0 w 1439717"/>
                <a:gd name="connsiteY2" fmla="*/ 257442 h 257442"/>
                <a:gd name="connsiteX3" fmla="*/ 54721 w 1439717"/>
                <a:gd name="connsiteY3" fmla="*/ 0 h 257442"/>
                <a:gd name="connsiteX0" fmla="*/ 1439717 w 1439717"/>
                <a:gd name="connsiteY0" fmla="*/ 0 h 257442"/>
                <a:gd name="connsiteX1" fmla="*/ 1384996 w 1439717"/>
                <a:gd name="connsiteY1" fmla="*/ 257442 h 257442"/>
                <a:gd name="connsiteX2" fmla="*/ 0 w 1439717"/>
                <a:gd name="connsiteY2" fmla="*/ 257442 h 257442"/>
                <a:gd name="connsiteX3" fmla="*/ 54721 w 1439717"/>
                <a:gd name="connsiteY3" fmla="*/ 0 h 257442"/>
                <a:gd name="connsiteX0" fmla="*/ 1692991 w 1692991"/>
                <a:gd name="connsiteY0" fmla="*/ 0 h 257442"/>
                <a:gd name="connsiteX1" fmla="*/ 1384996 w 1692991"/>
                <a:gd name="connsiteY1" fmla="*/ 257442 h 257442"/>
                <a:gd name="connsiteX2" fmla="*/ 0 w 1692991"/>
                <a:gd name="connsiteY2" fmla="*/ 257442 h 257442"/>
                <a:gd name="connsiteX3" fmla="*/ 54721 w 1692991"/>
                <a:gd name="connsiteY3" fmla="*/ 0 h 257442"/>
                <a:gd name="connsiteX0" fmla="*/ 1692991 w 1692991"/>
                <a:gd name="connsiteY0" fmla="*/ 0 h 257442"/>
                <a:gd name="connsiteX1" fmla="*/ 1638270 w 1692991"/>
                <a:gd name="connsiteY1" fmla="*/ 257442 h 257442"/>
                <a:gd name="connsiteX2" fmla="*/ 0 w 1692991"/>
                <a:gd name="connsiteY2" fmla="*/ 257442 h 257442"/>
                <a:gd name="connsiteX3" fmla="*/ 54721 w 1692991"/>
                <a:gd name="connsiteY3" fmla="*/ 0 h 257442"/>
                <a:gd name="connsiteX0" fmla="*/ 1692991 w 1692991"/>
                <a:gd name="connsiteY0" fmla="*/ 0 h 257442"/>
                <a:gd name="connsiteX1" fmla="*/ 1638270 w 1692991"/>
                <a:gd name="connsiteY1" fmla="*/ 257442 h 257442"/>
                <a:gd name="connsiteX2" fmla="*/ 0 w 1692991"/>
                <a:gd name="connsiteY2" fmla="*/ 257442 h 257442"/>
                <a:gd name="connsiteX3" fmla="*/ 54721 w 1692991"/>
                <a:gd name="connsiteY3" fmla="*/ 0 h 257442"/>
                <a:gd name="connsiteX0" fmla="*/ 1692991 w 1692991"/>
                <a:gd name="connsiteY0" fmla="*/ 0 h 257442"/>
                <a:gd name="connsiteX1" fmla="*/ 1638270 w 1692991"/>
                <a:gd name="connsiteY1" fmla="*/ 257442 h 257442"/>
                <a:gd name="connsiteX2" fmla="*/ 0 w 1692991"/>
                <a:gd name="connsiteY2" fmla="*/ 257442 h 257442"/>
                <a:gd name="connsiteX3" fmla="*/ 54721 w 1692991"/>
                <a:gd name="connsiteY3" fmla="*/ 0 h 257442"/>
                <a:gd name="connsiteX0" fmla="*/ 1870925 w 1870925"/>
                <a:gd name="connsiteY0" fmla="*/ 0 h 257442"/>
                <a:gd name="connsiteX1" fmla="*/ 1638270 w 1870925"/>
                <a:gd name="connsiteY1" fmla="*/ 257442 h 257442"/>
                <a:gd name="connsiteX2" fmla="*/ 0 w 1870925"/>
                <a:gd name="connsiteY2" fmla="*/ 257442 h 257442"/>
                <a:gd name="connsiteX3" fmla="*/ 54721 w 1870925"/>
                <a:gd name="connsiteY3" fmla="*/ 0 h 257442"/>
                <a:gd name="connsiteX0" fmla="*/ 1870925 w 1870925"/>
                <a:gd name="connsiteY0" fmla="*/ 0 h 257442"/>
                <a:gd name="connsiteX1" fmla="*/ 1816204 w 1870925"/>
                <a:gd name="connsiteY1" fmla="*/ 257442 h 257442"/>
                <a:gd name="connsiteX2" fmla="*/ 0 w 1870925"/>
                <a:gd name="connsiteY2" fmla="*/ 257442 h 257442"/>
                <a:gd name="connsiteX3" fmla="*/ 54721 w 1870925"/>
                <a:gd name="connsiteY3" fmla="*/ 0 h 257442"/>
                <a:gd name="connsiteX0" fmla="*/ 1870925 w 1870925"/>
                <a:gd name="connsiteY0" fmla="*/ 0 h 257442"/>
                <a:gd name="connsiteX1" fmla="*/ 1816204 w 1870925"/>
                <a:gd name="connsiteY1" fmla="*/ 257442 h 257442"/>
                <a:gd name="connsiteX2" fmla="*/ 0 w 1870925"/>
                <a:gd name="connsiteY2" fmla="*/ 257442 h 257442"/>
                <a:gd name="connsiteX3" fmla="*/ 54721 w 1870925"/>
                <a:gd name="connsiteY3" fmla="*/ 0 h 257442"/>
                <a:gd name="connsiteX0" fmla="*/ 1870925 w 1870925"/>
                <a:gd name="connsiteY0" fmla="*/ 0 h 257442"/>
                <a:gd name="connsiteX1" fmla="*/ 1816204 w 1870925"/>
                <a:gd name="connsiteY1" fmla="*/ 257442 h 257442"/>
                <a:gd name="connsiteX2" fmla="*/ 0 w 1870925"/>
                <a:gd name="connsiteY2" fmla="*/ 257442 h 257442"/>
                <a:gd name="connsiteX3" fmla="*/ 54721 w 1870925"/>
                <a:gd name="connsiteY3" fmla="*/ 0 h 257442"/>
                <a:gd name="connsiteX0" fmla="*/ 2039240 w 2039240"/>
                <a:gd name="connsiteY0" fmla="*/ 0 h 257442"/>
                <a:gd name="connsiteX1" fmla="*/ 1816204 w 2039240"/>
                <a:gd name="connsiteY1" fmla="*/ 257442 h 257442"/>
                <a:gd name="connsiteX2" fmla="*/ 0 w 2039240"/>
                <a:gd name="connsiteY2" fmla="*/ 257442 h 257442"/>
                <a:gd name="connsiteX3" fmla="*/ 54721 w 2039240"/>
                <a:gd name="connsiteY3" fmla="*/ 0 h 257442"/>
                <a:gd name="connsiteX0" fmla="*/ 2039240 w 2039240"/>
                <a:gd name="connsiteY0" fmla="*/ 0 h 257442"/>
                <a:gd name="connsiteX1" fmla="*/ 1984518 w 2039240"/>
                <a:gd name="connsiteY1" fmla="*/ 257442 h 257442"/>
                <a:gd name="connsiteX2" fmla="*/ 0 w 2039240"/>
                <a:gd name="connsiteY2" fmla="*/ 257442 h 257442"/>
                <a:gd name="connsiteX3" fmla="*/ 54721 w 2039240"/>
                <a:gd name="connsiteY3" fmla="*/ 0 h 257442"/>
                <a:gd name="connsiteX0" fmla="*/ 2039241 w 2039241"/>
                <a:gd name="connsiteY0" fmla="*/ 0 h 257442"/>
                <a:gd name="connsiteX1" fmla="*/ 1984519 w 2039241"/>
                <a:gd name="connsiteY1" fmla="*/ 257442 h 257442"/>
                <a:gd name="connsiteX2" fmla="*/ 0 w 2039241"/>
                <a:gd name="connsiteY2" fmla="*/ 257442 h 257442"/>
                <a:gd name="connsiteX3" fmla="*/ 54722 w 2039241"/>
                <a:gd name="connsiteY3" fmla="*/ 0 h 257442"/>
                <a:gd name="connsiteX0" fmla="*/ 2039241 w 2039241"/>
                <a:gd name="connsiteY0" fmla="*/ 0 h 257442"/>
                <a:gd name="connsiteX1" fmla="*/ 1984519 w 2039241"/>
                <a:gd name="connsiteY1" fmla="*/ 257442 h 257442"/>
                <a:gd name="connsiteX2" fmla="*/ 0 w 2039241"/>
                <a:gd name="connsiteY2" fmla="*/ 257442 h 257442"/>
                <a:gd name="connsiteX3" fmla="*/ 54722 w 2039241"/>
                <a:gd name="connsiteY3" fmla="*/ 0 h 257442"/>
                <a:gd name="connsiteX0" fmla="*/ 2300531 w 2300531"/>
                <a:gd name="connsiteY0" fmla="*/ 0 h 257442"/>
                <a:gd name="connsiteX1" fmla="*/ 1984519 w 2300531"/>
                <a:gd name="connsiteY1" fmla="*/ 257442 h 257442"/>
                <a:gd name="connsiteX2" fmla="*/ 0 w 2300531"/>
                <a:gd name="connsiteY2" fmla="*/ 257442 h 257442"/>
                <a:gd name="connsiteX3" fmla="*/ 54722 w 2300531"/>
                <a:gd name="connsiteY3" fmla="*/ 0 h 257442"/>
                <a:gd name="connsiteX0" fmla="*/ 2300531 w 2300531"/>
                <a:gd name="connsiteY0" fmla="*/ 0 h 257442"/>
                <a:gd name="connsiteX1" fmla="*/ 2245810 w 2300531"/>
                <a:gd name="connsiteY1" fmla="*/ 257442 h 257442"/>
                <a:gd name="connsiteX2" fmla="*/ 0 w 2300531"/>
                <a:gd name="connsiteY2" fmla="*/ 257442 h 257442"/>
                <a:gd name="connsiteX3" fmla="*/ 54722 w 2300531"/>
                <a:gd name="connsiteY3" fmla="*/ 0 h 257442"/>
                <a:gd name="connsiteX0" fmla="*/ 2300530 w 2300530"/>
                <a:gd name="connsiteY0" fmla="*/ 0 h 257442"/>
                <a:gd name="connsiteX1" fmla="*/ 2245809 w 2300530"/>
                <a:gd name="connsiteY1" fmla="*/ 257442 h 257442"/>
                <a:gd name="connsiteX2" fmla="*/ 0 w 2300530"/>
                <a:gd name="connsiteY2" fmla="*/ 257442 h 257442"/>
                <a:gd name="connsiteX3" fmla="*/ 54721 w 2300530"/>
                <a:gd name="connsiteY3" fmla="*/ 0 h 257442"/>
                <a:gd name="connsiteX0" fmla="*/ 2300530 w 2300530"/>
                <a:gd name="connsiteY0" fmla="*/ 0 h 257442"/>
                <a:gd name="connsiteX1" fmla="*/ 2245809 w 2300530"/>
                <a:gd name="connsiteY1" fmla="*/ 257442 h 257442"/>
                <a:gd name="connsiteX2" fmla="*/ 0 w 2300530"/>
                <a:gd name="connsiteY2" fmla="*/ 257442 h 257442"/>
                <a:gd name="connsiteX3" fmla="*/ 54720 w 2300530"/>
                <a:gd name="connsiteY3" fmla="*/ 0 h 257442"/>
                <a:gd name="connsiteX0" fmla="*/ 2460829 w 2460829"/>
                <a:gd name="connsiteY0" fmla="*/ 0 h 257442"/>
                <a:gd name="connsiteX1" fmla="*/ 2245809 w 2460829"/>
                <a:gd name="connsiteY1" fmla="*/ 257442 h 257442"/>
                <a:gd name="connsiteX2" fmla="*/ 0 w 2460829"/>
                <a:gd name="connsiteY2" fmla="*/ 257442 h 257442"/>
                <a:gd name="connsiteX3" fmla="*/ 54720 w 2460829"/>
                <a:gd name="connsiteY3" fmla="*/ 0 h 257442"/>
                <a:gd name="connsiteX0" fmla="*/ 2460829 w 2460829"/>
                <a:gd name="connsiteY0" fmla="*/ 0 h 257442"/>
                <a:gd name="connsiteX1" fmla="*/ 2406108 w 2460829"/>
                <a:gd name="connsiteY1" fmla="*/ 257442 h 257442"/>
                <a:gd name="connsiteX2" fmla="*/ 0 w 2460829"/>
                <a:gd name="connsiteY2" fmla="*/ 257442 h 257442"/>
                <a:gd name="connsiteX3" fmla="*/ 54720 w 2460829"/>
                <a:gd name="connsiteY3" fmla="*/ 0 h 257442"/>
                <a:gd name="connsiteX0" fmla="*/ 2460830 w 2460830"/>
                <a:gd name="connsiteY0" fmla="*/ 0 h 257442"/>
                <a:gd name="connsiteX1" fmla="*/ 2406109 w 2460830"/>
                <a:gd name="connsiteY1" fmla="*/ 257442 h 257442"/>
                <a:gd name="connsiteX2" fmla="*/ 0 w 2460830"/>
                <a:gd name="connsiteY2" fmla="*/ 257442 h 257442"/>
                <a:gd name="connsiteX3" fmla="*/ 54721 w 2460830"/>
                <a:gd name="connsiteY3" fmla="*/ 0 h 257442"/>
                <a:gd name="connsiteX0" fmla="*/ 2460830 w 2460830"/>
                <a:gd name="connsiteY0" fmla="*/ 0 h 257442"/>
                <a:gd name="connsiteX1" fmla="*/ 2406109 w 2460830"/>
                <a:gd name="connsiteY1" fmla="*/ 257442 h 257442"/>
                <a:gd name="connsiteX2" fmla="*/ 0 w 2460830"/>
                <a:gd name="connsiteY2" fmla="*/ 257442 h 257442"/>
                <a:gd name="connsiteX3" fmla="*/ 54721 w 2460830"/>
                <a:gd name="connsiteY3" fmla="*/ 0 h 257442"/>
                <a:gd name="connsiteX0" fmla="*/ 2714104 w 2714104"/>
                <a:gd name="connsiteY0" fmla="*/ 0 h 257442"/>
                <a:gd name="connsiteX1" fmla="*/ 2406109 w 2714104"/>
                <a:gd name="connsiteY1" fmla="*/ 257442 h 257442"/>
                <a:gd name="connsiteX2" fmla="*/ 0 w 2714104"/>
                <a:gd name="connsiteY2" fmla="*/ 257442 h 257442"/>
                <a:gd name="connsiteX3" fmla="*/ 54721 w 2714104"/>
                <a:gd name="connsiteY3" fmla="*/ 0 h 257442"/>
                <a:gd name="connsiteX0" fmla="*/ 2714104 w 2714104"/>
                <a:gd name="connsiteY0" fmla="*/ 0 h 257442"/>
                <a:gd name="connsiteX1" fmla="*/ 2659383 w 2714104"/>
                <a:gd name="connsiteY1" fmla="*/ 257442 h 257442"/>
                <a:gd name="connsiteX2" fmla="*/ 0 w 2714104"/>
                <a:gd name="connsiteY2" fmla="*/ 257442 h 257442"/>
                <a:gd name="connsiteX3" fmla="*/ 54721 w 2714104"/>
                <a:gd name="connsiteY3" fmla="*/ 0 h 257442"/>
                <a:gd name="connsiteX0" fmla="*/ 2714104 w 2714104"/>
                <a:gd name="connsiteY0" fmla="*/ 0 h 257442"/>
                <a:gd name="connsiteX1" fmla="*/ 2659383 w 2714104"/>
                <a:gd name="connsiteY1" fmla="*/ 257442 h 257442"/>
                <a:gd name="connsiteX2" fmla="*/ 0 w 2714104"/>
                <a:gd name="connsiteY2" fmla="*/ 257442 h 257442"/>
                <a:gd name="connsiteX3" fmla="*/ 54721 w 2714104"/>
                <a:gd name="connsiteY3" fmla="*/ 0 h 257442"/>
                <a:gd name="connsiteX0" fmla="*/ 2714104 w 2714104"/>
                <a:gd name="connsiteY0" fmla="*/ 0 h 257442"/>
                <a:gd name="connsiteX1" fmla="*/ 2659383 w 2714104"/>
                <a:gd name="connsiteY1" fmla="*/ 257442 h 257442"/>
                <a:gd name="connsiteX2" fmla="*/ 0 w 2714104"/>
                <a:gd name="connsiteY2" fmla="*/ 257442 h 257442"/>
                <a:gd name="connsiteX3" fmla="*/ 54721 w 2714104"/>
                <a:gd name="connsiteY3" fmla="*/ 0 h 257442"/>
                <a:gd name="connsiteX0" fmla="*/ 782550 w 2659383"/>
                <a:gd name="connsiteY0" fmla="*/ 0 h 257442"/>
                <a:gd name="connsiteX1" fmla="*/ 2659383 w 2659383"/>
                <a:gd name="connsiteY1" fmla="*/ 257442 h 257442"/>
                <a:gd name="connsiteX2" fmla="*/ 0 w 2659383"/>
                <a:gd name="connsiteY2" fmla="*/ 257442 h 257442"/>
                <a:gd name="connsiteX3" fmla="*/ 54721 w 2659383"/>
                <a:gd name="connsiteY3" fmla="*/ 0 h 257442"/>
                <a:gd name="connsiteX0" fmla="*/ 782550 w 782550"/>
                <a:gd name="connsiteY0" fmla="*/ 0 h 257442"/>
                <a:gd name="connsiteX1" fmla="*/ 727830 w 782550"/>
                <a:gd name="connsiteY1" fmla="*/ 257442 h 257442"/>
                <a:gd name="connsiteX2" fmla="*/ 0 w 782550"/>
                <a:gd name="connsiteY2" fmla="*/ 257442 h 257442"/>
                <a:gd name="connsiteX3" fmla="*/ 54721 w 782550"/>
                <a:gd name="connsiteY3" fmla="*/ 0 h 257442"/>
                <a:gd name="connsiteX0" fmla="*/ 782549 w 782549"/>
                <a:gd name="connsiteY0" fmla="*/ 0 h 257442"/>
                <a:gd name="connsiteX1" fmla="*/ 727829 w 782549"/>
                <a:gd name="connsiteY1" fmla="*/ 257442 h 257442"/>
                <a:gd name="connsiteX2" fmla="*/ 0 w 782549"/>
                <a:gd name="connsiteY2" fmla="*/ 257442 h 257442"/>
                <a:gd name="connsiteX3" fmla="*/ 54720 w 782549"/>
                <a:gd name="connsiteY3" fmla="*/ 0 h 257442"/>
                <a:gd name="connsiteX0" fmla="*/ 782549 w 782549"/>
                <a:gd name="connsiteY0" fmla="*/ 0 h 257442"/>
                <a:gd name="connsiteX1" fmla="*/ 727829 w 782549"/>
                <a:gd name="connsiteY1" fmla="*/ 257442 h 257442"/>
                <a:gd name="connsiteX2" fmla="*/ 0 w 782549"/>
                <a:gd name="connsiteY2" fmla="*/ 257442 h 257442"/>
                <a:gd name="connsiteX3" fmla="*/ 54721 w 782549"/>
                <a:gd name="connsiteY3" fmla="*/ 0 h 257442"/>
                <a:gd name="connsiteX0" fmla="*/ 1103086 w 1103086"/>
                <a:gd name="connsiteY0" fmla="*/ 0 h 257442"/>
                <a:gd name="connsiteX1" fmla="*/ 727829 w 1103086"/>
                <a:gd name="connsiteY1" fmla="*/ 257442 h 257442"/>
                <a:gd name="connsiteX2" fmla="*/ 0 w 1103086"/>
                <a:gd name="connsiteY2" fmla="*/ 257442 h 257442"/>
                <a:gd name="connsiteX3" fmla="*/ 54721 w 1103086"/>
                <a:gd name="connsiteY3" fmla="*/ 0 h 257442"/>
                <a:gd name="connsiteX0" fmla="*/ 1103086 w 1103086"/>
                <a:gd name="connsiteY0" fmla="*/ 0 h 257442"/>
                <a:gd name="connsiteX1" fmla="*/ 1048364 w 1103086"/>
                <a:gd name="connsiteY1" fmla="*/ 257442 h 257442"/>
                <a:gd name="connsiteX2" fmla="*/ 0 w 1103086"/>
                <a:gd name="connsiteY2" fmla="*/ 257442 h 257442"/>
                <a:gd name="connsiteX3" fmla="*/ 54721 w 1103086"/>
                <a:gd name="connsiteY3" fmla="*/ 0 h 257442"/>
                <a:gd name="connsiteX0" fmla="*/ 1103087 w 1103087"/>
                <a:gd name="connsiteY0" fmla="*/ 0 h 257442"/>
                <a:gd name="connsiteX1" fmla="*/ 1048365 w 1103087"/>
                <a:gd name="connsiteY1" fmla="*/ 257442 h 257442"/>
                <a:gd name="connsiteX2" fmla="*/ 0 w 1103087"/>
                <a:gd name="connsiteY2" fmla="*/ 257442 h 257442"/>
                <a:gd name="connsiteX3" fmla="*/ 54722 w 1103087"/>
                <a:gd name="connsiteY3" fmla="*/ 0 h 257442"/>
                <a:gd name="connsiteX0" fmla="*/ 1103087 w 1103087"/>
                <a:gd name="connsiteY0" fmla="*/ 0 h 257442"/>
                <a:gd name="connsiteX1" fmla="*/ 1048365 w 1103087"/>
                <a:gd name="connsiteY1" fmla="*/ 257442 h 257442"/>
                <a:gd name="connsiteX2" fmla="*/ 0 w 1103087"/>
                <a:gd name="connsiteY2" fmla="*/ 257442 h 257442"/>
                <a:gd name="connsiteX3" fmla="*/ 54722 w 1103087"/>
                <a:gd name="connsiteY3" fmla="*/ 0 h 257442"/>
                <a:gd name="connsiteX0" fmla="*/ 1271403 w 1271403"/>
                <a:gd name="connsiteY0" fmla="*/ 0 h 257442"/>
                <a:gd name="connsiteX1" fmla="*/ 1048365 w 1271403"/>
                <a:gd name="connsiteY1" fmla="*/ 257442 h 257442"/>
                <a:gd name="connsiteX2" fmla="*/ 0 w 1271403"/>
                <a:gd name="connsiteY2" fmla="*/ 257442 h 257442"/>
                <a:gd name="connsiteX3" fmla="*/ 54722 w 1271403"/>
                <a:gd name="connsiteY3" fmla="*/ 0 h 257442"/>
                <a:gd name="connsiteX0" fmla="*/ 1271403 w 1271403"/>
                <a:gd name="connsiteY0" fmla="*/ 0 h 257442"/>
                <a:gd name="connsiteX1" fmla="*/ 1216682 w 1271403"/>
                <a:gd name="connsiteY1" fmla="*/ 257442 h 257442"/>
                <a:gd name="connsiteX2" fmla="*/ 0 w 1271403"/>
                <a:gd name="connsiteY2" fmla="*/ 257442 h 257442"/>
                <a:gd name="connsiteX3" fmla="*/ 54722 w 1271403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54721 w 1271402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54720 w 1271402"/>
                <a:gd name="connsiteY3" fmla="*/ 0 h 257442"/>
                <a:gd name="connsiteX0" fmla="*/ 1550323 w 1550323"/>
                <a:gd name="connsiteY0" fmla="*/ 0 h 257442"/>
                <a:gd name="connsiteX1" fmla="*/ 1216681 w 1550323"/>
                <a:gd name="connsiteY1" fmla="*/ 257442 h 257442"/>
                <a:gd name="connsiteX2" fmla="*/ 0 w 1550323"/>
                <a:gd name="connsiteY2" fmla="*/ 257442 h 257442"/>
                <a:gd name="connsiteX3" fmla="*/ 54720 w 1550323"/>
                <a:gd name="connsiteY3" fmla="*/ 0 h 257442"/>
                <a:gd name="connsiteX0" fmla="*/ 1550323 w 1550323"/>
                <a:gd name="connsiteY0" fmla="*/ 0 h 257442"/>
                <a:gd name="connsiteX1" fmla="*/ 1495602 w 1550323"/>
                <a:gd name="connsiteY1" fmla="*/ 257442 h 257442"/>
                <a:gd name="connsiteX2" fmla="*/ 0 w 1550323"/>
                <a:gd name="connsiteY2" fmla="*/ 257442 h 257442"/>
                <a:gd name="connsiteX3" fmla="*/ 54720 w 1550323"/>
                <a:gd name="connsiteY3" fmla="*/ 0 h 257442"/>
                <a:gd name="connsiteX0" fmla="*/ 1550324 w 1550324"/>
                <a:gd name="connsiteY0" fmla="*/ 0 h 257442"/>
                <a:gd name="connsiteX1" fmla="*/ 1495603 w 1550324"/>
                <a:gd name="connsiteY1" fmla="*/ 257442 h 257442"/>
                <a:gd name="connsiteX2" fmla="*/ 0 w 1550324"/>
                <a:gd name="connsiteY2" fmla="*/ 257442 h 257442"/>
                <a:gd name="connsiteX3" fmla="*/ 54721 w 1550324"/>
                <a:gd name="connsiteY3" fmla="*/ 0 h 257442"/>
                <a:gd name="connsiteX0" fmla="*/ 1550324 w 1550324"/>
                <a:gd name="connsiteY0" fmla="*/ 0 h 257442"/>
                <a:gd name="connsiteX1" fmla="*/ 1495603 w 1550324"/>
                <a:gd name="connsiteY1" fmla="*/ 257442 h 257442"/>
                <a:gd name="connsiteX2" fmla="*/ 0 w 1550324"/>
                <a:gd name="connsiteY2" fmla="*/ 257442 h 257442"/>
                <a:gd name="connsiteX3" fmla="*/ 54721 w 1550324"/>
                <a:gd name="connsiteY3" fmla="*/ 0 h 257442"/>
                <a:gd name="connsiteX0" fmla="*/ 1718639 w 1718639"/>
                <a:gd name="connsiteY0" fmla="*/ 0 h 257442"/>
                <a:gd name="connsiteX1" fmla="*/ 1495603 w 1718639"/>
                <a:gd name="connsiteY1" fmla="*/ 257442 h 257442"/>
                <a:gd name="connsiteX2" fmla="*/ 0 w 1718639"/>
                <a:gd name="connsiteY2" fmla="*/ 257442 h 257442"/>
                <a:gd name="connsiteX3" fmla="*/ 54721 w 1718639"/>
                <a:gd name="connsiteY3" fmla="*/ 0 h 257442"/>
                <a:gd name="connsiteX0" fmla="*/ 1718639 w 1718639"/>
                <a:gd name="connsiteY0" fmla="*/ 0 h 257442"/>
                <a:gd name="connsiteX1" fmla="*/ 1663918 w 1718639"/>
                <a:gd name="connsiteY1" fmla="*/ 257442 h 257442"/>
                <a:gd name="connsiteX2" fmla="*/ 0 w 1718639"/>
                <a:gd name="connsiteY2" fmla="*/ 257442 h 257442"/>
                <a:gd name="connsiteX3" fmla="*/ 54721 w 1718639"/>
                <a:gd name="connsiteY3" fmla="*/ 0 h 257442"/>
                <a:gd name="connsiteX0" fmla="*/ 1718639 w 1718639"/>
                <a:gd name="connsiteY0" fmla="*/ 0 h 257442"/>
                <a:gd name="connsiteX1" fmla="*/ 1663918 w 1718639"/>
                <a:gd name="connsiteY1" fmla="*/ 257442 h 257442"/>
                <a:gd name="connsiteX2" fmla="*/ 0 w 1718639"/>
                <a:gd name="connsiteY2" fmla="*/ 257442 h 257442"/>
                <a:gd name="connsiteX3" fmla="*/ 54721 w 1718639"/>
                <a:gd name="connsiteY3" fmla="*/ 0 h 257442"/>
                <a:gd name="connsiteX0" fmla="*/ 1718639 w 1718639"/>
                <a:gd name="connsiteY0" fmla="*/ 0 h 257442"/>
                <a:gd name="connsiteX1" fmla="*/ 1663918 w 1718639"/>
                <a:gd name="connsiteY1" fmla="*/ 257442 h 257442"/>
                <a:gd name="connsiteX2" fmla="*/ 0 w 1718639"/>
                <a:gd name="connsiteY2" fmla="*/ 257442 h 257442"/>
                <a:gd name="connsiteX3" fmla="*/ 54721 w 1718639"/>
                <a:gd name="connsiteY3" fmla="*/ 0 h 257442"/>
                <a:gd name="connsiteX0" fmla="*/ 1971914 w 1971914"/>
                <a:gd name="connsiteY0" fmla="*/ 0 h 257442"/>
                <a:gd name="connsiteX1" fmla="*/ 1663918 w 1971914"/>
                <a:gd name="connsiteY1" fmla="*/ 257442 h 257442"/>
                <a:gd name="connsiteX2" fmla="*/ 0 w 1971914"/>
                <a:gd name="connsiteY2" fmla="*/ 257442 h 257442"/>
                <a:gd name="connsiteX3" fmla="*/ 54721 w 1971914"/>
                <a:gd name="connsiteY3" fmla="*/ 0 h 257442"/>
                <a:gd name="connsiteX0" fmla="*/ 1971914 w 1971914"/>
                <a:gd name="connsiteY0" fmla="*/ 0 h 257442"/>
                <a:gd name="connsiteX1" fmla="*/ 1917192 w 1971914"/>
                <a:gd name="connsiteY1" fmla="*/ 257442 h 257442"/>
                <a:gd name="connsiteX2" fmla="*/ 0 w 1971914"/>
                <a:gd name="connsiteY2" fmla="*/ 257442 h 257442"/>
                <a:gd name="connsiteX3" fmla="*/ 54721 w 1971914"/>
                <a:gd name="connsiteY3" fmla="*/ 0 h 257442"/>
                <a:gd name="connsiteX0" fmla="*/ 1971915 w 1971915"/>
                <a:gd name="connsiteY0" fmla="*/ 0 h 257442"/>
                <a:gd name="connsiteX1" fmla="*/ 1917193 w 1971915"/>
                <a:gd name="connsiteY1" fmla="*/ 257442 h 257442"/>
                <a:gd name="connsiteX2" fmla="*/ 0 w 1971915"/>
                <a:gd name="connsiteY2" fmla="*/ 257442 h 257442"/>
                <a:gd name="connsiteX3" fmla="*/ 54722 w 1971915"/>
                <a:gd name="connsiteY3" fmla="*/ 0 h 257442"/>
                <a:gd name="connsiteX0" fmla="*/ 1971915 w 1971915"/>
                <a:gd name="connsiteY0" fmla="*/ 0 h 257442"/>
                <a:gd name="connsiteX1" fmla="*/ 1917193 w 1971915"/>
                <a:gd name="connsiteY1" fmla="*/ 257442 h 257442"/>
                <a:gd name="connsiteX2" fmla="*/ 0 w 1971915"/>
                <a:gd name="connsiteY2" fmla="*/ 257442 h 257442"/>
                <a:gd name="connsiteX3" fmla="*/ 54722 w 1971915"/>
                <a:gd name="connsiteY3" fmla="*/ 0 h 257442"/>
                <a:gd name="connsiteX0" fmla="*/ 2132215 w 2132215"/>
                <a:gd name="connsiteY0" fmla="*/ 0 h 257442"/>
                <a:gd name="connsiteX1" fmla="*/ 1917193 w 2132215"/>
                <a:gd name="connsiteY1" fmla="*/ 257442 h 257442"/>
                <a:gd name="connsiteX2" fmla="*/ 0 w 2132215"/>
                <a:gd name="connsiteY2" fmla="*/ 257442 h 257442"/>
                <a:gd name="connsiteX3" fmla="*/ 54722 w 2132215"/>
                <a:gd name="connsiteY3" fmla="*/ 0 h 257442"/>
                <a:gd name="connsiteX0" fmla="*/ 2132215 w 2132215"/>
                <a:gd name="connsiteY0" fmla="*/ 0 h 257442"/>
                <a:gd name="connsiteX1" fmla="*/ 2077494 w 2132215"/>
                <a:gd name="connsiteY1" fmla="*/ 257442 h 257442"/>
                <a:gd name="connsiteX2" fmla="*/ 0 w 2132215"/>
                <a:gd name="connsiteY2" fmla="*/ 257442 h 257442"/>
                <a:gd name="connsiteX3" fmla="*/ 54722 w 2132215"/>
                <a:gd name="connsiteY3" fmla="*/ 0 h 257442"/>
                <a:gd name="connsiteX0" fmla="*/ 2132214 w 2132214"/>
                <a:gd name="connsiteY0" fmla="*/ 0 h 257442"/>
                <a:gd name="connsiteX1" fmla="*/ 2077493 w 2132214"/>
                <a:gd name="connsiteY1" fmla="*/ 257442 h 257442"/>
                <a:gd name="connsiteX2" fmla="*/ 0 w 2132214"/>
                <a:gd name="connsiteY2" fmla="*/ 257442 h 257442"/>
                <a:gd name="connsiteX3" fmla="*/ 54721 w 2132214"/>
                <a:gd name="connsiteY3" fmla="*/ 0 h 257442"/>
                <a:gd name="connsiteX0" fmla="*/ 2132214 w 2132214"/>
                <a:gd name="connsiteY0" fmla="*/ 0 h 257442"/>
                <a:gd name="connsiteX1" fmla="*/ 2077493 w 2132214"/>
                <a:gd name="connsiteY1" fmla="*/ 257442 h 257442"/>
                <a:gd name="connsiteX2" fmla="*/ 0 w 2132214"/>
                <a:gd name="connsiteY2" fmla="*/ 257442 h 257442"/>
                <a:gd name="connsiteX3" fmla="*/ 54720 w 2132214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32214" h="257442">
                  <a:moveTo>
                    <a:pt x="2132214" y="0"/>
                  </a:moveTo>
                  <a:lnTo>
                    <a:pt x="2077493" y="257442"/>
                  </a:lnTo>
                  <a:lnTo>
                    <a:pt x="0" y="257442"/>
                  </a:lnTo>
                  <a:lnTo>
                    <a:pt x="54720" y="0"/>
                  </a:lnTo>
                  <a:close/>
                </a:path>
              </a:pathLst>
            </a:custGeom>
            <a:solidFill>
              <a:srgbClr val="B4B4B4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" name="btfpRunningAgenda2LevelTextRight228391">
              <a:extLst>
                <a:ext uri="{FF2B5EF4-FFF2-40B4-BE49-F238E27FC236}">
                  <a16:creationId xmlns:a16="http://schemas.microsoft.com/office/drawing/2014/main" id="{A705D401-B388-4CD5-A573-B3DCABCC0E18}"/>
                </a:ext>
              </a:extLst>
            </p:cNvPr>
            <p:cNvSpPr txBox="1"/>
            <p:nvPr/>
          </p:nvSpPr>
          <p:spPr bwMode="gray">
            <a:xfrm>
              <a:off x="2192937" y="876300"/>
              <a:ext cx="2077493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all" spc="4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ENIORITY</a:t>
              </a:r>
            </a:p>
          </p:txBody>
        </p:sp>
      </p:grpSp>
      <p:sp>
        <p:nvSpPr>
          <p:cNvPr id="71" name="Rectangle 70">
            <a:extLst>
              <a:ext uri="{FF2B5EF4-FFF2-40B4-BE49-F238E27FC236}">
                <a16:creationId xmlns:a16="http://schemas.microsoft.com/office/drawing/2014/main" id="{69CFF8C1-CD46-499C-AAAF-D4C4F7AE7CDF}"/>
              </a:ext>
            </a:extLst>
          </p:cNvPr>
          <p:cNvSpPr/>
          <p:nvPr/>
        </p:nvSpPr>
        <p:spPr bwMode="gray">
          <a:xfrm>
            <a:off x="9638681" y="1945571"/>
            <a:ext cx="927965" cy="4274076"/>
          </a:xfrm>
          <a:prstGeom prst="rect">
            <a:avLst/>
          </a:prstGeom>
          <a:noFill/>
          <a:ln w="1905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31" name="btfpNotesBox521293">
            <a:extLst>
              <a:ext uri="{FF2B5EF4-FFF2-40B4-BE49-F238E27FC236}">
                <a16:creationId xmlns:a16="http://schemas.microsoft.com/office/drawing/2014/main" id="{7FCD83D4-0A84-15CB-41B6-52A705CEF459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gray">
          <a:xfrm>
            <a:off x="330199" y="6319679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Note: Junior includes Analysts, Associates etc., Middle includes Managers, Consultants, Senior Associates etc. ;Top includes Directors, VPs, Partners, CXOs etc. Bars sorted basis total # of profiles; Top lines may not match </a:t>
            </a:r>
            <a:br>
              <a:rPr lang="en-US" sz="800" dirty="0">
                <a:solidFill>
                  <a:srgbClr val="000000"/>
                </a:solidFill>
              </a:rPr>
            </a:br>
            <a:r>
              <a:rPr lang="en-US" sz="800" dirty="0">
                <a:solidFill>
                  <a:srgbClr val="000000"/>
                </a:solidFill>
              </a:rPr>
              <a:t>since seniority for some generic titles is unavailable | Source: Aura, Bain analysis </a:t>
            </a:r>
          </a:p>
        </p:txBody>
      </p:sp>
      <p:pic>
        <p:nvPicPr>
          <p:cNvPr id="48" name="Picture 47">
            <a:extLst>
              <a:ext uri="{FF2B5EF4-FFF2-40B4-BE49-F238E27FC236}">
                <a16:creationId xmlns:a16="http://schemas.microsoft.com/office/drawing/2014/main" id="{92AD20F6-5362-544A-AA00-B09F2968301C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0646654" y="6219647"/>
            <a:ext cx="1261892" cy="353608"/>
          </a:xfrm>
          <a:prstGeom prst="rect">
            <a:avLst/>
          </a:prstGeom>
        </p:spPr>
      </p:pic>
      <p:grpSp>
        <p:nvGrpSpPr>
          <p:cNvPr id="53" name="btfpStatusSticker323952">
            <a:extLst>
              <a:ext uri="{FF2B5EF4-FFF2-40B4-BE49-F238E27FC236}">
                <a16:creationId xmlns:a16="http://schemas.microsoft.com/office/drawing/2014/main" id="{9AED61AC-D9FC-C600-87A7-05F54C92581E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10102664" y="955344"/>
            <a:ext cx="1759136" cy="235611"/>
            <a:chOff x="-2269853" y="876300"/>
            <a:chExt cx="1759136" cy="235611"/>
          </a:xfrm>
        </p:grpSpPr>
        <p:sp>
          <p:nvSpPr>
            <p:cNvPr id="51" name="btfpStatusStickerText323952">
              <a:extLst>
                <a:ext uri="{FF2B5EF4-FFF2-40B4-BE49-F238E27FC236}">
                  <a16:creationId xmlns:a16="http://schemas.microsoft.com/office/drawing/2014/main" id="{2B8FCCD3-088A-7DFB-1D28-31C979763166}"/>
                </a:ext>
              </a:extLst>
            </p:cNvPr>
            <p:cNvSpPr txBox="1"/>
            <p:nvPr/>
          </p:nvSpPr>
          <p:spPr bwMode="gray">
            <a:xfrm>
              <a:off x="-2269853" y="876300"/>
              <a:ext cx="1759136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000000"/>
                  </a:solidFill>
                </a:rPr>
                <a:t>directional</a:t>
              </a:r>
            </a:p>
          </p:txBody>
        </p:sp>
        <p:cxnSp>
          <p:nvCxnSpPr>
            <p:cNvPr id="52" name="btfpStatusStickerLine323952">
              <a:extLst>
                <a:ext uri="{FF2B5EF4-FFF2-40B4-BE49-F238E27FC236}">
                  <a16:creationId xmlns:a16="http://schemas.microsoft.com/office/drawing/2014/main" id="{C03E4E9E-DC81-95BC-B279-B39ADDEFAF28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2269853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Title 1">
            <a:extLst>
              <a:ext uri="{FF2B5EF4-FFF2-40B4-BE49-F238E27FC236}">
                <a16:creationId xmlns:a16="http://schemas.microsoft.com/office/drawing/2014/main" id="{694D5409-4D32-D7A6-3C93-E11306BEA0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1"/>
            <a:ext cx="11522075" cy="876687"/>
          </a:xfrm>
        </p:spPr>
        <p:txBody>
          <a:bodyPr vert="horz"/>
          <a:lstStyle/>
          <a:p>
            <a:r>
              <a:rPr lang="en-US" dirty="0">
                <a:highlight>
                  <a:srgbClr val="FFFFFF"/>
                </a:highlight>
              </a:rPr>
              <a:t>Most companies have ~40-60% of junior level roles in their workforce; Target and Peer 4 have higher share of mid level roles compared to peers</a:t>
            </a:r>
          </a:p>
        </p:txBody>
      </p:sp>
      <p:sp>
        <p:nvSpPr>
          <p:cNvPr id="100" name="Rounded Rectangle 84">
            <a:extLst>
              <a:ext uri="{FF2B5EF4-FFF2-40B4-BE49-F238E27FC236}">
                <a16:creationId xmlns:a16="http://schemas.microsoft.com/office/drawing/2014/main" id="{F2DB2B85-3467-DB90-A345-485736973799}"/>
              </a:ext>
            </a:extLst>
          </p:cNvPr>
          <p:cNvSpPr/>
          <p:nvPr>
            <p:custDataLst>
              <p:tags r:id="rId7"/>
            </p:custDataLst>
          </p:nvPr>
        </p:nvSpPr>
        <p:spPr bwMode="gray">
          <a:xfrm>
            <a:off x="9779886" y="1286004"/>
            <a:ext cx="325071" cy="306004"/>
          </a:xfrm>
          <a:prstGeom prst="roundRect">
            <a:avLst/>
          </a:prstGeom>
          <a:solidFill>
            <a:schemeClr val="bg1"/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15" name="Graphic 114" descr="Gears outline">
            <a:extLst>
              <a:ext uri="{FF2B5EF4-FFF2-40B4-BE49-F238E27FC236}">
                <a16:creationId xmlns:a16="http://schemas.microsoft.com/office/drawing/2014/main" id="{8EF18AF2-DF0D-2AD0-6090-A4F37DDE8C94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9842867" y="1340210"/>
            <a:ext cx="293429" cy="293429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99331063-E475-8D66-251A-D32DE911954A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0551169" y="6215844"/>
            <a:ext cx="1261892" cy="353608"/>
          </a:xfrm>
          <a:prstGeom prst="rect">
            <a:avLst/>
          </a:prstGeom>
        </p:spPr>
      </p:pic>
      <p:sp>
        <p:nvSpPr>
          <p:cNvPr id="60" name="Rectangle: Rounded Corners 59">
            <a:extLst>
              <a:ext uri="{FF2B5EF4-FFF2-40B4-BE49-F238E27FC236}">
                <a16:creationId xmlns:a16="http://schemas.microsoft.com/office/drawing/2014/main" id="{4D46F693-6C03-32D5-4161-CD37B48FBA36}"/>
              </a:ext>
            </a:extLst>
          </p:cNvPr>
          <p:cNvSpPr/>
          <p:nvPr/>
        </p:nvSpPr>
        <p:spPr bwMode="gray">
          <a:xfrm>
            <a:off x="10747068" y="796006"/>
            <a:ext cx="956332" cy="382533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00" dirty="0">
                <a:solidFill>
                  <a:schemeClr val="tx1"/>
                </a:solidFill>
              </a:rPr>
              <a:t>BCN updated 11/09</a:t>
            </a:r>
          </a:p>
        </p:txBody>
      </p:sp>
      <p:sp>
        <p:nvSpPr>
          <p:cNvPr id="61" name="Rectangle: Rounded Corners 60">
            <a:extLst>
              <a:ext uri="{FF2B5EF4-FFF2-40B4-BE49-F238E27FC236}">
                <a16:creationId xmlns:a16="http://schemas.microsoft.com/office/drawing/2014/main" id="{98677686-3A57-B16E-7AD5-3BBD1DFDAD1E}"/>
              </a:ext>
            </a:extLst>
          </p:cNvPr>
          <p:cNvSpPr/>
          <p:nvPr/>
        </p:nvSpPr>
        <p:spPr bwMode="gray">
          <a:xfrm>
            <a:off x="7078790" y="807683"/>
            <a:ext cx="1832553" cy="547327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00" dirty="0">
                <a:solidFill>
                  <a:schemeClr val="tx1"/>
                </a:solidFill>
              </a:rPr>
              <a:t>Version 1 –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Operations + Leadership</a:t>
            </a:r>
            <a:r>
              <a:rPr lang="en-US" sz="1000">
                <a:solidFill>
                  <a:schemeClr val="tx1"/>
                </a:solidFill>
              </a:rPr>
              <a:t> Only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</a:t>
            </a:r>
            <a:r>
              <a:rPr lang="en-US" sz="1000">
                <a:solidFill>
                  <a:schemeClr val="tx1"/>
                </a:solidFill>
              </a:rPr>
              <a:t>Using manual</a:t>
            </a:r>
            <a:r>
              <a:rPr lang="en-US" sz="1000" dirty="0">
                <a:solidFill>
                  <a:schemeClr val="tx1"/>
                </a:solidFill>
              </a:rPr>
              <a:t> tagging)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2306813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4" name="think-cell data - do not delete" hidden="1">
            <a:extLst>
              <a:ext uri="{FF2B5EF4-FFF2-40B4-BE49-F238E27FC236}">
                <a16:creationId xmlns:a16="http://schemas.microsoft.com/office/drawing/2014/main" id="{93F0492B-A78A-B489-664F-AC216335F9C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04" imgH="405" progId="TCLayout.ActiveDocument.1">
                  <p:embed/>
                </p:oleObj>
              </mc:Choice>
              <mc:Fallback>
                <p:oleObj name="think-cell Slide" r:id="rId10" imgW="404" imgH="405" progId="TCLayout.ActiveDocument.1">
                  <p:embed/>
                  <p:pic>
                    <p:nvPicPr>
                      <p:cNvPr id="5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3F0492B-A78A-B489-664F-AC216335F9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r0lg9IPP9y8umrse/9AoLT5R0GKq+XM9pr/aTyOTf0wptcuHbHxeyqBm9svU01qeeEM1v0hpSHUgirOnAK/wuhh4R0jlrHnY+9pFyM8mIa/v+EBRT4DxCrO4MOZv053OPZGuBPBkVTM93MBe9Uwqf4aYnlMSZvsL3oxynmN4ZyHez2Gu5Besl3qxqPf4w7kkGjcfx21rtUtqz54pGW2EahJvCwJSTBgeYUe/G/Za7TK2ixHK+x3nW56q7eZo+z2won0JnoKCGwuAbm+KG95GAvJp9MB862hQs23z3qdKCjiZwGj33JaHcf7hyG9TAcfS4Q4kM7UpETKrfjCJJhZxJ/ddhWAVBiI/BwsHAOu2NO7XupYekC73SwZ3vnasUIHnxIsKk6nUrZ0wvZ+ebrbBZrJY5/wPDVKvtrG6eoKFbEwXIqzj3r6mR9TiVIjmkrs3aG1Ja0jgoosFHz6tEjN4YbfqfbuXIWAhZF7ytquaYhwX+NbR+Cm/0gxjx59T7ssOBlJnAjgZE1QKEVjM6EsbhLOgs6sN1CPkGWtwZRof1rP8oHILqAaHZfKfdPNjkOOzi3JtiAtzjiA6V/i80NbphdVcVKPaHeJYWdIHPTSNaVDizN4+/KYm2fSp7XcbvC0vIMcxH7+vFrhxkQImRJ4rL5QILkLtsZNimXBWDwoP0s6eTNsQ+ezL21nbBVyBt2Oce3BvskN1KMJArxsVydTIXKlfdEEj9IhAdcHjhgtiOSvR8II1IucvKCBa4HfOJx9nww0+rmYSYPPbC/G9cMyjIsbV4zTNqEADUMQfEojvNMOHs343pT9+bjcXsn/6B2oQc/c6LDsKlnYlCCzOLBw4eZfjMwubMiRpBJKI4QAgFiZezN7uGl+BunlwqdqKFWBQI0UtjOrGOyTeTVfEPuQdZ9Wu81dmL8ZvT1ovyky8J+oDGhVemlvxrmtvZVwZIMCm/pDnf+Tnvuf4HetF90wh23oM/S9cI0wlIf0xfMBIuXr16G8ill+JchJ5jYNXsa03ER5j17f4AHx/zuBAgQ///Lwh8typmjoE56CtnKMU7o5TPL3QH9pNVYMSWwYXuDAiKb8qsDjcK9uISFvFjEPLXRWAtlC6VrO9842QksygemKs3wBatE6xxtIYb5NG43T9uq3KRZTIPKf12ITzT/2aH+Ey2IfCg/AJcooEq4JXa2zzAt8Gk4aBHoVEXQvP9jv4JegZMPY9pB9djPkMwEG6Pv77OABoANSUcTE03+xlhQYh104c5Tx5a+THlXtkCB/pDVaZ8/gfaTDpVJ1qs2Rpk8VAvoxwXdBx4yvSpkVKS7USrY7KoR8Ch8x/1SoqcJuIvNDssQIdCXIrz+s4eldSSF51TKb/o31qXVDM3Xv1ody0oyAnzi9kTJ80vmBsU9BXaa8aQy+vHmFLGzHWChuj7OrmNW2gLRSDTP0RgPGB5/RpHovrtl+AO/pYrDHeA4OrcXyPlBrGPnRlhYnwFu6dv2PWTduYOmh/EolIHyYWIfhXzV/BsP5S2znEFN+7SiwsrS+7Br4H9dDZGFzrl8jSlKMDG+mxg6BfgXOXfh55z+9Bwf/5dTh7cAS5q4WeU0qpmGLzgeickew15uQ/3oLRP4G3k2QIDwnZxouCnl9HrcfdQoLxShp6YDfHF2nc+do6TtKqso+jXov/dsMliUKdl7ciVB3uF9XLTn8g2i6EBQb23b02Km4NLgCtOWx+1xrAt3zli5aQKksFQ9w0ZOu+DYXj19PDf1CnqKzFt9KdKZ4Z/XGnmlWWUEchvCChhEaC9SbJbodo5ij32ZfRm57VHpXJq7C4gjMffrQFRuV7Xm6EUVda8oGwXlSpsQQJxS0ulevrysHg6ljkE9XVeMbv3+hy6CiDs5iwimasBKgxilxX64Ur8weQgIkpQEDaPLraqVgSKADalT7d9cWOLs/uEILm38Oi45veaL6R1AuGN5+wottJIef3Lwan2yQvrTKbadaPHpVwzDAOs4Udby9eJzAV5rQqWIiqhYxOPUA0BQqUnciihm2/QzxnFmoF+8zV0N7jg1nDqzQffTwCydBqW8LXgBZ+vk6j2NEjeyDV1k0XbDtkuupBSNVCdEcAvruz7QlfLAK9BZ0zBfh3up099q1k50WgiBXgaCP1vUyg/6j3WAcOfCfUCqialfOKNo91CD2dJ5zgDvEishwYsy1UISt1d2xhGXn7gtvFfeQ1elPo5e/zDHh82UR8D6n8mKJiFL9vIdotBW2idgSC2PJs9sL1O4PSe7nMW8qFBUrcKHRFKxVRMoDQVEr1/kyVqCyHN/LImwEtaCdhOMa1bVgZr6jOGHCdUA0MXUCtIcA4pDpeNLoj0Xt8mpFwVS6ZzbBdhzPjZTaa4vSab0F/24rJ0vMeaPYSHCu4Eri79KjAniSWZFB8XTjP5KMSZtzgeXYnSpZLbtfshJ24pek/zPSl6rbyz+cSa4o2lcABioqglph4fDgnOjRiqLuNwZfbn9m2RBXlPDQhnoL0EKjyAJpoweorNlIyD01R6R8sme+WNvSLxk4WymjY0x9kGXt3cLh3OmLiA0mB2ekvCe0KhgBQ1lLbMocg4AUvH6lGbmpq/gtYvqMDIvrdZX2A734k6iOFnuPq0qudLgoQ14GRvY0g513HFH6AauUtk+QwzXoBtKwRIwsDGbJkV6WGBp0uiHC0EzotSuz6tJQ4jZ8Xgytn7SKTEcbta6KEAZwbI4N8WnF9amqqfQjpmWG+VgSwW2r+Qf70finuor+fw3A2fZomRLZIK0UcEOa+9nzNTrWvHoy58m32EpmmyuMjPeHD0eP5rEe0koNW7nwXOdMS255yZLlG+J8MKBHgGVkah0i/aAXmaM04vA8orXYjhAivVSAqe0zjaYCMi+Cvvo2EO7pUfAYFsGBHM/g9CxnX8rO+hzJaXzyvuEVQOZiRCLOekso55DvRxpQN8vt4bWkvxxWn0ziMBX4d2SCR4NfHoHRKJSv1kP5u2hKRE2xVcBLjRr8O0FtGIC0H9p+z+Xqeyw2ctv4jB/t3FUuehjSnVJN93zLGOxRHfbLXj9M0Apw09ZiJbxA7Q+3rfLjjF0qo0R0+tkUYffr3tJSg0bcILQo678Q1+EBi8dQhXwHgrMt6Iwoxzc31ZYjeOtQ9HjflABBJjTsfPoNqWKWipgDOuiEYm9zqetVsz+pyleiDV0CvZ6p+i5SGCfG3GueSUAEXo/+lf4EW0ZrL/1sLeDCjgL5ovgI2MylK4Y8KNg3U+SLR8427ZVsTjBS04VTI1t7CxLypv+WIt4W50JJqDg7xd75aDZFXVsua/G9Z0gMNf8Arjn6THQPI3lIoFGky9AmSQOB/ps8QQobqUMG+PHGUOpCjHUqfc03aaFjQX8s8ARs1D5y454WrWL/IWvtw+dkJIL9djQa18igRTbhGUgVmYay9mYSNL1CvWE7iOPh2AsXo6WtH4LGOaB/zqkS7SuN2C/WCqKgoBxi3qAZPooWfzIHGDQKDLmKpHe/2FMXVJmjNeNUUuoPzMhX5SF3b8wMl8QHxxbcPwc3r5vQ2k4HGYQEALjBd8yrbAeFjrLhxL/UeJgMU14fd0EZHhEBEACj1rcXMgkyC3GjjTaDVYFdxl0FJEEdz0drsYYK8teXzMsd0ZCELYKVLFkSwC0K9oYz/WfNbdjWrG6Yg1vm5CJyGNJ11HBHV+OSQe7pO9J2CN5cH6To9OtUtd8p2zMi6Gy6rscXfaOnu2IKEdc7Lg7L3WaTiJXErrFkWeaovxuPAnuMZ+dL4Lozaa9EH+mcUcobn23HrYUsbHpGgVxOSJKvF+rKW8i7GVIfaDhtfRN6xy++Hk7k4NuseRYpHN3sAKyhladbMTq7S9/bnAVZM9cMnPsyaFVxB0LvKAjN5GKyiF1nn4esgE0x56FJEcE5b8RJwY1KwWOb70QYfOzAt6E19i4JTAho0zbr1Hc1NPE4IpEoCcwGXZGTWuO4WQ9O4/zJH8TDyF6P5wzlgoEARW2N3n8wItfLS3NgdxiTsVF2CQwg9MG8NUFYm3Y8qb7ZZnbIHdTC3eFXKayO8oMu73CcPKx0aFSh7es46lFY7j6NTkf0x7qCfpKHS6B81KN6fDkLTtjTOL2HImq7cw8NPwg9IrJ68pT8S/GTAhbYVCo0t0rnl7Sz1k5dNisbN+piL2uiaFWOj/p9gPOYyf3mPjY5hlFVkT0NxBtfJbo8gK0rx0EKyEUthjfa9yhNPSV1WFOF2TDbelCvhnr+0nw81Uba3RcMKP4tvHKraAfZJKgFwC0UM0Ci4WrhqNac1A9tYMji3vrxwBNq1gOoNykFmfpqx8Q5KRdV8QeDbC/CtVSMBma0ynX9LoFlcW2QA/k3HuW3TE/bbQOjV9EdWgEvB2o/6pD/YDLpR9RASSyZ8lERuACsOyBS8iFXNNgpiL+fyNj8ZUsK6bhbgu6BR3WdXOUezwbaMSyPC+t+ik5ckfW/yoqYfL0nFopUkxdtLOQv7Enfx6BMDtRdLbpCh9pCbnSyGNSsDFguCFNGWPvM+02xyBfTqwm+Ywp4zhfrjCEDBQWPMJ8wvJUqvF8xwqBv8WyHux3UQ6pHzrrhcH93yINjvzVL570p09oLfk1Sru+lhXsxOF2K2IB0bi5Hhy0WrK5nzhWKRVamTgID1ikE8LDjkohk0BsJuumkJ0apt+i3CHOVAucyWhZs14wLWNxSh3kNgV3iedcsl4VYms+jK08IP20JevSu929iOubhrsVSV8bHBMv8wJu3EeOpbOAU+WZN6GB0NoqW0DvUST813edQ0AgxqrRM6qAUpaUSmOJWnHF8Gm+vLFLDDauCOwMyY+D/UnqyuBufhAXpsGB+4oze7VSHLQ6VvucssTB4CZ56O5kNnTSIeTpa/JANBQ/CKb7EOCYpxm9LWl8jUxxruCBJzTbvi+ePW1Ffnjvs8m6WQCZ00fPenazmb++k/SNq7DuhaqOGWB7Ftq8ehnOUJbV2RvDki+ld0oGOvc/E66vjZNUupZXX/5G7yW82z5JUaSfofdh/bWEtKY5b2OmK3hfDZjl/ZyNQMqoNJEg3H6tKnWSohv+KlOFgk5CGLwKrjpPbHTDP68pixPZdB5uJBAZorZkRMQXtkAEVK94cZ9smIY7ruERvAHVTCTHFW83wVQH9V1iiksfDhBif2my+h662DZQAffQGq536pwvySbKejZLpnV8qE0iOdiUjj6aSr/0AUDlSPgbQ9lQa87QnzdTHA18GnpW+seKNs+bcKA2Y9iwngLku9y7MZiEyqm0mzEE2X7Q4W+5uvJviLDsOG/q6rocb+wMYKzCIom1TIYuekAdZee5uao5b6UnS0MWJTEvkf3z7/ocC9aZXpzdFqktbFs11kvPtZiNr36BWlCirB2S+o6xKW9/slx8/WT7F4w4uCM9HYATqO3YcrIY3aAK/+QqrZrVsdrplbIKdE5MD4Fz9prLCcbSlI24xxSrb9WTNywbBZOjvFFOUyd15hcerUZo7mrrpxxjZny26gVBXRrb5URlSoXCHWXXhOadXUVKImBLZlooLoMdAP77tgpMosqMSY5JFgjIJKWqggjqhnu5TOK4rsJUxFM4Iqe/zBtLe6Txkx953SmYlsJCnB5JlgCXFwereF6WceXu3fqtdOBjWLQKTXIkh3nuoPCp4F3mCJHpnI8bO5VP7HL5u2wXzVzP1xcv5vGJDvyKjEFKoWCjKplvmqZ/Ni94wjTUIeN6dvpnuqmuaijQsI6yF5ePgE510X5e3OTHIa/GBfO4EXdoA+I5h8AWkh/8I8+vH6KMszT1Oa+8HjILpVUFAZveaefMhSPyhXPKd55gHgG58I9+SGhkGR3PxRWX8GtNsPJeVZHfdva0UtU/BV4EDLq240htC6dmhVlqvMe0uCRcxy1o9jqthYbIPWzc4u+zRYpY5zepiwgIM5h6lr9VFYtWfI1ziZOOmVCKyxB3usvkx3b79290b8x3/gsXZF7PQCL961dNEzuBKw6fVYkcsPU8KZS23rd1W4hwlIY9HlEeSPXR7GYkkHpA4DI4pWV1+K+7bSadUyTbH1qoOkAdh48dH2VSGc5WF1HafurLMVSKFq4Gw//ksouH4+fRBkbHIun8QfIN/yN1Sy9VA8p8vVrkmwIjCM8EJiXkRQvLRv6eACOrVoyxJHThwkFzCyScRsREtqTYSktb6nZht1ksUuMb/2LXBS4pXOOzaG0yPO24fiYBSGT11s8jkFyrYbxlXMS2bZQpCdWQhPWwTVBLe5qB8FQw085WSek0PKMa7vmrY9/YBvajtVMx3wkeA0ASyWQxTmr56cbftiSgg7Qs3zEtRY/2Ys7Wgz5V9jDlmrS0rH4Lb/t0MK+3l1t1rCwSKlAxz7mPkHxkwkY3xsWa0x35wJL2tabVXZLFPrQSvEQ9l0xGYkDpQtans3cVqweHNMx1RJ+izxcN1QFlLgSzz7AbZ8of1LYm+fDMMvZ9tN8urLxUka60ZIm5SM/rjX26rAGX63ZVm/9tNwdRr80kMiJqRqiifowOLtgPK/bErlySO+z/GDVf/wclcc3ihHq/f2ccf4xGefgYmX7ory+1zyOgBzV3bSmHo6e8voQmUfDg0ILWptWPRZ85k1oyJVO0yl0CYEgndAP6QnToM43B52d0txfvvUad/aoJwBulSV4Wi+OB34/DnV54ia8bUAO0Z54pXklxreEbVb04H3n6d46dKAkrFSs/1i4LkjiO5h6srRFw5v3CauclhCbUwwuNG3TXmwVquRFkgLnQ1NOaifK24a2gb9jQ9wt3JODczaD9MAqDVEkQjUa3ZtIVeapryDzeNljH9UB+NIdTO/Sp8yeGXsd+TVgg6wIZTLp0TYhlNPUDtLt4ye/IbzvLFPeUec1WT0qFgVOoA815vqArwdmAiM/EbV0MspQJ2VQJdAxxTZrOa7wIom0eE4psARh8MN0Gcxl3IyvZo7OnlGsHZwtdj/GufvkdicR80abTRKfemCcgKpPSbnhjk3iCA084btPAOpcOWtSgg6VVb5INSjNa99Fbyehn8JLebUhc/QkbJguiyUN/BOOWPI8pmL1nnAL9c81JuLgC7lQT2/U3atKccEgbP+uCM+Yx2rIp3z1osU9a9Vvh7oDZmEl3Wc7Q+JjKG420cXnEONQWYUbp+T9IJ89M2/k+gUWk2dgkkEiAbM1sMrKu/2OAxx4Z6wccHgn7B/OAr9x5rXtyulGrw6alohlrA8D6+CQCaBDBxSR9UopbTaJnJ2RKqtYb5MYq+n2vHvWNNp3lQ3cfjNYUHyGe7zjJvA9VNPAZWnZ3yHeGpPgTy+C/mkvicMpZiiLtpD7vc4LBODuAgu5ix0BvELrVGjdD288erwlSruYmGe/6AZdhMC46KxHQcPedetLYg+bXBi3u9TecYgNpnnvZgiJ6vjxC7TEzgrTZtNhNc5/V+E053EvWbs26pdvrNmiZd9COAEbyMFHqglEgJnvJ7LoSQV6sagba1OGMD7ZRvOkcgrIeDTd//NcD9IRVADhHGlrDXx2DP1jcfSZctKNtiijvtQBMWPPjt5MniVUmgVV3Dz83OWGZ4ux6hZJEBLvmbWluKKwXysdOO/ZGzrtVNt84y38j33qRsZ0LkmOz0nAlgSiaWfX+cxP6+G4YRKA7rCrNiTL8Zb9VQffmNrvYQDqHu9Ng3U+C4b9xfMwsHI7cis40rA8lXtNthEcge61FnsoT0olfIZcIE2uBsQWBcDo9zHkZq9BcDJK5APyFI9RIZsB3z1JMLYAKkhChgdUoX9sqYE6kOeXCtE8H0st5K8vwinI7G20tbykC0+kwCaev4xesVe/CJYw1JVOxaiPoktg8jjNaH0Uzi918jzraZBF+94GatAeHMbKjM7IhWpaN833m0lQT+S6Bv7xP2kARAA2Px3bY+u04oQUzRwWS2ZBfvA+i9nOS1pcPKHSqeGoNpeEbZz5kyeLnrGr1exduQWsrdcfLJDFA9/gbpAV39CMDiM26tZ/x7qdAcEr/LWRBYcNqTuNNoxGH/PPwLXYI2bYbL4fVFMmmrEgUYCkP6xBjFBfGYJWGya+e0tFtrtqvoi1SN0Adaf4CAGJ7EHfct3AxlZK0YvfeUzG3NFe3ZPaDvNGhBPXCjQBGtuxKyiDTZHUe0kNt1LRDbVOIqjl6YGuHlek4fC8SrotCJtzcUvjzusEwYbEpn9uZ2aUSF1fYe3kLhgM87JTA3go94x2LHre51QjNJucqaCHoqI+3Lqu3WHmsiV5PeftzmyWBobwgUSFhhDf9udFqJRlEn1B1tbeW/7Maw1LOVYlcRirPUFNeuZ2QzPlvCTkdvXKle+vGCrEI+ymaK83Lcj7+3ytFR3QO1VmrmjIH1uZJPExuZ8Gpsf+VoNm1C86sS6tib81EvyUeh714UZ8b3tG4UIkVxJN5dPv/nJL7n9cLXEUscyq3vU9LlVM2WQfVQndN/IbuuABEoW2J6vgo87dasC3pMYzXZxcthQfACWMq09n9bxlG0R5NwSx6PbI3/dRKMxKXSth8qWkj9S2h7KBIJ6QcylWkI1bCYt3pXjiXDtHDHhPswGGLISrMPwvuOtt5w6s6gfb4sy5W+bPgNYSHXWN4OADd7TvQRkaZZHVl4/inSthjU0fxUQUSpzutIlx9++ES0QI9ctNvhNHr9eMuimEx+SJ7F8BhGa8a00ROfT+FxQZvd0odGX911DMj/rK0O5q/odkpnmxlkWmT2IotvU0XaHptHTtd7nrxSGcurR1npxE3Q0mXgfm+UAdnjSHvlZzRGiy6LaYDiqTT8kGtjChcoKI9QP9iYJ8lzPqTDw3BgLfOanJhEHZ7ncN9kj0eV6Zf77gohpT1EICKM9U9HDSy3aU9qC+Ydn/LkK486wPz1bBQTacaQC1cSwvSxZPizEqI6AFFVgxtrlBUn1h8LTN+ZGaKlTM5BGYTwZlUifBcE0ofUeZlPvU0UzDUk7JVLVWcCjOtQa7Uen0jmfv1y0o/BjFtzbtoCfmbFUTM3O/nzTV+dv41t04m6Q4H09IpvMVM7IJG/F/0f2fyKQ534bCuy6o+if5HM3zbDv6tnpRZTpi2Aq9sAM9FWcyI9bB5YqXuummJ5ExwXiw7csAT1+BfROV3BrwKp1UvkQy5SMf18s3d97mj+jLCylx4wm3/H/CNgDNrKoEVBU326MeD56E+Dj/36FtpexgXdoYS1yCMqYytAa4sDD/JGRwOvtHN9pWcdjZu09a2gyCWCgpFzKbGN2vsqKSIWJWEaLTfIl26aKa49oYFgOIzng3w9Ylb8Qt6WtNa7wp2joKEspt9EF80DQcV09LQ7xEhfy+YHvURbwplp81Hrjph3Cr+gngH50fe+fIsPlo28/sQC1nnevRFHlDt/1s6YnsfJTqjrw/OczU5kgG11TcROqcDD9cLr5oZ85ucY+uypjRqsjqBud7e67yZCnOHoWU8Ld6Cf8t8nGT0Bw2rKRCqCQEo4hpL+MdKel6VlkdxRYgxsJB46aU5mYuQIogJWM2CL5yjcx4XVUfb9ggzwjrIor00OBZKNyqjzkILJMG52GcsoTA0lsSKzCIlvdrIC6d59W9GJuEGRNFubKCgB/4ym3xP5+MbjQSmCXun/j6RwPXVftF8cDerPqTPVKs28tNhq7Nm4dEoqSt3PkA04A5M0Gvv5NAog5qXScnRkI9Tb7Lq50XB23hAICRzhPkLKQ6uWbq6RNRHpB8+dzyfOfLRciFV36wgpjjXFXa70G4eURRUMXqc0ZbbIsBsHVjIkr+KyqT2aVnIfroJGYa1kyHlF87aumcFOwjkaqTYMiZ45lP44VY+n1r13cYf/TJl6MkMnZZgwWpChvc5YiXhaKdzi11XVJvlxscWFS6k//jEnBz6izEXn/NBvJIC4CiOvglNFC+ZPfiJb+hep/iqFtjQc2ftvMFp/wsQs1ahF/sp/Ut9kq2lArBBuY4fVIUcNceKIvM8D2K8pmAj9027cvQolHyNasgfmlmi1Nd1NBWK2AM3uf3gBXPvNW8BxJwsh25ZDwM8iZPRgWKakoSy2mHDOL93VhOQy66s+G5m42tC2V5rTB02cVmx8fMHRgje4m/gZR8cSS3PvgJxzIz4vPoPfs1KFHseL7OETGcoY8YV9hnkU9CzuXxn53Bha29yGtQPeorgQoVQ7lxDzTtM1ZGaK/ggoqsVKKdI3vb/wtevmV4pHK6awekI2VopVnKJd2ten2mUXyL5NdyHpmfdnLIzkU8k2up6fyI+aiHQw+HuPEqxrApa97c07DwdSt6LHJz2KOTKnStqPyv/y9KxIKkZWYDqdtLjjH2BDQpNQyMNTXBVN2ONmxspS5zhQ7QIope4ZmIFrJv+/IaUUROoBpr+cMco9D5g/27H8xkX/4H4kaWX9kpggViNSa09vkNBvZERjgdSEgRRtzLlaLLkMomplVJZ4BqrSlpO/xrLServJ9llrL+1uCYzt5WvZQN5+j8MtRas2N89GXFD9U9eeKVKN513BN0QyglrHg4q70ujAZYhJb9BKsDzr3TRH/md8uAjVjHu/aP2p8/sQ4yfw7sMYUKA1lYQt9c1SjFNekKkMpF1ND4/Nw3Nhs8llipfmLW72qzNPqbk27fABqFo4w/DCkKzwhRv4UwlxSgBvivuVSxzc/JYeeqyYZ3aXjFmPzVkdKcjBRywEBRT8Dd8Bzh6HZWYlYDX0uFYIOuhQDrxmJsw98EbJmCCuvG30rhckMecb4ePtTdmo4u7P03uLfQGI44SbchleMiWiZlY0/0xyZEjzrlBuU6oaHIEDKcL56RvUJ3oNVZ9lryjJi9KdIKyGG/I9SpShhcDMWR/2ssq+i2avJdcsfYw7MRfP7m9jF/3v9KX4ZUaq1pRmb7O7IT5el0hjCi6y1X5psFs/scfV+oHMCkV3TH4gDXnVggeaQVOPvchNAAFavfjWD+IXzFJaeFTFxcv27ilNwKlTvuZgGN/yOxAVC/gune6ra3CbQHW8sQSlhsb8Gb84EGV0xi8LsSBe9GCX+CbbaPLhsA29xLMEZSRDM1z7G4tMo50IMKuejIlzjjhOZ2BuR8pwKjWjHYf/2r+AuGeQxd6loUxSjjOkdXKTesDYQQc/240qE+i1pw0ztnwd2lmiFpW1yRO3h8+uCbOHOP4p6C4MSBiMwm8OnzQxqNKXksK0ZQnYHvFFbiRpHCzvXZoUE6CkuFyRLLR4Hepe7C/M0j6al66u5JQnE0I2+64HGFA7ZcwEs0aeW9CaJpnynZLTbnnOO24JnHAZ8jLda9UDWfCrs50l5wK62S6mZ1lDf48h4d2wp+p8sAvrbBiDfO1V+y5YAFfQX0KzmP0DddHJAu27p/V7B8fvX1jjRy/acnd4USGPpbicpZuK1tkGkB27IejbmIUyXhUVQ5vz9FMdNQU7BXMXZ6PPjXIlp8Z1BPGEdDAklCvLig3WtW3SARI4j4agoGwJYl+7wTsy8SwBhrh79xVAmFxoMrWoeYWjTTzmAPJU0WJeUc3TGXYLithe/HudHy0DBhpx3o/A49zMeBPdIdx/P4yN4/IIvOn+hQ/l3dTwSXUfwVdFbUsrbV90vo1S2GQ6FzJATAhrcMuUyEZpcH08IFEJ/tvUfGh4NJCXX3s1MreGdRFaNoJ4P/c9gesG+hoUBXI5aSZ9xESuxCs3ewBKA9cvN3UG9R+6GvvaSRWb6fPsXsyy0EiJzr4W0XjzDmnyI5hGSUcBZ3bVof+n/OKvUF6241zLT3TrRErOmS3MClTol9orteYudKGSHODKdHHzjO5hdUDiSTMigFVjyNIKZEeSn9vAhEwNWZd4i9rb9FKt80JRcqyab4ESIBIxuQfy5sH4fT4l6JvcNkF8XyLIlRFdxlXmCdaF0HBJOkdg4+hFkUb2mGRrhRgTbqq0vN8j8JdCNm6mjr5JBbbkxlE1No3ahmZW0+0AkiaGaMbG5BoiBEz0cvhbajbqX0zRZPtYBLEYfatir0+bDjP5+lINjKZ1abmpcl6d48Me1yDcPZ9rvebfakIJSpIuV8fGA2I5dOMiCBqT/XDNcyX5q9WvOx2SX4u6Vuzc16t5b/P3g2iIDdBDndAYEmmV2k3Alantjc+g91kXI2VkjwBuffrFesuNlFMxzVCc6A65BPylc/IPeZiJrwDdmp/RhiTwCnfZqdu8SrSMm4h+9J4liPJZarupYeMgQuZl/DJSUbZBvvpGW+woPaQNq8mKIAm6Nb+7GFjU+jl709oeSzVAtHzGcWBnDi0iqhBHg/Zxkbb+4vccVm6xDajLG9tELEvClfmrQksfUtRrWMOwTkUazUCEMahR2XNzIt8KISoFJ8nb/T8Wnfqe0If7xOEC5OxZHu/9boYN2+F3GHD4n6kAHW1XFwGrHd+sD6aWRi7Dvj5QZY/5d7pJ5tpYdzpt3RHUNJGvR2vKkiNj9CBLs2M7kX6Aq7Iy5ouaNcUBdwz4Vp9dzEbBWPjEF6sGJOhe2HgHFO5RBX4F4UASlVdCIMDEzcdJdq8GXHe0hKyazcsK7hkPXJ4kIzAABnv7SRB+u/AimUjHmVwaHHPZTvq8xq37LdsP2ZjYt8MNbpvfRPK5cN9Z5sYqkNfJ1LUOYvLGKwvZdxx4cGDIiqb0HnXVV2KJnxQnqnKUfRLJub2JgNR3CbrMY5DvfEu/yX7vQyXwbVFIvMsU6rRUpjCB9Pl3PP8eqJrAcZD8OkOMd4J8tBY6DtGDS6VRlVbsB/vZKxuEozpPg0jwiugz3fsdBPgBoK8RUrNjwK2A8VBEBJYK0AJtENPWKAMXmHitQqimJzT/pjG1FS4tmcbBfUL4MEN+wNvE/GJw50BeJejJpItr3MRXC7Szg4vawLDW3T2oKDrYVSKUwfprcBaa0XQ/nBu1KtjdAo9t4lKT3TSzHi2IpKpxgY7XQfvH+iQpfb7lxSa8luIKlc+utBw+5peYfT8qAhj3+QlSttgGBP8fkphabAxBQHREev+6IYX30U+rzFlGMAtf1rYKdGVsZnxSXNj+9SuFA2lKKKYboM/NSxQDWn2ufCEJsMNQIQrLj12KfsW+/3ufc/oc/ZetNkEndZzJrx6iL/dKHQF08XpZc7UeKFXzKLL+ClyAV0qO6vYtq12ZLQG+mlvJdUSlOL1up9+FjB3w0AwNDhCZUZatfhfh0NAjP2vzn7QP9ry4unFDwK9DVV5y0Y0lfMkJc9TKpNnqXlpPmvq1yYKHuH3NnfUpwRYzd/LsEWVLZmRb56H28sjNXzRrVN7lwnUwjJ3A/lyEfOjTQ9qibWMzAFKrXcIhXA10M7DjP06xPdomYU+kZGQ3wKEbjE4ReE3t6hbMTJmY2H9hlAmqblU4blgTlReOFtZex+sJwxjCcXLbcI8y5Tw24dTwdtalgT1NiKN40Sese4Xo4Hjd0SJnw8vTXaeASj/qb+fRMG0eExY8amGyB6nl5EGj7ZqKEyLdF90TGIYqA4n+Xo5axnfbWw5B+CjJp6qmcA2SSDkHaTrT5yx0+COK4evZll2mEKPWLEvmUOyZ/5Qt6aL4beOybywBWwCQRIUXPCM9a05hMgYier7dFsPVO0e2jRTTeMEL5GiWYfwVSD/LCKTuHuMemBZdsO/JDVZ23exZOlwAXYRebOnlCk4wbzH402g9j9+gnhuSWLzxtYb3AX2IvznyjXMpMMMDZifbPJiYgrnEv/FO8QMNsHma2BBVQ8RJK7eNPc7/4kjt1PFhtQCRpDVjPyqFpmyF5CsMLLhUlVvB/89lMyDCkCSJDV3Ci+yodeOP4b05Lexaijf8gDhU9gZsyOdIzMC33CxKPymWoUtaWhNgjKGvlhm1dy7FMFetaeABgqEb8AB1AXjXZd5c7Ngu+kHqg/fQUasS5unUIHsyPErCzXfNpXdFWhRFSW+L3+m20bZvaMVz6RcDo57D+cKsf/R3HSu2nbGPsYpeIA9wERbLHQDL7QkP0gCeYQu+pIKPQC53LA5G1rXefD7acfTsKIyYBe/xZonAnZCkIX+YQLtq0So+xWyLy+9Gsm8lEyLDI0hErZifJHAPyAu016i/uISvCb7tNImKtN9GmxAg6eU3zEIPwk9tuJ36d8EJk9PO795Ww1YJAhoQ4wN/PouCG7YrTCBkrr3b6g92n0a9U7/CZS539cHCXnCfpJT1Jo9dS5VdyUvFKBkOHj4lSbPHkZzNeWLDHAGZJNs2Xwu2QTvsxfasott/YKBpbZ9K+e6sVT4CP3gQndyh+QC5u4rILMFQORotA4W0Q3CzglJoiVrGIctU8QpFkbkK7eYPemo+AeKEoG4cTTrle0OD0nBQg+tVjMqMb7ECGSfBZDWYvsLkJBb4jTjlImRSeS/HFNMaaTH3gquf5sIKDdrSyUZjk06V9HJk4Wh198hDfg1JDAtXryAmfLMliFtbd6L8Pnr5u7Vw814O6WvaOoSugVIxYQl0jRqMIt2WUbkk2es4ra6O4zGLoxgNHfrTfRgIyeNKinJBJZtXVAFYON6rr54G+kDLrE6ys1q1vpzoV/P1gWqukNjssfavzqM2q9x5iLdm8rqK5VrOLnVSE8z9+TInY/cKpi+MfKW4ImJamOQCH/k+Z0i68h6x29tdV8qD7i5ZVO8N5Y4yUqMAouc+DBFD4PfWV76t2ZvYmnQgjlbvurWlbNQUIFdartOGc5NlKda2aD9S2sQDayVck47sF6LgT2j/39TXUcUneXajLW1We/YCCVtO9dAKfkG0vQb/dibsCSAgA0GAyZ+i1CeudVFimXZey/lo4tnbUGdL5temkEHT4YZ+mkIqUEpQs+y4JPNh83dwCKCIr0VNr/bEBWXgQRoUvzxUkG8dlqIf59qx+Ua+QYAEu43V9J1JjjjcFtKcRDVmcexu+94T1+a6183X6S+RIndbyP9+TkxNseb9IiG3C+MkPnbG11jgv6B3a2AqerXQZp5YkE4YOCP/Tbqt80/aLxHCrUOl6K2QLT5+C7eu5jQJJKnjWWTvvxvhQ6qbRe//aVq+OBP5ZSelxmHdAfTojxsI137hoisYqzylB4JhMQDQ2oiMA8DFcDJYXL+GB+JTVPcjtCvnRS0Uxre9PeikNjV/g+FWn7tjyR/9CzjiC5206kCLe9vOOPLA7s8g0Nycruw9GzuTj04Y6GRGiiqr6w+8eOFw/UDSOAzRf5TPdZc/l1zXyu0Wbgqwg4JIYNgPTzPQ/NAXsmkBtdF4//tj0TNRsRWyp8Ijl0rHWcjPPsKlpsJknWqBEovAHxyTRbHAWFyqEmdU8GRHksGlP7wQJ1PHHhkXsDiSUwrA89/cSQf80CNPjsyWQRPgC3QTHytuj3AJ4R85ZgVYQUxkYTl63Znha6xAa+hc3ufaT64fv1M2p02mJ5V8b8/4hSc0ljtCXX6JkFoDZD8VxCyPhEPkMLYukNfx/WBmNIbQqVFvJcegen6kwseB/xdSEMlxTMuiQRzz1C2qX5QzPOW/izFEUumtCBJnq1kLNNeHpW+eDn+yibZrnWCHK2JkbengglB+amPpwjk/xyGQF5niIr9CIDOz06PLZXvd+kx/QzAw8AIS/onHJGLyJ/cCMaW/6Kc0Q2DLBpSXm+BkAVp7bTFuT/5OhhF/vPPFmYVHHplKqpaoy22mo6VPvVZiww2JrgzVfV8j0s7FQhT9WTghbqQmlnA6/c+VLfjl+aalgQhzQBNq8XTcDMrmeK2CR/vXvjj9dmGLiFjkmqgkssbaWpfL7W1yXVmsYX708PrsdgMHxfl/LkxaDd1CdgOeBytU2PfQAFu7MDPf2NuC36VkW8MYgAFxqY/p3fq+pOTVSGt/rMKTXq2g1pSCCRSaO/DPT185zyNXFQ2clKUOzX5saFddYUVgUAKTlyhy+WTJRz3u7zBP463YxJNGormYUW0s+mb/KFaOwmuI2rQXj3SAZdtDJ0RBtdwTYWnEHFldAvZ+qnWpoFVkZuL8MAIvgykWMTnnjtWKdmUPADV+PXcNKgqOyr7s8ulU2UEAjeT+arqVhSfeNuJvbwKEckpH1as9P8S+RQOg6f2cOvqtR9h1JnKr4xzK+xg3oTxzVpscGqfX+m4S9k/AedJ05QwD9i2KyQPrVmVsaI051xGVbOKh2t5pBvV7UkW7zUfwAZbPBDOOTnwUHWqkHcUz1u2uyLM9F9hIufOUtMlUXMyH7OSbPcyeWH+Wapx0vuo5FwBn/Qq+YjO5iXj3SWEAGWhGXuzOUARVtriJDh1YcTDudDht197Wf5NK2GynRnPKCUSzcOGeodiN3dy3ejP5YNmhzcuyJ4uRxYzFHmTZRys/eZ//kJ+QNZSa9ysSle/0u5vk6LQBOpY5wHgX0NJnLiPfGenZsHQRakrFA35uca8wPZkovFmskQUocbpNi7Y3V71bUTztqfA2VGcjqCmqZRCemU8e4vFmTtDFFqnkHJBNuKBx1sZKbTdZiuA7Yo99BTiqUJ/HAxVbf2YppOSRgR+yzJAXbpIiNNJ3l+M8+H/o1hWDto2hCzwfwmWt9UFUhU+NPmytGLNJuobHVyVBSaAxMHCVFDbGpCvNEtuJBHRSsZlPnRSqzUGXI91YLNk0kdzzdhbsRR9y43RJ0Kh3xLJOSqkpA48M466iaJD1ang5PBcxS4yZSkJM46imx52PBLt1cwxaWXFzv3FtBg/EWgbZGg+myW7ToPlafO5qISa4uvpMLarxvhgAslfBmE8OMgqaJo77yADC89ISgPLlJw9alEz/vMKWDMVLX02IUMDLEoK1eGoeXwvo6UJW5dZrkbI3UMFPobDf3pxnQI4tEF32ojrm4oma0OPsRy/fIzhrl8qL8BAxGpt22OdXm2W7d7+64qYLdVGGfK3Z4NGSRcNQRmOF6MzHfY9EKSx1hsszbCVsQI75Z1WU2Mchv5SmQ1lGgwvtXYIVKTe/dTerGrLJdtWvGdAOu1q5he3XsX4NLKyXE4Iy9mIoNtb8H9s1EF7WRulVwKWLBBzvfJL58D9xmcMQiYCl1J1AiJZv0eceF3gyqKxO2X5+DJTonezE0u5w0VVaKjrmJ1Dq54aAuvZvcq1bFoPBd4qdxpB2kp+4RG19s+mPNhQ00QAFS/eIWXu04PZSDuEQDwHRA+1sTPwmM6aoJHvuQa/xcGGNH9snQwgWlYVbs4X/Vg2RAVNb4BrHVRKZiTYGOjDiSrFzkPBkRTZMBxDFSeM8LsxuobxbVk4l/DK73yj9qEezYE0SKkdO+YcEG+4G/4pMBleckKiKP+vDWw338ibrUTqBGNWEd2gDc/2FaoGGBqon6pWVHdHMgHQneZtVYdMQG7rQOhr08rSnPCOeKtF1S8N9oZwJ2R3+amTnfXX0NY9FJ8bC5Z11sWM+twT+ib7jP7/GKZ30i0I7C3gK5iFrkwspSKg4l6C3MHW++6DhY3Tv77oisJYr45uUlg7cpFZGC6jPxYPKVUDnJzbHUi3K4TkgD8V+iDd8V9n55cQ1mrMVFofraVR5x+5btypwPnDnMa6mHgUQaxrDYYJSi6s52dIypvAvgdu6YDZKRjc84657AVaWnt8dLPgPr6NwaTgqNpFtfqjBRnkv4tAeKcvVwzElnAlqz6h7W7+K53VB/BOD96SZ4AuzLYuIT5XyZq2niE9bQxuDQ7IsXuqmPzukOl4TJSuS/VLhDSY8VIdTHaXm0X0iO6nLc1eGIu3y6L/JFqOlriG4EeqK6IMGmgiOfXQVZWWIV8JVcPp/l4x4lMD8xVSF/3T2Zgm81FHpNh7s/NDKOufiAiAH8srM21ny3EXA7v0ZWnT7qBGk7qkL+ssP4vHK37V2WNq+KDvzO3LuuGvyKWfjVTPGDQmCbDjbqLEMSXkG9eYOZV4XwRfDWr0x/iNt11gL3IKJs4v6DV8Ws9VgoO+4uO12oFegy2BeuvTVUnGEi+b5eNfTUFPoeTpseD6YwZVh51y55xi/xOWepxcmPgcVq64n+KiWdqGvPKPQ4G9iIJYem3TZNqd2elzbYFRf8myBt193B1JDYU1lT0y0AqbJlU3oOTUelhEBv9g/HXJNGbejsslIYxAxm5ZljT4fOJmbLNJBPNzG773onsyAj4OvJqVagZjjYEDa16ebtRIfb3KwHx0NSANkn57afShOpuUp9rZ3Kb8kwAmNY7UgUbcSudVjcJ39kF+9Wq+jUErGqFlTCyZib4lU5xUCu9DycgveHKdBssdSWkikEM9E98su5ZG8orceORr812ZqB8o3vTW9Il/6/Dqmjt9S52Xu13QMidY1TNDnCV2At1bNDgFB5RwLclpQqFgZXqxJghxvUW84CKYdTDYh5TDNYJPEB/IqvQCrDggq14HQoBgEqhhVCrTXac0BG1jzmJj7aTHHP1P/Q07SBSg1mYIu2VGXn5rTN/LxsD8g67w9fsxpM2qsNWYuP3yjuxsYkNMP+j8RENjUd3G4geVR2KT0tOibPZKq92RQev2HgnGc6hNgLt0Fkie43RIeIjMFnxqfvrS+oCkGsMhxhCjIO5rTKLM0kni3qz98/SQJ4nAX2kEj8SYPfpIALsgri0i9wpOYnnOpwZGHUn/hU2NemWQgBnFpPONHYxg2U9XFzYkn/T79QVuDbroCwaUB4VuCFWsyp/RQh662PeXM7Jxb+mXWO7VhYBMELYLRk8JnVa80wuRJK9MTuRduzOPVOCcAuFVnQ+2qA972C2Qpj6DrH24qAKqp4FgPzr4G3rDlga3q0rbHUHYeP2hOOm4sf7fMPPkeeIe9V+tntISpltgVV0KR3YYd6O5g93JTe7Ragc8tyr7kXlOiSBQeQQgTSLoGeNG8H77VwWPg6N/5jldijx+wPbD2siAWsmkQ10yFbDYg5N3WXPd20Hk5Ecsh93aiuSYKrJvTZ4MARYWEV3JfEe8pejLC6TzF7oEtPYZrWXCEtmpTSiI+elNmpFhWQAFBYwnBIEsYQ57Iz8TEhKdzuztuoh5fg7QOMLHrgMvTIvF5gF/EXWg5/0+VC6P07b14V9Fc3Wk+kWqJqgxyhRaC5PvnU9u8e0Z/L6bcUFnuc7J8Tkl0U9ZodtSD6PnDqhG4iYc+qSBUtucSxY8/tmCKLZzW0+EaC43UuaxwE0b9hG1IpeVjxte2FbK7oI2ljmLSmLvh5+ni563xH0IDQpmMXePm8wZH4Ta7ujm7fNMkFeMmHUNi9B2X6/iQ4HZlz4bReosUMy5MUC85R46QO2XRDlo3UsgbG4XSDXMC/uj92XlSnBu4Vf/WCrAp2O48uvDL4PqqCEYOIUnrAYvMgg1wUiMv3X2uwj2ieyWSUOxhNNxU9Ipm/krcv0jGekG72NvCdUsIMFqa+gR4n346VQkvA4zCBllAz52/GdKmAFuKCJWZIuPYqCsEAxCqw0OTRBd86w99uUi3gqOdu5DP1MeRi7Gjd6PvPjOmqOUM4XsQrxI0NCHlWU6rpJJkQ9wD+6DS7LVL9cLY8qSYnJlvYesxJYbOvErn1KBekJmTTsm3b/C0akd0mk8MDbXxiWrLoei/HLzT1OK4oYM2hjuXjPAPXQot1LxSkUKpvQoDmSNPn8trwwk2gjb4U+/QedZMhbtaMKhG+YHBP+WXayXg1hBMEv02kcuc/n5mFHK6h2FR4Gr+uUPRknawIkpucESi9toaGdqM3Io4j8xzmtXtqBxq5ujTIYrF2Sc/bikS4jfR4V5GVvIaCWkuSKxcUJzRTonY74g0FxuVpXd0oJVkE+0nuw8LjpS6GH5lVDGWD6q8hQMqJVjsw5mTMSlNUFHXBZGJcwJyHR12Cy/Tj6nXCzl1UvHNS4T8rVNlF65OUG3oeEMiYxeZVCCNjmw3PN6rIPsTBlTqJxByURZap3OOuRsrxbUOhI5/e1huZlqLxxxNoVw7wz1btpEhSPUR7Bm4VBZOLqPbB312pesObtd2luQvBCiGN6MATjeSWHMHLLzFw3wa1h3TrxcsxwEHZgsEdJmCk9FjQEzbx1FZund+58mohY8XROwi/Qm5CYaardqR240DOlJJOHlKUIRGTvWkIf9QXhCOI+zuKCdzRAoq5ssbYxHCJpxIbcNj/rby8U0lB2pNRmNqQ+FyH41V9Tuy0Dt+KnKqwdb/QeG/Wscs2EXW6kYyKtXfH4jhz4t7BiRjapAiKtGqhNfXTDf+V2DXFVohKXRfAL5uwaaL5+oTwBr7GwGR6vEAIQ9BUq+K5CNor3Baw8Zlmc7z/t3EXwfKq8IG/ReZGMAJqzrXG5Dl9SQT45tTcYU2UD9Vg+SJjnQWNqJleoFoKe8g5iXeuLaiS0UklhiHEBZPxBSgShR/NugtZ48FG3czc7cJWNjyOqUb1Lv6pWhhII89qArSgWX1QcvhiphEy2lo5gI5TfTFW+gEjPy2DL+BtE29X5HRPCS7k/m9qRa4b4jdBpRdfy2AUC0uiqbzsgAMZbXuKwVlN3ONQcC2bQNqb0wHVAB9Y9LhUdUdNKLhmH+RyZkHdg0jX7xbInpEW1Uf/oF5kCdO4uFCowvpG3lCGL0OfsG/CD+cZZoopJ2p62FEfYp+VGX9Zi6xz5uDZTDn8RP3DxnZ7lctUch01PSaK+WyJCFrtYhOoJTvW7r5GYvsTi7AbHuJxtzNujaqVyF3WLOHoI1XTcUseCxSwu5yqCKHhGs8acK4iDLNMOdcK4tXunJ7kN3HQSU+VHkrVsc5EaZ/yxCgQBlYsLIHO6254pmU2ed9ixFxU7nlOabzF/cRP7ACTTSJPVe9TJ3r8I/ELiEIyvHIwHodk51DBc80rzgSOfLxZDAQSh4vGBTnkyjGAO/A0h8Df2msVd2sbmBuH0B2H6CSt46ldAkoSqiFR0pxtbJAq5/Qtc5jDChJKlRkcUzQmYu0NcA7wRdyv+kblnTXAudLXrx+E7uo5kWchkw3yQ4o/lDwy7HxSqK4HcXA+phjYGfPpjsFBzE2h46wiZrEkgvFmsWhJM2EEAbnU6pqh1yEWNHEZ56R3CFfly/jaJNuAvDQY3uUkUX3kH4O8Du5mC+KNgFDL6vtUIy3AnoC9/IO5Za8U+GDdQGZkpY9oI/MQ7LvySvoC8dk1O1LhPnaQPP3yzJ0fC79T5Bsc3/ie2gr8ZS2/QBAKF766V+82zu53xIeRQMBNPGksCp8fpZD0InmRKZHSdjCysaMIvt6VSrnUG7GIzGGCAaqXH1NSFlxevMOg2AIVhQ+OjxFq38+fKKhkv1f8qoIpPPM0YDzC6VUms6/ontLXM9yBNPKSTNM6hF5qTh0EF4kYDH2iE8lG7fr5H/N32GCtFl7tnItHNjY8oANrz4csc+pykQnWVUuHAKa5I3zIKJT1+CrMo8nhGsuFzkgCJxw0FbSSwJR1scSk80SP9m0d5JtjvlBLWTXyD/bES0Ds2QxCXP5mnL2SPCrRGuMIDEKPizFtMTaDFZz48MKXhDFKaH6Fp1kV3aRxV73RBdadEsN2lDpTrVoqD437v9SAu5+PIZcm9sRyJWNz1YgAMVPghGlmtgpPNVq7c6ZaPUOO4ZBoX794xzKl2ksh5XX5sShjTpQYhVOHXCTGTlsiLjVNVdRM8S6JyA049PqEuousYntVYju2i4I0IfKY5ehBGPiVT3TvvFbg0leYa2VsUWvvzoqMl8blk3vW/hYuTzDUymDD+cTjE3FR8/4YZ37eleQQ/tnfCB0QLYRvpQXFNcKKCNzR/9Rn6KT9kCIMfbnrbrvcaMbn0LDs/Q7m7ghSx60qAu4f9/FIi7jqx6foIvJ/IeG72v+y3nHqErRh/IVOjIeYYuGpyRadLfc83wMrvq6PTmviBc1sng09vZ2XY8IahT2FkfBF4FICm+I8NGJ2mPsGswY7iMMUL2eUNvPa0plKlt+Hpc1m3/MlHKjKFtyc5oZ6awzHqQIJ5orUbEd5jdMa/lEHt2EOTNFgCOb6MH6MTSvZWemlxpPGUwYM0tWxsCWWoIdOxjx+twZykiyrxILnOKTHcG+5ptf6gxhGx8Bd/44Pwo5Qx4uMBPNPqcann1e8MEJMXQ+RvhddQUKSKWdC2uAT3gLZROF1+U+mUt3QIxMeB4ru2iHaUZKu5ViCiCKpwtIVUZZKEok/7duGwQrgUIHuIYQnjvcTTru3nNZKfKVgcLYMwRSuG+uZMFVEabFwi/4e6Hk7MTKPvdX4wFxLOsT3iN9GmC2P5KJm/Nte7G3Pw90Kj1ZlNHDdl3mAmtfQsTATjxymxiJC8EZ6C3DFRvt4eZd4Qx4XsFrLOhms75rCD/oJ1yA45qx/GMdDB9d8wDswxhBYqFzAKMDwp1XTFEIal/fLqJaMooS0mCHxUo8hHDuZDo2mlAOGUtQqfe6CX2i1MM2ZsxeTzjazWXITCt7G8PJ7lOmlWyPgKXZ/P8taBv6eFwT0wH0fVWIHwmE0jj8UA6nP8J26OdLTw2dqtg9hsB98RbsYKlRL8ITyC6Cz3g+JtP76CVCTzuzky8sY9eA4T7aGpzvm8mfqipze4yYk8xW7/mQD8PnMc0DXmW5gR/9ZrViBg50Aaksss518T1bv5woKXN7yIZEWDDbd18k11F3lULMEqsKx0FrOuG/GYddldoZ8O7kgAtobh3hovA8G3fG3DdaPNjDpsHyrWJfLpzjjMgP39MKuM7zH4mRsREt/W/rIC202I3z4X1fpFGJVRyDjHnZxLSlr4dn2YQL+j+Im7CpOwZ78jBx75MPymzyO9pdqOAQOqoxH0Vxmicw5pt+ASyLFImTpOeXf4W8TQJ1kKkKdkLBFm0jBsIeYL0PwY5qkLCEdB9V/kuEOiKTvweV3pELf0mjIYhvAXGzFe/i9/w7jgVHMiAzSCysKeqgM0G0bY1J3ifC6LXwwo/CwBW4If/3teGFyLme0jhxFx18CAeAcyNucVF75m7012Vgh8fH9DCbyo+SKI9P7+EHdK4vKvkArZzPemQU8gzZb2xi1VgFft9ZI9IEcgyCRkmQ+Xulwu69wTACTpav2Dr25Iddqd0hCMo9aqH1fKBeIa9wTd02CYV0+KyqhOt2mhc34iWWMREYmzIAfAxrd7zlry0MGn1sfUvsBdIlIkmM6u7HVhKzICe2VckxBSQV/pvPUr0oGb5nizDqg0CUOHzHg8s7/4Iu7hbcuTnbyF6keD7g7c16XizU9fCQAEj9BxVvvkPYv1stVq9F7l3sTRHvb4RHogX4NRqpP/ZofcCngz61BCPzh7nBRGTgVPOZf3fqp4WdW4JMnQovShE5wtoHyjeUV0F3Kpno8Mc2I7f4tDo4+QkuZzzU0YU8ExaewJjZALQk7QwCnenIi7dNBotTkjqwogguEWHAS075/5WTl4n9RPbS01NuEO6Uo9Hf3sFp9ojnVY6sQ8bWWTLz27kY61jvh5mwlmtOdLd7bEDYaowhuJZUHR0E7NduYoGRLB78aP4xsluixB2mtA82qGCL43teWIZ9Yhme7Ue/KCpT0CSIeoAhiZVJ4pfQNdKsL92gz+zta77NLhN5t6kO+CMRNtBlwZiQJm8hHkusV5s3ChtHTjeVudf4kg5SF+U55L2Gd4+x575DvI50/wYFi/1lpV7qF3Ggai92Jbjwl8TwVkUQYcQ0//Hdu89afFqaQoK0rLgO3ZWggv9TTSRvmQ0u6QHulfD3HNVI08MOhGOA9KKO9CaQh9QWP4aurfmprFC5+u51vqKfg1DiOfCro/cKhFXhKawHNlXD5jSmvPQJC73wwjcSE3ZOqJ6bjDhs8LY/HnEowMl7nBPrj639/hW4MwlPkysD5QrlOt0d/dVieymYFcV7R9t0CMfUFEUrU2Rh6+UxQ4GQnFMev0Lz2jPMpw48L/91/Ly3/f97D7+UL6tgY54GoHGLOnzqj1ciKc0C1MUKz4MAj07vScBzQtkxLKKPQRt06D2HzX5y5q+MNSrx70rB0PrTJEplZ54Vq/V/OwaUIG/vWYH7oWlXMERSSYUJX5VR/rnwf9u/Fbhq2nLxrxtLS0QTkzt8z2bx1Z8I2eDXDyDl7/VvqSWSK8kNhElhB0sJ0/QL3tKsRDiQLPtVimVfkeBOjPw9fgRsD5ScIhYujRm97k+0ReLhvW9z+38aLCTyFgdiHbYnsWbjD7Op4FfmWjFQsm4V/XiTlCdT0qMVuhmX8jNfyEyyBjVfxgICAVn75IEcytiu8LGxG4WzvZUS7CGkJ/wqrWudjV7j4z3prjC/mVEdQLAP28HK8nR7BerrSgBMybM99WwFk0KhYLPcopmkyy9pxtuQFZu8CaoSwAaZX7R9FYZP9CcvVb4l8HGLJ/hRgUOY6pTIaA3llZqQM/g6MHyI66OsRVIXba4rVTmdVAeVCcUvrUVRU9YzP6TnlyL1DfwEI7Ihimmkm8vo+WYe5bMcRm1TIzanU/OmTQVL7WXcTRUWHBbKbFKRFhvyaUA9HGGgpuMpJ4iok2YoQqQEScCLM/DVJUMGkZRiSsr4i576uoS7jqnQsrnrKQ4zuIONhp/p6FKxey9Vi6kj9pvkhD/fdD3mPpdQwHErY/OSoNeGgleyWgXXSozvYxjKeUooJVfJ/ksTDeM05QtyXgGuBAs7vmmMR8Ddm6tAHU40lapLJvnS87AErMdNDsFjravbv+x220gbGlbekp5ZdQf7rsr8Zd02iCfavxadusU0VwjYDy3NOPqLTq2ko9ERA5Qn6mGIbeg9eis19T5Xigo+lsryRv2/fqIpEACtTB77kbfWvKsg78uJaRgph4emYgJfojwMVnrfk6a620g/RLSEDmOCUSfKanyHsxYe0QV/ozGDAg9Gyfw7CYFAXh+Kq6ctasRQeMh4u+ZfoIxj3UweF016TG923daZxZrLFV7lsd2jh2V+TLe36ntGc1SsTq2FjRWfh3yDIRH/hHsJvI2E0fQsn6TSwDhtyrz5whvJqK1aU3HACrD6rEfma+L0QKBp4hPNQ9D4VFPy1lSEKuXYbxzG/FLem0fF+JB4iCxNXVNDiAjbNIShJoJNqAWZJ9dVz8Qq21vJ465IfYcyRT4NBA3Q8lLUYyC582j4Q3vflA2XcfxiFWzSELxzzt1lEn9UjMkh7N3RmvTaeYwEu4EngTu78dKQHRZF3y90QGk1vxNyFxxndz99foC4DhfP72tUwyNSAHGGFzFwztYAABfHRXBi1cHBTrB5amoJWuN3x6JTw67WnVlQh383XPM63zGjpzUgYsPFCa1LuqoH+vj9x/Q2tj7CV3NfgemXZU19ehukYM32Sg4q50uom146rgNu8ovLMbemqaunhwYELdpuvKkt3TDLPQtitXdsnay7W76Osaca6vYv3TEJAb6vOVoPVVpuOE93kvSQZ8CkmRCR7fOrd2WJsbNQ3PH8f6xyZx999RRb/kys/Mb3C4s2eNSG9Ow2h3YJyUb5D12EOtLTrebQxaXTrc1V5kovaQvaGRZmKhSRSielEMv8vzFQHsLwXW1VxwOkux8bFnFcZ2VDEC3G5yWV721inQVmf/HdfXyKvpribyEni0foWKgmfCK5yLzTgx/ZseVHQEFR+zad6b3ifvs9pLJXyzgYOqze7zTAaSRCrZMFZWXUZc+cmaGz/LHkdBb3AJcBG9YSy3ITWU6TghhOxaTO/0d6FdbHPBJ694/RcjcnC1IRmQXz/l56RWqToXHZComVuL1eDgB6aWcXAGz3kmyeEhJKQyzcxC0oKaa94oRkVrJ/iPlWrtsHYu+sYxhihZl4avwTKhfwmXzcAqzRnpbbiogPtKKKTt+8t9XM/ccZsZ8cvqAlViry7gaRT5brb0D9Sl3FpvTf/zO6j3KR+hoQ5hcyRBImviuL+835uF7OWnHr3WgquA5F1TYQTpaszlpJm3rPkH2rTvSGy65l5aJcCFVzLH4Iv3JKTeyawZpQd3R2oCisVk8dDHNRscmBsq3bnStFoLTQRD9H5hfCNp25f01DssSp7s3b6U1B0Lwhibs6Fy/rKrhHMgmZFarg3NjEwsU0cfgWNT3qpF+xbOFbLxNa0ukPnx9hAVatkTpU0sTV0/y2iVdQpE45R0ZZMtj3FMtjYvh2jcSdTPnlJBg8WyDSddnBdCHci2aQwndcKatM8IB5xWvapn6IauW6RL+7PeJImo/IDlzSUs3861Q5AEqJm9OmqS6ODET3mssaLTa5Q4/eiNONoru0O0Zglr7gCsqXGuEd0bO1Ph/0UNCTIJTgakONvBRt9UhJ83d6hhLbhjPOpnU5EaZf+sEAR1nwPIBS6bqHJm7Jw1ZoWDwO4bueiMjfb12wbiTkupOUY/I8N28o2n3ZSXzYQGpxib08HEZRw6hOJceLWkV2eYJPHfMoZW/3q/iYb/4eSQzJQtT3PFKX/TDO+TI/15lhQtmXZ+ZEDccEn52/X71qPC3rGutTY38r9NjVJt/dSIkR90axD1r5eCN9fN5LDDlRgBIdkzDszyz0sxrpMzzJ+6OLZwthha/6XBzZ530rvEM3/HG+W5xSuO+4VZwmHjIyXmWOK5d+w5UeJIu7+RVFX+RiHFbhX8fzUbY+9ENieC6E0gb7eQNFF0IpzDgmrQyforLhJ406SFGLYpn4D+WEznaglHEnuj5qvKTBoV7cZGnoxF8WsKpUQb/b1WsJTqSn1mSuxOEPVfXVDYpRbsw3TJyYaRmKIYgEha1Yz9ZfPdGY0yb7enBL7d4rfjSOl4Y87HE5p6uhjU/lYxPm8QliO1EsY7+Rk9h+tsY/hkZKE+l65oX6tPITNeoQ9oNzpUl35fAZq4O+uaiwEhyfPAco98TfH1Y3jCO+ajP6UqZ8NtEyt2QQkMtjaiRT1LKa+I8viPWGxlDMOKwxiSU7C1Z1Va6WZqR8kbQijqpODf1p7zWeuzgTAlvS4q1+ingP5NR62+CyIRxzBpRQAhQM4WYpXQ4Su5cXPgqHwOne+vDw7pXqksNr13HVdVujgGDKNYbfnzRAa43Ow3Xgc3HW0YP1BW6qf3ATcY4c2Z0b6W3UgwYqLCu1YBQpTbOjm04KMJ56AY12ZRkMUzih2iU2nyBzhBm9Aj46CrnSKG6hwCgk9LL/MOyinBhLM0HSx88gmtn/30mXjzcCFEKI2H49Bh7HbHHkdkU47JN7G4dBhYKGjyrypT0k1adiw+JmLXaiLMEYPgZolHSE2bwgUCg5RrrjMFh1LU/YuNszifb90FgagZe92baktukabdbfbEGTgwlV9r8Q+XU/5Pzqxklkym/87C8KP27OgIc6RWBtxxVP81X+FXHLGuFwesKFXR/BFOwOAIeNk1lQUjslceCvglsAxQlKlSaI7N2ulMy+mtZ+uJPfDfTqOt7DcbtuG02jqd0Pa7T8/XAJZkWIcmo+MIZUHijHxyQk7sUhyiYKtO+JwiNWUOK4sDNG1ZSchy2SX/nmYfI6RT+tKb41QItQoEf9i18MBmKjchBdKE7sqQ0PtwZ2rEajcV/mbgQ75nHMjw6H/fdw/KB+secYZT+5Zse2bkPTOKQj91L04x588xyeI/ePmBs1tP713skD9uhTbmci1EUlUZbHZOEnGWzC2hm7xj7Rhe4kgz5Atga9mz7fgz6EhfYScoFRejZXY9KvnXmNmhUKuDW8xrmzt1vrTi0nP1B65Pacb6yaPboE/wKLq2GIgqfJ/JWSunPrgrMf38e83gK4OJrM0xcE5QZSE1tOXHOw3aYbfa270CdqvIZxyuLF/gkLr5Lq9SbL4096LB265TqJl/NtONqWsjnIK6f1R0rZvIXDWXXQzSah3i3NgmyNfCW4EWv+lS7j3kpWy3DofWpWeBaq5Med/aW7IV9rhIY2za2VdZ7aetG9q03u87VEs2g5Wsyb6Izj/KLM33DxV8a0c0UBf2ZP9ZanJEBfAtRFvMfOysXCc+OotIMD4JWuLJ1SRlTElnroO7fpLZYXNxl5yog7oFowwmp9wa/+5aWjjiTXTzdOFtxGKdihOHPeqpVuS0eBRFXd+sFAfgSs8plsol6PhhZpfuiEECGU+VeLdX9+ZY63kcGTEX7cUYFOyBGkvxJTZG4YgCRuObsiG0vJJtC4r+JZRDKTWUR78xE5mb20TSAs8D0TOAIAVYvnQywe/heWp0Dr9aaG/ngNRq6ZNoRV4s07QarSTbcvvMvq72+7f5kPo3ftm/sqUW6CIU+3IzY9KjVK2RG6d6nmnWFI8LoAT9bIeUA/GcoeHl997hZm0Rb7r+gXAXv0VDu5emspmbaBc57zbA3lxmEevqIsuTzTxiWdWnEJ6bCkbt7vtU4p+d1cDpxzXTK1+TQyKiyRTA6GbWFmIsC7/A7pgq8eBNtwkar0SCAtqRnNJbK9vzCQ4UNPWyKJNUaFz0uj4tWQX2KK8oswY4/ePJn9D+Ty9C8xAPWADy3umWiePVr0CKcfv6K/Td+1QBdQx3IIv8M6PCkMCp1o17hWfg8Hql6jbkM2lpOsrkPKCXfXoMPKe9YCfalUt+HJyjORJUvInJxQtCbee+6no2aSt+CzqHr5kiYaXLg9yawn2v4Hmivxv+jX3NgpUdsxnk+iZLa3JQgVteIw86hxER0S/tgJYHrynlHQaOwy4ak5XWUnBd4+JlBG6UimtmGBu2uc5wC1xRT7DI0xv7CxJTJw3Ve7LblMnECle3+AIOA0AQZYdxv0wTXrXdobMyqzHQARECrXMCSdnZ+Qlve7P1d0a+veH505NMTrLkIQZUJZGXM7o/CcZZ6mZV8ei16yy4xIyUlTeAXO/gBxVUVWjLPFAmFB6r4rrXzeB3WR8U6F/cG1Bx7pB9cy1OoHhMiZg5BzOIY4/GUV2xgg+jsauPYBnul/vtfGJ+t6oFDXPuJhtRFe5e/w/YmFxTFhm5dYJUt1ZE5g+FUcqE5NS93ANRP25gkV+p2Ij7IrSMb98nLvnte3yBLfR3+sQ4YIwSRDswhG+kMkKkSQ663x6U3lfOtaYY4Oxt/P7daShapCWxuUHLLVR92B6B+DBxy/U0LGa/MXmPqIJXgCnmqL7CGeftp4G1b9PO8ii8iKA7qbSD8eICpTsIT4lfRBo3p5H41mRUWHlsn3MuDv9HbJKuLTsc2vxVSr/m41EJf48AvRSnA949Nm0QD7dPI5oJtnyYkvlWr9bBi+44wF5175xj8fYiP1Dbn520qo/suq4dr8vm48tDyrBUaLlQr/rNbCSV7V6n8zFRISaenJD7e+vlpL0xaLq2bh7FL68Gc12r7Xe0UO4OmvSw19scgG05/ws/DUiBBOws3JF1odtHZalW+QxJgjREanBQ9WyWtxzMxEVUB/3fkZfVY41wX0dTnMuZ+DuOJugMxcdHXON+ASPnCe4luu35OImuFd2HIOlobxi/lVS19YOGgBeukNGxvcelheorRmpEUbzBylu59T2kGtwcsLmD/9x6JJg1b0sEdIGS9UJMtxCPRVFXmCxKK2wtypwEUnXDlcatTnGeI+KdAjogHK2zY2DlvAmQQwcqDKrvBL4XqGWhMuESvSEdsu+eQC1krz71w+rVNxgW9FDsQpdksp+hve7JD2jKwcxShHVrDAJ1lmgxAiSzyoV6NGRE5b9NLQT1GyjvTlYz6ZamBMZvXHv6UvM7MtiuWQE5kJDnRlpD0/F47QvvZ0KkJi9RXjVe6ZglwvScnTXDaRxanFXoDEqbwaipmeuqsWx9KbmPDj+/jdrz1u6N0yDWR8slUns92Sr8u6TLZcErTnJ75fn4RpkenwXdctf6O1lPv5JooZaBPKvkte+eZILnzuzr2V+6r/mzIWvQ5IaC01QPsMQg+Ociz8fpx2SoFrPdFAiwaTblob+HpnJ6qWuALhtVPgq9JByIF8tGBADJ0wPhkGjbFkh8gVUSMoLOrw7NzS0eoT5949tHsovB1U75NCQ7WO3zwkSr55+4GStuWot097ydmfaB2+dBXqDW7j+0M6c4fWt2LP9ke3rdZPv4s5hvnkEUiGs+xW7winQN0zaMhvmqmBAhF06os0ghHZmkedS9w2NDBAHWkY5c0hcr+lKjZsGwa78Tj7BUEXXxWZEVWPlKZtQoNouINQ7K+wJRr9shz/QkukGE5CEg/QJ78g3rE+7/78o4iFp//QqHGDn/qvWxOf2QPNmaEyyesh/i9XCCoSwzCtsv54dUp8Dr6c7KI25BXgGd3LTMXzfliDO4UgEcH6POracxHJcLdQhYv44aRjzg3zX2r6LXIlhGD61TvOqZOYkTcAOUivJL1UM01PMqf+NfTR660rKvApmWOiyDne4lXJORnnBp7wRMD5MZBCqTD3eR56+v/ZxFhR17MV5LlqzBs98CxUydN8WpIduEj/qvt0wrklvGt4BYYnf038vr71kLTUs6bzr4WQlMmRqu2s/yCUvTQZfnZMn/T6kVPD80Fdbw0KplktYvlufugBQLYS5zWgkOpRMc0/MunZnw953wLfNO1pDmEWfXP+f6U7MORzJeXeYqCmRIHAuwggu4V82sOFWsWJ2EG2dbVddbteVmE9QcwLDOIAfHTIbmYtKfOSBK1H4s6NDMAV0kKVWlAsSekqgXbZo1JP1PQUivDPDGeynfe7+384EhqfAtWhCGuOZbrnDeHmwAEnzKgRD99f97bnjkSKo3eDg2dHTftvzQy5Qt1v/jt5TsPEzkyFFvAK2deA94cwuuwjnsRzBGfbcKLyiF6G2ZaDad15rfQ0P+iakGD8x8vTg81INoSdxKd+vb/ZH+1u/NNio+umV/kLqKgBD0ZFthsVLoRDhFbBJ6/+3psaIlhTQ4aHAVElrsMJMo1HGfmzvqczzs2raxNxjb0u4MAEPP6pjW08VODAh+QsoraHWGwppjkUbz7C0pBQDfSTaXITdIXzMFsUicrxYApJGxaKz2Um/eE4JrgatICwyXdu+Z4WxaiQb+LiaKnw/qg3NE6tun+cPYvslFEcYQ41bnVRDK3gSGrGuWrOldN1v1pkBRzOJ47NF9FdAe2v3hBv0q3Wm11qGJ9NnjXRAS9fJILKnKQ0DCdc+gWkqaRrw4od0cThdUlG0EpaWLy9INijq/rCKySwr6sjv0kMvsQhLtcK6vIUO0FGUR9aypIlzOBmRNcubkJ12YzSK3pTRYfxC/6z+3mNafxAVNQ3Q6GiZPPNjr8KSEJlQfPV/7sLS7J44PRlZdWTxmjx0D2mpY9zNfd1HZG5J8RyzCXuyuyp3euBBDzPt0nLkNXvKDOMjMjWUP42PpBWZXGLJpMtpwhaW48s4c2pAB989yQHvbip39csnTwC/IYXMbrBnRb2Tjd3aVJBPs5IK+thdpLG2HbxJ2lWavIWat6jDagCM/LEecDEbKVxxh41w6Iam8yNZEBBI+HC0rztAxN2FjrIy9Rv/YEQ7ULI+PiaKQ/X5wvngRfiV11wex65E0xYeicfyzgrDZvVCaT8RP1ABcqZ/ycBn1Jyf9ZwKYBFu1biOmU80IjMsxfuFwQ/Gp/+iPJC/DvQlHuzskJzKfB39CMYKM58zZekx1QUsstG1erNi6or1bOmn2oLAzYbRq+UFDJPXcdjsOHgGgsFWGgkooPbwmN1RijCV3x/go2+C83A9oT9Cc2N9luqARtmJNkV3LjSqzJzpoo8lYz+IEekuzesOzEHK5oNJvuqxCduXRweJGf0z4sNwEwbI33L6k0Tu+V5GIYa7RI4i6bq+k4goVCbGDtrqGDD+6XRKx24DiHPJfM26jM8vZNP7mKHwB946eWUye4QI1iiyEI+hTUmVS4MhV5aZiMcvY2VAg5eFC1oR/dMJRNfmt7NbcKpzoxSs4eTRVRrCFxJHMr6Q8LqS5INHZjp4enKGT6VCZbCuAYGe/s1mGh9whKcp4+1cZt8EVJDF9hrH5hBr8g7yBsDMvkwR1h5zhQKDHg5T7XVSn4Zc7Nci+gFk/mcSBUx6F1Qj9WwnKnig3YxOcH+m2xeXSPEET0IPVU/jxepatorwXHrDJP3DeueojCKHLy4oxBwayRi6UuN05rq8XUtgKkjc2GsZEtRUuNjblD0bfvgq57HOUXzsF9GkLUtFAD53E9lrwoub56NuKy592uiExc06pZg7KB6PjBbNFQ/Pxr/1lWUH4tjnRL3nXsXxNDV9BqQJh5k9OxCLGCTTuYYVFOXcYSlilOJ5YGWNcv+dT/DLsLXUlKcL2CWZchlz77AnuocwFzjHFgGvr2dAJtUDUOeAvqvBEaoIh41mWHvK5exzAbS6a2iK77Qv2d5MwuAySyWnjr1qfN9zbDUtufo8YinTvtlMPb9VxwZsozueDuz02mLtZPO5Cq94W5OLKbrjzZvnDG8UzT66rPOzBEtnB60N82/HiFRkCuCfCQP9tvdGjzE1ecHCkvX4OT+1e4nrMNIulGPpnjNn88E7CAOllK9ynVx39u7R/fiv/iRvGH8iCF8Fg4hzR2SR8lxrawtYB1sG39KMVaIEgkQUmKDg2tklY2soOOViJ6YMg+EbVqYoDWrWR0Y5tqXUA5Sip/F8WxoOrAUSXrsCNQ5k3mNZUzUgLdkKYB4elnuS/2fkbTVQ8IBppGSRkh4C5CNSYvgNX0X0n8iyoXenqzB1S2bLxhuhmV8fsWxYK/WkuW/8GJ6x5ElftUH9uaLVO4k7cWDYleBCijeftzJZTJFd9Y3f2Zj972F6rVglssWfYbwGJE7NmvKIRDLqsqGwPItrXdRXlDxedVe0qkywupZlKFVYLTCpfIwknboo9Ux9G+ZFLoyXWDdKknjL8Je/sx2rD4j5WjrrTw3HspoUpzhLC2dHSVPDpLCUaDJDufQS5MU9cTh9KZ6YHk2qlc2027GndSp8s3SrJUK/ymb4SyICWnvnqOAOZmlhecLWx13xjObZty/MAtpqeNzdj08KfZiiPef/rzM0SnTEfdBpJF8B3FmQmV6B9CyI10NlWjTlnS5f1ONHMtH5aBHRhhL0VvQ8cugvQqSOPkJwFrd8ePvF7dDfOWr9D1//dv+G7h/8hYrB1BszRCeF0Cp+3L3R9VrdhIyPgGcMyrj7UrngkxbW9XS2jETzd2hBkf4QnaQDaBpi6rcMm3CYF3P84DjVA5pyqb8m3o7VMRhSpEPSkEoOjhti4FwcFWRs/llWzuBtc5ZHUS00PKnVadks8eaLDF/F6fRwel1S1zKP4vBU8FEA7mZThBzLj56m5H4WPhscsEG14W80C/0GDg+Hk98Ce1nP6YtiBywk8y6PnOvTprvsoOVsNDT14b6itMqyuYLoxWDfX4MAziBQBU+162RDr1SCqvbcuKpmZHxIQ3EpTcs865LljLa7hXLvkwPHEGst0RdwnrdmpRzV4iiv7O8531C9K7fZNqhtM6qcgwaFjfJKTHhIwphMt8CoAzC0AtQwgrCnfu0IPoCpK4eW/accIf472/8M+hnXcrQ4jXBOf/082lJZIk0w3pDySkwoGshReOtVlHxt7jt4e/h/0q1My37AZGtR9jDodwP9vJfpSOyPBuOagtI0GacESg7kx77R+nWlN5yluL66qkfcZ259/OTB2WjYwS06v/sroWB/xYGBM3RMpkdckgb5yuid7GEbQuAsjM3ngATZFdticDS+zPpb8FvCqBz7PJzXNFlM7HaxUGpNqLjzn9TB79GYBKINlxcsI8qrIiT0P94DP6F1eLNBHvdke6ozBOIG68vASPzxx+YcsCUXZTr6+Z3cKp+KLW3LM4nwzK2Y5o+dmxfnWWfc7VQR+awY6hmgHvIrNflfdPh9QjWW9z9bKtmgv29x91POO8T6lkJM4j02daXuPA7N705Csm+di8KbNW9olHR8MIUX8xX2txZoREFKfu544qgCwBTdKs37nALv5iQWaKELHfs9QZUOhYVQlGf+BbhmhOm5usGZxRGdoqMtndy+g8/d10mpuyrBIF7XpdtoU9vRLQYt+F54Ve5bfcQoL1prUockKnicNMeQEsIPSupv6hMFMyS78zlpv70SphJT/F2uj4ed3mmYrZIBwPY/1FA86ys+0dqMuxszyjmuBye3Odm7v1qNo/83MkOlWU/d2B5NDi9scvIsUUQTTFYkUH/f4saYqqKY7dHkXOQcUstPIdQUbDXkLozhJxlCopElTUmXjgCKADKMzfsi08A48Z8E+hTvZy1KmpEJ3VcFOl+Ige2RJkPvtnfOI9zx8TcQfVis14yAJcW1Dr9Nf4w+8NYGf1CQcqLyx+uyhptEkCHmXE0RLM6MBXxh9kNyJJxwL22EkxV9I4zrTsR61EPEoTlCsjkEpCP55hECWFrbUgBDrhNF68xi+t6xLup1eygjxhwcKCjVB84iPeB6i5ovPECkwRZ5TAsRdPvp+H3JdLZirdn4PBy2mx8F1C/y/VKjCCYZWNVVgRKBHQirZ43j1/Mb7xZGTEe9hs8NuZeJ3xd1uDYTk2gtiqP03MEKl47QHaJP9CkGxpWVerbB0XK+TjzhhQxCEUQ2YX+SDjYdJGohVbc48X0nRrfT4/dTxay3AhANppSDTr8yU5iYy9+Pj9UDi/H1R5x1ZMmPtYBKBbqNJUtWrVzzW0AHHB8rgnrSYs4QR0u/kgmYs9u1yfevsUdo+UTxiZnlbfF6Qo/62wdJSYsNxCwTcrzRvjQWW1xTicJ6H50QoMMrOEOA3e31UTHAH9yvLo98aw45QU1hj1ar6J88JYKhC66dKs5/RO0SvyvwtWaRTbi6pTbmW7RlidwJ+XMBxRJRmXbcyxHmuvkrBW1Hsq67PF/G0KuqTCrez6I9AqiyL8/1FBzuzPle23NnpqzebybvrnmI07lJzPGMV1mOHb96tRp7timneX/b0YYQHfAP/L753gL2DvjpFmaatSURBkTlzFjUqtm2r+hLyo+1IOi4YUx/5LREfpREpMAS+tuMfeaU9qWL5FPIRE6QxHXEoEmcb0gSrKFZwWXAPrlu1UTcJwtoo62bxPlQ8kdAC/XhTKTAEKw9NuK/9PpUFvQcbL+yv4PDYcFWgEKwGO9Qbfkw3EPevm8nxoVvc3wzT4caeYYTCZ/tIscTslFD9rr4rx7Ft7WzBQv8RWI92qLj4THIrWW/ikv+GZA59+ey4HUNnitNbcnfqN9NXQupgxqRTQ0yrYDNn+afLhYvDJ8Vw0dx0uj5eBzwjRyQxAKbeOuwaWW34h2dMmeadkfp1HBP6Li8tfPJ6LtX4EqxWcwBkxjYSkqG2L05jlvgs/zVSxv2BXROwebawRJsgc79YbTzC8YoV92eSnACwPuGwCzvnCau48C52JKnoqM3JvKe+B2+yENDANBoBg+dh8f484Lm7SbxGeKqLNMLpy4uHjwbftZSsDtaFiCntWW4n75StfTuhBFtx+LeAaZfNG/H1GPbNo8u91YGDwv+JlCCi5YYPE6E6ZcNts+JfLvMC6gAek1kyQpTplwYUkEp8l/+lFfs9gUmZxeEvW1xndw2IH4h4GS8aMa2EUCWV/Sc7YFeqFXE9UHkATVfI6fHInBTKUwlt1jMKZ2T2K2ZNXLCGhCHhyf1Zicr154bkSnN4pRYIK+w6SYLiPhDaKZTGcPkAyMxw8mWdKwn9U+0ZwshMJlDEmc8nS4BeQC95H+grcovWOCXk2A0qrDqwXj11o/BuD1aiHttDPHzcAhMvGMY9HyJcPX8/p5/61TMT0oWm7WgsDWM9ORmPC2lgxnFVVvDM0C3Q+h1pYLI8TLBPDlCuZeuowuTOKOzrRf1gga+a0c7AlBK4AFX/5HS9gnF8P4NsK1qXe4a8SV6ioPkv2p/S2X0gziBlB//aJnfuUT3MA4xX7hjL4YcqSDflvGie7YhqMgTrHFmyMtApdBrnHyHJC0IoZILrxKwL3fWXXeyaakzDsqqQNeXrsRnhqkoSFGkyCLVglsjflRNYTjStVzvmpfA14l3em1aWhYLSUI23H6CB+zwnjbjq9UczzBmypwxTTFoIMggM7xEcufErxDX39uJWGIx426AFzAW/Dnrc+ziZjrZVIpNIsUUMGxZ/C0Jv3SZqzZ6DauV0CTOOYrnA4qvIdnaDV+sdk4pW3+P/LmwpRMrVqKu1+sKPsj0ApZPc2lUINMW5e5KnDPlLKygvOtL2xEW98TylfcD0gNS1ly7CYMRkw55HoCSpLRSiOU2CJYy4QfItVJDSINmAE5n9qpZaKkiMvtIfL+5jihx+Mdv2XbplqlMA+xM6xzH5csFT0XJv/D+Wkb66QqPTEsTebAIi+WFNKG7vq/2Fn1mQjbeX3ZuhraIndt2dbeyuZnFVYQ/v7nsid1vEQgDA/ZzeDngKL8n0pIqRYq+KD+Pt/qC9xLx/4nLhn1yD3NU/JiXGvkrDVU3oYnjGrRdl2O4m5tfjVTmIBVNjzEflLnr46ou+z7sSFM1LVjcZSMC5PEDYNVsAwQJLh0XrmfceqS6jjmWI5ziAAxoslHnd7bW/JU73ZjOU+f7wc8rgk44AaA5YhkZXiVo5DwMDyY5oVJ3t125RgSBOnTHeqk8iyO1AHyPrqxJJoMOklQIhf1DNoR5f9J4kDmVObu93HIykcnrkkgI0hfl2Yzo+t7Qn2sVJV87LC1Fam9T80ZIvBtc7Yln5pGMBnliyGJK6ldyHprjtqsYynk4SIFPpEaLsjj1Ktkeo9hi9flnqzsCtrRpQNRTOrrlb9SxBvxs2+BYvZFU7Pot56Tm0l0qXYCh26lBjtSK5h1CWnBASag3sVJjPOnzG0yzetJbq7ig+BtZ75PqBan8/8eWipfaZtJLgg7/WU+Y4PoZaUhRvDhsnYc9NlBc7PX5FtLSorHr6Vpl6a8G2xa5KiNhvIH4vacPPwKWsBCZheiQDhKvgSR/ru1JE0eHavbEEvY1RxnjA696UKk5kGRi3eriKyF3v9JfSxat9Clgza70UIlKZccG9+p1VCM4uayIv0VkBxPnl3YmkRy+IFbc6bFMbBoMNL/HxWA1kUW8+ftd6LDDsVOQMeMXHxxdDIUKqUnlo/Yv3BYcUbdqBrYrFpDEWSoRho2SwQnU7Vc3Sd4SrWKzG1VbBivlTg8NEAdKToLOaEgV6qik54nGr/iYrTrYJrXzhxNbsCRvBty87APcSI/w4zX3WvW1wAfm2DzrVv6PBhOsqVGixAqXDuN+yl2sOsTZ1CVOCI/Eac254ymLPLWSrircbs+Fupy4O+SA8qPncmp+KnMq/EJ8Zdwma9TsZLWI4j70foG6YFpxn7+wk1tufhXhoHzVMpP0Mc/2EnnrfyZSbYig7kln6ZKb3MNzvT1xFD0pgsCgxTrAqjBsTZGh0DgxjBQbvp2akzVG0/ForEIqOmIHUY6uF8nUYFXKQnE4ZEa7p8QKw/n5C9ostOIC1CbRxOV4MLkxiWq2Zd7Qtaaemz/rMQIJn95k6BBiXZOqvuITZHSIuyfrlOpW+3icuCnpXLablOmGVJaS+mJlWJxIbieFRrBilI1MAC+JdGxlCQfJqgRsephI8fBedUe+Y/xBt2B1ZcHbosIWFsasbqTWXDd4LfU3ZOEj6gy17hcm7roYzebVZaoojiEar8vMnTDpZlsNLvQD3fA6LTTiO6P8pZH2crdCMHwiuufqjN/KyhxcaUCN7mkqWxdO5VA5MucKJNQzIDOQ9aPNkJpawzi1qEDCiaxKNzzrYDTbpo8uV78jT1Gu4F7pgxfXqtQPq3IJy+SNrS0ljFR19/SLBc4+qM+Jp2PPNfWy9jHAoB5lqDCkYl0Odk2MUgHmZAp8klRXW84k+miTPLaWq7JXuk78ZLoxwdlwIEh8nr3ShL5AAaq6XzI4IqVaUQBku6CYHvDHNlTt5Oeb/rNvPeZ2ezVY7jTEeskoYUwedxg9k9OsWwf6JyPhT8rOMeI3jvRVXtMOpkJtX5CaMrgv+05d3vgnKyLbtd1M4Q8XYTgLn6eCxN9tjB8fUuuQ8wiR4wheLIUx5a5BefRl2L+DfeISpTHWhIUUmh7+1JIr6yCuS4t/UmntdmVLztA8W2Rz7tbDasQwqTvzlxGlLuAcMRYk6ZHdkN0JRp0WWW0Xt+0mdP6Ygh044fOrexUXmsen2icOzOe3R5yTYQB9VFrqDTlmCV2Akwe7epps+iLDkyTDZUpJEvRMM0CVSGpNzt8K1HCls91EAhKiBor0PtRyhGh6f0hwCK3indoxD99wfzi5cMrQT5+g+Wts0OeRbTJ27QAnxg6EvTeKgKpo3dU4TQgUmwsoKN55AsQ8dzbXDckoBExPtTNdooM9uobJ9jEHe4aO3hg5dhaF+/+S3xgEOUD0xvy2dJt4U+nRi06btCq61BooCR2q33lhDtkck4q6izLQvM7cEisO34quW7zutAN6BUKCj/Op7fVUg8VcAtobhbSRNObFDatVEYb5+j8Ha3UW4dP4uoLSAp5rmXZOMHEsVBjUsvB5+jKSlHusWRgqPgn9KBgT+Cmn1uH2OoOq3eRTCFCAr6wO3AqRXEkzkBY94z2UuL+Tudpku1/GKa+7HhOTArQM87qsP3fBnK5hZAfSlmfNorqc+T0HM41TwZgLhrNtbf9nmtr7FYtokb+2+++c/lVGRS4UnchXbEEOsy1E0Cs9YKE2r0a5HVtEfM5H/cOmbgObT7aqWaacL80IULZ0Uj1KXmkvYXuzHZIa7WBW/k0OyUL2wY1lHoSP32Xen5lOyIHL0S0rVSTTdktJbL5Gxk9YlFec1QK1n0ZBi+Xu5sVL5+uaTsooXtlz3EJyNZ3n5IJ+pqCgH6UJq0khwfPwkcyUQTEJOgBCwf1m4u2abyWf/vGeuDzAWI8wfkDWDtCLjdSDwx5+VsV1prq4zS0DGFKe2JZnAdST2Q2qimbF1RjmMPk5V2eK67Y+6tsY9kTbw1+BQMcbvIW7TthFjQnEPjwpuGzRvwv80OopH4CFoC0GlMIXE8D6hw8gO6xuv6MOp2Omw8gpafDxoXwa9yFAp/gdGik4AwTc4s97OxN+crdIHlVLIJqrmqmNOdO0XF5pYIVdXvy1VYyN7wcrr/mLFkAlsQrw+yF3Ro+KqbLaY0MfrsotU+isJPFLpiVgFx5BxA5KGooLwKXjapEiRwZ/2hOaHB4hlFoU/FLkyCNEg9XFN/3R+lknoLAVQy2Tbjb7an+R8kVPBryAow9lbDd911Q18yHp+dPBtXJs87EEwSMXHhi1qGX7njHeKbEYOlDR+VtxKsiwBKempMNp6Qh5tItqeuVqjY8SfBBd2DhG43lt5UYQCg1S6uFHlu/mM/HmgajUOttIUF3P8c7G4T0quuLwOVfOf5RbzXDdmriGNX/MRXEgcgX2pMrJ/PAT/6O01Q05zQbxsPt2BJbatiVgoM6GD5BdhgYz0tyRpdIbGsnlwShwxDkD3f0iASFsb+bofiFNxnPH91n5oip4taf+hKbyJleNg28bfC310v2aK4nfdbd09nEQMmFZaEQEBeEFHfPiJSMDV/VvsRHlSaIMe1kfMh6rRdNqP7iHnHYMWLHqaD4vwptfG9ukBByqqoSdPVh1VGkU0IPS2o0ARS1qj0J+y9FeiR6CzqfjWOW50KDmHHb3VyM3b3cLHWq1DER6axgI9gi1lT2n4nWteCTU9XjgORSDB8LoKj/p+FrN/lVEyyWPZTZFC3r6KublcSQ90knxtI/qkvyRoa1657bT9B4twu0K7OlbizZc7/OOacw+gQCqBYHC98ao9E86hMDRTAT4h2a4ttxYcgNkN4Zk449py5+tgHqCAAa4NTOYC0ce8xQ5GbIxzGOgeHWLb9f3bTa8wZg2VhV4ckbQTzYykJwZOTOPIK/LqLiCPn26VgTu3UBzGqpgMWC/Upmj3zI9xi6MtM1t2XTHG2teX9nba7egNPoas6yMU8iP/fTksiVARVITIQQkvQRs0tcB1k4Re6oyUiPoRmxX6IbTPHR/BvkaEfBX2FwpgcvRJZ60lcZREw3BDAcerG9y/AmJuLI5RFMnW96fMkqkBqkCf1A8OzghiRTgj2CjIxAbmfKdkG28U9ff6pNcS74OFla96WlqN2g2eqWTbpC6VvRj41GC83ojaQdIl5UnzfRKZj2nKkPfROb5UzcixAdzoPCg2iMFKR9GrFp+R8N11Ly2UnM9bDz5J3YGbYfMI48wcXQx1g1v7PflS3qmElNLijSt7UxyiZCaNRpzWmxDmnz5SQhTHMtfztEt2SPMIMHeGnJ29Ud9lEyXl+vovIOLm6HldJWm3wiYOvtVtnmTXT4XtGbdN30MeIw60qpTUXiNuMjD4/AUKdGe98+gOuq6xAYi5KZLXkP0pscOk2hdxUJzAhAdb6FnZkNJU9ey/1KKc/fcNI8FednU/4VpvAn3eAqJ45DY76SXBOm0MTWC2blyUDISfBakp3rjvGkGFnf6w9vCKd4P/6mGmszL3P66AjLxGKNI0VNHiVNWErLck+4rb9cr7hVQEDN0CRm0dCT88zwO9+8Rzy9Act9WftavoGInGys7W8No/0ZApPTGha0xWtRsoo8mtbBgekBk8tu2kvzxP50/nSAeLwZGoiqKv7NHnE7Q21m/rU4AuILXC+VoXstT2clLnaBEjJWKU5lnaH2jWpYOOw/Mlk6VodERFvi1evlyo0cguqoa4l1I7tSQz19S3y08Tp0rx/xbDO3qqPP3bwaRjycrQblrBOMfNMlx0+k4Yau+g/MolVijVOj06vWJ7Wdq64jjsgutixssj4UL2AW3AnMNjNBIw9jbbki24pCV8SmU4tdfTPxBK812nz91U54yopdI0yAbJNrRNv3frjip78bIK9f0eaS491DZJ5hXbEBc1ERl7sEg2WOMIFda0lhKGyglPvPbYPwXFYi3ILH8pIg61eIkD8mViR3u9WbG84qozergFczli6PVOSaX+KEeikBN/yAn4uU8By76sI91huXIfPmZr5VhULrlspBbwfwodZa65sdaEiYriVfufZES/ddlR43qmsg1qqvwnoa7/3KmtrTF+o2Pmrr7VZRw34C9f8Fcalu08kq1K3YtYesiqALHKOTS1Wd3jNG/lKl4kHIRIkhThy+77pEl5ZsjrN92z2LRNstDvAmdH94oPga8khROOXoNqK8FR4meMJpsTuK/41SFMjIA0S+GKhcXqLVrZZITsqagoB83TWzwNJeZwC4CBRN168pkIaufrsAwGQgP8a2Td69Hg3m4+Ic6iA/WnGOh5fGWboyqGviSrH8kpAbNFefgQivazwelumt0TyNl8Fpq8ceHPnDvFekVcip7C/jW0eAD7rKx8pj4I9aV9QpNuTzIOQ/cZf0Y6WXkMYQm9jMK2Qh6r13HhXZfl4qiYouWRXnmfmjVtsSzgcIFTEKHZn5o5U4PiWUn0NWwE6RY+NAYVMCyAOTIAu/LndzB6Y2EaHNeHAt3qSRElo71v/Z+VjGzCe7yahGo5VQbEjH88nIUNOSd5j5xquVHV6aFf1Dg6PG8+6HSu7Mw/7k6VVL9wAix9POcgT4iNbW1lqD9IhOc6+Os6BCDjkbFe4zbm1JXCFa0x85q7kFgVpb155XQhs5Sjuy/hvyT2XDxyZvD95UFQx/Ng2kL0rNGxk9NGTCFPeTbZYRCQOj0AQ+n31uOlF9jT9EdwtzYsuPYLw/KNe2hqsxS+CBA8gWsryzF+9OGumWoHfxccR52DcupZUeZhaylYY305dFXC56RCzpmB3cbRZxOtnS/rbSxGCM1KubafiUCJzeyAHwMHoiilVTCE/ubyHq4Qb+EkvOkoDbQ6OdHbtrIMO6EiSFn+r7OU9DOJ5inslqbR39U3t90nBGMAKqsp0oWMyGxj0ISFWbe0Ug73ENxMb3EvM6YDRFyN91rMXLNz0uNPbyf1r3h7Oz7kNdDuHgwegAgLPxY1GfROAbfqvQkb8YNTUAdjm20UCj6AsgBhDA7zdxZjyWGkTUwZ8yEWZi/zS+j7Lv3sxnvF/vhbuK5hWSEsliHI5QaGp2F6vZ4AoOg6EYF+EjMeKEPZxcX8qVxHtGYVfKQTkjEOrLATDRgr/Mt44Eqt6y3VY4aTHUPUKpQ2uhflSwbaD88nX/l93zsC2mxWxEG8pTxKu/fSZyXMohNcZvGkaKSgycNq/4SpHiND1Ypyogvjc6f3Grj6CIKnYIAEObFstu5105+wuWCBsaEK63Md+LmZjKIo98gLm0qVYO8zlu15jAp4NgFAan26QovdsxFzOKNRuYXJVR3ASz0bRrMByQNHPza7hXuq2U0alPjXbR3h+gdC6Vqrk8+h7Dwqa43PiisVGwEuSFHMUURrzNzJJMo6LuaiH5ZQXTGIW1qGJ+ncmYGmJQN7eHw1SMBRdOm/S9K//VO13gN+kPkNqrZwnR1tq8EvcdlUxkulS2xpInu4yCEwaW0okB9lCMr/qSZjLZJ04zuaVvmOiSoCnIp7dIWP2EfMbFIuIQ130vX16dZxC+GU674pDv96KPbrk5FL5kfTN6rWR3Zc3ok4JZxVlCvJdxEOc8zUz7Hp5avca/68l8WTL2tikq0ZoqT1NCG3f+RN6mTqriyrTqA8PZOTwAeyh19rBtaB+N5PHB/63kYeAO9Saq2cJJKEIVkpmU2XswjpyBYpWuHDQaE/ebAeqWEZDZ9PoqNPAKvXDw4u+qfH6Wkr5Ud/V3aI/hnaaWZTqdTijleuUOPPUspyi4elFL8rtClr6UKA7J2g0xo8zb+paus4gvxifBRsxio40HEfX3vWqLx20W5rH3gaBXIaniNV0KPjX1prj1X1NBNR5cT0HcXkPXUACRC+5fTRjKw5LAWYJzQwSRkHU9MoNX/fAO0qkRBIcdBAQVW/NEGUzdHrLnoaALm5o7DGhtxupQSbSwgAPmSRJH7ofVWsRdfAeKTNUmIkYYjn06B4TYhgLLwxv8BAFK5W6AGAakZDir9E8FQXi129a96RFkh0tVYGfozFJfvVX/n294oHQJ8I39r8t5v6kQAy+uLysIJMUY/VPuJbkYxVHZmdVZHcKaNfA6s7TbWe8eGxuPrW16Cw6YK1om2hrLnO1O+QcM8whVQYdjqgV+r7TpjOJDzX/zkZCgmNbJyLhUDxzW5rPvORNL5X9Ghw9v6RA+UDAM4NuUv3Try+iL0cGUHOM13B+59mZIFyW/nhrajPXAJrVM2KEUHRmpTJqeI+nU/CpHHe5Nlnt0q4plbZcbzjVLM/WAiNoZUNlyJ9qrm5g9I4kbsg2ZpPYsxVGfICU+LN21+OZC3+l6hiy0bDjL5ppj0KgqisNSz99KLoWiq01JeBRwwqkiSktNI3M58tFqRDW5Nbdr3skaZjGvdmfJemB3ctGKOYNySQwZ0PJhbrzJomDuzjqlbmAXxN9qr4oyT4tjeJNNHub89QE8DIESCbEo/BdO33YSkaz5svD/GRhKVdYZLZmZasUBbfhW3v1gzt4sWt7ZVVj4z0dKLOoRZjznwKcSplzQL/N2iNUc2C1L4wh0Gwvf1E3/B0SzievuNwp6MCfyUhwjl7ZHKcvJJfIp8/YjslwenC0TlDQuBtKIRrbEajjRhlERNrB9ZypUgSTgU9E5inqnR0rEiy73jRBs0tN1VpXsv4sx3Ud6xEedJuspCJscvWK31gzw7Hn4+IOWC/pbyhN4whTW+zW7R8zGyvN5UMk3CHE3Bva2dYM8FsoikZTayHhYQi0kgoO8Yj+h+8p1O11we4p2Hq1kb4/ihOAOdnXU4XJ18Fxk+EXq6nFLw7d3bQxA30OeZDJR/GW1KxCpAlaTdp2wPnmSXYwKGEsr6Fb+0/pqjB8pHy2ruPYRPUxxiU9ro9xfL/K8pz8av7bulx5VkGutzELw6ToU0ACwE8D7UGLAy7YyS6CZxI8SBBZyA0SfFolceVt1z8ggtfJ6wENry0BPxIQQS+X5A/YMb2L3/tAHYZzpQKutBnHhQhywppYkdSYQDaA0BuEA+dCn507jYYK8a3xXQ4WaK1zGm+13SqvA1gMZyh1YGew0pUPT2UYHO0GHaGSrlt0O5uws7lwFYqgjiaZMuCV/afwKnTihAKtPJ6ZRysP5+upy82OvpsyLaR4ag/uIrGqh7CqNj0+cDpE+EeqpSAJD9BSF1K/ZXV7yanyRldQgTEmdEuVvVF0O7vY12t0Tq5SGRVhYLKO2nXBUsVtUfgAREhkQRvgFshlcsk6fG99HqHsc3/O74HASsXRPz6Fg0Or8E0ov8PJuly7TEk3xOetiHH4BTny1wAq2mla09RO/5LrPgCsElf4+qLIR3A7nIZycDdF8YkmTHccjhApbiRes1hCP0hZjDKMSlV79Sm9b7/1VQwgF67797s6bObx8+mdCmGAc6s/OpRYNPK3qXr8zvn6Tbs846b1G9klcQiAHYlHzttfPaEU6g2Py+JRZMcS2OtqCOlmXFCQFT+Q8cjTzNvd2heivCO5ua1UcVM/+3idvhcOgc3zLDHpvaz0FLpUbYi/d0QkzDdTEyqEU4yF9NUeZ5dXVBnO4PZqkxud3jTFNOHZ8CY6XOzwhM35UY1YN+0Wd4MkHMYkiyLo0/w5ZzOwYm9ttfox9GK4pt99pzjSasVU0BV1ePRCFQ2eHQRmXcAfXovAQ4cnpWErkKYr03Ns7a64iraa5oSvK1LBNXQAWd+hNZPy0BnntitUC8DjKoHbqUsjhJ23OFxDPTqsPs+3Nt6qWh2++riPED2x1xS9zdM4HXL5q2ovwrrm0yQEaS9LBEe0ebtWKhr6ac6EewA8fWpYiGratwhWtGCNm/EigyRrVsAuix3kpPNabTFryaPsWREBCTUkjxFiX2FirZxDJEginNA8+G/MZq3WyZ8H4JWqc6DKrkuwHpu0+FkNYz+VzMtmK75hm1JIbdzgeTCVE9jb/ClG+MD3Z+dGFiCeiMB4AL7KERmlHlvq/sPD3RJo3Ax1IBag/FCUahnLQQVNiktYsqMihGGTiP+w5k1FcSKdruTyEucXzimaF2pQ4aluXvZPv9F+faGPaNEszpAVnCEsq4z+V4mV/qYwUE47pHWkY/YfKYpJYzPYKMa3qUnMXmhJZvd1+TkCcO/9FlVb/mTF5Rtm4/NRm/SeLZVkvZsi8oacU+eLoXRSK50N9XAeNYMwllYUtLImMlmYsNJMw6fpz7nGih6XZbgJj9ApGHtGCM7RnobjQlTyCUPb+s32noFNmrcPt5T2y4bhrqfeYwY6FweB6Km9asK961VYQr51HdoJ2ys+h/ffwOCSjhEd0ztL0Zm0wCgQXd0nOZoBj9o14zA32NsI5wTCRLkQAk/7yr1CVONokWfZcfGLl3tUziaAhompQ2ZJ96bLT9oQmHKAbHqNLEM9Iy38xrOXSBEo2gV7t6xRjbdxzrXpCl8nKr/FiaKDqgxrxRJxXRa64FYTazynrkQ+TnbBt34SuttBAzD23CXkcXNDmvlLdmO+841G6lVnoraObaDYnqEzIaY4LoqgTrjDphkhuc9ZkWlhpaFXFhvBA47q+0x48bCEmkov5/5KYkPRscytKOwn+NehCBGheZk21CTjMtfPm3rEEayzaVErmuJGEvDVq033IJCGxKGoCvmR+P9mqV4VpUjHzIFYvMed6XkfICNixhvEBwJNqoAwlsOPyob5u5vMGmoWigexl4nhLjCni9l0CEDW/X/YYR4aW8UQACCtv1JnhdMmtRU6ZoysMpsTICg6CdUwF3diW8KuQ2YAkHSHDMSRwLWiIOxxal0E24VYtz0VZFwJKQyJOhZTzKUmLEAvo/N/vMQq6tGONiRLNA4tPVfmFfg3a55a/RxJ/XHNzTImhIcpHm/UPN2r6lj91KayArYZd7zF9f7iI1nhBO5YTNhG8VOeVXKn6unaBKgUmvPwPZ1xZN/zyK5CDLDWU1+z8LW3qm6V+KHA1kCpjk91EIQqvVDQ+VVK3Q/4+VVg7Jpj9kA39HZd5HhkWkxRQuaQUb1oX6cjYJ58Epp9YjP6qzgj50diND2MfrtO6kBXqV5R8pDf8QrDA7rbLvHtktJ3dhjlyTqJtVvKBjuVWJ5Vr8w57NtUHFM741KR4F/+l19ZC0R3uk2cotfH/i1+dpm2j/OaLptX7ApL/vf/WasTdYhwUw0LMxzvgaOknJLHTmlQxlLAa0CS82kpmxXIkBE1tbkumCcKawIfnNTszrn4EQXgqrLvHNf0jk7hLYCNHsJ7wDZQIZPpqh5tU5w2sA+RHtCfMu4UdKXrtYBkgM40M1h8HOKmhU9lxdaXQHBfbILshrKrcPELMaBYmU9+fzA1nwCML7ZX9zoofZYakPpiNpuHxQdJkZ6EyL9FOZiELfTDqDfIrvLDv5bjTvZl7zPr6S9iLzSdGBa37KA/8J3/jRfY+El4aRsBDdYHJ22AXrQ6L6+A1os2k6cP3CmcUGi7rYJvLen0Q8uN5jJDMZ3bxlnDzWKxSx+t4Cg0PFHZQgZfH/fb7uuOkb01sYoWNWSueaDrvFyy7Lnso80iqi6mzKfRtQc6sPjzK09Tf8pPdClqZuWj9WXd+O5LkNbFqJ9vndmZ+ek79MegaFsvROlwlxJXDgy0D+84nwTpmpLYFrbmXrr2HwJBRY1mjOOnYxa3EgB41tWXngT1JdGoGJhWixDFvTa7qHZhH2KkkZxSJDUv/ZG9/dfsAgeW0uer72V421W1pKKCIjdQzp4lJI5jqzDrYIIdAEEQhOdeBvM302FnpFrDboYWBZAAAvejWTrwuztD2nL7o7jfj3YW2CbV734k0/hYLHP8Pja5lxyvFe+OUHsWY/t8ZoKuKmduFhEKIIVU9cVLm2MFvUJiyPtytcOuYptDbZNM//iRIJes7zEoVStTKFcc6nsYE3YwillR8/tEiFdcwkMOmzlKIwA8oTtfxw7L8b6gF/id/5xS6u/+Ydtkn6nY6tlFnZ6h+p2sbdRND6l5Srw02H+Bh/s7hapuLDRd/xn+5k+1W42/5X3Wkuacj4lMSuFQGynyW9x2lrMvJLLdeb3v/BB1ypYZU8Uz5UYQNNm+f3w8odbaYWIHlwR1jk0YmyHRKtxnfoylaGdEJz0bk1I96bwjaLWQBNQcE2/J3iXhKadnEkRLsJSYpYI5/9GsCkSp83Mc/LexiiVbM8slJzgf0g+X+wxXeN+Sgx7favxBmPJms467RRGI9S1SRyUohPCt3+x8nUwZpZJM11eu5+uL9zyUWtUtVS51/+Ictr+nwYwG7KLvv61z81ew/dYkjIOgTLM6EZqQL2xXHusjomi6KJjni8E86gORTKJv/lwPQGTMN6mVw2lH7BsQPnm70KIjLGHF96WXGsI2jEjvTyXIR8xklyMeplF0MW/KsTruqASXoIqir1YWmeleK1g58m1dL8Gpxc5gmioJ4tm2iUZn6+7bS/Pj5+ghl/25STYmkFZGbAlrrF6siqxxYSpDPtaDQiV3HBshWzMNNGoM/bGDKaVyV0uqPMs2pPg4cqDvqfdvzr4fBBTKIiYgYX8Bh5tCe8H9YDwCfmmRXEYllC6oG5TUsrKARjdewqI9j0W5wBt9uXgOAyJbleGHBGGKJVIVAeuE+ClIPHN3kIn9q3J9GDmP4TOXPbbz1BI+e9JZtMc+bNbwOlrsbPbzLwpW7GrVNZY8SXApM8YbnDt5+0yv+SVr81dOPpB3QXDQDxnCa2ap5CgalvhLVCgul8CZQqm69bJ/PtI4helyAwqLtbuogzqrlvtYdsfxti5q/G3LoCI68hjuJ2GpjMEwNh9Uc/BQDav3hypHcD0h5uLzb/EU/2y3fcYqjoA/52JyrL09li7a6tl2nSABnQZCCiVx4cZoPQ4FDoievyB3sZ2YK9eWA+d+JuYLfumRCHMuZIPbPUezNC92J1J+rkq5bOjvskjhLUud+tfDYPUAgXeT56q7lvZkfefA512F9jnyp/brPVTQ5xzrH/lJo8fg0AM2/xIicm9NQHGnKpMrQbxUKrRUcLq6bWqIflHSoqXM/Ei6tM5d4ncfx/nWIIby1UjIO7iXDwG0pBVKb5LwxtG51MJPIccao0Vt17yh739Zwt7BEXxQgNrZepl3YEphBRFNyAzGHEaYeKoQhi0JekA8VTxbNkGoxFOcLolaCVUpkq/alBKAjehjOQTCDb3dz3Fa5EAdEkX6qZj557uo/aKjlP+U1ui9VrE1Jp/OOLWjlMYiX0BuHjO2NresObTgjSOIxrMTWpl/TgTkD6o+b8XE3ecISLsMfEwo3FP4IFDncowVchm5IUyvmAJCtbiybJgyTT9kkw8AR0y6KiXnPvtFeOZdIiyJd4LI4yey4fFZX4Pv6z/4KDxSjvhrfMAwFj3GVfqymgeTmMc4WULWP6C0rCF0uaoPWcMtLaiNkem6L2spywgvlRBNRnwUpNH9nvi4BKQZF0a/qg0X04OX7eGjuCBAt6R341TGxvrtRIpsIcvCzhraBf3HpJKrvDJWen80qdcXZCJm8ZcrNwPJ6MIsVd45vYYDVEcISeDlwUdjaKSIg53Kpnno/cGM/ZPoEPReSxCz92ehHATAIx0R3v4/6fdf9XuFaj9XgDYaDFs5bD3i5F/R26zqPoWcqSOKUsvGXn768dDyj6JLZzzcFH4tULn16z2duTE1SbzQa79Y56VHDgua0FV5+lJZxRj7s4T2ayKgYlht02iWDIOe6//1nWcEXAhp8aypqFZwUW1XV4T7pmneK6BIHcaKj0HUsK0exHgUhwW/t/N2LvOERPxCKbDYMukxBYFRYCI248FbSkuIYPaukN71scSeS6i0yhFjYtz7pA7qZ965wU+M18EQAQ8Aic7xazXvfSCvu2xC73AqxrPPIYZ579u5db/JIg2BPnjF1T5qjKLcXfC7jTeqxXCCVq+AALnfyLSOBF3VtDgB1wvyDR5wuKLeFh10vQKYf1k/CFaFYVQdspZl5vQcA+U49W3BwAjrsP5K0E8W6wuNvFuKk0Ezg+hcVxbgSnPOCcy0OLcYoTaeb8O1lLm37A4/evg1YEz7reIDiA76SW6+IezzxU50n23CMbq3jCP9461tRKWtP32qpZ/9ZU+aE4r01KuCnJV4Z2AkiPkLn+GZCM5pi/IX5E00ztzJ+pA0dYKb/QKBRoek7MtJUYqaxFDNIEtrzzx6+ppuedcb4rDxC8p2yLptyiq9facRqHLs8e/V5tidl5C2qsA+5zuBf4GJb6wfmm9HwkdVwr6SrFr6bAfnlxNaSrP9RVPTKtTcJ7N0IIcwPsqP3hBlSAWVdVIC7OKSiFhfhUO7vN1b2mG/hHimbOC07fF7PVb1y5jIYRZj3X96lrtnuDuhHLsCcBG7tew1+0vsVO+aAE/dxvAjBaUyzPHTFaEGiIWGHi04LkubsXvq/1EQBnYecBmKhqMeBzlSwRKD4lB/H0cFzsUE1s6Rm47Vg2P/spKxWbKJfMJDIg8hn2pUpVPhSnnxXxi9uX0cZLJDDEm5qXZQa09ngChh/fXimDoWoQ6k2Ehrs1pdJqxcE+VWqAycKObDHESEU51uXPKbYtc/IgMGwcKAkxX7m+td0XqL20HpRiobqRqTrdgTd7v+6ys9tXub34CcEXFNbySUPoo1s8B+5QzE+0ZysYpVv0NEEhBOZKrgJFr6CdwCMWbNw3GPWN5qSK2FKQpksRNdlPwid/JmkwncKYDYSyTWkW0132SqBGrNE1n6eyRAaE1uim83vS3wLdlVGXVgq92uzA67Yku8tsE+C/dgVAmfFiM37r6IM4xbDb/K62FuWPEzaZqa6tjpkRHks+c9Q958nECG0=" title="Mekko Graphics Chart">
            <a:extLst>
              <a:ext uri="{FF2B5EF4-FFF2-40B4-BE49-F238E27FC236}">
                <a16:creationId xmlns:a16="http://schemas.microsoft.com/office/drawing/2014/main" id="{ADF9A08C-FD77-4FF3-9307-10D9D9652E8E}"/>
              </a:ext>
            </a:extLst>
          </p:cNvPr>
          <p:cNvSpPr>
            <a:spLocks noChangeAspect="1"/>
          </p:cNvSpPr>
          <p:nvPr>
            <p:custDataLst>
              <p:tags r:id="rId3"/>
            </p:custDataLst>
          </p:nvPr>
        </p:nvSpPr>
        <p:spPr bwMode="gray">
          <a:xfrm>
            <a:off x="404415" y="1303764"/>
            <a:ext cx="11437962" cy="4942524"/>
          </a:xfrm>
          <a:prstGeom prst="rect">
            <a:avLst/>
          </a:prstGeom>
          <a:blipFill>
            <a:blip r:embed="rId12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43" name="btfpColumnIndicatorGroup2">
            <a:extLst>
              <a:ext uri="{FF2B5EF4-FFF2-40B4-BE49-F238E27FC236}">
                <a16:creationId xmlns:a16="http://schemas.microsoft.com/office/drawing/2014/main" id="{1E684987-FD41-4CE4-9655-BD1C7E4FF729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40" name="btfpColumnGapBlocker942773">
              <a:extLst>
                <a:ext uri="{FF2B5EF4-FFF2-40B4-BE49-F238E27FC236}">
                  <a16:creationId xmlns:a16="http://schemas.microsoft.com/office/drawing/2014/main" id="{07779027-31DB-4A7B-87DE-AFB775D41FD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38" name="btfpColumnGapBlocker648732">
              <a:extLst>
                <a:ext uri="{FF2B5EF4-FFF2-40B4-BE49-F238E27FC236}">
                  <a16:creationId xmlns:a16="http://schemas.microsoft.com/office/drawing/2014/main" id="{D17D13B3-729A-4E10-933D-64E784401C1C}"/>
                </a:ext>
              </a:extLst>
            </p:cNvPr>
            <p:cNvSpPr/>
            <p:nvPr/>
          </p:nvSpPr>
          <p:spPr bwMode="gray">
            <a:xfrm>
              <a:off x="7837752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1" name="btfpColumnIndicator913244">
              <a:extLst>
                <a:ext uri="{FF2B5EF4-FFF2-40B4-BE49-F238E27FC236}">
                  <a16:creationId xmlns:a16="http://schemas.microsoft.com/office/drawing/2014/main" id="{C0267C4C-2040-4D67-99FD-04C22F5A14C8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btfpColumnIndicator700844">
              <a:extLst>
                <a:ext uri="{FF2B5EF4-FFF2-40B4-BE49-F238E27FC236}">
                  <a16:creationId xmlns:a16="http://schemas.microsoft.com/office/drawing/2014/main" id="{990689FB-5D33-43EB-A1C6-7B303FCEC0D2}"/>
                </a:ext>
              </a:extLst>
            </p:cNvPr>
            <p:cNvCxnSpPr/>
            <p:nvPr/>
          </p:nvCxnSpPr>
          <p:spPr bwMode="gray">
            <a:xfrm flipV="1">
              <a:off x="8378296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btfpColumnGapBlocker148025">
              <a:extLst>
                <a:ext uri="{FF2B5EF4-FFF2-40B4-BE49-F238E27FC236}">
                  <a16:creationId xmlns:a16="http://schemas.microsoft.com/office/drawing/2014/main" id="{7215A000-5BAF-441F-8F94-F84154727208}"/>
                </a:ext>
              </a:extLst>
            </p:cNvPr>
            <p:cNvSpPr/>
            <p:nvPr/>
          </p:nvSpPr>
          <p:spPr bwMode="gray">
            <a:xfrm>
              <a:off x="3813704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4" name="btfpColumnIndicator943053">
              <a:extLst>
                <a:ext uri="{FF2B5EF4-FFF2-40B4-BE49-F238E27FC236}">
                  <a16:creationId xmlns:a16="http://schemas.microsoft.com/office/drawing/2014/main" id="{A618271D-E2CE-4734-AE89-2CECCBAFF6EB}"/>
                </a:ext>
              </a:extLst>
            </p:cNvPr>
            <p:cNvCxnSpPr/>
            <p:nvPr/>
          </p:nvCxnSpPr>
          <p:spPr bwMode="gray">
            <a:xfrm flipV="1">
              <a:off x="783775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btfpColumnIndicator725581">
              <a:extLst>
                <a:ext uri="{FF2B5EF4-FFF2-40B4-BE49-F238E27FC236}">
                  <a16:creationId xmlns:a16="http://schemas.microsoft.com/office/drawing/2014/main" id="{E65A491C-9342-417A-AB76-FCE644C6B7A2}"/>
                </a:ext>
              </a:extLst>
            </p:cNvPr>
            <p:cNvCxnSpPr/>
            <p:nvPr/>
          </p:nvCxnSpPr>
          <p:spPr bwMode="gray">
            <a:xfrm flipV="1">
              <a:off x="435424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btfpColumnGapBlocker789773">
              <a:extLst>
                <a:ext uri="{FF2B5EF4-FFF2-40B4-BE49-F238E27FC236}">
                  <a16:creationId xmlns:a16="http://schemas.microsoft.com/office/drawing/2014/main" id="{7D319600-C5F3-4516-A666-99EC07F575BB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8" name="btfpColumnIndicator175847">
              <a:extLst>
                <a:ext uri="{FF2B5EF4-FFF2-40B4-BE49-F238E27FC236}">
                  <a16:creationId xmlns:a16="http://schemas.microsoft.com/office/drawing/2014/main" id="{4A99A18B-4592-485A-BCD0-479561679136}"/>
                </a:ext>
              </a:extLst>
            </p:cNvPr>
            <p:cNvCxnSpPr/>
            <p:nvPr/>
          </p:nvCxnSpPr>
          <p:spPr bwMode="gray">
            <a:xfrm flipV="1">
              <a:off x="3813704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253055">
              <a:extLst>
                <a:ext uri="{FF2B5EF4-FFF2-40B4-BE49-F238E27FC236}">
                  <a16:creationId xmlns:a16="http://schemas.microsoft.com/office/drawing/2014/main" id="{E5F20E72-CED5-41BB-8625-42E4883D0D17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2" name="btfpColumnIndicatorGroup1">
            <a:extLst>
              <a:ext uri="{FF2B5EF4-FFF2-40B4-BE49-F238E27FC236}">
                <a16:creationId xmlns:a16="http://schemas.microsoft.com/office/drawing/2014/main" id="{D9A572FE-67A9-4E0B-B67C-5C82B156F5B6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39" name="btfpColumnGapBlocker299740">
              <a:extLst>
                <a:ext uri="{FF2B5EF4-FFF2-40B4-BE49-F238E27FC236}">
                  <a16:creationId xmlns:a16="http://schemas.microsoft.com/office/drawing/2014/main" id="{B21BF74B-6198-4EBF-9D0A-D9351472AC78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35" name="btfpColumnGapBlocker281797">
              <a:extLst>
                <a:ext uri="{FF2B5EF4-FFF2-40B4-BE49-F238E27FC236}">
                  <a16:creationId xmlns:a16="http://schemas.microsoft.com/office/drawing/2014/main" id="{E959CFBF-4C0D-4A4B-94C7-44AF5A760415}"/>
                </a:ext>
              </a:extLst>
            </p:cNvPr>
            <p:cNvSpPr/>
            <p:nvPr/>
          </p:nvSpPr>
          <p:spPr bwMode="gray">
            <a:xfrm>
              <a:off x="7837752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9" name="btfpColumnIndicator499124">
              <a:extLst>
                <a:ext uri="{FF2B5EF4-FFF2-40B4-BE49-F238E27FC236}">
                  <a16:creationId xmlns:a16="http://schemas.microsoft.com/office/drawing/2014/main" id="{3FFD4269-D08A-4944-A7C3-60C133D2F3FA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btfpColumnIndicator834502">
              <a:extLst>
                <a:ext uri="{FF2B5EF4-FFF2-40B4-BE49-F238E27FC236}">
                  <a16:creationId xmlns:a16="http://schemas.microsoft.com/office/drawing/2014/main" id="{2B9295D0-BFA4-4985-B1BD-437383117985}"/>
                </a:ext>
              </a:extLst>
            </p:cNvPr>
            <p:cNvCxnSpPr/>
            <p:nvPr/>
          </p:nvCxnSpPr>
          <p:spPr bwMode="gray">
            <a:xfrm flipV="1">
              <a:off x="8378296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btfpColumnGapBlocker725468">
              <a:extLst>
                <a:ext uri="{FF2B5EF4-FFF2-40B4-BE49-F238E27FC236}">
                  <a16:creationId xmlns:a16="http://schemas.microsoft.com/office/drawing/2014/main" id="{6406FC8A-9158-47BB-A3E4-309F5D1883FC}"/>
                </a:ext>
              </a:extLst>
            </p:cNvPr>
            <p:cNvSpPr/>
            <p:nvPr/>
          </p:nvSpPr>
          <p:spPr bwMode="gray">
            <a:xfrm>
              <a:off x="3813704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3" name="btfpColumnIndicator207414">
              <a:extLst>
                <a:ext uri="{FF2B5EF4-FFF2-40B4-BE49-F238E27FC236}">
                  <a16:creationId xmlns:a16="http://schemas.microsoft.com/office/drawing/2014/main" id="{66693C35-70BD-4952-82AF-0C19305D4133}"/>
                </a:ext>
              </a:extLst>
            </p:cNvPr>
            <p:cNvCxnSpPr/>
            <p:nvPr/>
          </p:nvCxnSpPr>
          <p:spPr bwMode="gray">
            <a:xfrm flipV="1">
              <a:off x="783775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btfpColumnIndicator891237">
              <a:extLst>
                <a:ext uri="{FF2B5EF4-FFF2-40B4-BE49-F238E27FC236}">
                  <a16:creationId xmlns:a16="http://schemas.microsoft.com/office/drawing/2014/main" id="{E22E6B23-E6F4-4EED-9429-040AA09ABC1E}"/>
                </a:ext>
              </a:extLst>
            </p:cNvPr>
            <p:cNvCxnSpPr/>
            <p:nvPr/>
          </p:nvCxnSpPr>
          <p:spPr bwMode="gray">
            <a:xfrm flipV="1">
              <a:off x="435424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btfpColumnGapBlocker568354">
              <a:extLst>
                <a:ext uri="{FF2B5EF4-FFF2-40B4-BE49-F238E27FC236}">
                  <a16:creationId xmlns:a16="http://schemas.microsoft.com/office/drawing/2014/main" id="{A0A72D13-0FA5-4F74-A821-727CCD2D3F71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5" name="btfpColumnIndicator252422">
              <a:extLst>
                <a:ext uri="{FF2B5EF4-FFF2-40B4-BE49-F238E27FC236}">
                  <a16:creationId xmlns:a16="http://schemas.microsoft.com/office/drawing/2014/main" id="{C1B7B5E9-DAFE-419A-BDD7-0ACD42EB3483}"/>
                </a:ext>
              </a:extLst>
            </p:cNvPr>
            <p:cNvCxnSpPr/>
            <p:nvPr/>
          </p:nvCxnSpPr>
          <p:spPr bwMode="gray">
            <a:xfrm flipV="1">
              <a:off x="3813704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" name="btfpColumnIndicator889916">
              <a:extLst>
                <a:ext uri="{FF2B5EF4-FFF2-40B4-BE49-F238E27FC236}">
                  <a16:creationId xmlns:a16="http://schemas.microsoft.com/office/drawing/2014/main" id="{720F5DD7-A17A-49CD-B49F-4B097E76E749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2" name="btfpRunningAgenda2Level228391">
            <a:extLst>
              <a:ext uri="{FF2B5EF4-FFF2-40B4-BE49-F238E27FC236}">
                <a16:creationId xmlns:a16="http://schemas.microsoft.com/office/drawing/2014/main" id="{3C3ED3CF-9695-4C80-ACD0-EF63C1245ECF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-1" y="944429"/>
            <a:ext cx="4325153" cy="257442"/>
            <a:chOff x="-1" y="876300"/>
            <a:chExt cx="4325153" cy="257442"/>
          </a:xfrm>
        </p:grpSpPr>
        <p:sp>
          <p:nvSpPr>
            <p:cNvPr id="33" name="btfpRunningAgenda2LevelBarLeft228391">
              <a:extLst>
                <a:ext uri="{FF2B5EF4-FFF2-40B4-BE49-F238E27FC236}">
                  <a16:creationId xmlns:a16="http://schemas.microsoft.com/office/drawing/2014/main" id="{28C9D338-C5AF-48A5-A47C-2AEBA4F1D927}"/>
                </a:ext>
              </a:extLst>
            </p:cNvPr>
            <p:cNvSpPr/>
            <p:nvPr/>
          </p:nvSpPr>
          <p:spPr bwMode="gray">
            <a:xfrm>
              <a:off x="-1" y="876300"/>
              <a:ext cx="2327781" cy="257442"/>
            </a:xfrm>
            <a:custGeom>
              <a:avLst/>
              <a:gdLst>
                <a:gd name="connsiteX0" fmla="*/ 986067 w 2696920"/>
                <a:gd name="connsiteY0" fmla="*/ 0 h 257442"/>
                <a:gd name="connsiteX1" fmla="*/ 2696920 w 2696920"/>
                <a:gd name="connsiteY1" fmla="*/ 0 h 257442"/>
                <a:gd name="connsiteX2" fmla="*/ 2642199 w 2696920"/>
                <a:gd name="connsiteY2" fmla="*/ 257442 h 257442"/>
                <a:gd name="connsiteX3" fmla="*/ 0 w 2696920"/>
                <a:gd name="connsiteY3" fmla="*/ 257442 h 257442"/>
                <a:gd name="connsiteX0" fmla="*/ 986067 w 2642199"/>
                <a:gd name="connsiteY0" fmla="*/ 0 h 257442"/>
                <a:gd name="connsiteX1" fmla="*/ 931346 w 2642199"/>
                <a:gd name="connsiteY1" fmla="*/ 257442 h 257442"/>
                <a:gd name="connsiteX2" fmla="*/ 2642199 w 2642199"/>
                <a:gd name="connsiteY2" fmla="*/ 257442 h 257442"/>
                <a:gd name="connsiteX3" fmla="*/ 0 w 2642199"/>
                <a:gd name="connsiteY3" fmla="*/ 257442 h 257442"/>
                <a:gd name="connsiteX0" fmla="*/ 986067 w 986067"/>
                <a:gd name="connsiteY0" fmla="*/ 0 h 257442"/>
                <a:gd name="connsiteX1" fmla="*/ 931346 w 986067"/>
                <a:gd name="connsiteY1" fmla="*/ 257442 h 257442"/>
                <a:gd name="connsiteX2" fmla="*/ 1 w 986067"/>
                <a:gd name="connsiteY2" fmla="*/ 257442 h 257442"/>
                <a:gd name="connsiteX3" fmla="*/ 0 w 986067"/>
                <a:gd name="connsiteY3" fmla="*/ 257442 h 257442"/>
                <a:gd name="connsiteX0" fmla="*/ 986066 w 986066"/>
                <a:gd name="connsiteY0" fmla="*/ 0 h 257442"/>
                <a:gd name="connsiteX1" fmla="*/ 931345 w 986066"/>
                <a:gd name="connsiteY1" fmla="*/ 257442 h 257442"/>
                <a:gd name="connsiteX2" fmla="*/ 0 w 986066"/>
                <a:gd name="connsiteY2" fmla="*/ 257442 h 257442"/>
                <a:gd name="connsiteX3" fmla="*/ 0 w 986066"/>
                <a:gd name="connsiteY3" fmla="*/ 0 h 257442"/>
                <a:gd name="connsiteX0" fmla="*/ 1163999 w 1163999"/>
                <a:gd name="connsiteY0" fmla="*/ 0 h 257442"/>
                <a:gd name="connsiteX1" fmla="*/ 931345 w 1163999"/>
                <a:gd name="connsiteY1" fmla="*/ 257442 h 257442"/>
                <a:gd name="connsiteX2" fmla="*/ 0 w 1163999"/>
                <a:gd name="connsiteY2" fmla="*/ 257442 h 257442"/>
                <a:gd name="connsiteX3" fmla="*/ 0 w 1163999"/>
                <a:gd name="connsiteY3" fmla="*/ 0 h 257442"/>
                <a:gd name="connsiteX0" fmla="*/ 1163999 w 1163999"/>
                <a:gd name="connsiteY0" fmla="*/ 0 h 257442"/>
                <a:gd name="connsiteX1" fmla="*/ 1109278 w 1163999"/>
                <a:gd name="connsiteY1" fmla="*/ 257442 h 257442"/>
                <a:gd name="connsiteX2" fmla="*/ 0 w 1163999"/>
                <a:gd name="connsiteY2" fmla="*/ 257442 h 257442"/>
                <a:gd name="connsiteX3" fmla="*/ 0 w 1163999"/>
                <a:gd name="connsiteY3" fmla="*/ 0 h 257442"/>
                <a:gd name="connsiteX0" fmla="*/ 1164000 w 1164000"/>
                <a:gd name="connsiteY0" fmla="*/ 0 h 257442"/>
                <a:gd name="connsiteX1" fmla="*/ 1109279 w 1164000"/>
                <a:gd name="connsiteY1" fmla="*/ 257442 h 257442"/>
                <a:gd name="connsiteX2" fmla="*/ 0 w 1164000"/>
                <a:gd name="connsiteY2" fmla="*/ 257442 h 257442"/>
                <a:gd name="connsiteX3" fmla="*/ 1 w 1164000"/>
                <a:gd name="connsiteY3" fmla="*/ 0 h 257442"/>
                <a:gd name="connsiteX0" fmla="*/ 1164000 w 1164000"/>
                <a:gd name="connsiteY0" fmla="*/ 0 h 257442"/>
                <a:gd name="connsiteX1" fmla="*/ 1109279 w 1164000"/>
                <a:gd name="connsiteY1" fmla="*/ 257442 h 257442"/>
                <a:gd name="connsiteX2" fmla="*/ 0 w 1164000"/>
                <a:gd name="connsiteY2" fmla="*/ 257442 h 257442"/>
                <a:gd name="connsiteX3" fmla="*/ 0 w 1164000"/>
                <a:gd name="connsiteY3" fmla="*/ 0 h 257442"/>
                <a:gd name="connsiteX0" fmla="*/ 1332316 w 1332316"/>
                <a:gd name="connsiteY0" fmla="*/ 0 h 257442"/>
                <a:gd name="connsiteX1" fmla="*/ 1109279 w 1332316"/>
                <a:gd name="connsiteY1" fmla="*/ 257442 h 257442"/>
                <a:gd name="connsiteX2" fmla="*/ 0 w 1332316"/>
                <a:gd name="connsiteY2" fmla="*/ 257442 h 257442"/>
                <a:gd name="connsiteX3" fmla="*/ 0 w 1332316"/>
                <a:gd name="connsiteY3" fmla="*/ 0 h 257442"/>
                <a:gd name="connsiteX0" fmla="*/ 1332316 w 1332316"/>
                <a:gd name="connsiteY0" fmla="*/ 0 h 257442"/>
                <a:gd name="connsiteX1" fmla="*/ 1277595 w 1332316"/>
                <a:gd name="connsiteY1" fmla="*/ 257442 h 257442"/>
                <a:gd name="connsiteX2" fmla="*/ 0 w 1332316"/>
                <a:gd name="connsiteY2" fmla="*/ 257442 h 257442"/>
                <a:gd name="connsiteX3" fmla="*/ 0 w 1332316"/>
                <a:gd name="connsiteY3" fmla="*/ 0 h 257442"/>
                <a:gd name="connsiteX0" fmla="*/ 1332316 w 1332316"/>
                <a:gd name="connsiteY0" fmla="*/ 0 h 257442"/>
                <a:gd name="connsiteX1" fmla="*/ 1277595 w 1332316"/>
                <a:gd name="connsiteY1" fmla="*/ 257442 h 257442"/>
                <a:gd name="connsiteX2" fmla="*/ 0 w 1332316"/>
                <a:gd name="connsiteY2" fmla="*/ 257442 h 257442"/>
                <a:gd name="connsiteX3" fmla="*/ 0 w 1332316"/>
                <a:gd name="connsiteY3" fmla="*/ 0 h 257442"/>
                <a:gd name="connsiteX0" fmla="*/ 1332316 w 1332316"/>
                <a:gd name="connsiteY0" fmla="*/ 0 h 257442"/>
                <a:gd name="connsiteX1" fmla="*/ 1277595 w 1332316"/>
                <a:gd name="connsiteY1" fmla="*/ 257442 h 257442"/>
                <a:gd name="connsiteX2" fmla="*/ 0 w 1332316"/>
                <a:gd name="connsiteY2" fmla="*/ 257442 h 257442"/>
                <a:gd name="connsiteX3" fmla="*/ 0 w 1332316"/>
                <a:gd name="connsiteY3" fmla="*/ 0 h 257442"/>
                <a:gd name="connsiteX0" fmla="*/ 1164000 w 1277595"/>
                <a:gd name="connsiteY0" fmla="*/ 0 h 257442"/>
                <a:gd name="connsiteX1" fmla="*/ 1277595 w 1277595"/>
                <a:gd name="connsiteY1" fmla="*/ 257442 h 257442"/>
                <a:gd name="connsiteX2" fmla="*/ 0 w 1277595"/>
                <a:gd name="connsiteY2" fmla="*/ 257442 h 257442"/>
                <a:gd name="connsiteX3" fmla="*/ 0 w 1277595"/>
                <a:gd name="connsiteY3" fmla="*/ 0 h 257442"/>
                <a:gd name="connsiteX0" fmla="*/ 1164000 w 1164000"/>
                <a:gd name="connsiteY0" fmla="*/ 0 h 257442"/>
                <a:gd name="connsiteX1" fmla="*/ 1109280 w 1164000"/>
                <a:gd name="connsiteY1" fmla="*/ 257442 h 257442"/>
                <a:gd name="connsiteX2" fmla="*/ 0 w 1164000"/>
                <a:gd name="connsiteY2" fmla="*/ 257442 h 257442"/>
                <a:gd name="connsiteX3" fmla="*/ 0 w 1164000"/>
                <a:gd name="connsiteY3" fmla="*/ 0 h 257442"/>
                <a:gd name="connsiteX0" fmla="*/ 1164000 w 1164000"/>
                <a:gd name="connsiteY0" fmla="*/ 0 h 257442"/>
                <a:gd name="connsiteX1" fmla="*/ 1109280 w 1164000"/>
                <a:gd name="connsiteY1" fmla="*/ 257442 h 257442"/>
                <a:gd name="connsiteX2" fmla="*/ 1 w 1164000"/>
                <a:gd name="connsiteY2" fmla="*/ 257442 h 257442"/>
                <a:gd name="connsiteX3" fmla="*/ 0 w 1164000"/>
                <a:gd name="connsiteY3" fmla="*/ 0 h 257442"/>
                <a:gd name="connsiteX0" fmla="*/ 1163999 w 1163999"/>
                <a:gd name="connsiteY0" fmla="*/ 0 h 257442"/>
                <a:gd name="connsiteX1" fmla="*/ 1109279 w 1163999"/>
                <a:gd name="connsiteY1" fmla="*/ 257442 h 257442"/>
                <a:gd name="connsiteX2" fmla="*/ 0 w 1163999"/>
                <a:gd name="connsiteY2" fmla="*/ 257442 h 257442"/>
                <a:gd name="connsiteX3" fmla="*/ 0 w 1163999"/>
                <a:gd name="connsiteY3" fmla="*/ 0 h 257442"/>
                <a:gd name="connsiteX0" fmla="*/ 986067 w 1109279"/>
                <a:gd name="connsiteY0" fmla="*/ 0 h 257442"/>
                <a:gd name="connsiteX1" fmla="*/ 1109279 w 1109279"/>
                <a:gd name="connsiteY1" fmla="*/ 257442 h 257442"/>
                <a:gd name="connsiteX2" fmla="*/ 0 w 1109279"/>
                <a:gd name="connsiteY2" fmla="*/ 257442 h 257442"/>
                <a:gd name="connsiteX3" fmla="*/ 0 w 1109279"/>
                <a:gd name="connsiteY3" fmla="*/ 0 h 257442"/>
                <a:gd name="connsiteX0" fmla="*/ 986067 w 986067"/>
                <a:gd name="connsiteY0" fmla="*/ 0 h 257442"/>
                <a:gd name="connsiteX1" fmla="*/ 931346 w 986067"/>
                <a:gd name="connsiteY1" fmla="*/ 257442 h 257442"/>
                <a:gd name="connsiteX2" fmla="*/ 0 w 986067"/>
                <a:gd name="connsiteY2" fmla="*/ 257442 h 257442"/>
                <a:gd name="connsiteX3" fmla="*/ 0 w 986067"/>
                <a:gd name="connsiteY3" fmla="*/ 0 h 257442"/>
                <a:gd name="connsiteX0" fmla="*/ 986067 w 986067"/>
                <a:gd name="connsiteY0" fmla="*/ 0 h 257442"/>
                <a:gd name="connsiteX1" fmla="*/ 931346 w 986067"/>
                <a:gd name="connsiteY1" fmla="*/ 257442 h 257442"/>
                <a:gd name="connsiteX2" fmla="*/ 0 w 986067"/>
                <a:gd name="connsiteY2" fmla="*/ 257442 h 257442"/>
                <a:gd name="connsiteX3" fmla="*/ 0 w 986067"/>
                <a:gd name="connsiteY3" fmla="*/ 0 h 257442"/>
                <a:gd name="connsiteX0" fmla="*/ 986067 w 986067"/>
                <a:gd name="connsiteY0" fmla="*/ 0 h 257442"/>
                <a:gd name="connsiteX1" fmla="*/ 931346 w 986067"/>
                <a:gd name="connsiteY1" fmla="*/ 257442 h 257442"/>
                <a:gd name="connsiteX2" fmla="*/ 0 w 986067"/>
                <a:gd name="connsiteY2" fmla="*/ 257442 h 257442"/>
                <a:gd name="connsiteX3" fmla="*/ 0 w 986067"/>
                <a:gd name="connsiteY3" fmla="*/ 0 h 257442"/>
                <a:gd name="connsiteX0" fmla="*/ 782550 w 931346"/>
                <a:gd name="connsiteY0" fmla="*/ 0 h 257442"/>
                <a:gd name="connsiteX1" fmla="*/ 931346 w 931346"/>
                <a:gd name="connsiteY1" fmla="*/ 257442 h 257442"/>
                <a:gd name="connsiteX2" fmla="*/ 0 w 931346"/>
                <a:gd name="connsiteY2" fmla="*/ 257442 h 257442"/>
                <a:gd name="connsiteX3" fmla="*/ 0 w 931346"/>
                <a:gd name="connsiteY3" fmla="*/ 0 h 257442"/>
                <a:gd name="connsiteX0" fmla="*/ 782550 w 782550"/>
                <a:gd name="connsiteY0" fmla="*/ 0 h 257442"/>
                <a:gd name="connsiteX1" fmla="*/ 727829 w 782550"/>
                <a:gd name="connsiteY1" fmla="*/ 257442 h 257442"/>
                <a:gd name="connsiteX2" fmla="*/ 0 w 782550"/>
                <a:gd name="connsiteY2" fmla="*/ 257442 h 257442"/>
                <a:gd name="connsiteX3" fmla="*/ 0 w 782550"/>
                <a:gd name="connsiteY3" fmla="*/ 0 h 257442"/>
                <a:gd name="connsiteX0" fmla="*/ 782550 w 782550"/>
                <a:gd name="connsiteY0" fmla="*/ 0 h 257442"/>
                <a:gd name="connsiteX1" fmla="*/ 727829 w 782550"/>
                <a:gd name="connsiteY1" fmla="*/ 257442 h 257442"/>
                <a:gd name="connsiteX2" fmla="*/ 0 w 782550"/>
                <a:gd name="connsiteY2" fmla="*/ 257442 h 257442"/>
                <a:gd name="connsiteX3" fmla="*/ 0 w 782550"/>
                <a:gd name="connsiteY3" fmla="*/ 0 h 257442"/>
                <a:gd name="connsiteX0" fmla="*/ 782550 w 782550"/>
                <a:gd name="connsiteY0" fmla="*/ 0 h 257442"/>
                <a:gd name="connsiteX1" fmla="*/ 727829 w 782550"/>
                <a:gd name="connsiteY1" fmla="*/ 257442 h 257442"/>
                <a:gd name="connsiteX2" fmla="*/ 0 w 782550"/>
                <a:gd name="connsiteY2" fmla="*/ 257442 h 257442"/>
                <a:gd name="connsiteX3" fmla="*/ 0 w 782550"/>
                <a:gd name="connsiteY3" fmla="*/ 0 h 257442"/>
                <a:gd name="connsiteX0" fmla="*/ 986067 w 986067"/>
                <a:gd name="connsiteY0" fmla="*/ 0 h 257442"/>
                <a:gd name="connsiteX1" fmla="*/ 727829 w 986067"/>
                <a:gd name="connsiteY1" fmla="*/ 257442 h 257442"/>
                <a:gd name="connsiteX2" fmla="*/ 0 w 986067"/>
                <a:gd name="connsiteY2" fmla="*/ 257442 h 257442"/>
                <a:gd name="connsiteX3" fmla="*/ 0 w 986067"/>
                <a:gd name="connsiteY3" fmla="*/ 0 h 257442"/>
                <a:gd name="connsiteX0" fmla="*/ 986067 w 986067"/>
                <a:gd name="connsiteY0" fmla="*/ 0 h 257442"/>
                <a:gd name="connsiteX1" fmla="*/ 931346 w 986067"/>
                <a:gd name="connsiteY1" fmla="*/ 257442 h 257442"/>
                <a:gd name="connsiteX2" fmla="*/ 0 w 986067"/>
                <a:gd name="connsiteY2" fmla="*/ 257442 h 257442"/>
                <a:gd name="connsiteX3" fmla="*/ 0 w 986067"/>
                <a:gd name="connsiteY3" fmla="*/ 0 h 257442"/>
                <a:gd name="connsiteX0" fmla="*/ 986067 w 986067"/>
                <a:gd name="connsiteY0" fmla="*/ 0 h 257442"/>
                <a:gd name="connsiteX1" fmla="*/ 931346 w 986067"/>
                <a:gd name="connsiteY1" fmla="*/ 257442 h 257442"/>
                <a:gd name="connsiteX2" fmla="*/ 0 w 986067"/>
                <a:gd name="connsiteY2" fmla="*/ 257442 h 257442"/>
                <a:gd name="connsiteX3" fmla="*/ 0 w 986067"/>
                <a:gd name="connsiteY3" fmla="*/ 0 h 257442"/>
                <a:gd name="connsiteX0" fmla="*/ 986067 w 986067"/>
                <a:gd name="connsiteY0" fmla="*/ 0 h 257442"/>
                <a:gd name="connsiteX1" fmla="*/ 931346 w 986067"/>
                <a:gd name="connsiteY1" fmla="*/ 257442 h 257442"/>
                <a:gd name="connsiteX2" fmla="*/ 0 w 986067"/>
                <a:gd name="connsiteY2" fmla="*/ 257442 h 257442"/>
                <a:gd name="connsiteX3" fmla="*/ 0 w 986067"/>
                <a:gd name="connsiteY3" fmla="*/ 0 h 257442"/>
                <a:gd name="connsiteX0" fmla="*/ 1164000 w 1164000"/>
                <a:gd name="connsiteY0" fmla="*/ 0 h 257442"/>
                <a:gd name="connsiteX1" fmla="*/ 931346 w 1164000"/>
                <a:gd name="connsiteY1" fmla="*/ 257442 h 257442"/>
                <a:gd name="connsiteX2" fmla="*/ 0 w 1164000"/>
                <a:gd name="connsiteY2" fmla="*/ 257442 h 257442"/>
                <a:gd name="connsiteX3" fmla="*/ 0 w 1164000"/>
                <a:gd name="connsiteY3" fmla="*/ 0 h 257442"/>
                <a:gd name="connsiteX0" fmla="*/ 1164000 w 1164000"/>
                <a:gd name="connsiteY0" fmla="*/ 0 h 257442"/>
                <a:gd name="connsiteX1" fmla="*/ 1109278 w 1164000"/>
                <a:gd name="connsiteY1" fmla="*/ 257442 h 257442"/>
                <a:gd name="connsiteX2" fmla="*/ 0 w 1164000"/>
                <a:gd name="connsiteY2" fmla="*/ 257442 h 257442"/>
                <a:gd name="connsiteX3" fmla="*/ 0 w 1164000"/>
                <a:gd name="connsiteY3" fmla="*/ 0 h 257442"/>
                <a:gd name="connsiteX0" fmla="*/ 1164001 w 1164001"/>
                <a:gd name="connsiteY0" fmla="*/ 0 h 257442"/>
                <a:gd name="connsiteX1" fmla="*/ 1109279 w 1164001"/>
                <a:gd name="connsiteY1" fmla="*/ 257442 h 257442"/>
                <a:gd name="connsiteX2" fmla="*/ 0 w 1164001"/>
                <a:gd name="connsiteY2" fmla="*/ 257442 h 257442"/>
                <a:gd name="connsiteX3" fmla="*/ 1 w 1164001"/>
                <a:gd name="connsiteY3" fmla="*/ 0 h 257442"/>
                <a:gd name="connsiteX0" fmla="*/ 1164001 w 1164001"/>
                <a:gd name="connsiteY0" fmla="*/ 0 h 257442"/>
                <a:gd name="connsiteX1" fmla="*/ 1109279 w 1164001"/>
                <a:gd name="connsiteY1" fmla="*/ 257442 h 257442"/>
                <a:gd name="connsiteX2" fmla="*/ 0 w 1164001"/>
                <a:gd name="connsiteY2" fmla="*/ 257442 h 257442"/>
                <a:gd name="connsiteX3" fmla="*/ 1 w 1164001"/>
                <a:gd name="connsiteY3" fmla="*/ 0 h 257442"/>
                <a:gd name="connsiteX0" fmla="*/ 1332317 w 1332317"/>
                <a:gd name="connsiteY0" fmla="*/ 0 h 257442"/>
                <a:gd name="connsiteX1" fmla="*/ 1109279 w 1332317"/>
                <a:gd name="connsiteY1" fmla="*/ 257442 h 257442"/>
                <a:gd name="connsiteX2" fmla="*/ 0 w 1332317"/>
                <a:gd name="connsiteY2" fmla="*/ 257442 h 257442"/>
                <a:gd name="connsiteX3" fmla="*/ 1 w 1332317"/>
                <a:gd name="connsiteY3" fmla="*/ 0 h 257442"/>
                <a:gd name="connsiteX0" fmla="*/ 1332317 w 1332317"/>
                <a:gd name="connsiteY0" fmla="*/ 0 h 257442"/>
                <a:gd name="connsiteX1" fmla="*/ 1277596 w 1332317"/>
                <a:gd name="connsiteY1" fmla="*/ 257442 h 257442"/>
                <a:gd name="connsiteX2" fmla="*/ 0 w 1332317"/>
                <a:gd name="connsiteY2" fmla="*/ 257442 h 257442"/>
                <a:gd name="connsiteX3" fmla="*/ 1 w 1332317"/>
                <a:gd name="connsiteY3" fmla="*/ 0 h 257442"/>
                <a:gd name="connsiteX0" fmla="*/ 1332316 w 1332316"/>
                <a:gd name="connsiteY0" fmla="*/ 0 h 257442"/>
                <a:gd name="connsiteX1" fmla="*/ 1277595 w 1332316"/>
                <a:gd name="connsiteY1" fmla="*/ 257442 h 257442"/>
                <a:gd name="connsiteX2" fmla="*/ 0 w 1332316"/>
                <a:gd name="connsiteY2" fmla="*/ 257442 h 257442"/>
                <a:gd name="connsiteX3" fmla="*/ 0 w 1332316"/>
                <a:gd name="connsiteY3" fmla="*/ 0 h 257442"/>
                <a:gd name="connsiteX0" fmla="*/ 1332317 w 1332317"/>
                <a:gd name="connsiteY0" fmla="*/ 0 h 257442"/>
                <a:gd name="connsiteX1" fmla="*/ 1277596 w 1332317"/>
                <a:gd name="connsiteY1" fmla="*/ 257442 h 257442"/>
                <a:gd name="connsiteX2" fmla="*/ 1 w 1332317"/>
                <a:gd name="connsiteY2" fmla="*/ 257442 h 257442"/>
                <a:gd name="connsiteX3" fmla="*/ 0 w 1332317"/>
                <a:gd name="connsiteY3" fmla="*/ 0 h 257442"/>
                <a:gd name="connsiteX0" fmla="*/ 1500632 w 1500632"/>
                <a:gd name="connsiteY0" fmla="*/ 0 h 257442"/>
                <a:gd name="connsiteX1" fmla="*/ 1277596 w 1500632"/>
                <a:gd name="connsiteY1" fmla="*/ 257442 h 257442"/>
                <a:gd name="connsiteX2" fmla="*/ 1 w 1500632"/>
                <a:gd name="connsiteY2" fmla="*/ 257442 h 257442"/>
                <a:gd name="connsiteX3" fmla="*/ 0 w 1500632"/>
                <a:gd name="connsiteY3" fmla="*/ 0 h 257442"/>
                <a:gd name="connsiteX0" fmla="*/ 1500632 w 1500632"/>
                <a:gd name="connsiteY0" fmla="*/ 0 h 257442"/>
                <a:gd name="connsiteX1" fmla="*/ 1445910 w 1500632"/>
                <a:gd name="connsiteY1" fmla="*/ 257442 h 257442"/>
                <a:gd name="connsiteX2" fmla="*/ 1 w 1500632"/>
                <a:gd name="connsiteY2" fmla="*/ 257442 h 257442"/>
                <a:gd name="connsiteX3" fmla="*/ 0 w 1500632"/>
                <a:gd name="connsiteY3" fmla="*/ 0 h 257442"/>
                <a:gd name="connsiteX0" fmla="*/ 1500632 w 1500632"/>
                <a:gd name="connsiteY0" fmla="*/ 0 h 257442"/>
                <a:gd name="connsiteX1" fmla="*/ 1445910 w 1500632"/>
                <a:gd name="connsiteY1" fmla="*/ 257442 h 257442"/>
                <a:gd name="connsiteX2" fmla="*/ 0 w 1500632"/>
                <a:gd name="connsiteY2" fmla="*/ 257442 h 257442"/>
                <a:gd name="connsiteX3" fmla="*/ 0 w 1500632"/>
                <a:gd name="connsiteY3" fmla="*/ 0 h 257442"/>
                <a:gd name="connsiteX0" fmla="*/ 1500632 w 1500632"/>
                <a:gd name="connsiteY0" fmla="*/ 0 h 257442"/>
                <a:gd name="connsiteX1" fmla="*/ 1445910 w 1500632"/>
                <a:gd name="connsiteY1" fmla="*/ 257442 h 257442"/>
                <a:gd name="connsiteX2" fmla="*/ 0 w 1500632"/>
                <a:gd name="connsiteY2" fmla="*/ 257442 h 257442"/>
                <a:gd name="connsiteX3" fmla="*/ 0 w 1500632"/>
                <a:gd name="connsiteY3" fmla="*/ 0 h 257442"/>
                <a:gd name="connsiteX0" fmla="*/ 1652916 w 1652916"/>
                <a:gd name="connsiteY0" fmla="*/ 0 h 257442"/>
                <a:gd name="connsiteX1" fmla="*/ 1445910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652916 w 1652916"/>
                <a:gd name="connsiteY0" fmla="*/ 0 h 257442"/>
                <a:gd name="connsiteX1" fmla="*/ 1598195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652916 w 1652916"/>
                <a:gd name="connsiteY0" fmla="*/ 0 h 257442"/>
                <a:gd name="connsiteX1" fmla="*/ 1598195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652916 w 1652916"/>
                <a:gd name="connsiteY0" fmla="*/ 0 h 257442"/>
                <a:gd name="connsiteX1" fmla="*/ 1598195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821231 w 1821231"/>
                <a:gd name="connsiteY0" fmla="*/ 0 h 257442"/>
                <a:gd name="connsiteX1" fmla="*/ 1598195 w 1821231"/>
                <a:gd name="connsiteY1" fmla="*/ 257442 h 257442"/>
                <a:gd name="connsiteX2" fmla="*/ 0 w 1821231"/>
                <a:gd name="connsiteY2" fmla="*/ 257442 h 257442"/>
                <a:gd name="connsiteX3" fmla="*/ 0 w 1821231"/>
                <a:gd name="connsiteY3" fmla="*/ 0 h 257442"/>
                <a:gd name="connsiteX0" fmla="*/ 1821231 w 1821231"/>
                <a:gd name="connsiteY0" fmla="*/ 0 h 257442"/>
                <a:gd name="connsiteX1" fmla="*/ 1766510 w 1821231"/>
                <a:gd name="connsiteY1" fmla="*/ 257442 h 257442"/>
                <a:gd name="connsiteX2" fmla="*/ 0 w 1821231"/>
                <a:gd name="connsiteY2" fmla="*/ 257442 h 257442"/>
                <a:gd name="connsiteX3" fmla="*/ 0 w 1821231"/>
                <a:gd name="connsiteY3" fmla="*/ 0 h 257442"/>
                <a:gd name="connsiteX0" fmla="*/ 1821231 w 1821231"/>
                <a:gd name="connsiteY0" fmla="*/ 0 h 257442"/>
                <a:gd name="connsiteX1" fmla="*/ 1766510 w 1821231"/>
                <a:gd name="connsiteY1" fmla="*/ 257442 h 257442"/>
                <a:gd name="connsiteX2" fmla="*/ 0 w 1821231"/>
                <a:gd name="connsiteY2" fmla="*/ 257442 h 257442"/>
                <a:gd name="connsiteX3" fmla="*/ 0 w 1821231"/>
                <a:gd name="connsiteY3" fmla="*/ 0 h 257442"/>
                <a:gd name="connsiteX0" fmla="*/ 1821231 w 1821231"/>
                <a:gd name="connsiteY0" fmla="*/ 0 h 257442"/>
                <a:gd name="connsiteX1" fmla="*/ 1766510 w 1821231"/>
                <a:gd name="connsiteY1" fmla="*/ 257442 h 257442"/>
                <a:gd name="connsiteX2" fmla="*/ 0 w 1821231"/>
                <a:gd name="connsiteY2" fmla="*/ 257442 h 257442"/>
                <a:gd name="connsiteX3" fmla="*/ 0 w 1821231"/>
                <a:gd name="connsiteY3" fmla="*/ 0 h 257442"/>
                <a:gd name="connsiteX0" fmla="*/ 1999165 w 1999165"/>
                <a:gd name="connsiteY0" fmla="*/ 0 h 257442"/>
                <a:gd name="connsiteX1" fmla="*/ 1766510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2167480 w 2167480"/>
                <a:gd name="connsiteY0" fmla="*/ 0 h 257442"/>
                <a:gd name="connsiteX1" fmla="*/ 1944444 w 2167480"/>
                <a:gd name="connsiteY1" fmla="*/ 257442 h 257442"/>
                <a:gd name="connsiteX2" fmla="*/ 0 w 2167480"/>
                <a:gd name="connsiteY2" fmla="*/ 257442 h 257442"/>
                <a:gd name="connsiteX3" fmla="*/ 0 w 2167480"/>
                <a:gd name="connsiteY3" fmla="*/ 0 h 257442"/>
                <a:gd name="connsiteX0" fmla="*/ 2167480 w 2167480"/>
                <a:gd name="connsiteY0" fmla="*/ 0 h 257442"/>
                <a:gd name="connsiteX1" fmla="*/ 2112758 w 2167480"/>
                <a:gd name="connsiteY1" fmla="*/ 257442 h 257442"/>
                <a:gd name="connsiteX2" fmla="*/ 0 w 2167480"/>
                <a:gd name="connsiteY2" fmla="*/ 257442 h 257442"/>
                <a:gd name="connsiteX3" fmla="*/ 0 w 2167480"/>
                <a:gd name="connsiteY3" fmla="*/ 0 h 257442"/>
                <a:gd name="connsiteX0" fmla="*/ 2167481 w 2167481"/>
                <a:gd name="connsiteY0" fmla="*/ 0 h 257442"/>
                <a:gd name="connsiteX1" fmla="*/ 2112759 w 2167481"/>
                <a:gd name="connsiteY1" fmla="*/ 257442 h 257442"/>
                <a:gd name="connsiteX2" fmla="*/ 0 w 2167481"/>
                <a:gd name="connsiteY2" fmla="*/ 257442 h 257442"/>
                <a:gd name="connsiteX3" fmla="*/ 1 w 2167481"/>
                <a:gd name="connsiteY3" fmla="*/ 0 h 257442"/>
                <a:gd name="connsiteX0" fmla="*/ 2167481 w 2167481"/>
                <a:gd name="connsiteY0" fmla="*/ 0 h 257442"/>
                <a:gd name="connsiteX1" fmla="*/ 2112759 w 2167481"/>
                <a:gd name="connsiteY1" fmla="*/ 257442 h 257442"/>
                <a:gd name="connsiteX2" fmla="*/ 0 w 2167481"/>
                <a:gd name="connsiteY2" fmla="*/ 257442 h 257442"/>
                <a:gd name="connsiteX3" fmla="*/ 1 w 2167481"/>
                <a:gd name="connsiteY3" fmla="*/ 0 h 257442"/>
                <a:gd name="connsiteX0" fmla="*/ 2327781 w 2327781"/>
                <a:gd name="connsiteY0" fmla="*/ 0 h 257442"/>
                <a:gd name="connsiteX1" fmla="*/ 2112759 w 2327781"/>
                <a:gd name="connsiteY1" fmla="*/ 257442 h 257442"/>
                <a:gd name="connsiteX2" fmla="*/ 0 w 2327781"/>
                <a:gd name="connsiteY2" fmla="*/ 257442 h 257442"/>
                <a:gd name="connsiteX3" fmla="*/ 1 w 2327781"/>
                <a:gd name="connsiteY3" fmla="*/ 0 h 257442"/>
                <a:gd name="connsiteX0" fmla="*/ 2327781 w 2327781"/>
                <a:gd name="connsiteY0" fmla="*/ 0 h 257442"/>
                <a:gd name="connsiteX1" fmla="*/ 2273060 w 2327781"/>
                <a:gd name="connsiteY1" fmla="*/ 257442 h 257442"/>
                <a:gd name="connsiteX2" fmla="*/ 0 w 2327781"/>
                <a:gd name="connsiteY2" fmla="*/ 257442 h 257442"/>
                <a:gd name="connsiteX3" fmla="*/ 1 w 2327781"/>
                <a:gd name="connsiteY3" fmla="*/ 0 h 257442"/>
                <a:gd name="connsiteX0" fmla="*/ 2327780 w 2327780"/>
                <a:gd name="connsiteY0" fmla="*/ 0 h 257442"/>
                <a:gd name="connsiteX1" fmla="*/ 2273059 w 2327780"/>
                <a:gd name="connsiteY1" fmla="*/ 257442 h 257442"/>
                <a:gd name="connsiteX2" fmla="*/ 0 w 2327780"/>
                <a:gd name="connsiteY2" fmla="*/ 257442 h 257442"/>
                <a:gd name="connsiteX3" fmla="*/ 0 w 2327780"/>
                <a:gd name="connsiteY3" fmla="*/ 0 h 257442"/>
                <a:gd name="connsiteX0" fmla="*/ 2327781 w 2327781"/>
                <a:gd name="connsiteY0" fmla="*/ 0 h 257442"/>
                <a:gd name="connsiteX1" fmla="*/ 2273060 w 2327781"/>
                <a:gd name="connsiteY1" fmla="*/ 257442 h 257442"/>
                <a:gd name="connsiteX2" fmla="*/ 1 w 2327781"/>
                <a:gd name="connsiteY2" fmla="*/ 257442 h 257442"/>
                <a:gd name="connsiteX3" fmla="*/ 0 w 2327781"/>
                <a:gd name="connsiteY3" fmla="*/ 0 h 257442"/>
                <a:gd name="connsiteX0" fmla="*/ 2167481 w 2273060"/>
                <a:gd name="connsiteY0" fmla="*/ 0 h 257442"/>
                <a:gd name="connsiteX1" fmla="*/ 2273060 w 2273060"/>
                <a:gd name="connsiteY1" fmla="*/ 257442 h 257442"/>
                <a:gd name="connsiteX2" fmla="*/ 1 w 2273060"/>
                <a:gd name="connsiteY2" fmla="*/ 257442 h 257442"/>
                <a:gd name="connsiteX3" fmla="*/ 0 w 2273060"/>
                <a:gd name="connsiteY3" fmla="*/ 0 h 257442"/>
                <a:gd name="connsiteX0" fmla="*/ 2167481 w 2167481"/>
                <a:gd name="connsiteY0" fmla="*/ 0 h 257442"/>
                <a:gd name="connsiteX1" fmla="*/ 2112760 w 2167481"/>
                <a:gd name="connsiteY1" fmla="*/ 257442 h 257442"/>
                <a:gd name="connsiteX2" fmla="*/ 1 w 2167481"/>
                <a:gd name="connsiteY2" fmla="*/ 257442 h 257442"/>
                <a:gd name="connsiteX3" fmla="*/ 0 w 2167481"/>
                <a:gd name="connsiteY3" fmla="*/ 0 h 257442"/>
                <a:gd name="connsiteX0" fmla="*/ 2167481 w 2167481"/>
                <a:gd name="connsiteY0" fmla="*/ 0 h 257442"/>
                <a:gd name="connsiteX1" fmla="*/ 2112760 w 2167481"/>
                <a:gd name="connsiteY1" fmla="*/ 257442 h 257442"/>
                <a:gd name="connsiteX2" fmla="*/ 2 w 2167481"/>
                <a:gd name="connsiteY2" fmla="*/ 257442 h 257442"/>
                <a:gd name="connsiteX3" fmla="*/ 0 w 2167481"/>
                <a:gd name="connsiteY3" fmla="*/ 0 h 257442"/>
                <a:gd name="connsiteX0" fmla="*/ 2167479 w 2167479"/>
                <a:gd name="connsiteY0" fmla="*/ 0 h 257442"/>
                <a:gd name="connsiteX1" fmla="*/ 2112758 w 2167479"/>
                <a:gd name="connsiteY1" fmla="*/ 257442 h 257442"/>
                <a:gd name="connsiteX2" fmla="*/ 0 w 2167479"/>
                <a:gd name="connsiteY2" fmla="*/ 257442 h 257442"/>
                <a:gd name="connsiteX3" fmla="*/ 0 w 2167479"/>
                <a:gd name="connsiteY3" fmla="*/ 0 h 257442"/>
                <a:gd name="connsiteX0" fmla="*/ 1999165 w 2112758"/>
                <a:gd name="connsiteY0" fmla="*/ 0 h 257442"/>
                <a:gd name="connsiteX1" fmla="*/ 2112758 w 2112758"/>
                <a:gd name="connsiteY1" fmla="*/ 257442 h 257442"/>
                <a:gd name="connsiteX2" fmla="*/ 0 w 2112758"/>
                <a:gd name="connsiteY2" fmla="*/ 257442 h 257442"/>
                <a:gd name="connsiteX3" fmla="*/ 0 w 2112758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1 w 1999165"/>
                <a:gd name="connsiteY2" fmla="*/ 257442 h 257442"/>
                <a:gd name="connsiteX3" fmla="*/ 0 w 1999165"/>
                <a:gd name="connsiteY3" fmla="*/ 0 h 257442"/>
                <a:gd name="connsiteX0" fmla="*/ 1999164 w 1999164"/>
                <a:gd name="connsiteY0" fmla="*/ 0 h 257442"/>
                <a:gd name="connsiteX1" fmla="*/ 1944443 w 1999164"/>
                <a:gd name="connsiteY1" fmla="*/ 257442 h 257442"/>
                <a:gd name="connsiteX2" fmla="*/ 0 w 1999164"/>
                <a:gd name="connsiteY2" fmla="*/ 257442 h 257442"/>
                <a:gd name="connsiteX3" fmla="*/ 0 w 1999164"/>
                <a:gd name="connsiteY3" fmla="*/ 0 h 257442"/>
                <a:gd name="connsiteX0" fmla="*/ 1821230 w 1944443"/>
                <a:gd name="connsiteY0" fmla="*/ 0 h 257442"/>
                <a:gd name="connsiteX1" fmla="*/ 1944443 w 1944443"/>
                <a:gd name="connsiteY1" fmla="*/ 257442 h 257442"/>
                <a:gd name="connsiteX2" fmla="*/ 0 w 1944443"/>
                <a:gd name="connsiteY2" fmla="*/ 257442 h 257442"/>
                <a:gd name="connsiteX3" fmla="*/ 0 w 1944443"/>
                <a:gd name="connsiteY3" fmla="*/ 0 h 257442"/>
                <a:gd name="connsiteX0" fmla="*/ 1821230 w 1821230"/>
                <a:gd name="connsiteY0" fmla="*/ 0 h 257442"/>
                <a:gd name="connsiteX1" fmla="*/ 1766510 w 1821230"/>
                <a:gd name="connsiteY1" fmla="*/ 257442 h 257442"/>
                <a:gd name="connsiteX2" fmla="*/ 0 w 1821230"/>
                <a:gd name="connsiteY2" fmla="*/ 257442 h 257442"/>
                <a:gd name="connsiteX3" fmla="*/ 0 w 1821230"/>
                <a:gd name="connsiteY3" fmla="*/ 0 h 257442"/>
                <a:gd name="connsiteX0" fmla="*/ 1821230 w 1821230"/>
                <a:gd name="connsiteY0" fmla="*/ 0 h 257442"/>
                <a:gd name="connsiteX1" fmla="*/ 1766510 w 1821230"/>
                <a:gd name="connsiteY1" fmla="*/ 257442 h 257442"/>
                <a:gd name="connsiteX2" fmla="*/ 0 w 1821230"/>
                <a:gd name="connsiteY2" fmla="*/ 257442 h 257442"/>
                <a:gd name="connsiteX3" fmla="*/ 0 w 1821230"/>
                <a:gd name="connsiteY3" fmla="*/ 0 h 257442"/>
                <a:gd name="connsiteX0" fmla="*/ 1821230 w 1821230"/>
                <a:gd name="connsiteY0" fmla="*/ 0 h 257442"/>
                <a:gd name="connsiteX1" fmla="*/ 1766510 w 1821230"/>
                <a:gd name="connsiteY1" fmla="*/ 257442 h 257442"/>
                <a:gd name="connsiteX2" fmla="*/ 0 w 1821230"/>
                <a:gd name="connsiteY2" fmla="*/ 257442 h 257442"/>
                <a:gd name="connsiteX3" fmla="*/ 0 w 1821230"/>
                <a:gd name="connsiteY3" fmla="*/ 0 h 257442"/>
                <a:gd name="connsiteX0" fmla="*/ 1652916 w 1766510"/>
                <a:gd name="connsiteY0" fmla="*/ 0 h 257442"/>
                <a:gd name="connsiteX1" fmla="*/ 1766510 w 1766510"/>
                <a:gd name="connsiteY1" fmla="*/ 257442 h 257442"/>
                <a:gd name="connsiteX2" fmla="*/ 0 w 1766510"/>
                <a:gd name="connsiteY2" fmla="*/ 257442 h 257442"/>
                <a:gd name="connsiteX3" fmla="*/ 0 w 1766510"/>
                <a:gd name="connsiteY3" fmla="*/ 0 h 257442"/>
                <a:gd name="connsiteX0" fmla="*/ 1652916 w 1652916"/>
                <a:gd name="connsiteY0" fmla="*/ 0 h 257442"/>
                <a:gd name="connsiteX1" fmla="*/ 1598195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652916 w 1652916"/>
                <a:gd name="connsiteY0" fmla="*/ 0 h 257442"/>
                <a:gd name="connsiteX1" fmla="*/ 1598195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652916 w 1652916"/>
                <a:gd name="connsiteY0" fmla="*/ 0 h 257442"/>
                <a:gd name="connsiteX1" fmla="*/ 1598195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830849 w 1830849"/>
                <a:gd name="connsiteY0" fmla="*/ 0 h 257442"/>
                <a:gd name="connsiteX1" fmla="*/ 1598195 w 1830849"/>
                <a:gd name="connsiteY1" fmla="*/ 257442 h 257442"/>
                <a:gd name="connsiteX2" fmla="*/ 0 w 1830849"/>
                <a:gd name="connsiteY2" fmla="*/ 257442 h 257442"/>
                <a:gd name="connsiteX3" fmla="*/ 0 w 1830849"/>
                <a:gd name="connsiteY3" fmla="*/ 0 h 257442"/>
                <a:gd name="connsiteX0" fmla="*/ 1830849 w 1830849"/>
                <a:gd name="connsiteY0" fmla="*/ 0 h 257442"/>
                <a:gd name="connsiteX1" fmla="*/ 1776128 w 1830849"/>
                <a:gd name="connsiteY1" fmla="*/ 257442 h 257442"/>
                <a:gd name="connsiteX2" fmla="*/ 0 w 1830849"/>
                <a:gd name="connsiteY2" fmla="*/ 257442 h 257442"/>
                <a:gd name="connsiteX3" fmla="*/ 0 w 1830849"/>
                <a:gd name="connsiteY3" fmla="*/ 0 h 257442"/>
                <a:gd name="connsiteX0" fmla="*/ 1830849 w 1830849"/>
                <a:gd name="connsiteY0" fmla="*/ 0 h 257442"/>
                <a:gd name="connsiteX1" fmla="*/ 1776128 w 1830849"/>
                <a:gd name="connsiteY1" fmla="*/ 257442 h 257442"/>
                <a:gd name="connsiteX2" fmla="*/ 0 w 1830849"/>
                <a:gd name="connsiteY2" fmla="*/ 257442 h 257442"/>
                <a:gd name="connsiteX3" fmla="*/ 0 w 1830849"/>
                <a:gd name="connsiteY3" fmla="*/ 0 h 257442"/>
                <a:gd name="connsiteX0" fmla="*/ 1830849 w 1830849"/>
                <a:gd name="connsiteY0" fmla="*/ 0 h 257442"/>
                <a:gd name="connsiteX1" fmla="*/ 1776128 w 1830849"/>
                <a:gd name="connsiteY1" fmla="*/ 257442 h 257442"/>
                <a:gd name="connsiteX2" fmla="*/ 0 w 1830849"/>
                <a:gd name="connsiteY2" fmla="*/ 257442 h 257442"/>
                <a:gd name="connsiteX3" fmla="*/ 0 w 1830849"/>
                <a:gd name="connsiteY3" fmla="*/ 0 h 257442"/>
                <a:gd name="connsiteX0" fmla="*/ 1999165 w 1999165"/>
                <a:gd name="connsiteY0" fmla="*/ 0 h 257442"/>
                <a:gd name="connsiteX1" fmla="*/ 1776128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2167480 w 2167480"/>
                <a:gd name="connsiteY0" fmla="*/ 0 h 257442"/>
                <a:gd name="connsiteX1" fmla="*/ 1944444 w 2167480"/>
                <a:gd name="connsiteY1" fmla="*/ 257442 h 257442"/>
                <a:gd name="connsiteX2" fmla="*/ 0 w 2167480"/>
                <a:gd name="connsiteY2" fmla="*/ 257442 h 257442"/>
                <a:gd name="connsiteX3" fmla="*/ 0 w 2167480"/>
                <a:gd name="connsiteY3" fmla="*/ 0 h 257442"/>
                <a:gd name="connsiteX0" fmla="*/ 2167480 w 2167480"/>
                <a:gd name="connsiteY0" fmla="*/ 0 h 257442"/>
                <a:gd name="connsiteX1" fmla="*/ 2112758 w 2167480"/>
                <a:gd name="connsiteY1" fmla="*/ 257442 h 257442"/>
                <a:gd name="connsiteX2" fmla="*/ 0 w 2167480"/>
                <a:gd name="connsiteY2" fmla="*/ 257442 h 257442"/>
                <a:gd name="connsiteX3" fmla="*/ 0 w 2167480"/>
                <a:gd name="connsiteY3" fmla="*/ 0 h 257442"/>
                <a:gd name="connsiteX0" fmla="*/ 2167481 w 2167481"/>
                <a:gd name="connsiteY0" fmla="*/ 0 h 257442"/>
                <a:gd name="connsiteX1" fmla="*/ 2112759 w 2167481"/>
                <a:gd name="connsiteY1" fmla="*/ 257442 h 257442"/>
                <a:gd name="connsiteX2" fmla="*/ 0 w 2167481"/>
                <a:gd name="connsiteY2" fmla="*/ 257442 h 257442"/>
                <a:gd name="connsiteX3" fmla="*/ 1 w 2167481"/>
                <a:gd name="connsiteY3" fmla="*/ 0 h 257442"/>
                <a:gd name="connsiteX0" fmla="*/ 2167481 w 2167481"/>
                <a:gd name="connsiteY0" fmla="*/ 0 h 257442"/>
                <a:gd name="connsiteX1" fmla="*/ 2112759 w 2167481"/>
                <a:gd name="connsiteY1" fmla="*/ 257442 h 257442"/>
                <a:gd name="connsiteX2" fmla="*/ 0 w 2167481"/>
                <a:gd name="connsiteY2" fmla="*/ 257442 h 257442"/>
                <a:gd name="connsiteX3" fmla="*/ 1 w 2167481"/>
                <a:gd name="connsiteY3" fmla="*/ 0 h 257442"/>
                <a:gd name="connsiteX0" fmla="*/ 2327781 w 2327781"/>
                <a:gd name="connsiteY0" fmla="*/ 0 h 257442"/>
                <a:gd name="connsiteX1" fmla="*/ 2112759 w 2327781"/>
                <a:gd name="connsiteY1" fmla="*/ 257442 h 257442"/>
                <a:gd name="connsiteX2" fmla="*/ 0 w 2327781"/>
                <a:gd name="connsiteY2" fmla="*/ 257442 h 257442"/>
                <a:gd name="connsiteX3" fmla="*/ 1 w 2327781"/>
                <a:gd name="connsiteY3" fmla="*/ 0 h 257442"/>
                <a:gd name="connsiteX0" fmla="*/ 2327781 w 2327781"/>
                <a:gd name="connsiteY0" fmla="*/ 0 h 257442"/>
                <a:gd name="connsiteX1" fmla="*/ 2273060 w 2327781"/>
                <a:gd name="connsiteY1" fmla="*/ 257442 h 257442"/>
                <a:gd name="connsiteX2" fmla="*/ 0 w 2327781"/>
                <a:gd name="connsiteY2" fmla="*/ 257442 h 257442"/>
                <a:gd name="connsiteX3" fmla="*/ 1 w 2327781"/>
                <a:gd name="connsiteY3" fmla="*/ 0 h 257442"/>
                <a:gd name="connsiteX0" fmla="*/ 2327780 w 2327780"/>
                <a:gd name="connsiteY0" fmla="*/ 0 h 257442"/>
                <a:gd name="connsiteX1" fmla="*/ 2273059 w 2327780"/>
                <a:gd name="connsiteY1" fmla="*/ 257442 h 257442"/>
                <a:gd name="connsiteX2" fmla="*/ 0 w 2327780"/>
                <a:gd name="connsiteY2" fmla="*/ 257442 h 257442"/>
                <a:gd name="connsiteX3" fmla="*/ 0 w 2327780"/>
                <a:gd name="connsiteY3" fmla="*/ 0 h 257442"/>
                <a:gd name="connsiteX0" fmla="*/ 2327781 w 2327781"/>
                <a:gd name="connsiteY0" fmla="*/ 0 h 257442"/>
                <a:gd name="connsiteX1" fmla="*/ 2273060 w 2327781"/>
                <a:gd name="connsiteY1" fmla="*/ 257442 h 257442"/>
                <a:gd name="connsiteX2" fmla="*/ 1 w 2327781"/>
                <a:gd name="connsiteY2" fmla="*/ 257442 h 257442"/>
                <a:gd name="connsiteX3" fmla="*/ 0 w 2327781"/>
                <a:gd name="connsiteY3" fmla="*/ 0 h 257442"/>
                <a:gd name="connsiteX0" fmla="*/ 960420 w 2273060"/>
                <a:gd name="connsiteY0" fmla="*/ 0 h 257442"/>
                <a:gd name="connsiteX1" fmla="*/ 2273060 w 2273060"/>
                <a:gd name="connsiteY1" fmla="*/ 257442 h 257442"/>
                <a:gd name="connsiteX2" fmla="*/ 1 w 2273060"/>
                <a:gd name="connsiteY2" fmla="*/ 257442 h 257442"/>
                <a:gd name="connsiteX3" fmla="*/ 0 w 2273060"/>
                <a:gd name="connsiteY3" fmla="*/ 0 h 257442"/>
                <a:gd name="connsiteX0" fmla="*/ 960420 w 960420"/>
                <a:gd name="connsiteY0" fmla="*/ 0 h 257442"/>
                <a:gd name="connsiteX1" fmla="*/ 905699 w 960420"/>
                <a:gd name="connsiteY1" fmla="*/ 257442 h 257442"/>
                <a:gd name="connsiteX2" fmla="*/ 1 w 960420"/>
                <a:gd name="connsiteY2" fmla="*/ 257442 h 257442"/>
                <a:gd name="connsiteX3" fmla="*/ 0 w 960420"/>
                <a:gd name="connsiteY3" fmla="*/ 0 h 257442"/>
                <a:gd name="connsiteX0" fmla="*/ 960420 w 960420"/>
                <a:gd name="connsiteY0" fmla="*/ 0 h 257442"/>
                <a:gd name="connsiteX1" fmla="*/ 905699 w 960420"/>
                <a:gd name="connsiteY1" fmla="*/ 257442 h 257442"/>
                <a:gd name="connsiteX2" fmla="*/ 1 w 960420"/>
                <a:gd name="connsiteY2" fmla="*/ 257442 h 257442"/>
                <a:gd name="connsiteX3" fmla="*/ 0 w 960420"/>
                <a:gd name="connsiteY3" fmla="*/ 0 h 257442"/>
                <a:gd name="connsiteX0" fmla="*/ 960419 w 960419"/>
                <a:gd name="connsiteY0" fmla="*/ 0 h 257442"/>
                <a:gd name="connsiteX1" fmla="*/ 905698 w 960419"/>
                <a:gd name="connsiteY1" fmla="*/ 257442 h 257442"/>
                <a:gd name="connsiteX2" fmla="*/ 0 w 960419"/>
                <a:gd name="connsiteY2" fmla="*/ 257442 h 257442"/>
                <a:gd name="connsiteX3" fmla="*/ 0 w 960419"/>
                <a:gd name="connsiteY3" fmla="*/ 0 h 257442"/>
                <a:gd name="connsiteX0" fmla="*/ 1128734 w 1128734"/>
                <a:gd name="connsiteY0" fmla="*/ 0 h 257442"/>
                <a:gd name="connsiteX1" fmla="*/ 905698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128734 w 1128734"/>
                <a:gd name="connsiteY0" fmla="*/ 0 h 257442"/>
                <a:gd name="connsiteX1" fmla="*/ 1074012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128735 w 1128735"/>
                <a:gd name="connsiteY0" fmla="*/ 0 h 257442"/>
                <a:gd name="connsiteX1" fmla="*/ 1074013 w 1128735"/>
                <a:gd name="connsiteY1" fmla="*/ 257442 h 257442"/>
                <a:gd name="connsiteX2" fmla="*/ 0 w 1128735"/>
                <a:gd name="connsiteY2" fmla="*/ 257442 h 257442"/>
                <a:gd name="connsiteX3" fmla="*/ 1 w 1128735"/>
                <a:gd name="connsiteY3" fmla="*/ 0 h 257442"/>
                <a:gd name="connsiteX0" fmla="*/ 1128735 w 1128735"/>
                <a:gd name="connsiteY0" fmla="*/ 0 h 257442"/>
                <a:gd name="connsiteX1" fmla="*/ 1074013 w 1128735"/>
                <a:gd name="connsiteY1" fmla="*/ 257442 h 257442"/>
                <a:gd name="connsiteX2" fmla="*/ 0 w 1128735"/>
                <a:gd name="connsiteY2" fmla="*/ 257442 h 257442"/>
                <a:gd name="connsiteX3" fmla="*/ 1 w 1128735"/>
                <a:gd name="connsiteY3" fmla="*/ 0 h 257442"/>
                <a:gd name="connsiteX0" fmla="*/ 1306669 w 1306669"/>
                <a:gd name="connsiteY0" fmla="*/ 0 h 257442"/>
                <a:gd name="connsiteX1" fmla="*/ 1074013 w 1306669"/>
                <a:gd name="connsiteY1" fmla="*/ 257442 h 257442"/>
                <a:gd name="connsiteX2" fmla="*/ 0 w 1306669"/>
                <a:gd name="connsiteY2" fmla="*/ 257442 h 257442"/>
                <a:gd name="connsiteX3" fmla="*/ 1 w 1306669"/>
                <a:gd name="connsiteY3" fmla="*/ 0 h 257442"/>
                <a:gd name="connsiteX0" fmla="*/ 1306669 w 1306669"/>
                <a:gd name="connsiteY0" fmla="*/ 0 h 257442"/>
                <a:gd name="connsiteX1" fmla="*/ 1251948 w 1306669"/>
                <a:gd name="connsiteY1" fmla="*/ 257442 h 257442"/>
                <a:gd name="connsiteX2" fmla="*/ 0 w 1306669"/>
                <a:gd name="connsiteY2" fmla="*/ 257442 h 257442"/>
                <a:gd name="connsiteX3" fmla="*/ 1 w 1306669"/>
                <a:gd name="connsiteY3" fmla="*/ 0 h 257442"/>
                <a:gd name="connsiteX0" fmla="*/ 1306668 w 1306668"/>
                <a:gd name="connsiteY0" fmla="*/ 0 h 257442"/>
                <a:gd name="connsiteX1" fmla="*/ 1251947 w 1306668"/>
                <a:gd name="connsiteY1" fmla="*/ 257442 h 257442"/>
                <a:gd name="connsiteX2" fmla="*/ 0 w 1306668"/>
                <a:gd name="connsiteY2" fmla="*/ 257442 h 257442"/>
                <a:gd name="connsiteX3" fmla="*/ 0 w 1306668"/>
                <a:gd name="connsiteY3" fmla="*/ 0 h 257442"/>
                <a:gd name="connsiteX0" fmla="*/ 1306669 w 1306669"/>
                <a:gd name="connsiteY0" fmla="*/ 0 h 257442"/>
                <a:gd name="connsiteX1" fmla="*/ 1251948 w 1306669"/>
                <a:gd name="connsiteY1" fmla="*/ 257442 h 257442"/>
                <a:gd name="connsiteX2" fmla="*/ 1 w 1306669"/>
                <a:gd name="connsiteY2" fmla="*/ 257442 h 257442"/>
                <a:gd name="connsiteX3" fmla="*/ 0 w 1306669"/>
                <a:gd name="connsiteY3" fmla="*/ 0 h 257442"/>
                <a:gd name="connsiteX0" fmla="*/ 1407657 w 1407657"/>
                <a:gd name="connsiteY0" fmla="*/ 0 h 257442"/>
                <a:gd name="connsiteX1" fmla="*/ 1251948 w 1407657"/>
                <a:gd name="connsiteY1" fmla="*/ 257442 h 257442"/>
                <a:gd name="connsiteX2" fmla="*/ 1 w 1407657"/>
                <a:gd name="connsiteY2" fmla="*/ 257442 h 257442"/>
                <a:gd name="connsiteX3" fmla="*/ 0 w 1407657"/>
                <a:gd name="connsiteY3" fmla="*/ 0 h 257442"/>
                <a:gd name="connsiteX0" fmla="*/ 1407657 w 1407657"/>
                <a:gd name="connsiteY0" fmla="*/ 0 h 257442"/>
                <a:gd name="connsiteX1" fmla="*/ 1352936 w 1407657"/>
                <a:gd name="connsiteY1" fmla="*/ 257442 h 257442"/>
                <a:gd name="connsiteX2" fmla="*/ 1 w 1407657"/>
                <a:gd name="connsiteY2" fmla="*/ 257442 h 257442"/>
                <a:gd name="connsiteX3" fmla="*/ 0 w 1407657"/>
                <a:gd name="connsiteY3" fmla="*/ 0 h 257442"/>
                <a:gd name="connsiteX0" fmla="*/ 1407657 w 1407657"/>
                <a:gd name="connsiteY0" fmla="*/ 0 h 257442"/>
                <a:gd name="connsiteX1" fmla="*/ 1352936 w 1407657"/>
                <a:gd name="connsiteY1" fmla="*/ 257442 h 257442"/>
                <a:gd name="connsiteX2" fmla="*/ 1 w 1407657"/>
                <a:gd name="connsiteY2" fmla="*/ 257442 h 257442"/>
                <a:gd name="connsiteX3" fmla="*/ 0 w 1407657"/>
                <a:gd name="connsiteY3" fmla="*/ 0 h 257442"/>
                <a:gd name="connsiteX0" fmla="*/ 1407656 w 1407656"/>
                <a:gd name="connsiteY0" fmla="*/ 0 h 257442"/>
                <a:gd name="connsiteX1" fmla="*/ 1352935 w 1407656"/>
                <a:gd name="connsiteY1" fmla="*/ 257442 h 257442"/>
                <a:gd name="connsiteX2" fmla="*/ 0 w 1407656"/>
                <a:gd name="connsiteY2" fmla="*/ 257442 h 257442"/>
                <a:gd name="connsiteX3" fmla="*/ 0 w 1407656"/>
                <a:gd name="connsiteY3" fmla="*/ 0 h 257442"/>
                <a:gd name="connsiteX0" fmla="*/ 1585589 w 1585589"/>
                <a:gd name="connsiteY0" fmla="*/ 0 h 257442"/>
                <a:gd name="connsiteX1" fmla="*/ 1352935 w 1585589"/>
                <a:gd name="connsiteY1" fmla="*/ 257442 h 257442"/>
                <a:gd name="connsiteX2" fmla="*/ 0 w 1585589"/>
                <a:gd name="connsiteY2" fmla="*/ 257442 h 257442"/>
                <a:gd name="connsiteX3" fmla="*/ 0 w 1585589"/>
                <a:gd name="connsiteY3" fmla="*/ 0 h 257442"/>
                <a:gd name="connsiteX0" fmla="*/ 1585589 w 1585589"/>
                <a:gd name="connsiteY0" fmla="*/ 0 h 257442"/>
                <a:gd name="connsiteX1" fmla="*/ 1530868 w 1585589"/>
                <a:gd name="connsiteY1" fmla="*/ 257442 h 257442"/>
                <a:gd name="connsiteX2" fmla="*/ 0 w 1585589"/>
                <a:gd name="connsiteY2" fmla="*/ 257442 h 257442"/>
                <a:gd name="connsiteX3" fmla="*/ 0 w 1585589"/>
                <a:gd name="connsiteY3" fmla="*/ 0 h 257442"/>
                <a:gd name="connsiteX0" fmla="*/ 1585590 w 1585590"/>
                <a:gd name="connsiteY0" fmla="*/ 0 h 257442"/>
                <a:gd name="connsiteX1" fmla="*/ 1530869 w 1585590"/>
                <a:gd name="connsiteY1" fmla="*/ 257442 h 257442"/>
                <a:gd name="connsiteX2" fmla="*/ 0 w 1585590"/>
                <a:gd name="connsiteY2" fmla="*/ 257442 h 257442"/>
                <a:gd name="connsiteX3" fmla="*/ 1 w 1585590"/>
                <a:gd name="connsiteY3" fmla="*/ 0 h 257442"/>
                <a:gd name="connsiteX0" fmla="*/ 1585590 w 1585590"/>
                <a:gd name="connsiteY0" fmla="*/ 0 h 257442"/>
                <a:gd name="connsiteX1" fmla="*/ 1530869 w 1585590"/>
                <a:gd name="connsiteY1" fmla="*/ 257442 h 257442"/>
                <a:gd name="connsiteX2" fmla="*/ 0 w 1585590"/>
                <a:gd name="connsiteY2" fmla="*/ 257442 h 257442"/>
                <a:gd name="connsiteX3" fmla="*/ 0 w 1585590"/>
                <a:gd name="connsiteY3" fmla="*/ 0 h 257442"/>
                <a:gd name="connsiteX0" fmla="*/ 1745891 w 1745891"/>
                <a:gd name="connsiteY0" fmla="*/ 0 h 257442"/>
                <a:gd name="connsiteX1" fmla="*/ 1530869 w 1745891"/>
                <a:gd name="connsiteY1" fmla="*/ 257442 h 257442"/>
                <a:gd name="connsiteX2" fmla="*/ 0 w 1745891"/>
                <a:gd name="connsiteY2" fmla="*/ 257442 h 257442"/>
                <a:gd name="connsiteX3" fmla="*/ 0 w 1745891"/>
                <a:gd name="connsiteY3" fmla="*/ 0 h 257442"/>
                <a:gd name="connsiteX0" fmla="*/ 1745891 w 1745891"/>
                <a:gd name="connsiteY0" fmla="*/ 0 h 257442"/>
                <a:gd name="connsiteX1" fmla="*/ 1691170 w 1745891"/>
                <a:gd name="connsiteY1" fmla="*/ 257442 h 257442"/>
                <a:gd name="connsiteX2" fmla="*/ 0 w 1745891"/>
                <a:gd name="connsiteY2" fmla="*/ 257442 h 257442"/>
                <a:gd name="connsiteX3" fmla="*/ 0 w 1745891"/>
                <a:gd name="connsiteY3" fmla="*/ 0 h 257442"/>
                <a:gd name="connsiteX0" fmla="*/ 1745891 w 1745891"/>
                <a:gd name="connsiteY0" fmla="*/ 0 h 257442"/>
                <a:gd name="connsiteX1" fmla="*/ 1691170 w 1745891"/>
                <a:gd name="connsiteY1" fmla="*/ 257442 h 257442"/>
                <a:gd name="connsiteX2" fmla="*/ 0 w 1745891"/>
                <a:gd name="connsiteY2" fmla="*/ 257442 h 257442"/>
                <a:gd name="connsiteX3" fmla="*/ 0 w 1745891"/>
                <a:gd name="connsiteY3" fmla="*/ 0 h 257442"/>
                <a:gd name="connsiteX0" fmla="*/ 1745891 w 1745891"/>
                <a:gd name="connsiteY0" fmla="*/ 0 h 257442"/>
                <a:gd name="connsiteX1" fmla="*/ 1691170 w 1745891"/>
                <a:gd name="connsiteY1" fmla="*/ 257442 h 257442"/>
                <a:gd name="connsiteX2" fmla="*/ 0 w 1745891"/>
                <a:gd name="connsiteY2" fmla="*/ 257442 h 257442"/>
                <a:gd name="connsiteX3" fmla="*/ 0 w 1745891"/>
                <a:gd name="connsiteY3" fmla="*/ 0 h 257442"/>
                <a:gd name="connsiteX0" fmla="*/ 1906191 w 1906191"/>
                <a:gd name="connsiteY0" fmla="*/ 0 h 257442"/>
                <a:gd name="connsiteX1" fmla="*/ 1691170 w 1906191"/>
                <a:gd name="connsiteY1" fmla="*/ 257442 h 257442"/>
                <a:gd name="connsiteX2" fmla="*/ 0 w 1906191"/>
                <a:gd name="connsiteY2" fmla="*/ 257442 h 257442"/>
                <a:gd name="connsiteX3" fmla="*/ 0 w 1906191"/>
                <a:gd name="connsiteY3" fmla="*/ 0 h 257442"/>
                <a:gd name="connsiteX0" fmla="*/ 1906191 w 1906191"/>
                <a:gd name="connsiteY0" fmla="*/ 0 h 257442"/>
                <a:gd name="connsiteX1" fmla="*/ 1851470 w 1906191"/>
                <a:gd name="connsiteY1" fmla="*/ 257442 h 257442"/>
                <a:gd name="connsiteX2" fmla="*/ 0 w 1906191"/>
                <a:gd name="connsiteY2" fmla="*/ 257442 h 257442"/>
                <a:gd name="connsiteX3" fmla="*/ 0 w 1906191"/>
                <a:gd name="connsiteY3" fmla="*/ 0 h 257442"/>
                <a:gd name="connsiteX0" fmla="*/ 1906191 w 1906191"/>
                <a:gd name="connsiteY0" fmla="*/ 0 h 257442"/>
                <a:gd name="connsiteX1" fmla="*/ 1851470 w 1906191"/>
                <a:gd name="connsiteY1" fmla="*/ 257442 h 257442"/>
                <a:gd name="connsiteX2" fmla="*/ 0 w 1906191"/>
                <a:gd name="connsiteY2" fmla="*/ 257442 h 257442"/>
                <a:gd name="connsiteX3" fmla="*/ 0 w 1906191"/>
                <a:gd name="connsiteY3" fmla="*/ 0 h 257442"/>
                <a:gd name="connsiteX0" fmla="*/ 1906191 w 1906191"/>
                <a:gd name="connsiteY0" fmla="*/ 0 h 257442"/>
                <a:gd name="connsiteX1" fmla="*/ 1851470 w 1906191"/>
                <a:gd name="connsiteY1" fmla="*/ 257442 h 257442"/>
                <a:gd name="connsiteX2" fmla="*/ 0 w 1906191"/>
                <a:gd name="connsiteY2" fmla="*/ 257442 h 257442"/>
                <a:gd name="connsiteX3" fmla="*/ 0 w 1906191"/>
                <a:gd name="connsiteY3" fmla="*/ 0 h 257442"/>
                <a:gd name="connsiteX0" fmla="*/ 2074506 w 2074506"/>
                <a:gd name="connsiteY0" fmla="*/ 0 h 257442"/>
                <a:gd name="connsiteX1" fmla="*/ 1851470 w 2074506"/>
                <a:gd name="connsiteY1" fmla="*/ 257442 h 257442"/>
                <a:gd name="connsiteX2" fmla="*/ 0 w 2074506"/>
                <a:gd name="connsiteY2" fmla="*/ 257442 h 257442"/>
                <a:gd name="connsiteX3" fmla="*/ 0 w 2074506"/>
                <a:gd name="connsiteY3" fmla="*/ 0 h 257442"/>
                <a:gd name="connsiteX0" fmla="*/ 2074506 w 2074506"/>
                <a:gd name="connsiteY0" fmla="*/ 0 h 257442"/>
                <a:gd name="connsiteX1" fmla="*/ 2019784 w 2074506"/>
                <a:gd name="connsiteY1" fmla="*/ 257442 h 257442"/>
                <a:gd name="connsiteX2" fmla="*/ 0 w 2074506"/>
                <a:gd name="connsiteY2" fmla="*/ 257442 h 257442"/>
                <a:gd name="connsiteX3" fmla="*/ 0 w 2074506"/>
                <a:gd name="connsiteY3" fmla="*/ 0 h 257442"/>
                <a:gd name="connsiteX0" fmla="*/ 2074507 w 2074507"/>
                <a:gd name="connsiteY0" fmla="*/ 0 h 257442"/>
                <a:gd name="connsiteX1" fmla="*/ 2019785 w 2074507"/>
                <a:gd name="connsiteY1" fmla="*/ 257442 h 257442"/>
                <a:gd name="connsiteX2" fmla="*/ 0 w 2074507"/>
                <a:gd name="connsiteY2" fmla="*/ 257442 h 257442"/>
                <a:gd name="connsiteX3" fmla="*/ 1 w 2074507"/>
                <a:gd name="connsiteY3" fmla="*/ 0 h 257442"/>
                <a:gd name="connsiteX0" fmla="*/ 2074507 w 2074507"/>
                <a:gd name="connsiteY0" fmla="*/ 0 h 257442"/>
                <a:gd name="connsiteX1" fmla="*/ 2019785 w 2074507"/>
                <a:gd name="connsiteY1" fmla="*/ 257442 h 257442"/>
                <a:gd name="connsiteX2" fmla="*/ 0 w 2074507"/>
                <a:gd name="connsiteY2" fmla="*/ 257442 h 257442"/>
                <a:gd name="connsiteX3" fmla="*/ 1 w 2074507"/>
                <a:gd name="connsiteY3" fmla="*/ 0 h 257442"/>
                <a:gd name="connsiteX0" fmla="*/ 2232050 w 2232050"/>
                <a:gd name="connsiteY0" fmla="*/ 0 h 257442"/>
                <a:gd name="connsiteX1" fmla="*/ 2019785 w 2232050"/>
                <a:gd name="connsiteY1" fmla="*/ 257442 h 257442"/>
                <a:gd name="connsiteX2" fmla="*/ 0 w 2232050"/>
                <a:gd name="connsiteY2" fmla="*/ 257442 h 257442"/>
                <a:gd name="connsiteX3" fmla="*/ 1 w 2232050"/>
                <a:gd name="connsiteY3" fmla="*/ 0 h 257442"/>
                <a:gd name="connsiteX0" fmla="*/ 2232050 w 2232050"/>
                <a:gd name="connsiteY0" fmla="*/ 0 h 257442"/>
                <a:gd name="connsiteX1" fmla="*/ 2177328 w 2232050"/>
                <a:gd name="connsiteY1" fmla="*/ 257442 h 257442"/>
                <a:gd name="connsiteX2" fmla="*/ 0 w 2232050"/>
                <a:gd name="connsiteY2" fmla="*/ 257442 h 257442"/>
                <a:gd name="connsiteX3" fmla="*/ 1 w 2232050"/>
                <a:gd name="connsiteY3" fmla="*/ 0 h 257442"/>
                <a:gd name="connsiteX0" fmla="*/ 2232050 w 2232050"/>
                <a:gd name="connsiteY0" fmla="*/ 0 h 257442"/>
                <a:gd name="connsiteX1" fmla="*/ 2177328 w 2232050"/>
                <a:gd name="connsiteY1" fmla="*/ 257442 h 257442"/>
                <a:gd name="connsiteX2" fmla="*/ 0 w 2232050"/>
                <a:gd name="connsiteY2" fmla="*/ 257442 h 257442"/>
                <a:gd name="connsiteX3" fmla="*/ 1 w 2232050"/>
                <a:gd name="connsiteY3" fmla="*/ 0 h 257442"/>
                <a:gd name="connsiteX0" fmla="*/ 2232050 w 2232050"/>
                <a:gd name="connsiteY0" fmla="*/ 0 h 257442"/>
                <a:gd name="connsiteX1" fmla="*/ 2177328 w 2232050"/>
                <a:gd name="connsiteY1" fmla="*/ 257442 h 257442"/>
                <a:gd name="connsiteX2" fmla="*/ 0 w 2232050"/>
                <a:gd name="connsiteY2" fmla="*/ 257442 h 257442"/>
                <a:gd name="connsiteX3" fmla="*/ 0 w 2232050"/>
                <a:gd name="connsiteY3" fmla="*/ 0 h 257442"/>
                <a:gd name="connsiteX0" fmla="*/ 2333038 w 2333038"/>
                <a:gd name="connsiteY0" fmla="*/ 0 h 257442"/>
                <a:gd name="connsiteX1" fmla="*/ 2177328 w 2333038"/>
                <a:gd name="connsiteY1" fmla="*/ 257442 h 257442"/>
                <a:gd name="connsiteX2" fmla="*/ 0 w 2333038"/>
                <a:gd name="connsiteY2" fmla="*/ 257442 h 257442"/>
                <a:gd name="connsiteX3" fmla="*/ 0 w 2333038"/>
                <a:gd name="connsiteY3" fmla="*/ 0 h 257442"/>
                <a:gd name="connsiteX0" fmla="*/ 2333038 w 2333038"/>
                <a:gd name="connsiteY0" fmla="*/ 0 h 257442"/>
                <a:gd name="connsiteX1" fmla="*/ 2278317 w 2333038"/>
                <a:gd name="connsiteY1" fmla="*/ 257442 h 257442"/>
                <a:gd name="connsiteX2" fmla="*/ 0 w 2333038"/>
                <a:gd name="connsiteY2" fmla="*/ 257442 h 257442"/>
                <a:gd name="connsiteX3" fmla="*/ 0 w 2333038"/>
                <a:gd name="connsiteY3" fmla="*/ 0 h 257442"/>
                <a:gd name="connsiteX0" fmla="*/ 2333038 w 2333038"/>
                <a:gd name="connsiteY0" fmla="*/ 0 h 257442"/>
                <a:gd name="connsiteX1" fmla="*/ 2278317 w 2333038"/>
                <a:gd name="connsiteY1" fmla="*/ 257442 h 257442"/>
                <a:gd name="connsiteX2" fmla="*/ 0 w 2333038"/>
                <a:gd name="connsiteY2" fmla="*/ 257442 h 257442"/>
                <a:gd name="connsiteX3" fmla="*/ 0 w 2333038"/>
                <a:gd name="connsiteY3" fmla="*/ 0 h 257442"/>
                <a:gd name="connsiteX0" fmla="*/ 2333038 w 2333038"/>
                <a:gd name="connsiteY0" fmla="*/ 0 h 257442"/>
                <a:gd name="connsiteX1" fmla="*/ 2278317 w 2333038"/>
                <a:gd name="connsiteY1" fmla="*/ 257442 h 257442"/>
                <a:gd name="connsiteX2" fmla="*/ 0 w 2333038"/>
                <a:gd name="connsiteY2" fmla="*/ 257442 h 257442"/>
                <a:gd name="connsiteX3" fmla="*/ 0 w 2333038"/>
                <a:gd name="connsiteY3" fmla="*/ 0 h 257442"/>
                <a:gd name="connsiteX0" fmla="*/ 2493338 w 2493338"/>
                <a:gd name="connsiteY0" fmla="*/ 0 h 257442"/>
                <a:gd name="connsiteX1" fmla="*/ 2278317 w 2493338"/>
                <a:gd name="connsiteY1" fmla="*/ 257442 h 257442"/>
                <a:gd name="connsiteX2" fmla="*/ 0 w 2493338"/>
                <a:gd name="connsiteY2" fmla="*/ 257442 h 257442"/>
                <a:gd name="connsiteX3" fmla="*/ 0 w 2493338"/>
                <a:gd name="connsiteY3" fmla="*/ 0 h 257442"/>
                <a:gd name="connsiteX0" fmla="*/ 2493338 w 2493338"/>
                <a:gd name="connsiteY0" fmla="*/ 0 h 257442"/>
                <a:gd name="connsiteX1" fmla="*/ 2438617 w 2493338"/>
                <a:gd name="connsiteY1" fmla="*/ 257442 h 257442"/>
                <a:gd name="connsiteX2" fmla="*/ 0 w 2493338"/>
                <a:gd name="connsiteY2" fmla="*/ 257442 h 257442"/>
                <a:gd name="connsiteX3" fmla="*/ 0 w 2493338"/>
                <a:gd name="connsiteY3" fmla="*/ 0 h 257442"/>
                <a:gd name="connsiteX0" fmla="*/ 2493338 w 2493338"/>
                <a:gd name="connsiteY0" fmla="*/ 0 h 257442"/>
                <a:gd name="connsiteX1" fmla="*/ 2438617 w 2493338"/>
                <a:gd name="connsiteY1" fmla="*/ 257442 h 257442"/>
                <a:gd name="connsiteX2" fmla="*/ 0 w 2493338"/>
                <a:gd name="connsiteY2" fmla="*/ 257442 h 257442"/>
                <a:gd name="connsiteX3" fmla="*/ 0 w 2493338"/>
                <a:gd name="connsiteY3" fmla="*/ 0 h 257442"/>
                <a:gd name="connsiteX0" fmla="*/ 2493338 w 2493338"/>
                <a:gd name="connsiteY0" fmla="*/ 0 h 257442"/>
                <a:gd name="connsiteX1" fmla="*/ 2438617 w 2493338"/>
                <a:gd name="connsiteY1" fmla="*/ 257442 h 257442"/>
                <a:gd name="connsiteX2" fmla="*/ 0 w 2493338"/>
                <a:gd name="connsiteY2" fmla="*/ 257442 h 257442"/>
                <a:gd name="connsiteX3" fmla="*/ 0 w 2493338"/>
                <a:gd name="connsiteY3" fmla="*/ 0 h 257442"/>
                <a:gd name="connsiteX0" fmla="*/ 2696920 w 2696920"/>
                <a:gd name="connsiteY0" fmla="*/ 0 h 257442"/>
                <a:gd name="connsiteX1" fmla="*/ 2438617 w 2696920"/>
                <a:gd name="connsiteY1" fmla="*/ 257442 h 257442"/>
                <a:gd name="connsiteX2" fmla="*/ 0 w 2696920"/>
                <a:gd name="connsiteY2" fmla="*/ 257442 h 257442"/>
                <a:gd name="connsiteX3" fmla="*/ 0 w 2696920"/>
                <a:gd name="connsiteY3" fmla="*/ 0 h 257442"/>
                <a:gd name="connsiteX0" fmla="*/ 2696920 w 2696920"/>
                <a:gd name="connsiteY0" fmla="*/ 0 h 257442"/>
                <a:gd name="connsiteX1" fmla="*/ 2642199 w 2696920"/>
                <a:gd name="connsiteY1" fmla="*/ 257442 h 257442"/>
                <a:gd name="connsiteX2" fmla="*/ 0 w 2696920"/>
                <a:gd name="connsiteY2" fmla="*/ 257442 h 257442"/>
                <a:gd name="connsiteX3" fmla="*/ 0 w 2696920"/>
                <a:gd name="connsiteY3" fmla="*/ 0 h 257442"/>
                <a:gd name="connsiteX0" fmla="*/ 2696920 w 2696920"/>
                <a:gd name="connsiteY0" fmla="*/ 0 h 257442"/>
                <a:gd name="connsiteX1" fmla="*/ 2642199 w 2696920"/>
                <a:gd name="connsiteY1" fmla="*/ 257442 h 257442"/>
                <a:gd name="connsiteX2" fmla="*/ 0 w 2696920"/>
                <a:gd name="connsiteY2" fmla="*/ 257442 h 257442"/>
                <a:gd name="connsiteX3" fmla="*/ 0 w 2696920"/>
                <a:gd name="connsiteY3" fmla="*/ 0 h 257442"/>
                <a:gd name="connsiteX0" fmla="*/ 2696920 w 2696920"/>
                <a:gd name="connsiteY0" fmla="*/ 0 h 257442"/>
                <a:gd name="connsiteX1" fmla="*/ 2642199 w 2696920"/>
                <a:gd name="connsiteY1" fmla="*/ 257442 h 257442"/>
                <a:gd name="connsiteX2" fmla="*/ 0 w 2696920"/>
                <a:gd name="connsiteY2" fmla="*/ 257442 h 257442"/>
                <a:gd name="connsiteX3" fmla="*/ 0 w 2696920"/>
                <a:gd name="connsiteY3" fmla="*/ 0 h 257442"/>
                <a:gd name="connsiteX0" fmla="*/ 986067 w 2642199"/>
                <a:gd name="connsiteY0" fmla="*/ 0 h 257442"/>
                <a:gd name="connsiteX1" fmla="*/ 2642199 w 2642199"/>
                <a:gd name="connsiteY1" fmla="*/ 257442 h 257442"/>
                <a:gd name="connsiteX2" fmla="*/ 0 w 2642199"/>
                <a:gd name="connsiteY2" fmla="*/ 257442 h 257442"/>
                <a:gd name="connsiteX3" fmla="*/ 0 w 2642199"/>
                <a:gd name="connsiteY3" fmla="*/ 0 h 257442"/>
                <a:gd name="connsiteX0" fmla="*/ 986067 w 986067"/>
                <a:gd name="connsiteY0" fmla="*/ 0 h 257442"/>
                <a:gd name="connsiteX1" fmla="*/ 931347 w 986067"/>
                <a:gd name="connsiteY1" fmla="*/ 257442 h 257442"/>
                <a:gd name="connsiteX2" fmla="*/ 0 w 986067"/>
                <a:gd name="connsiteY2" fmla="*/ 257442 h 257442"/>
                <a:gd name="connsiteX3" fmla="*/ 0 w 986067"/>
                <a:gd name="connsiteY3" fmla="*/ 0 h 257442"/>
                <a:gd name="connsiteX0" fmla="*/ 986067 w 986067"/>
                <a:gd name="connsiteY0" fmla="*/ 0 h 257442"/>
                <a:gd name="connsiteX1" fmla="*/ 931347 w 986067"/>
                <a:gd name="connsiteY1" fmla="*/ 257442 h 257442"/>
                <a:gd name="connsiteX2" fmla="*/ 1 w 986067"/>
                <a:gd name="connsiteY2" fmla="*/ 257442 h 257442"/>
                <a:gd name="connsiteX3" fmla="*/ 0 w 986067"/>
                <a:gd name="connsiteY3" fmla="*/ 0 h 257442"/>
                <a:gd name="connsiteX0" fmla="*/ 986066 w 986066"/>
                <a:gd name="connsiteY0" fmla="*/ 0 h 257442"/>
                <a:gd name="connsiteX1" fmla="*/ 931346 w 986066"/>
                <a:gd name="connsiteY1" fmla="*/ 257442 h 257442"/>
                <a:gd name="connsiteX2" fmla="*/ 0 w 986066"/>
                <a:gd name="connsiteY2" fmla="*/ 257442 h 257442"/>
                <a:gd name="connsiteX3" fmla="*/ 0 w 986066"/>
                <a:gd name="connsiteY3" fmla="*/ 0 h 257442"/>
                <a:gd name="connsiteX0" fmla="*/ 1163999 w 1163999"/>
                <a:gd name="connsiteY0" fmla="*/ 0 h 257442"/>
                <a:gd name="connsiteX1" fmla="*/ 931346 w 1163999"/>
                <a:gd name="connsiteY1" fmla="*/ 257442 h 257442"/>
                <a:gd name="connsiteX2" fmla="*/ 0 w 1163999"/>
                <a:gd name="connsiteY2" fmla="*/ 257442 h 257442"/>
                <a:gd name="connsiteX3" fmla="*/ 0 w 1163999"/>
                <a:gd name="connsiteY3" fmla="*/ 0 h 257442"/>
                <a:gd name="connsiteX0" fmla="*/ 1163999 w 1163999"/>
                <a:gd name="connsiteY0" fmla="*/ 0 h 257442"/>
                <a:gd name="connsiteX1" fmla="*/ 1109278 w 1163999"/>
                <a:gd name="connsiteY1" fmla="*/ 257442 h 257442"/>
                <a:gd name="connsiteX2" fmla="*/ 0 w 1163999"/>
                <a:gd name="connsiteY2" fmla="*/ 257442 h 257442"/>
                <a:gd name="connsiteX3" fmla="*/ 0 w 1163999"/>
                <a:gd name="connsiteY3" fmla="*/ 0 h 257442"/>
                <a:gd name="connsiteX0" fmla="*/ 1164000 w 1164000"/>
                <a:gd name="connsiteY0" fmla="*/ 0 h 257442"/>
                <a:gd name="connsiteX1" fmla="*/ 1109279 w 1164000"/>
                <a:gd name="connsiteY1" fmla="*/ 257442 h 257442"/>
                <a:gd name="connsiteX2" fmla="*/ 0 w 1164000"/>
                <a:gd name="connsiteY2" fmla="*/ 257442 h 257442"/>
                <a:gd name="connsiteX3" fmla="*/ 1 w 1164000"/>
                <a:gd name="connsiteY3" fmla="*/ 0 h 257442"/>
                <a:gd name="connsiteX0" fmla="*/ 1164000 w 1164000"/>
                <a:gd name="connsiteY0" fmla="*/ 0 h 257442"/>
                <a:gd name="connsiteX1" fmla="*/ 1109279 w 1164000"/>
                <a:gd name="connsiteY1" fmla="*/ 257442 h 257442"/>
                <a:gd name="connsiteX2" fmla="*/ 0 w 1164000"/>
                <a:gd name="connsiteY2" fmla="*/ 257442 h 257442"/>
                <a:gd name="connsiteX3" fmla="*/ 0 w 1164000"/>
                <a:gd name="connsiteY3" fmla="*/ 0 h 257442"/>
                <a:gd name="connsiteX0" fmla="*/ 1332316 w 1332316"/>
                <a:gd name="connsiteY0" fmla="*/ 0 h 257442"/>
                <a:gd name="connsiteX1" fmla="*/ 1109279 w 1332316"/>
                <a:gd name="connsiteY1" fmla="*/ 257442 h 257442"/>
                <a:gd name="connsiteX2" fmla="*/ 0 w 1332316"/>
                <a:gd name="connsiteY2" fmla="*/ 257442 h 257442"/>
                <a:gd name="connsiteX3" fmla="*/ 0 w 1332316"/>
                <a:gd name="connsiteY3" fmla="*/ 0 h 257442"/>
                <a:gd name="connsiteX0" fmla="*/ 1332316 w 1332316"/>
                <a:gd name="connsiteY0" fmla="*/ 0 h 257442"/>
                <a:gd name="connsiteX1" fmla="*/ 1277595 w 1332316"/>
                <a:gd name="connsiteY1" fmla="*/ 257442 h 257442"/>
                <a:gd name="connsiteX2" fmla="*/ 0 w 1332316"/>
                <a:gd name="connsiteY2" fmla="*/ 257442 h 257442"/>
                <a:gd name="connsiteX3" fmla="*/ 0 w 1332316"/>
                <a:gd name="connsiteY3" fmla="*/ 0 h 257442"/>
                <a:gd name="connsiteX0" fmla="*/ 1332316 w 1332316"/>
                <a:gd name="connsiteY0" fmla="*/ 0 h 257442"/>
                <a:gd name="connsiteX1" fmla="*/ 1277595 w 1332316"/>
                <a:gd name="connsiteY1" fmla="*/ 257442 h 257442"/>
                <a:gd name="connsiteX2" fmla="*/ 0 w 1332316"/>
                <a:gd name="connsiteY2" fmla="*/ 257442 h 257442"/>
                <a:gd name="connsiteX3" fmla="*/ 0 w 1332316"/>
                <a:gd name="connsiteY3" fmla="*/ 0 h 257442"/>
                <a:gd name="connsiteX0" fmla="*/ 1332316 w 1332316"/>
                <a:gd name="connsiteY0" fmla="*/ 0 h 257442"/>
                <a:gd name="connsiteX1" fmla="*/ 1277595 w 1332316"/>
                <a:gd name="connsiteY1" fmla="*/ 257442 h 257442"/>
                <a:gd name="connsiteX2" fmla="*/ 0 w 1332316"/>
                <a:gd name="connsiteY2" fmla="*/ 257442 h 257442"/>
                <a:gd name="connsiteX3" fmla="*/ 0 w 1332316"/>
                <a:gd name="connsiteY3" fmla="*/ 0 h 257442"/>
                <a:gd name="connsiteX0" fmla="*/ 1500631 w 1500631"/>
                <a:gd name="connsiteY0" fmla="*/ 0 h 257442"/>
                <a:gd name="connsiteX1" fmla="*/ 1277595 w 1500631"/>
                <a:gd name="connsiteY1" fmla="*/ 257442 h 257442"/>
                <a:gd name="connsiteX2" fmla="*/ 0 w 1500631"/>
                <a:gd name="connsiteY2" fmla="*/ 257442 h 257442"/>
                <a:gd name="connsiteX3" fmla="*/ 0 w 1500631"/>
                <a:gd name="connsiteY3" fmla="*/ 0 h 257442"/>
                <a:gd name="connsiteX0" fmla="*/ 1500631 w 1500631"/>
                <a:gd name="connsiteY0" fmla="*/ 0 h 257442"/>
                <a:gd name="connsiteX1" fmla="*/ 1445910 w 1500631"/>
                <a:gd name="connsiteY1" fmla="*/ 257442 h 257442"/>
                <a:gd name="connsiteX2" fmla="*/ 0 w 1500631"/>
                <a:gd name="connsiteY2" fmla="*/ 257442 h 257442"/>
                <a:gd name="connsiteX3" fmla="*/ 0 w 1500631"/>
                <a:gd name="connsiteY3" fmla="*/ 0 h 257442"/>
                <a:gd name="connsiteX0" fmla="*/ 1500631 w 1500631"/>
                <a:gd name="connsiteY0" fmla="*/ 0 h 257442"/>
                <a:gd name="connsiteX1" fmla="*/ 1445910 w 1500631"/>
                <a:gd name="connsiteY1" fmla="*/ 257442 h 257442"/>
                <a:gd name="connsiteX2" fmla="*/ 0 w 1500631"/>
                <a:gd name="connsiteY2" fmla="*/ 257442 h 257442"/>
                <a:gd name="connsiteX3" fmla="*/ 0 w 1500631"/>
                <a:gd name="connsiteY3" fmla="*/ 0 h 257442"/>
                <a:gd name="connsiteX0" fmla="*/ 1500631 w 1500631"/>
                <a:gd name="connsiteY0" fmla="*/ 0 h 257442"/>
                <a:gd name="connsiteX1" fmla="*/ 1445910 w 1500631"/>
                <a:gd name="connsiteY1" fmla="*/ 257442 h 257442"/>
                <a:gd name="connsiteX2" fmla="*/ 0 w 1500631"/>
                <a:gd name="connsiteY2" fmla="*/ 257442 h 257442"/>
                <a:gd name="connsiteX3" fmla="*/ 0 w 1500631"/>
                <a:gd name="connsiteY3" fmla="*/ 0 h 257442"/>
                <a:gd name="connsiteX0" fmla="*/ 1652916 w 1652916"/>
                <a:gd name="connsiteY0" fmla="*/ 0 h 257442"/>
                <a:gd name="connsiteX1" fmla="*/ 1445910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652916 w 1652916"/>
                <a:gd name="connsiteY0" fmla="*/ 0 h 257442"/>
                <a:gd name="connsiteX1" fmla="*/ 1598194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652917 w 1652917"/>
                <a:gd name="connsiteY0" fmla="*/ 0 h 257442"/>
                <a:gd name="connsiteX1" fmla="*/ 1598195 w 1652917"/>
                <a:gd name="connsiteY1" fmla="*/ 257442 h 257442"/>
                <a:gd name="connsiteX2" fmla="*/ 0 w 1652917"/>
                <a:gd name="connsiteY2" fmla="*/ 257442 h 257442"/>
                <a:gd name="connsiteX3" fmla="*/ 1 w 1652917"/>
                <a:gd name="connsiteY3" fmla="*/ 0 h 257442"/>
                <a:gd name="connsiteX0" fmla="*/ 1652917 w 1652917"/>
                <a:gd name="connsiteY0" fmla="*/ 0 h 257442"/>
                <a:gd name="connsiteX1" fmla="*/ 1598195 w 1652917"/>
                <a:gd name="connsiteY1" fmla="*/ 257442 h 257442"/>
                <a:gd name="connsiteX2" fmla="*/ 0 w 1652917"/>
                <a:gd name="connsiteY2" fmla="*/ 257442 h 257442"/>
                <a:gd name="connsiteX3" fmla="*/ 1 w 1652917"/>
                <a:gd name="connsiteY3" fmla="*/ 0 h 257442"/>
                <a:gd name="connsiteX0" fmla="*/ 1830850 w 1830850"/>
                <a:gd name="connsiteY0" fmla="*/ 0 h 257442"/>
                <a:gd name="connsiteX1" fmla="*/ 1598195 w 1830850"/>
                <a:gd name="connsiteY1" fmla="*/ 257442 h 257442"/>
                <a:gd name="connsiteX2" fmla="*/ 0 w 1830850"/>
                <a:gd name="connsiteY2" fmla="*/ 257442 h 257442"/>
                <a:gd name="connsiteX3" fmla="*/ 1 w 1830850"/>
                <a:gd name="connsiteY3" fmla="*/ 0 h 257442"/>
                <a:gd name="connsiteX0" fmla="*/ 1830850 w 1830850"/>
                <a:gd name="connsiteY0" fmla="*/ 0 h 257442"/>
                <a:gd name="connsiteX1" fmla="*/ 1776128 w 1830850"/>
                <a:gd name="connsiteY1" fmla="*/ 257442 h 257442"/>
                <a:gd name="connsiteX2" fmla="*/ 0 w 1830850"/>
                <a:gd name="connsiteY2" fmla="*/ 257442 h 257442"/>
                <a:gd name="connsiteX3" fmla="*/ 1 w 1830850"/>
                <a:gd name="connsiteY3" fmla="*/ 0 h 257442"/>
                <a:gd name="connsiteX0" fmla="*/ 1830850 w 1830850"/>
                <a:gd name="connsiteY0" fmla="*/ 0 h 257442"/>
                <a:gd name="connsiteX1" fmla="*/ 1776128 w 1830850"/>
                <a:gd name="connsiteY1" fmla="*/ 257442 h 257442"/>
                <a:gd name="connsiteX2" fmla="*/ 0 w 1830850"/>
                <a:gd name="connsiteY2" fmla="*/ 257442 h 257442"/>
                <a:gd name="connsiteX3" fmla="*/ 1 w 1830850"/>
                <a:gd name="connsiteY3" fmla="*/ 0 h 257442"/>
                <a:gd name="connsiteX0" fmla="*/ 1830850 w 1830850"/>
                <a:gd name="connsiteY0" fmla="*/ 0 h 257442"/>
                <a:gd name="connsiteX1" fmla="*/ 1776128 w 1830850"/>
                <a:gd name="connsiteY1" fmla="*/ 257442 h 257442"/>
                <a:gd name="connsiteX2" fmla="*/ 0 w 1830850"/>
                <a:gd name="connsiteY2" fmla="*/ 257442 h 257442"/>
                <a:gd name="connsiteX3" fmla="*/ 0 w 1830850"/>
                <a:gd name="connsiteY3" fmla="*/ 0 h 257442"/>
                <a:gd name="connsiteX0" fmla="*/ 1999165 w 1999165"/>
                <a:gd name="connsiteY0" fmla="*/ 0 h 257442"/>
                <a:gd name="connsiteX1" fmla="*/ 1776128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2167480 w 2167480"/>
                <a:gd name="connsiteY0" fmla="*/ 0 h 257442"/>
                <a:gd name="connsiteX1" fmla="*/ 1944444 w 2167480"/>
                <a:gd name="connsiteY1" fmla="*/ 257442 h 257442"/>
                <a:gd name="connsiteX2" fmla="*/ 0 w 2167480"/>
                <a:gd name="connsiteY2" fmla="*/ 257442 h 257442"/>
                <a:gd name="connsiteX3" fmla="*/ 0 w 2167480"/>
                <a:gd name="connsiteY3" fmla="*/ 0 h 257442"/>
                <a:gd name="connsiteX0" fmla="*/ 2167480 w 2167480"/>
                <a:gd name="connsiteY0" fmla="*/ 0 h 257442"/>
                <a:gd name="connsiteX1" fmla="*/ 2112758 w 2167480"/>
                <a:gd name="connsiteY1" fmla="*/ 257442 h 257442"/>
                <a:gd name="connsiteX2" fmla="*/ 0 w 2167480"/>
                <a:gd name="connsiteY2" fmla="*/ 257442 h 257442"/>
                <a:gd name="connsiteX3" fmla="*/ 0 w 2167480"/>
                <a:gd name="connsiteY3" fmla="*/ 0 h 257442"/>
                <a:gd name="connsiteX0" fmla="*/ 2167481 w 2167481"/>
                <a:gd name="connsiteY0" fmla="*/ 0 h 257442"/>
                <a:gd name="connsiteX1" fmla="*/ 2112759 w 2167481"/>
                <a:gd name="connsiteY1" fmla="*/ 257442 h 257442"/>
                <a:gd name="connsiteX2" fmla="*/ 0 w 2167481"/>
                <a:gd name="connsiteY2" fmla="*/ 257442 h 257442"/>
                <a:gd name="connsiteX3" fmla="*/ 1 w 2167481"/>
                <a:gd name="connsiteY3" fmla="*/ 0 h 257442"/>
                <a:gd name="connsiteX0" fmla="*/ 2167481 w 2167481"/>
                <a:gd name="connsiteY0" fmla="*/ 0 h 257442"/>
                <a:gd name="connsiteX1" fmla="*/ 2112759 w 2167481"/>
                <a:gd name="connsiteY1" fmla="*/ 257442 h 257442"/>
                <a:gd name="connsiteX2" fmla="*/ 0 w 2167481"/>
                <a:gd name="connsiteY2" fmla="*/ 257442 h 257442"/>
                <a:gd name="connsiteX3" fmla="*/ 1 w 2167481"/>
                <a:gd name="connsiteY3" fmla="*/ 0 h 257442"/>
                <a:gd name="connsiteX0" fmla="*/ 2327781 w 2327781"/>
                <a:gd name="connsiteY0" fmla="*/ 0 h 257442"/>
                <a:gd name="connsiteX1" fmla="*/ 2112759 w 2327781"/>
                <a:gd name="connsiteY1" fmla="*/ 257442 h 257442"/>
                <a:gd name="connsiteX2" fmla="*/ 0 w 2327781"/>
                <a:gd name="connsiteY2" fmla="*/ 257442 h 257442"/>
                <a:gd name="connsiteX3" fmla="*/ 1 w 2327781"/>
                <a:gd name="connsiteY3" fmla="*/ 0 h 257442"/>
                <a:gd name="connsiteX0" fmla="*/ 2327781 w 2327781"/>
                <a:gd name="connsiteY0" fmla="*/ 0 h 257442"/>
                <a:gd name="connsiteX1" fmla="*/ 2273060 w 2327781"/>
                <a:gd name="connsiteY1" fmla="*/ 257442 h 257442"/>
                <a:gd name="connsiteX2" fmla="*/ 0 w 2327781"/>
                <a:gd name="connsiteY2" fmla="*/ 257442 h 257442"/>
                <a:gd name="connsiteX3" fmla="*/ 1 w 2327781"/>
                <a:gd name="connsiteY3" fmla="*/ 0 h 257442"/>
                <a:gd name="connsiteX0" fmla="*/ 2327780 w 2327780"/>
                <a:gd name="connsiteY0" fmla="*/ 0 h 257442"/>
                <a:gd name="connsiteX1" fmla="*/ 2273059 w 2327780"/>
                <a:gd name="connsiteY1" fmla="*/ 257442 h 257442"/>
                <a:gd name="connsiteX2" fmla="*/ 0 w 2327780"/>
                <a:gd name="connsiteY2" fmla="*/ 257442 h 257442"/>
                <a:gd name="connsiteX3" fmla="*/ 0 w 2327780"/>
                <a:gd name="connsiteY3" fmla="*/ 0 h 257442"/>
                <a:gd name="connsiteX0" fmla="*/ 2327781 w 2327781"/>
                <a:gd name="connsiteY0" fmla="*/ 0 h 257442"/>
                <a:gd name="connsiteX1" fmla="*/ 2273060 w 2327781"/>
                <a:gd name="connsiteY1" fmla="*/ 257442 h 257442"/>
                <a:gd name="connsiteX2" fmla="*/ 1 w 2327781"/>
                <a:gd name="connsiteY2" fmla="*/ 257442 h 257442"/>
                <a:gd name="connsiteX3" fmla="*/ 0 w 2327781"/>
                <a:gd name="connsiteY3" fmla="*/ 0 h 257442"/>
                <a:gd name="connsiteX0" fmla="*/ 950802 w 2273060"/>
                <a:gd name="connsiteY0" fmla="*/ 0 h 257442"/>
                <a:gd name="connsiteX1" fmla="*/ 2273060 w 2273060"/>
                <a:gd name="connsiteY1" fmla="*/ 257442 h 257442"/>
                <a:gd name="connsiteX2" fmla="*/ 1 w 2273060"/>
                <a:gd name="connsiteY2" fmla="*/ 257442 h 257442"/>
                <a:gd name="connsiteX3" fmla="*/ 0 w 2273060"/>
                <a:gd name="connsiteY3" fmla="*/ 0 h 257442"/>
                <a:gd name="connsiteX0" fmla="*/ 950802 w 950802"/>
                <a:gd name="connsiteY0" fmla="*/ 0 h 257442"/>
                <a:gd name="connsiteX1" fmla="*/ 896081 w 950802"/>
                <a:gd name="connsiteY1" fmla="*/ 257442 h 257442"/>
                <a:gd name="connsiteX2" fmla="*/ 1 w 950802"/>
                <a:gd name="connsiteY2" fmla="*/ 257442 h 257442"/>
                <a:gd name="connsiteX3" fmla="*/ 0 w 950802"/>
                <a:gd name="connsiteY3" fmla="*/ 0 h 257442"/>
                <a:gd name="connsiteX0" fmla="*/ 950802 w 950802"/>
                <a:gd name="connsiteY0" fmla="*/ 0 h 257442"/>
                <a:gd name="connsiteX1" fmla="*/ 896081 w 950802"/>
                <a:gd name="connsiteY1" fmla="*/ 257442 h 257442"/>
                <a:gd name="connsiteX2" fmla="*/ 1 w 950802"/>
                <a:gd name="connsiteY2" fmla="*/ 257442 h 257442"/>
                <a:gd name="connsiteX3" fmla="*/ 0 w 950802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1128734 w 1128734"/>
                <a:gd name="connsiteY0" fmla="*/ 0 h 257442"/>
                <a:gd name="connsiteX1" fmla="*/ 896080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128734 w 1128734"/>
                <a:gd name="connsiteY0" fmla="*/ 0 h 257442"/>
                <a:gd name="connsiteX1" fmla="*/ 1074012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128735 w 1128735"/>
                <a:gd name="connsiteY0" fmla="*/ 0 h 257442"/>
                <a:gd name="connsiteX1" fmla="*/ 1074013 w 1128735"/>
                <a:gd name="connsiteY1" fmla="*/ 257442 h 257442"/>
                <a:gd name="connsiteX2" fmla="*/ 0 w 1128735"/>
                <a:gd name="connsiteY2" fmla="*/ 257442 h 257442"/>
                <a:gd name="connsiteX3" fmla="*/ 1 w 1128735"/>
                <a:gd name="connsiteY3" fmla="*/ 0 h 257442"/>
                <a:gd name="connsiteX0" fmla="*/ 1128735 w 1128735"/>
                <a:gd name="connsiteY0" fmla="*/ 0 h 257442"/>
                <a:gd name="connsiteX1" fmla="*/ 1074013 w 1128735"/>
                <a:gd name="connsiteY1" fmla="*/ 257442 h 257442"/>
                <a:gd name="connsiteX2" fmla="*/ 0 w 1128735"/>
                <a:gd name="connsiteY2" fmla="*/ 257442 h 257442"/>
                <a:gd name="connsiteX3" fmla="*/ 1 w 1128735"/>
                <a:gd name="connsiteY3" fmla="*/ 0 h 257442"/>
                <a:gd name="connsiteX0" fmla="*/ 1314683 w 1314683"/>
                <a:gd name="connsiteY0" fmla="*/ 0 h 257442"/>
                <a:gd name="connsiteX1" fmla="*/ 1074013 w 1314683"/>
                <a:gd name="connsiteY1" fmla="*/ 257442 h 257442"/>
                <a:gd name="connsiteX2" fmla="*/ 0 w 1314683"/>
                <a:gd name="connsiteY2" fmla="*/ 257442 h 257442"/>
                <a:gd name="connsiteX3" fmla="*/ 1 w 1314683"/>
                <a:gd name="connsiteY3" fmla="*/ 0 h 257442"/>
                <a:gd name="connsiteX0" fmla="*/ 1314683 w 1314683"/>
                <a:gd name="connsiteY0" fmla="*/ 0 h 257442"/>
                <a:gd name="connsiteX1" fmla="*/ 1259962 w 1314683"/>
                <a:gd name="connsiteY1" fmla="*/ 257442 h 257442"/>
                <a:gd name="connsiteX2" fmla="*/ 0 w 1314683"/>
                <a:gd name="connsiteY2" fmla="*/ 257442 h 257442"/>
                <a:gd name="connsiteX3" fmla="*/ 1 w 1314683"/>
                <a:gd name="connsiteY3" fmla="*/ 0 h 257442"/>
                <a:gd name="connsiteX0" fmla="*/ 1314682 w 1314682"/>
                <a:gd name="connsiteY0" fmla="*/ 0 h 257442"/>
                <a:gd name="connsiteX1" fmla="*/ 1259961 w 1314682"/>
                <a:gd name="connsiteY1" fmla="*/ 257442 h 257442"/>
                <a:gd name="connsiteX2" fmla="*/ 0 w 1314682"/>
                <a:gd name="connsiteY2" fmla="*/ 257442 h 257442"/>
                <a:gd name="connsiteX3" fmla="*/ 0 w 1314682"/>
                <a:gd name="connsiteY3" fmla="*/ 0 h 257442"/>
                <a:gd name="connsiteX0" fmla="*/ 1314683 w 1314683"/>
                <a:gd name="connsiteY0" fmla="*/ 0 h 257442"/>
                <a:gd name="connsiteX1" fmla="*/ 1259962 w 1314683"/>
                <a:gd name="connsiteY1" fmla="*/ 257442 h 257442"/>
                <a:gd name="connsiteX2" fmla="*/ 1 w 1314683"/>
                <a:gd name="connsiteY2" fmla="*/ 257442 h 257442"/>
                <a:gd name="connsiteX3" fmla="*/ 0 w 1314683"/>
                <a:gd name="connsiteY3" fmla="*/ 0 h 257442"/>
                <a:gd name="connsiteX0" fmla="*/ 1474984 w 1474984"/>
                <a:gd name="connsiteY0" fmla="*/ 0 h 257442"/>
                <a:gd name="connsiteX1" fmla="*/ 1259962 w 1474984"/>
                <a:gd name="connsiteY1" fmla="*/ 257442 h 257442"/>
                <a:gd name="connsiteX2" fmla="*/ 1 w 1474984"/>
                <a:gd name="connsiteY2" fmla="*/ 257442 h 257442"/>
                <a:gd name="connsiteX3" fmla="*/ 0 w 1474984"/>
                <a:gd name="connsiteY3" fmla="*/ 0 h 257442"/>
                <a:gd name="connsiteX0" fmla="*/ 1474984 w 1474984"/>
                <a:gd name="connsiteY0" fmla="*/ 0 h 257442"/>
                <a:gd name="connsiteX1" fmla="*/ 1420262 w 1474984"/>
                <a:gd name="connsiteY1" fmla="*/ 257442 h 257442"/>
                <a:gd name="connsiteX2" fmla="*/ 1 w 1474984"/>
                <a:gd name="connsiteY2" fmla="*/ 257442 h 257442"/>
                <a:gd name="connsiteX3" fmla="*/ 0 w 1474984"/>
                <a:gd name="connsiteY3" fmla="*/ 0 h 257442"/>
                <a:gd name="connsiteX0" fmla="*/ 1474984 w 1474984"/>
                <a:gd name="connsiteY0" fmla="*/ 0 h 257442"/>
                <a:gd name="connsiteX1" fmla="*/ 1420262 w 1474984"/>
                <a:gd name="connsiteY1" fmla="*/ 257442 h 257442"/>
                <a:gd name="connsiteX2" fmla="*/ 0 w 1474984"/>
                <a:gd name="connsiteY2" fmla="*/ 257442 h 257442"/>
                <a:gd name="connsiteX3" fmla="*/ 0 w 1474984"/>
                <a:gd name="connsiteY3" fmla="*/ 0 h 257442"/>
                <a:gd name="connsiteX0" fmla="*/ 1474984 w 1474984"/>
                <a:gd name="connsiteY0" fmla="*/ 0 h 257442"/>
                <a:gd name="connsiteX1" fmla="*/ 1420262 w 1474984"/>
                <a:gd name="connsiteY1" fmla="*/ 257442 h 257442"/>
                <a:gd name="connsiteX2" fmla="*/ 0 w 1474984"/>
                <a:gd name="connsiteY2" fmla="*/ 257442 h 257442"/>
                <a:gd name="connsiteX3" fmla="*/ 0 w 1474984"/>
                <a:gd name="connsiteY3" fmla="*/ 0 h 257442"/>
                <a:gd name="connsiteX0" fmla="*/ 1635283 w 1635283"/>
                <a:gd name="connsiteY0" fmla="*/ 0 h 257442"/>
                <a:gd name="connsiteX1" fmla="*/ 1420262 w 1635283"/>
                <a:gd name="connsiteY1" fmla="*/ 257442 h 257442"/>
                <a:gd name="connsiteX2" fmla="*/ 0 w 1635283"/>
                <a:gd name="connsiteY2" fmla="*/ 257442 h 257442"/>
                <a:gd name="connsiteX3" fmla="*/ 0 w 1635283"/>
                <a:gd name="connsiteY3" fmla="*/ 0 h 257442"/>
                <a:gd name="connsiteX0" fmla="*/ 1635283 w 1635283"/>
                <a:gd name="connsiteY0" fmla="*/ 0 h 257442"/>
                <a:gd name="connsiteX1" fmla="*/ 1580562 w 1635283"/>
                <a:gd name="connsiteY1" fmla="*/ 257442 h 257442"/>
                <a:gd name="connsiteX2" fmla="*/ 0 w 1635283"/>
                <a:gd name="connsiteY2" fmla="*/ 257442 h 257442"/>
                <a:gd name="connsiteX3" fmla="*/ 0 w 1635283"/>
                <a:gd name="connsiteY3" fmla="*/ 0 h 257442"/>
                <a:gd name="connsiteX0" fmla="*/ 1635283 w 1635283"/>
                <a:gd name="connsiteY0" fmla="*/ 0 h 257442"/>
                <a:gd name="connsiteX1" fmla="*/ 1580562 w 1635283"/>
                <a:gd name="connsiteY1" fmla="*/ 257442 h 257442"/>
                <a:gd name="connsiteX2" fmla="*/ 0 w 1635283"/>
                <a:gd name="connsiteY2" fmla="*/ 257442 h 257442"/>
                <a:gd name="connsiteX3" fmla="*/ 0 w 1635283"/>
                <a:gd name="connsiteY3" fmla="*/ 0 h 257442"/>
                <a:gd name="connsiteX0" fmla="*/ 1635283 w 1635283"/>
                <a:gd name="connsiteY0" fmla="*/ 0 h 257442"/>
                <a:gd name="connsiteX1" fmla="*/ 1580562 w 1635283"/>
                <a:gd name="connsiteY1" fmla="*/ 257442 h 257442"/>
                <a:gd name="connsiteX2" fmla="*/ 0 w 1635283"/>
                <a:gd name="connsiteY2" fmla="*/ 257442 h 257442"/>
                <a:gd name="connsiteX3" fmla="*/ 0 w 1635283"/>
                <a:gd name="connsiteY3" fmla="*/ 0 h 257442"/>
                <a:gd name="connsiteX0" fmla="*/ 1787569 w 1787569"/>
                <a:gd name="connsiteY0" fmla="*/ 0 h 257442"/>
                <a:gd name="connsiteX1" fmla="*/ 1580562 w 1787569"/>
                <a:gd name="connsiteY1" fmla="*/ 257442 h 257442"/>
                <a:gd name="connsiteX2" fmla="*/ 0 w 1787569"/>
                <a:gd name="connsiteY2" fmla="*/ 257442 h 257442"/>
                <a:gd name="connsiteX3" fmla="*/ 0 w 1787569"/>
                <a:gd name="connsiteY3" fmla="*/ 0 h 257442"/>
                <a:gd name="connsiteX0" fmla="*/ 1787569 w 1787569"/>
                <a:gd name="connsiteY0" fmla="*/ 0 h 257442"/>
                <a:gd name="connsiteX1" fmla="*/ 1732848 w 1787569"/>
                <a:gd name="connsiteY1" fmla="*/ 257442 h 257442"/>
                <a:gd name="connsiteX2" fmla="*/ 0 w 1787569"/>
                <a:gd name="connsiteY2" fmla="*/ 257442 h 257442"/>
                <a:gd name="connsiteX3" fmla="*/ 0 w 1787569"/>
                <a:gd name="connsiteY3" fmla="*/ 0 h 257442"/>
                <a:gd name="connsiteX0" fmla="*/ 1787569 w 1787569"/>
                <a:gd name="connsiteY0" fmla="*/ 0 h 257442"/>
                <a:gd name="connsiteX1" fmla="*/ 1732848 w 1787569"/>
                <a:gd name="connsiteY1" fmla="*/ 257442 h 257442"/>
                <a:gd name="connsiteX2" fmla="*/ 0 w 1787569"/>
                <a:gd name="connsiteY2" fmla="*/ 257442 h 257442"/>
                <a:gd name="connsiteX3" fmla="*/ 0 w 1787569"/>
                <a:gd name="connsiteY3" fmla="*/ 0 h 257442"/>
                <a:gd name="connsiteX0" fmla="*/ 1787569 w 1787569"/>
                <a:gd name="connsiteY0" fmla="*/ 0 h 257442"/>
                <a:gd name="connsiteX1" fmla="*/ 1732848 w 1787569"/>
                <a:gd name="connsiteY1" fmla="*/ 257442 h 257442"/>
                <a:gd name="connsiteX2" fmla="*/ 0 w 1787569"/>
                <a:gd name="connsiteY2" fmla="*/ 257442 h 257442"/>
                <a:gd name="connsiteX3" fmla="*/ 0 w 1787569"/>
                <a:gd name="connsiteY3" fmla="*/ 0 h 257442"/>
                <a:gd name="connsiteX0" fmla="*/ 1888557 w 1888557"/>
                <a:gd name="connsiteY0" fmla="*/ 0 h 257442"/>
                <a:gd name="connsiteX1" fmla="*/ 1732848 w 1888557"/>
                <a:gd name="connsiteY1" fmla="*/ 257442 h 257442"/>
                <a:gd name="connsiteX2" fmla="*/ 0 w 1888557"/>
                <a:gd name="connsiteY2" fmla="*/ 257442 h 257442"/>
                <a:gd name="connsiteX3" fmla="*/ 0 w 1888557"/>
                <a:gd name="connsiteY3" fmla="*/ 0 h 257442"/>
                <a:gd name="connsiteX0" fmla="*/ 1888557 w 1888557"/>
                <a:gd name="connsiteY0" fmla="*/ 0 h 257442"/>
                <a:gd name="connsiteX1" fmla="*/ 1833836 w 1888557"/>
                <a:gd name="connsiteY1" fmla="*/ 257442 h 257442"/>
                <a:gd name="connsiteX2" fmla="*/ 0 w 1888557"/>
                <a:gd name="connsiteY2" fmla="*/ 257442 h 257442"/>
                <a:gd name="connsiteX3" fmla="*/ 0 w 1888557"/>
                <a:gd name="connsiteY3" fmla="*/ 0 h 257442"/>
                <a:gd name="connsiteX0" fmla="*/ 1888557 w 1888557"/>
                <a:gd name="connsiteY0" fmla="*/ 0 h 257442"/>
                <a:gd name="connsiteX1" fmla="*/ 1833836 w 1888557"/>
                <a:gd name="connsiteY1" fmla="*/ 257442 h 257442"/>
                <a:gd name="connsiteX2" fmla="*/ 0 w 1888557"/>
                <a:gd name="connsiteY2" fmla="*/ 257442 h 257442"/>
                <a:gd name="connsiteX3" fmla="*/ 0 w 1888557"/>
                <a:gd name="connsiteY3" fmla="*/ 0 h 257442"/>
                <a:gd name="connsiteX0" fmla="*/ 1888557 w 1888557"/>
                <a:gd name="connsiteY0" fmla="*/ 0 h 257442"/>
                <a:gd name="connsiteX1" fmla="*/ 1833836 w 1888557"/>
                <a:gd name="connsiteY1" fmla="*/ 257442 h 257442"/>
                <a:gd name="connsiteX2" fmla="*/ 0 w 1888557"/>
                <a:gd name="connsiteY2" fmla="*/ 257442 h 257442"/>
                <a:gd name="connsiteX3" fmla="*/ 0 w 1888557"/>
                <a:gd name="connsiteY3" fmla="*/ 0 h 257442"/>
                <a:gd name="connsiteX0" fmla="*/ 2040843 w 2040843"/>
                <a:gd name="connsiteY0" fmla="*/ 0 h 257442"/>
                <a:gd name="connsiteX1" fmla="*/ 1833836 w 2040843"/>
                <a:gd name="connsiteY1" fmla="*/ 257442 h 257442"/>
                <a:gd name="connsiteX2" fmla="*/ 0 w 2040843"/>
                <a:gd name="connsiteY2" fmla="*/ 257442 h 257442"/>
                <a:gd name="connsiteX3" fmla="*/ 0 w 2040843"/>
                <a:gd name="connsiteY3" fmla="*/ 0 h 257442"/>
                <a:gd name="connsiteX0" fmla="*/ 2040843 w 2040843"/>
                <a:gd name="connsiteY0" fmla="*/ 0 h 257442"/>
                <a:gd name="connsiteX1" fmla="*/ 1986122 w 2040843"/>
                <a:gd name="connsiteY1" fmla="*/ 257442 h 257442"/>
                <a:gd name="connsiteX2" fmla="*/ 0 w 2040843"/>
                <a:gd name="connsiteY2" fmla="*/ 257442 h 257442"/>
                <a:gd name="connsiteX3" fmla="*/ 0 w 2040843"/>
                <a:gd name="connsiteY3" fmla="*/ 0 h 257442"/>
                <a:gd name="connsiteX0" fmla="*/ 2040843 w 2040843"/>
                <a:gd name="connsiteY0" fmla="*/ 0 h 257442"/>
                <a:gd name="connsiteX1" fmla="*/ 1986122 w 2040843"/>
                <a:gd name="connsiteY1" fmla="*/ 257442 h 257442"/>
                <a:gd name="connsiteX2" fmla="*/ 0 w 2040843"/>
                <a:gd name="connsiteY2" fmla="*/ 257442 h 257442"/>
                <a:gd name="connsiteX3" fmla="*/ 0 w 2040843"/>
                <a:gd name="connsiteY3" fmla="*/ 0 h 257442"/>
                <a:gd name="connsiteX0" fmla="*/ 2040843 w 2040843"/>
                <a:gd name="connsiteY0" fmla="*/ 0 h 257442"/>
                <a:gd name="connsiteX1" fmla="*/ 1986122 w 2040843"/>
                <a:gd name="connsiteY1" fmla="*/ 257442 h 257442"/>
                <a:gd name="connsiteX2" fmla="*/ 0 w 2040843"/>
                <a:gd name="connsiteY2" fmla="*/ 257442 h 257442"/>
                <a:gd name="connsiteX3" fmla="*/ 0 w 2040843"/>
                <a:gd name="connsiteY3" fmla="*/ 0 h 257442"/>
                <a:gd name="connsiteX0" fmla="*/ 2141832 w 2141832"/>
                <a:gd name="connsiteY0" fmla="*/ 0 h 257442"/>
                <a:gd name="connsiteX1" fmla="*/ 1986122 w 2141832"/>
                <a:gd name="connsiteY1" fmla="*/ 257442 h 257442"/>
                <a:gd name="connsiteX2" fmla="*/ 0 w 2141832"/>
                <a:gd name="connsiteY2" fmla="*/ 257442 h 257442"/>
                <a:gd name="connsiteX3" fmla="*/ 0 w 2141832"/>
                <a:gd name="connsiteY3" fmla="*/ 0 h 257442"/>
                <a:gd name="connsiteX0" fmla="*/ 2141832 w 2141832"/>
                <a:gd name="connsiteY0" fmla="*/ 0 h 257442"/>
                <a:gd name="connsiteX1" fmla="*/ 2087110 w 2141832"/>
                <a:gd name="connsiteY1" fmla="*/ 257442 h 257442"/>
                <a:gd name="connsiteX2" fmla="*/ 0 w 2141832"/>
                <a:gd name="connsiteY2" fmla="*/ 257442 h 257442"/>
                <a:gd name="connsiteX3" fmla="*/ 0 w 2141832"/>
                <a:gd name="connsiteY3" fmla="*/ 0 h 257442"/>
                <a:gd name="connsiteX0" fmla="*/ 2141833 w 2141833"/>
                <a:gd name="connsiteY0" fmla="*/ 0 h 257442"/>
                <a:gd name="connsiteX1" fmla="*/ 2087111 w 2141833"/>
                <a:gd name="connsiteY1" fmla="*/ 257442 h 257442"/>
                <a:gd name="connsiteX2" fmla="*/ 0 w 2141833"/>
                <a:gd name="connsiteY2" fmla="*/ 257442 h 257442"/>
                <a:gd name="connsiteX3" fmla="*/ 1 w 2141833"/>
                <a:gd name="connsiteY3" fmla="*/ 0 h 257442"/>
                <a:gd name="connsiteX0" fmla="*/ 2141833 w 2141833"/>
                <a:gd name="connsiteY0" fmla="*/ 0 h 257442"/>
                <a:gd name="connsiteX1" fmla="*/ 2087111 w 2141833"/>
                <a:gd name="connsiteY1" fmla="*/ 257442 h 257442"/>
                <a:gd name="connsiteX2" fmla="*/ 0 w 2141833"/>
                <a:gd name="connsiteY2" fmla="*/ 257442 h 257442"/>
                <a:gd name="connsiteX3" fmla="*/ 1 w 2141833"/>
                <a:gd name="connsiteY3" fmla="*/ 0 h 257442"/>
                <a:gd name="connsiteX0" fmla="*/ 2302133 w 2302133"/>
                <a:gd name="connsiteY0" fmla="*/ 0 h 257442"/>
                <a:gd name="connsiteX1" fmla="*/ 2087111 w 2302133"/>
                <a:gd name="connsiteY1" fmla="*/ 257442 h 257442"/>
                <a:gd name="connsiteX2" fmla="*/ 0 w 2302133"/>
                <a:gd name="connsiteY2" fmla="*/ 257442 h 257442"/>
                <a:gd name="connsiteX3" fmla="*/ 1 w 2302133"/>
                <a:gd name="connsiteY3" fmla="*/ 0 h 257442"/>
                <a:gd name="connsiteX0" fmla="*/ 2302133 w 2302133"/>
                <a:gd name="connsiteY0" fmla="*/ 0 h 257442"/>
                <a:gd name="connsiteX1" fmla="*/ 2247412 w 2302133"/>
                <a:gd name="connsiteY1" fmla="*/ 257442 h 257442"/>
                <a:gd name="connsiteX2" fmla="*/ 0 w 2302133"/>
                <a:gd name="connsiteY2" fmla="*/ 257442 h 257442"/>
                <a:gd name="connsiteX3" fmla="*/ 1 w 2302133"/>
                <a:gd name="connsiteY3" fmla="*/ 0 h 257442"/>
                <a:gd name="connsiteX0" fmla="*/ 2302132 w 2302132"/>
                <a:gd name="connsiteY0" fmla="*/ 0 h 257442"/>
                <a:gd name="connsiteX1" fmla="*/ 2247411 w 2302132"/>
                <a:gd name="connsiteY1" fmla="*/ 257442 h 257442"/>
                <a:gd name="connsiteX2" fmla="*/ 0 w 2302132"/>
                <a:gd name="connsiteY2" fmla="*/ 257442 h 257442"/>
                <a:gd name="connsiteX3" fmla="*/ 0 w 2302132"/>
                <a:gd name="connsiteY3" fmla="*/ 0 h 257442"/>
                <a:gd name="connsiteX0" fmla="*/ 2302133 w 2302133"/>
                <a:gd name="connsiteY0" fmla="*/ 0 h 257442"/>
                <a:gd name="connsiteX1" fmla="*/ 2247412 w 2302133"/>
                <a:gd name="connsiteY1" fmla="*/ 257442 h 257442"/>
                <a:gd name="connsiteX2" fmla="*/ 1 w 2302133"/>
                <a:gd name="connsiteY2" fmla="*/ 257442 h 257442"/>
                <a:gd name="connsiteX3" fmla="*/ 0 w 2302133"/>
                <a:gd name="connsiteY3" fmla="*/ 0 h 257442"/>
                <a:gd name="connsiteX0" fmla="*/ 2462433 w 2462433"/>
                <a:gd name="connsiteY0" fmla="*/ 0 h 257442"/>
                <a:gd name="connsiteX1" fmla="*/ 2247412 w 2462433"/>
                <a:gd name="connsiteY1" fmla="*/ 257442 h 257442"/>
                <a:gd name="connsiteX2" fmla="*/ 1 w 2462433"/>
                <a:gd name="connsiteY2" fmla="*/ 257442 h 257442"/>
                <a:gd name="connsiteX3" fmla="*/ 0 w 2462433"/>
                <a:gd name="connsiteY3" fmla="*/ 0 h 257442"/>
                <a:gd name="connsiteX0" fmla="*/ 2462433 w 2462433"/>
                <a:gd name="connsiteY0" fmla="*/ 0 h 257442"/>
                <a:gd name="connsiteX1" fmla="*/ 2407712 w 2462433"/>
                <a:gd name="connsiteY1" fmla="*/ 257442 h 257442"/>
                <a:gd name="connsiteX2" fmla="*/ 1 w 2462433"/>
                <a:gd name="connsiteY2" fmla="*/ 257442 h 257442"/>
                <a:gd name="connsiteX3" fmla="*/ 0 w 2462433"/>
                <a:gd name="connsiteY3" fmla="*/ 0 h 257442"/>
                <a:gd name="connsiteX0" fmla="*/ 2462433 w 2462433"/>
                <a:gd name="connsiteY0" fmla="*/ 0 h 257442"/>
                <a:gd name="connsiteX1" fmla="*/ 2407712 w 2462433"/>
                <a:gd name="connsiteY1" fmla="*/ 257442 h 257442"/>
                <a:gd name="connsiteX2" fmla="*/ 1 w 2462433"/>
                <a:gd name="connsiteY2" fmla="*/ 257442 h 257442"/>
                <a:gd name="connsiteX3" fmla="*/ 0 w 2462433"/>
                <a:gd name="connsiteY3" fmla="*/ 0 h 257442"/>
                <a:gd name="connsiteX0" fmla="*/ 2462432 w 2462432"/>
                <a:gd name="connsiteY0" fmla="*/ 0 h 257442"/>
                <a:gd name="connsiteX1" fmla="*/ 2407711 w 2462432"/>
                <a:gd name="connsiteY1" fmla="*/ 257442 h 257442"/>
                <a:gd name="connsiteX2" fmla="*/ 0 w 2462432"/>
                <a:gd name="connsiteY2" fmla="*/ 257442 h 257442"/>
                <a:gd name="connsiteX3" fmla="*/ 0 w 2462432"/>
                <a:gd name="connsiteY3" fmla="*/ 0 h 257442"/>
                <a:gd name="connsiteX0" fmla="*/ 2563421 w 2563421"/>
                <a:gd name="connsiteY0" fmla="*/ 0 h 257442"/>
                <a:gd name="connsiteX1" fmla="*/ 2407711 w 2563421"/>
                <a:gd name="connsiteY1" fmla="*/ 257442 h 257442"/>
                <a:gd name="connsiteX2" fmla="*/ 0 w 2563421"/>
                <a:gd name="connsiteY2" fmla="*/ 257442 h 257442"/>
                <a:gd name="connsiteX3" fmla="*/ 0 w 2563421"/>
                <a:gd name="connsiteY3" fmla="*/ 0 h 257442"/>
                <a:gd name="connsiteX0" fmla="*/ 2563421 w 2563421"/>
                <a:gd name="connsiteY0" fmla="*/ 0 h 257442"/>
                <a:gd name="connsiteX1" fmla="*/ 2508700 w 2563421"/>
                <a:gd name="connsiteY1" fmla="*/ 257442 h 257442"/>
                <a:gd name="connsiteX2" fmla="*/ 0 w 2563421"/>
                <a:gd name="connsiteY2" fmla="*/ 257442 h 257442"/>
                <a:gd name="connsiteX3" fmla="*/ 0 w 2563421"/>
                <a:gd name="connsiteY3" fmla="*/ 0 h 257442"/>
                <a:gd name="connsiteX0" fmla="*/ 2563422 w 2563422"/>
                <a:gd name="connsiteY0" fmla="*/ 0 h 257442"/>
                <a:gd name="connsiteX1" fmla="*/ 2508701 w 2563422"/>
                <a:gd name="connsiteY1" fmla="*/ 257442 h 257442"/>
                <a:gd name="connsiteX2" fmla="*/ 0 w 2563422"/>
                <a:gd name="connsiteY2" fmla="*/ 257442 h 257442"/>
                <a:gd name="connsiteX3" fmla="*/ 1 w 2563422"/>
                <a:gd name="connsiteY3" fmla="*/ 0 h 257442"/>
                <a:gd name="connsiteX0" fmla="*/ 2563422 w 2563422"/>
                <a:gd name="connsiteY0" fmla="*/ 0 h 257442"/>
                <a:gd name="connsiteX1" fmla="*/ 2508701 w 2563422"/>
                <a:gd name="connsiteY1" fmla="*/ 257442 h 257442"/>
                <a:gd name="connsiteX2" fmla="*/ 0 w 2563422"/>
                <a:gd name="connsiteY2" fmla="*/ 257442 h 257442"/>
                <a:gd name="connsiteX3" fmla="*/ 0 w 2563422"/>
                <a:gd name="connsiteY3" fmla="*/ 0 h 257442"/>
                <a:gd name="connsiteX0" fmla="*/ 2731737 w 2731737"/>
                <a:gd name="connsiteY0" fmla="*/ 0 h 257442"/>
                <a:gd name="connsiteX1" fmla="*/ 2508701 w 2731737"/>
                <a:gd name="connsiteY1" fmla="*/ 257442 h 257442"/>
                <a:gd name="connsiteX2" fmla="*/ 0 w 2731737"/>
                <a:gd name="connsiteY2" fmla="*/ 257442 h 257442"/>
                <a:gd name="connsiteX3" fmla="*/ 0 w 2731737"/>
                <a:gd name="connsiteY3" fmla="*/ 0 h 257442"/>
                <a:gd name="connsiteX0" fmla="*/ 2731737 w 2731737"/>
                <a:gd name="connsiteY0" fmla="*/ 0 h 257442"/>
                <a:gd name="connsiteX1" fmla="*/ 2677016 w 2731737"/>
                <a:gd name="connsiteY1" fmla="*/ 257442 h 257442"/>
                <a:gd name="connsiteX2" fmla="*/ 0 w 2731737"/>
                <a:gd name="connsiteY2" fmla="*/ 257442 h 257442"/>
                <a:gd name="connsiteX3" fmla="*/ 0 w 2731737"/>
                <a:gd name="connsiteY3" fmla="*/ 0 h 257442"/>
                <a:gd name="connsiteX0" fmla="*/ 2731737 w 2731737"/>
                <a:gd name="connsiteY0" fmla="*/ 0 h 257442"/>
                <a:gd name="connsiteX1" fmla="*/ 2677016 w 2731737"/>
                <a:gd name="connsiteY1" fmla="*/ 257442 h 257442"/>
                <a:gd name="connsiteX2" fmla="*/ 0 w 2731737"/>
                <a:gd name="connsiteY2" fmla="*/ 257442 h 257442"/>
                <a:gd name="connsiteX3" fmla="*/ 0 w 2731737"/>
                <a:gd name="connsiteY3" fmla="*/ 0 h 257442"/>
                <a:gd name="connsiteX0" fmla="*/ 2731737 w 2731737"/>
                <a:gd name="connsiteY0" fmla="*/ 0 h 257442"/>
                <a:gd name="connsiteX1" fmla="*/ 2677016 w 2731737"/>
                <a:gd name="connsiteY1" fmla="*/ 257442 h 257442"/>
                <a:gd name="connsiteX2" fmla="*/ 0 w 2731737"/>
                <a:gd name="connsiteY2" fmla="*/ 257442 h 257442"/>
                <a:gd name="connsiteX3" fmla="*/ 0 w 2731737"/>
                <a:gd name="connsiteY3" fmla="*/ 0 h 257442"/>
                <a:gd name="connsiteX0" fmla="*/ 2892037 w 2892037"/>
                <a:gd name="connsiteY0" fmla="*/ 0 h 257442"/>
                <a:gd name="connsiteX1" fmla="*/ 2677016 w 2892037"/>
                <a:gd name="connsiteY1" fmla="*/ 257442 h 257442"/>
                <a:gd name="connsiteX2" fmla="*/ 0 w 2892037"/>
                <a:gd name="connsiteY2" fmla="*/ 257442 h 257442"/>
                <a:gd name="connsiteX3" fmla="*/ 0 w 2892037"/>
                <a:gd name="connsiteY3" fmla="*/ 0 h 257442"/>
                <a:gd name="connsiteX0" fmla="*/ 2892037 w 2892037"/>
                <a:gd name="connsiteY0" fmla="*/ 0 h 257442"/>
                <a:gd name="connsiteX1" fmla="*/ 2837316 w 2892037"/>
                <a:gd name="connsiteY1" fmla="*/ 257442 h 257442"/>
                <a:gd name="connsiteX2" fmla="*/ 0 w 2892037"/>
                <a:gd name="connsiteY2" fmla="*/ 257442 h 257442"/>
                <a:gd name="connsiteX3" fmla="*/ 0 w 2892037"/>
                <a:gd name="connsiteY3" fmla="*/ 0 h 257442"/>
                <a:gd name="connsiteX0" fmla="*/ 2892037 w 2892037"/>
                <a:gd name="connsiteY0" fmla="*/ 0 h 257442"/>
                <a:gd name="connsiteX1" fmla="*/ 2837316 w 2892037"/>
                <a:gd name="connsiteY1" fmla="*/ 257442 h 257442"/>
                <a:gd name="connsiteX2" fmla="*/ 0 w 2892037"/>
                <a:gd name="connsiteY2" fmla="*/ 257442 h 257442"/>
                <a:gd name="connsiteX3" fmla="*/ 0 w 2892037"/>
                <a:gd name="connsiteY3" fmla="*/ 0 h 257442"/>
                <a:gd name="connsiteX0" fmla="*/ 2892037 w 2892037"/>
                <a:gd name="connsiteY0" fmla="*/ 0 h 257442"/>
                <a:gd name="connsiteX1" fmla="*/ 2837316 w 2892037"/>
                <a:gd name="connsiteY1" fmla="*/ 257442 h 257442"/>
                <a:gd name="connsiteX2" fmla="*/ 0 w 2892037"/>
                <a:gd name="connsiteY2" fmla="*/ 257442 h 257442"/>
                <a:gd name="connsiteX3" fmla="*/ 0 w 2892037"/>
                <a:gd name="connsiteY3" fmla="*/ 0 h 257442"/>
                <a:gd name="connsiteX0" fmla="*/ 3060353 w 3060353"/>
                <a:gd name="connsiteY0" fmla="*/ 0 h 257442"/>
                <a:gd name="connsiteX1" fmla="*/ 2837316 w 3060353"/>
                <a:gd name="connsiteY1" fmla="*/ 257442 h 257442"/>
                <a:gd name="connsiteX2" fmla="*/ 0 w 3060353"/>
                <a:gd name="connsiteY2" fmla="*/ 257442 h 257442"/>
                <a:gd name="connsiteX3" fmla="*/ 0 w 3060353"/>
                <a:gd name="connsiteY3" fmla="*/ 0 h 257442"/>
                <a:gd name="connsiteX0" fmla="*/ 3060353 w 3060353"/>
                <a:gd name="connsiteY0" fmla="*/ 0 h 257442"/>
                <a:gd name="connsiteX1" fmla="*/ 3005632 w 3060353"/>
                <a:gd name="connsiteY1" fmla="*/ 257442 h 257442"/>
                <a:gd name="connsiteX2" fmla="*/ 0 w 3060353"/>
                <a:gd name="connsiteY2" fmla="*/ 257442 h 257442"/>
                <a:gd name="connsiteX3" fmla="*/ 0 w 3060353"/>
                <a:gd name="connsiteY3" fmla="*/ 0 h 257442"/>
                <a:gd name="connsiteX0" fmla="*/ 3060353 w 3060353"/>
                <a:gd name="connsiteY0" fmla="*/ 0 h 257442"/>
                <a:gd name="connsiteX1" fmla="*/ 3005632 w 3060353"/>
                <a:gd name="connsiteY1" fmla="*/ 257442 h 257442"/>
                <a:gd name="connsiteX2" fmla="*/ 0 w 3060353"/>
                <a:gd name="connsiteY2" fmla="*/ 257442 h 257442"/>
                <a:gd name="connsiteX3" fmla="*/ 0 w 3060353"/>
                <a:gd name="connsiteY3" fmla="*/ 0 h 257442"/>
                <a:gd name="connsiteX0" fmla="*/ 3060353 w 3060353"/>
                <a:gd name="connsiteY0" fmla="*/ 0 h 257442"/>
                <a:gd name="connsiteX1" fmla="*/ 3005632 w 3060353"/>
                <a:gd name="connsiteY1" fmla="*/ 257442 h 257442"/>
                <a:gd name="connsiteX2" fmla="*/ 0 w 3060353"/>
                <a:gd name="connsiteY2" fmla="*/ 257442 h 257442"/>
                <a:gd name="connsiteX3" fmla="*/ 0 w 3060353"/>
                <a:gd name="connsiteY3" fmla="*/ 0 h 257442"/>
                <a:gd name="connsiteX0" fmla="*/ 3228668 w 3228668"/>
                <a:gd name="connsiteY0" fmla="*/ 0 h 257442"/>
                <a:gd name="connsiteX1" fmla="*/ 3005632 w 3228668"/>
                <a:gd name="connsiteY1" fmla="*/ 257442 h 257442"/>
                <a:gd name="connsiteX2" fmla="*/ 0 w 3228668"/>
                <a:gd name="connsiteY2" fmla="*/ 257442 h 257442"/>
                <a:gd name="connsiteX3" fmla="*/ 0 w 3228668"/>
                <a:gd name="connsiteY3" fmla="*/ 0 h 257442"/>
                <a:gd name="connsiteX0" fmla="*/ 3228668 w 3228668"/>
                <a:gd name="connsiteY0" fmla="*/ 0 h 257442"/>
                <a:gd name="connsiteX1" fmla="*/ 3173946 w 3228668"/>
                <a:gd name="connsiteY1" fmla="*/ 257442 h 257442"/>
                <a:gd name="connsiteX2" fmla="*/ 0 w 3228668"/>
                <a:gd name="connsiteY2" fmla="*/ 257442 h 257442"/>
                <a:gd name="connsiteX3" fmla="*/ 0 w 3228668"/>
                <a:gd name="connsiteY3" fmla="*/ 0 h 257442"/>
                <a:gd name="connsiteX0" fmla="*/ 3228669 w 3228669"/>
                <a:gd name="connsiteY0" fmla="*/ 0 h 257442"/>
                <a:gd name="connsiteX1" fmla="*/ 3173947 w 3228669"/>
                <a:gd name="connsiteY1" fmla="*/ 257442 h 257442"/>
                <a:gd name="connsiteX2" fmla="*/ 0 w 3228669"/>
                <a:gd name="connsiteY2" fmla="*/ 257442 h 257442"/>
                <a:gd name="connsiteX3" fmla="*/ 1 w 3228669"/>
                <a:gd name="connsiteY3" fmla="*/ 0 h 257442"/>
                <a:gd name="connsiteX0" fmla="*/ 3228669 w 3228669"/>
                <a:gd name="connsiteY0" fmla="*/ 0 h 257442"/>
                <a:gd name="connsiteX1" fmla="*/ 3173947 w 3228669"/>
                <a:gd name="connsiteY1" fmla="*/ 257442 h 257442"/>
                <a:gd name="connsiteX2" fmla="*/ 0 w 3228669"/>
                <a:gd name="connsiteY2" fmla="*/ 257442 h 257442"/>
                <a:gd name="connsiteX3" fmla="*/ 1 w 3228669"/>
                <a:gd name="connsiteY3" fmla="*/ 0 h 257442"/>
                <a:gd name="connsiteX0" fmla="*/ 3414617 w 3414617"/>
                <a:gd name="connsiteY0" fmla="*/ 0 h 257442"/>
                <a:gd name="connsiteX1" fmla="*/ 3173947 w 3414617"/>
                <a:gd name="connsiteY1" fmla="*/ 257442 h 257442"/>
                <a:gd name="connsiteX2" fmla="*/ 0 w 3414617"/>
                <a:gd name="connsiteY2" fmla="*/ 257442 h 257442"/>
                <a:gd name="connsiteX3" fmla="*/ 1 w 3414617"/>
                <a:gd name="connsiteY3" fmla="*/ 0 h 257442"/>
                <a:gd name="connsiteX0" fmla="*/ 3414617 w 3414617"/>
                <a:gd name="connsiteY0" fmla="*/ 0 h 257442"/>
                <a:gd name="connsiteX1" fmla="*/ 3359896 w 3414617"/>
                <a:gd name="connsiteY1" fmla="*/ 257442 h 257442"/>
                <a:gd name="connsiteX2" fmla="*/ 0 w 3414617"/>
                <a:gd name="connsiteY2" fmla="*/ 257442 h 257442"/>
                <a:gd name="connsiteX3" fmla="*/ 1 w 3414617"/>
                <a:gd name="connsiteY3" fmla="*/ 0 h 257442"/>
                <a:gd name="connsiteX0" fmla="*/ 3414616 w 3414616"/>
                <a:gd name="connsiteY0" fmla="*/ 0 h 257442"/>
                <a:gd name="connsiteX1" fmla="*/ 3359895 w 3414616"/>
                <a:gd name="connsiteY1" fmla="*/ 257442 h 257442"/>
                <a:gd name="connsiteX2" fmla="*/ 0 w 3414616"/>
                <a:gd name="connsiteY2" fmla="*/ 257442 h 257442"/>
                <a:gd name="connsiteX3" fmla="*/ 0 w 3414616"/>
                <a:gd name="connsiteY3" fmla="*/ 0 h 257442"/>
                <a:gd name="connsiteX0" fmla="*/ 3414617 w 3414617"/>
                <a:gd name="connsiteY0" fmla="*/ 0 h 257442"/>
                <a:gd name="connsiteX1" fmla="*/ 3359896 w 3414617"/>
                <a:gd name="connsiteY1" fmla="*/ 257442 h 257442"/>
                <a:gd name="connsiteX2" fmla="*/ 1 w 3414617"/>
                <a:gd name="connsiteY2" fmla="*/ 257442 h 257442"/>
                <a:gd name="connsiteX3" fmla="*/ 0 w 3414617"/>
                <a:gd name="connsiteY3" fmla="*/ 0 h 257442"/>
                <a:gd name="connsiteX0" fmla="*/ 3515607 w 3515607"/>
                <a:gd name="connsiteY0" fmla="*/ 0 h 257442"/>
                <a:gd name="connsiteX1" fmla="*/ 3359896 w 3515607"/>
                <a:gd name="connsiteY1" fmla="*/ 257442 h 257442"/>
                <a:gd name="connsiteX2" fmla="*/ 1 w 3515607"/>
                <a:gd name="connsiteY2" fmla="*/ 257442 h 257442"/>
                <a:gd name="connsiteX3" fmla="*/ 0 w 3515607"/>
                <a:gd name="connsiteY3" fmla="*/ 0 h 257442"/>
                <a:gd name="connsiteX0" fmla="*/ 3515607 w 3515607"/>
                <a:gd name="connsiteY0" fmla="*/ 0 h 257442"/>
                <a:gd name="connsiteX1" fmla="*/ 3460886 w 3515607"/>
                <a:gd name="connsiteY1" fmla="*/ 257442 h 257442"/>
                <a:gd name="connsiteX2" fmla="*/ 1 w 3515607"/>
                <a:gd name="connsiteY2" fmla="*/ 257442 h 257442"/>
                <a:gd name="connsiteX3" fmla="*/ 0 w 3515607"/>
                <a:gd name="connsiteY3" fmla="*/ 0 h 257442"/>
                <a:gd name="connsiteX0" fmla="*/ 3515607 w 3515607"/>
                <a:gd name="connsiteY0" fmla="*/ 0 h 257442"/>
                <a:gd name="connsiteX1" fmla="*/ 3460886 w 3515607"/>
                <a:gd name="connsiteY1" fmla="*/ 257442 h 257442"/>
                <a:gd name="connsiteX2" fmla="*/ 1 w 3515607"/>
                <a:gd name="connsiteY2" fmla="*/ 257442 h 257442"/>
                <a:gd name="connsiteX3" fmla="*/ 0 w 3515607"/>
                <a:gd name="connsiteY3" fmla="*/ 0 h 257442"/>
                <a:gd name="connsiteX0" fmla="*/ 3515606 w 3515606"/>
                <a:gd name="connsiteY0" fmla="*/ 0 h 257442"/>
                <a:gd name="connsiteX1" fmla="*/ 3460885 w 3515606"/>
                <a:gd name="connsiteY1" fmla="*/ 257442 h 257442"/>
                <a:gd name="connsiteX2" fmla="*/ 0 w 3515606"/>
                <a:gd name="connsiteY2" fmla="*/ 257442 h 257442"/>
                <a:gd name="connsiteX3" fmla="*/ 0 w 3515606"/>
                <a:gd name="connsiteY3" fmla="*/ 0 h 257442"/>
                <a:gd name="connsiteX0" fmla="*/ 3683920 w 3683920"/>
                <a:gd name="connsiteY0" fmla="*/ 0 h 257442"/>
                <a:gd name="connsiteX1" fmla="*/ 3460885 w 3683920"/>
                <a:gd name="connsiteY1" fmla="*/ 257442 h 257442"/>
                <a:gd name="connsiteX2" fmla="*/ 0 w 3683920"/>
                <a:gd name="connsiteY2" fmla="*/ 257442 h 257442"/>
                <a:gd name="connsiteX3" fmla="*/ 0 w 3683920"/>
                <a:gd name="connsiteY3" fmla="*/ 0 h 257442"/>
                <a:gd name="connsiteX0" fmla="*/ 3683920 w 3683920"/>
                <a:gd name="connsiteY0" fmla="*/ 0 h 257442"/>
                <a:gd name="connsiteX1" fmla="*/ 3629199 w 3683920"/>
                <a:gd name="connsiteY1" fmla="*/ 257442 h 257442"/>
                <a:gd name="connsiteX2" fmla="*/ 0 w 3683920"/>
                <a:gd name="connsiteY2" fmla="*/ 257442 h 257442"/>
                <a:gd name="connsiteX3" fmla="*/ 0 w 3683920"/>
                <a:gd name="connsiteY3" fmla="*/ 0 h 257442"/>
                <a:gd name="connsiteX0" fmla="*/ 3683921 w 3683921"/>
                <a:gd name="connsiteY0" fmla="*/ 0 h 257442"/>
                <a:gd name="connsiteX1" fmla="*/ 3629200 w 3683921"/>
                <a:gd name="connsiteY1" fmla="*/ 257442 h 257442"/>
                <a:gd name="connsiteX2" fmla="*/ 0 w 3683921"/>
                <a:gd name="connsiteY2" fmla="*/ 257442 h 257442"/>
                <a:gd name="connsiteX3" fmla="*/ 1 w 3683921"/>
                <a:gd name="connsiteY3" fmla="*/ 0 h 257442"/>
                <a:gd name="connsiteX0" fmla="*/ 3683921 w 3683921"/>
                <a:gd name="connsiteY0" fmla="*/ 0 h 257442"/>
                <a:gd name="connsiteX1" fmla="*/ 3629200 w 3683921"/>
                <a:gd name="connsiteY1" fmla="*/ 257442 h 257442"/>
                <a:gd name="connsiteX2" fmla="*/ 0 w 3683921"/>
                <a:gd name="connsiteY2" fmla="*/ 257442 h 257442"/>
                <a:gd name="connsiteX3" fmla="*/ 1 w 3683921"/>
                <a:gd name="connsiteY3" fmla="*/ 0 h 257442"/>
                <a:gd name="connsiteX0" fmla="*/ 3844222 w 3844222"/>
                <a:gd name="connsiteY0" fmla="*/ 0 h 257442"/>
                <a:gd name="connsiteX1" fmla="*/ 3629200 w 3844222"/>
                <a:gd name="connsiteY1" fmla="*/ 257442 h 257442"/>
                <a:gd name="connsiteX2" fmla="*/ 0 w 3844222"/>
                <a:gd name="connsiteY2" fmla="*/ 257442 h 257442"/>
                <a:gd name="connsiteX3" fmla="*/ 1 w 3844222"/>
                <a:gd name="connsiteY3" fmla="*/ 0 h 257442"/>
                <a:gd name="connsiteX0" fmla="*/ 3844222 w 3844222"/>
                <a:gd name="connsiteY0" fmla="*/ 0 h 257442"/>
                <a:gd name="connsiteX1" fmla="*/ 3789500 w 3844222"/>
                <a:gd name="connsiteY1" fmla="*/ 257442 h 257442"/>
                <a:gd name="connsiteX2" fmla="*/ 0 w 3844222"/>
                <a:gd name="connsiteY2" fmla="*/ 257442 h 257442"/>
                <a:gd name="connsiteX3" fmla="*/ 1 w 3844222"/>
                <a:gd name="connsiteY3" fmla="*/ 0 h 257442"/>
                <a:gd name="connsiteX0" fmla="*/ 3844222 w 3844222"/>
                <a:gd name="connsiteY0" fmla="*/ 0 h 257442"/>
                <a:gd name="connsiteX1" fmla="*/ 3789500 w 3844222"/>
                <a:gd name="connsiteY1" fmla="*/ 257442 h 257442"/>
                <a:gd name="connsiteX2" fmla="*/ 0 w 3844222"/>
                <a:gd name="connsiteY2" fmla="*/ 257442 h 257442"/>
                <a:gd name="connsiteX3" fmla="*/ 1 w 3844222"/>
                <a:gd name="connsiteY3" fmla="*/ 0 h 257442"/>
                <a:gd name="connsiteX0" fmla="*/ 3844222 w 3844222"/>
                <a:gd name="connsiteY0" fmla="*/ 0 h 257442"/>
                <a:gd name="connsiteX1" fmla="*/ 3789500 w 3844222"/>
                <a:gd name="connsiteY1" fmla="*/ 257442 h 257442"/>
                <a:gd name="connsiteX2" fmla="*/ 0 w 3844222"/>
                <a:gd name="connsiteY2" fmla="*/ 257442 h 257442"/>
                <a:gd name="connsiteX3" fmla="*/ 0 w 3844222"/>
                <a:gd name="connsiteY3" fmla="*/ 0 h 257442"/>
                <a:gd name="connsiteX0" fmla="*/ 986067 w 3789500"/>
                <a:gd name="connsiteY0" fmla="*/ 0 h 257442"/>
                <a:gd name="connsiteX1" fmla="*/ 3789500 w 3789500"/>
                <a:gd name="connsiteY1" fmla="*/ 257442 h 257442"/>
                <a:gd name="connsiteX2" fmla="*/ 0 w 3789500"/>
                <a:gd name="connsiteY2" fmla="*/ 257442 h 257442"/>
                <a:gd name="connsiteX3" fmla="*/ 0 w 3789500"/>
                <a:gd name="connsiteY3" fmla="*/ 0 h 257442"/>
                <a:gd name="connsiteX0" fmla="*/ 986067 w 986067"/>
                <a:gd name="connsiteY0" fmla="*/ 0 h 257442"/>
                <a:gd name="connsiteX1" fmla="*/ 931346 w 986067"/>
                <a:gd name="connsiteY1" fmla="*/ 257442 h 257442"/>
                <a:gd name="connsiteX2" fmla="*/ 0 w 986067"/>
                <a:gd name="connsiteY2" fmla="*/ 257442 h 257442"/>
                <a:gd name="connsiteX3" fmla="*/ 0 w 986067"/>
                <a:gd name="connsiteY3" fmla="*/ 0 h 257442"/>
                <a:gd name="connsiteX0" fmla="*/ 986067 w 986067"/>
                <a:gd name="connsiteY0" fmla="*/ 0 h 257442"/>
                <a:gd name="connsiteX1" fmla="*/ 931346 w 986067"/>
                <a:gd name="connsiteY1" fmla="*/ 257442 h 257442"/>
                <a:gd name="connsiteX2" fmla="*/ 1 w 986067"/>
                <a:gd name="connsiteY2" fmla="*/ 257442 h 257442"/>
                <a:gd name="connsiteX3" fmla="*/ 0 w 986067"/>
                <a:gd name="connsiteY3" fmla="*/ 0 h 257442"/>
                <a:gd name="connsiteX0" fmla="*/ 986066 w 986066"/>
                <a:gd name="connsiteY0" fmla="*/ 0 h 257442"/>
                <a:gd name="connsiteX1" fmla="*/ 931345 w 986066"/>
                <a:gd name="connsiteY1" fmla="*/ 257442 h 257442"/>
                <a:gd name="connsiteX2" fmla="*/ 0 w 986066"/>
                <a:gd name="connsiteY2" fmla="*/ 257442 h 257442"/>
                <a:gd name="connsiteX3" fmla="*/ 0 w 986066"/>
                <a:gd name="connsiteY3" fmla="*/ 0 h 257442"/>
                <a:gd name="connsiteX0" fmla="*/ 1163999 w 1163999"/>
                <a:gd name="connsiteY0" fmla="*/ 0 h 257442"/>
                <a:gd name="connsiteX1" fmla="*/ 931345 w 1163999"/>
                <a:gd name="connsiteY1" fmla="*/ 257442 h 257442"/>
                <a:gd name="connsiteX2" fmla="*/ 0 w 1163999"/>
                <a:gd name="connsiteY2" fmla="*/ 257442 h 257442"/>
                <a:gd name="connsiteX3" fmla="*/ 0 w 1163999"/>
                <a:gd name="connsiteY3" fmla="*/ 0 h 257442"/>
                <a:gd name="connsiteX0" fmla="*/ 1163999 w 1163999"/>
                <a:gd name="connsiteY0" fmla="*/ 0 h 257442"/>
                <a:gd name="connsiteX1" fmla="*/ 1109278 w 1163999"/>
                <a:gd name="connsiteY1" fmla="*/ 257442 h 257442"/>
                <a:gd name="connsiteX2" fmla="*/ 0 w 1163999"/>
                <a:gd name="connsiteY2" fmla="*/ 257442 h 257442"/>
                <a:gd name="connsiteX3" fmla="*/ 0 w 1163999"/>
                <a:gd name="connsiteY3" fmla="*/ 0 h 257442"/>
                <a:gd name="connsiteX0" fmla="*/ 1164000 w 1164000"/>
                <a:gd name="connsiteY0" fmla="*/ 0 h 257442"/>
                <a:gd name="connsiteX1" fmla="*/ 1109279 w 1164000"/>
                <a:gd name="connsiteY1" fmla="*/ 257442 h 257442"/>
                <a:gd name="connsiteX2" fmla="*/ 0 w 1164000"/>
                <a:gd name="connsiteY2" fmla="*/ 257442 h 257442"/>
                <a:gd name="connsiteX3" fmla="*/ 1 w 1164000"/>
                <a:gd name="connsiteY3" fmla="*/ 0 h 257442"/>
                <a:gd name="connsiteX0" fmla="*/ 1164000 w 1164000"/>
                <a:gd name="connsiteY0" fmla="*/ 0 h 257442"/>
                <a:gd name="connsiteX1" fmla="*/ 1109279 w 1164000"/>
                <a:gd name="connsiteY1" fmla="*/ 257442 h 257442"/>
                <a:gd name="connsiteX2" fmla="*/ 0 w 1164000"/>
                <a:gd name="connsiteY2" fmla="*/ 257442 h 257442"/>
                <a:gd name="connsiteX3" fmla="*/ 0 w 1164000"/>
                <a:gd name="connsiteY3" fmla="*/ 0 h 257442"/>
                <a:gd name="connsiteX0" fmla="*/ 1332316 w 1332316"/>
                <a:gd name="connsiteY0" fmla="*/ 0 h 257442"/>
                <a:gd name="connsiteX1" fmla="*/ 1109279 w 1332316"/>
                <a:gd name="connsiteY1" fmla="*/ 257442 h 257442"/>
                <a:gd name="connsiteX2" fmla="*/ 0 w 1332316"/>
                <a:gd name="connsiteY2" fmla="*/ 257442 h 257442"/>
                <a:gd name="connsiteX3" fmla="*/ 0 w 1332316"/>
                <a:gd name="connsiteY3" fmla="*/ 0 h 257442"/>
                <a:gd name="connsiteX0" fmla="*/ 1332316 w 1332316"/>
                <a:gd name="connsiteY0" fmla="*/ 0 h 257442"/>
                <a:gd name="connsiteX1" fmla="*/ 1277595 w 1332316"/>
                <a:gd name="connsiteY1" fmla="*/ 257442 h 257442"/>
                <a:gd name="connsiteX2" fmla="*/ 0 w 1332316"/>
                <a:gd name="connsiteY2" fmla="*/ 257442 h 257442"/>
                <a:gd name="connsiteX3" fmla="*/ 0 w 1332316"/>
                <a:gd name="connsiteY3" fmla="*/ 0 h 257442"/>
                <a:gd name="connsiteX0" fmla="*/ 1332316 w 1332316"/>
                <a:gd name="connsiteY0" fmla="*/ 0 h 257442"/>
                <a:gd name="connsiteX1" fmla="*/ 1277595 w 1332316"/>
                <a:gd name="connsiteY1" fmla="*/ 257442 h 257442"/>
                <a:gd name="connsiteX2" fmla="*/ 0 w 1332316"/>
                <a:gd name="connsiteY2" fmla="*/ 257442 h 257442"/>
                <a:gd name="connsiteX3" fmla="*/ 0 w 1332316"/>
                <a:gd name="connsiteY3" fmla="*/ 0 h 257442"/>
                <a:gd name="connsiteX0" fmla="*/ 1332316 w 1332316"/>
                <a:gd name="connsiteY0" fmla="*/ 0 h 257442"/>
                <a:gd name="connsiteX1" fmla="*/ 1277595 w 1332316"/>
                <a:gd name="connsiteY1" fmla="*/ 257442 h 257442"/>
                <a:gd name="connsiteX2" fmla="*/ 0 w 1332316"/>
                <a:gd name="connsiteY2" fmla="*/ 257442 h 257442"/>
                <a:gd name="connsiteX3" fmla="*/ 0 w 1332316"/>
                <a:gd name="connsiteY3" fmla="*/ 0 h 257442"/>
                <a:gd name="connsiteX0" fmla="*/ 1500631 w 1500631"/>
                <a:gd name="connsiteY0" fmla="*/ 0 h 257442"/>
                <a:gd name="connsiteX1" fmla="*/ 1277595 w 1500631"/>
                <a:gd name="connsiteY1" fmla="*/ 257442 h 257442"/>
                <a:gd name="connsiteX2" fmla="*/ 0 w 1500631"/>
                <a:gd name="connsiteY2" fmla="*/ 257442 h 257442"/>
                <a:gd name="connsiteX3" fmla="*/ 0 w 1500631"/>
                <a:gd name="connsiteY3" fmla="*/ 0 h 257442"/>
                <a:gd name="connsiteX0" fmla="*/ 1500631 w 1500631"/>
                <a:gd name="connsiteY0" fmla="*/ 0 h 257442"/>
                <a:gd name="connsiteX1" fmla="*/ 1445910 w 1500631"/>
                <a:gd name="connsiteY1" fmla="*/ 257442 h 257442"/>
                <a:gd name="connsiteX2" fmla="*/ 0 w 1500631"/>
                <a:gd name="connsiteY2" fmla="*/ 257442 h 257442"/>
                <a:gd name="connsiteX3" fmla="*/ 0 w 1500631"/>
                <a:gd name="connsiteY3" fmla="*/ 0 h 257442"/>
                <a:gd name="connsiteX0" fmla="*/ 1500631 w 1500631"/>
                <a:gd name="connsiteY0" fmla="*/ 0 h 257442"/>
                <a:gd name="connsiteX1" fmla="*/ 1445910 w 1500631"/>
                <a:gd name="connsiteY1" fmla="*/ 257442 h 257442"/>
                <a:gd name="connsiteX2" fmla="*/ 0 w 1500631"/>
                <a:gd name="connsiteY2" fmla="*/ 257442 h 257442"/>
                <a:gd name="connsiteX3" fmla="*/ 0 w 1500631"/>
                <a:gd name="connsiteY3" fmla="*/ 0 h 257442"/>
                <a:gd name="connsiteX0" fmla="*/ 1500631 w 1500631"/>
                <a:gd name="connsiteY0" fmla="*/ 0 h 257442"/>
                <a:gd name="connsiteX1" fmla="*/ 1445910 w 1500631"/>
                <a:gd name="connsiteY1" fmla="*/ 257442 h 257442"/>
                <a:gd name="connsiteX2" fmla="*/ 0 w 1500631"/>
                <a:gd name="connsiteY2" fmla="*/ 257442 h 257442"/>
                <a:gd name="connsiteX3" fmla="*/ 0 w 1500631"/>
                <a:gd name="connsiteY3" fmla="*/ 0 h 257442"/>
                <a:gd name="connsiteX0" fmla="*/ 1652916 w 1652916"/>
                <a:gd name="connsiteY0" fmla="*/ 0 h 257442"/>
                <a:gd name="connsiteX1" fmla="*/ 1445910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652916 w 1652916"/>
                <a:gd name="connsiteY0" fmla="*/ 0 h 257442"/>
                <a:gd name="connsiteX1" fmla="*/ 1598194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652917 w 1652917"/>
                <a:gd name="connsiteY0" fmla="*/ 0 h 257442"/>
                <a:gd name="connsiteX1" fmla="*/ 1598195 w 1652917"/>
                <a:gd name="connsiteY1" fmla="*/ 257442 h 257442"/>
                <a:gd name="connsiteX2" fmla="*/ 0 w 1652917"/>
                <a:gd name="connsiteY2" fmla="*/ 257442 h 257442"/>
                <a:gd name="connsiteX3" fmla="*/ 1 w 1652917"/>
                <a:gd name="connsiteY3" fmla="*/ 0 h 257442"/>
                <a:gd name="connsiteX0" fmla="*/ 1652917 w 1652917"/>
                <a:gd name="connsiteY0" fmla="*/ 0 h 257442"/>
                <a:gd name="connsiteX1" fmla="*/ 1598195 w 1652917"/>
                <a:gd name="connsiteY1" fmla="*/ 257442 h 257442"/>
                <a:gd name="connsiteX2" fmla="*/ 0 w 1652917"/>
                <a:gd name="connsiteY2" fmla="*/ 257442 h 257442"/>
                <a:gd name="connsiteX3" fmla="*/ 1 w 1652917"/>
                <a:gd name="connsiteY3" fmla="*/ 0 h 257442"/>
                <a:gd name="connsiteX0" fmla="*/ 1830850 w 1830850"/>
                <a:gd name="connsiteY0" fmla="*/ 0 h 257442"/>
                <a:gd name="connsiteX1" fmla="*/ 1598195 w 1830850"/>
                <a:gd name="connsiteY1" fmla="*/ 257442 h 257442"/>
                <a:gd name="connsiteX2" fmla="*/ 0 w 1830850"/>
                <a:gd name="connsiteY2" fmla="*/ 257442 h 257442"/>
                <a:gd name="connsiteX3" fmla="*/ 1 w 1830850"/>
                <a:gd name="connsiteY3" fmla="*/ 0 h 257442"/>
                <a:gd name="connsiteX0" fmla="*/ 1830850 w 1830850"/>
                <a:gd name="connsiteY0" fmla="*/ 0 h 257442"/>
                <a:gd name="connsiteX1" fmla="*/ 1776128 w 1830850"/>
                <a:gd name="connsiteY1" fmla="*/ 257442 h 257442"/>
                <a:gd name="connsiteX2" fmla="*/ 0 w 1830850"/>
                <a:gd name="connsiteY2" fmla="*/ 257442 h 257442"/>
                <a:gd name="connsiteX3" fmla="*/ 1 w 1830850"/>
                <a:gd name="connsiteY3" fmla="*/ 0 h 257442"/>
                <a:gd name="connsiteX0" fmla="*/ 1830850 w 1830850"/>
                <a:gd name="connsiteY0" fmla="*/ 0 h 257442"/>
                <a:gd name="connsiteX1" fmla="*/ 1776128 w 1830850"/>
                <a:gd name="connsiteY1" fmla="*/ 257442 h 257442"/>
                <a:gd name="connsiteX2" fmla="*/ 0 w 1830850"/>
                <a:gd name="connsiteY2" fmla="*/ 257442 h 257442"/>
                <a:gd name="connsiteX3" fmla="*/ 1 w 1830850"/>
                <a:gd name="connsiteY3" fmla="*/ 0 h 257442"/>
                <a:gd name="connsiteX0" fmla="*/ 1830850 w 1830850"/>
                <a:gd name="connsiteY0" fmla="*/ 0 h 257442"/>
                <a:gd name="connsiteX1" fmla="*/ 1776128 w 1830850"/>
                <a:gd name="connsiteY1" fmla="*/ 257442 h 257442"/>
                <a:gd name="connsiteX2" fmla="*/ 0 w 1830850"/>
                <a:gd name="connsiteY2" fmla="*/ 257442 h 257442"/>
                <a:gd name="connsiteX3" fmla="*/ 0 w 1830850"/>
                <a:gd name="connsiteY3" fmla="*/ 0 h 257442"/>
                <a:gd name="connsiteX0" fmla="*/ 1999165 w 1999165"/>
                <a:gd name="connsiteY0" fmla="*/ 0 h 257442"/>
                <a:gd name="connsiteX1" fmla="*/ 1776128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2167480 w 2167480"/>
                <a:gd name="connsiteY0" fmla="*/ 0 h 257442"/>
                <a:gd name="connsiteX1" fmla="*/ 1944444 w 2167480"/>
                <a:gd name="connsiteY1" fmla="*/ 257442 h 257442"/>
                <a:gd name="connsiteX2" fmla="*/ 0 w 2167480"/>
                <a:gd name="connsiteY2" fmla="*/ 257442 h 257442"/>
                <a:gd name="connsiteX3" fmla="*/ 0 w 2167480"/>
                <a:gd name="connsiteY3" fmla="*/ 0 h 257442"/>
                <a:gd name="connsiteX0" fmla="*/ 2167480 w 2167480"/>
                <a:gd name="connsiteY0" fmla="*/ 0 h 257442"/>
                <a:gd name="connsiteX1" fmla="*/ 2112758 w 2167480"/>
                <a:gd name="connsiteY1" fmla="*/ 257442 h 257442"/>
                <a:gd name="connsiteX2" fmla="*/ 0 w 2167480"/>
                <a:gd name="connsiteY2" fmla="*/ 257442 h 257442"/>
                <a:gd name="connsiteX3" fmla="*/ 0 w 2167480"/>
                <a:gd name="connsiteY3" fmla="*/ 0 h 257442"/>
                <a:gd name="connsiteX0" fmla="*/ 2167481 w 2167481"/>
                <a:gd name="connsiteY0" fmla="*/ 0 h 257442"/>
                <a:gd name="connsiteX1" fmla="*/ 2112759 w 2167481"/>
                <a:gd name="connsiteY1" fmla="*/ 257442 h 257442"/>
                <a:gd name="connsiteX2" fmla="*/ 0 w 2167481"/>
                <a:gd name="connsiteY2" fmla="*/ 257442 h 257442"/>
                <a:gd name="connsiteX3" fmla="*/ 1 w 2167481"/>
                <a:gd name="connsiteY3" fmla="*/ 0 h 257442"/>
                <a:gd name="connsiteX0" fmla="*/ 2167481 w 2167481"/>
                <a:gd name="connsiteY0" fmla="*/ 0 h 257442"/>
                <a:gd name="connsiteX1" fmla="*/ 2112759 w 2167481"/>
                <a:gd name="connsiteY1" fmla="*/ 257442 h 257442"/>
                <a:gd name="connsiteX2" fmla="*/ 0 w 2167481"/>
                <a:gd name="connsiteY2" fmla="*/ 257442 h 257442"/>
                <a:gd name="connsiteX3" fmla="*/ 1 w 2167481"/>
                <a:gd name="connsiteY3" fmla="*/ 0 h 257442"/>
                <a:gd name="connsiteX0" fmla="*/ 2327781 w 2327781"/>
                <a:gd name="connsiteY0" fmla="*/ 0 h 257442"/>
                <a:gd name="connsiteX1" fmla="*/ 2112759 w 2327781"/>
                <a:gd name="connsiteY1" fmla="*/ 257442 h 257442"/>
                <a:gd name="connsiteX2" fmla="*/ 0 w 2327781"/>
                <a:gd name="connsiteY2" fmla="*/ 257442 h 257442"/>
                <a:gd name="connsiteX3" fmla="*/ 1 w 2327781"/>
                <a:gd name="connsiteY3" fmla="*/ 0 h 257442"/>
                <a:gd name="connsiteX0" fmla="*/ 2327781 w 2327781"/>
                <a:gd name="connsiteY0" fmla="*/ 0 h 257442"/>
                <a:gd name="connsiteX1" fmla="*/ 2273060 w 2327781"/>
                <a:gd name="connsiteY1" fmla="*/ 257442 h 257442"/>
                <a:gd name="connsiteX2" fmla="*/ 0 w 2327781"/>
                <a:gd name="connsiteY2" fmla="*/ 257442 h 257442"/>
                <a:gd name="connsiteX3" fmla="*/ 1 w 2327781"/>
                <a:gd name="connsiteY3" fmla="*/ 0 h 257442"/>
                <a:gd name="connsiteX0" fmla="*/ 2327780 w 2327780"/>
                <a:gd name="connsiteY0" fmla="*/ 0 h 257442"/>
                <a:gd name="connsiteX1" fmla="*/ 2273059 w 2327780"/>
                <a:gd name="connsiteY1" fmla="*/ 257442 h 257442"/>
                <a:gd name="connsiteX2" fmla="*/ 0 w 2327780"/>
                <a:gd name="connsiteY2" fmla="*/ 257442 h 257442"/>
                <a:gd name="connsiteX3" fmla="*/ 0 w 2327780"/>
                <a:gd name="connsiteY3" fmla="*/ 0 h 257442"/>
                <a:gd name="connsiteX0" fmla="*/ 2327781 w 2327781"/>
                <a:gd name="connsiteY0" fmla="*/ 0 h 257442"/>
                <a:gd name="connsiteX1" fmla="*/ 2273060 w 2327781"/>
                <a:gd name="connsiteY1" fmla="*/ 257442 h 257442"/>
                <a:gd name="connsiteX2" fmla="*/ 1 w 2327781"/>
                <a:gd name="connsiteY2" fmla="*/ 257442 h 257442"/>
                <a:gd name="connsiteX3" fmla="*/ 0 w 2327781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27781" h="257442">
                  <a:moveTo>
                    <a:pt x="2327781" y="0"/>
                  </a:moveTo>
                  <a:lnTo>
                    <a:pt x="2273060" y="257442"/>
                  </a:lnTo>
                  <a:lnTo>
                    <a:pt x="1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4" name="btfpRunningAgenda2LevelTextLeft228391">
              <a:extLst>
                <a:ext uri="{FF2B5EF4-FFF2-40B4-BE49-F238E27FC236}">
                  <a16:creationId xmlns:a16="http://schemas.microsoft.com/office/drawing/2014/main" id="{E66786D9-6F83-4AC7-9FA1-063103B29BC6}"/>
                </a:ext>
              </a:extLst>
            </p:cNvPr>
            <p:cNvSpPr txBox="1"/>
            <p:nvPr/>
          </p:nvSpPr>
          <p:spPr bwMode="gray">
            <a:xfrm>
              <a:off x="0" y="876300"/>
              <a:ext cx="2273059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all" spc="4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WORKFORCE</a:t>
              </a:r>
            </a:p>
          </p:txBody>
        </p:sp>
        <p:sp>
          <p:nvSpPr>
            <p:cNvPr id="36" name="btfpRunningAgenda2LevelBarRight228391">
              <a:extLst>
                <a:ext uri="{FF2B5EF4-FFF2-40B4-BE49-F238E27FC236}">
                  <a16:creationId xmlns:a16="http://schemas.microsoft.com/office/drawing/2014/main" id="{35FAFE6B-9B21-476F-94C6-C69C98E86AAB}"/>
                </a:ext>
              </a:extLst>
            </p:cNvPr>
            <p:cNvSpPr/>
            <p:nvPr/>
          </p:nvSpPr>
          <p:spPr bwMode="gray">
            <a:xfrm>
              <a:off x="2192938" y="876300"/>
              <a:ext cx="2132214" cy="257442"/>
            </a:xfrm>
            <a:custGeom>
              <a:avLst/>
              <a:gdLst>
                <a:gd name="connsiteX0" fmla="*/ 934771 w 2367856"/>
                <a:gd name="connsiteY0" fmla="*/ 0 h 257442"/>
                <a:gd name="connsiteX1" fmla="*/ 2367856 w 2367856"/>
                <a:gd name="connsiteY1" fmla="*/ 0 h 257442"/>
                <a:gd name="connsiteX2" fmla="*/ 2313135 w 2367856"/>
                <a:gd name="connsiteY2" fmla="*/ 257442 h 257442"/>
                <a:gd name="connsiteX3" fmla="*/ 0 w 2367856"/>
                <a:gd name="connsiteY3" fmla="*/ 257442 h 257442"/>
                <a:gd name="connsiteX0" fmla="*/ 934771 w 2313135"/>
                <a:gd name="connsiteY0" fmla="*/ 0 h 257442"/>
                <a:gd name="connsiteX1" fmla="*/ 880050 w 2313135"/>
                <a:gd name="connsiteY1" fmla="*/ 257442 h 257442"/>
                <a:gd name="connsiteX2" fmla="*/ 2313135 w 2313135"/>
                <a:gd name="connsiteY2" fmla="*/ 257442 h 257442"/>
                <a:gd name="connsiteX3" fmla="*/ 0 w 2313135"/>
                <a:gd name="connsiteY3" fmla="*/ 257442 h 257442"/>
                <a:gd name="connsiteX0" fmla="*/ 934771 w 934771"/>
                <a:gd name="connsiteY0" fmla="*/ 0 h 257442"/>
                <a:gd name="connsiteX1" fmla="*/ 880050 w 934771"/>
                <a:gd name="connsiteY1" fmla="*/ 257442 h 257442"/>
                <a:gd name="connsiteX2" fmla="*/ 1 w 934771"/>
                <a:gd name="connsiteY2" fmla="*/ 257442 h 257442"/>
                <a:gd name="connsiteX3" fmla="*/ 0 w 934771"/>
                <a:gd name="connsiteY3" fmla="*/ 257442 h 257442"/>
                <a:gd name="connsiteX0" fmla="*/ 934770 w 934770"/>
                <a:gd name="connsiteY0" fmla="*/ 0 h 257442"/>
                <a:gd name="connsiteX1" fmla="*/ 880049 w 934770"/>
                <a:gd name="connsiteY1" fmla="*/ 257442 h 257442"/>
                <a:gd name="connsiteX2" fmla="*/ 0 w 934770"/>
                <a:gd name="connsiteY2" fmla="*/ 257442 h 257442"/>
                <a:gd name="connsiteX3" fmla="*/ 54721 w 934770"/>
                <a:gd name="connsiteY3" fmla="*/ 0 h 257442"/>
                <a:gd name="connsiteX0" fmla="*/ 1103085 w 1103085"/>
                <a:gd name="connsiteY0" fmla="*/ 0 h 257442"/>
                <a:gd name="connsiteX1" fmla="*/ 880049 w 1103085"/>
                <a:gd name="connsiteY1" fmla="*/ 257442 h 257442"/>
                <a:gd name="connsiteX2" fmla="*/ 0 w 1103085"/>
                <a:gd name="connsiteY2" fmla="*/ 257442 h 257442"/>
                <a:gd name="connsiteX3" fmla="*/ 54721 w 1103085"/>
                <a:gd name="connsiteY3" fmla="*/ 0 h 257442"/>
                <a:gd name="connsiteX0" fmla="*/ 1103085 w 1103085"/>
                <a:gd name="connsiteY0" fmla="*/ 0 h 257442"/>
                <a:gd name="connsiteX1" fmla="*/ 1048364 w 1103085"/>
                <a:gd name="connsiteY1" fmla="*/ 257442 h 257442"/>
                <a:gd name="connsiteX2" fmla="*/ 0 w 1103085"/>
                <a:gd name="connsiteY2" fmla="*/ 257442 h 257442"/>
                <a:gd name="connsiteX3" fmla="*/ 54721 w 1103085"/>
                <a:gd name="connsiteY3" fmla="*/ 0 h 257442"/>
                <a:gd name="connsiteX0" fmla="*/ 1103086 w 1103086"/>
                <a:gd name="connsiteY0" fmla="*/ 0 h 257442"/>
                <a:gd name="connsiteX1" fmla="*/ 1048365 w 1103086"/>
                <a:gd name="connsiteY1" fmla="*/ 257442 h 257442"/>
                <a:gd name="connsiteX2" fmla="*/ 0 w 1103086"/>
                <a:gd name="connsiteY2" fmla="*/ 257442 h 257442"/>
                <a:gd name="connsiteX3" fmla="*/ 54722 w 1103086"/>
                <a:gd name="connsiteY3" fmla="*/ 0 h 257442"/>
                <a:gd name="connsiteX0" fmla="*/ 1103086 w 1103086"/>
                <a:gd name="connsiteY0" fmla="*/ 0 h 257442"/>
                <a:gd name="connsiteX1" fmla="*/ 1048365 w 1103086"/>
                <a:gd name="connsiteY1" fmla="*/ 257442 h 257442"/>
                <a:gd name="connsiteX2" fmla="*/ 0 w 1103086"/>
                <a:gd name="connsiteY2" fmla="*/ 257442 h 257442"/>
                <a:gd name="connsiteX3" fmla="*/ 54721 w 1103086"/>
                <a:gd name="connsiteY3" fmla="*/ 0 h 257442"/>
                <a:gd name="connsiteX0" fmla="*/ 1271402 w 1271402"/>
                <a:gd name="connsiteY0" fmla="*/ 0 h 257442"/>
                <a:gd name="connsiteX1" fmla="*/ 1048365 w 1271402"/>
                <a:gd name="connsiteY1" fmla="*/ 257442 h 257442"/>
                <a:gd name="connsiteX2" fmla="*/ 0 w 1271402"/>
                <a:gd name="connsiteY2" fmla="*/ 257442 h 257442"/>
                <a:gd name="connsiteX3" fmla="*/ 54721 w 1271402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54721 w 1271402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54721 w 1271402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54721 w 1271402"/>
                <a:gd name="connsiteY3" fmla="*/ 0 h 257442"/>
                <a:gd name="connsiteX0" fmla="*/ 1439717 w 1439717"/>
                <a:gd name="connsiteY0" fmla="*/ 0 h 257442"/>
                <a:gd name="connsiteX1" fmla="*/ 1216681 w 1439717"/>
                <a:gd name="connsiteY1" fmla="*/ 257442 h 257442"/>
                <a:gd name="connsiteX2" fmla="*/ 0 w 1439717"/>
                <a:gd name="connsiteY2" fmla="*/ 257442 h 257442"/>
                <a:gd name="connsiteX3" fmla="*/ 54721 w 1439717"/>
                <a:gd name="connsiteY3" fmla="*/ 0 h 257442"/>
                <a:gd name="connsiteX0" fmla="*/ 1439717 w 1439717"/>
                <a:gd name="connsiteY0" fmla="*/ 0 h 257442"/>
                <a:gd name="connsiteX1" fmla="*/ 1384996 w 1439717"/>
                <a:gd name="connsiteY1" fmla="*/ 257442 h 257442"/>
                <a:gd name="connsiteX2" fmla="*/ 0 w 1439717"/>
                <a:gd name="connsiteY2" fmla="*/ 257442 h 257442"/>
                <a:gd name="connsiteX3" fmla="*/ 54721 w 1439717"/>
                <a:gd name="connsiteY3" fmla="*/ 0 h 257442"/>
                <a:gd name="connsiteX0" fmla="*/ 1439717 w 1439717"/>
                <a:gd name="connsiteY0" fmla="*/ 0 h 257442"/>
                <a:gd name="connsiteX1" fmla="*/ 1384996 w 1439717"/>
                <a:gd name="connsiteY1" fmla="*/ 257442 h 257442"/>
                <a:gd name="connsiteX2" fmla="*/ 0 w 1439717"/>
                <a:gd name="connsiteY2" fmla="*/ 257442 h 257442"/>
                <a:gd name="connsiteX3" fmla="*/ 54721 w 1439717"/>
                <a:gd name="connsiteY3" fmla="*/ 0 h 257442"/>
                <a:gd name="connsiteX0" fmla="*/ 1439717 w 1439717"/>
                <a:gd name="connsiteY0" fmla="*/ 0 h 257442"/>
                <a:gd name="connsiteX1" fmla="*/ 1384996 w 1439717"/>
                <a:gd name="connsiteY1" fmla="*/ 257442 h 257442"/>
                <a:gd name="connsiteX2" fmla="*/ 0 w 1439717"/>
                <a:gd name="connsiteY2" fmla="*/ 257442 h 257442"/>
                <a:gd name="connsiteX3" fmla="*/ 54721 w 1439717"/>
                <a:gd name="connsiteY3" fmla="*/ 0 h 257442"/>
                <a:gd name="connsiteX0" fmla="*/ 1692991 w 1692991"/>
                <a:gd name="connsiteY0" fmla="*/ 0 h 257442"/>
                <a:gd name="connsiteX1" fmla="*/ 1384996 w 1692991"/>
                <a:gd name="connsiteY1" fmla="*/ 257442 h 257442"/>
                <a:gd name="connsiteX2" fmla="*/ 0 w 1692991"/>
                <a:gd name="connsiteY2" fmla="*/ 257442 h 257442"/>
                <a:gd name="connsiteX3" fmla="*/ 54721 w 1692991"/>
                <a:gd name="connsiteY3" fmla="*/ 0 h 257442"/>
                <a:gd name="connsiteX0" fmla="*/ 1692991 w 1692991"/>
                <a:gd name="connsiteY0" fmla="*/ 0 h 257442"/>
                <a:gd name="connsiteX1" fmla="*/ 1638270 w 1692991"/>
                <a:gd name="connsiteY1" fmla="*/ 257442 h 257442"/>
                <a:gd name="connsiteX2" fmla="*/ 0 w 1692991"/>
                <a:gd name="connsiteY2" fmla="*/ 257442 h 257442"/>
                <a:gd name="connsiteX3" fmla="*/ 54721 w 1692991"/>
                <a:gd name="connsiteY3" fmla="*/ 0 h 257442"/>
                <a:gd name="connsiteX0" fmla="*/ 1692991 w 1692991"/>
                <a:gd name="connsiteY0" fmla="*/ 0 h 257442"/>
                <a:gd name="connsiteX1" fmla="*/ 1638270 w 1692991"/>
                <a:gd name="connsiteY1" fmla="*/ 257442 h 257442"/>
                <a:gd name="connsiteX2" fmla="*/ 0 w 1692991"/>
                <a:gd name="connsiteY2" fmla="*/ 257442 h 257442"/>
                <a:gd name="connsiteX3" fmla="*/ 54721 w 1692991"/>
                <a:gd name="connsiteY3" fmla="*/ 0 h 257442"/>
                <a:gd name="connsiteX0" fmla="*/ 1692991 w 1692991"/>
                <a:gd name="connsiteY0" fmla="*/ 0 h 257442"/>
                <a:gd name="connsiteX1" fmla="*/ 1638270 w 1692991"/>
                <a:gd name="connsiteY1" fmla="*/ 257442 h 257442"/>
                <a:gd name="connsiteX2" fmla="*/ 0 w 1692991"/>
                <a:gd name="connsiteY2" fmla="*/ 257442 h 257442"/>
                <a:gd name="connsiteX3" fmla="*/ 54721 w 1692991"/>
                <a:gd name="connsiteY3" fmla="*/ 0 h 257442"/>
                <a:gd name="connsiteX0" fmla="*/ 1870925 w 1870925"/>
                <a:gd name="connsiteY0" fmla="*/ 0 h 257442"/>
                <a:gd name="connsiteX1" fmla="*/ 1638270 w 1870925"/>
                <a:gd name="connsiteY1" fmla="*/ 257442 h 257442"/>
                <a:gd name="connsiteX2" fmla="*/ 0 w 1870925"/>
                <a:gd name="connsiteY2" fmla="*/ 257442 h 257442"/>
                <a:gd name="connsiteX3" fmla="*/ 54721 w 1870925"/>
                <a:gd name="connsiteY3" fmla="*/ 0 h 257442"/>
                <a:gd name="connsiteX0" fmla="*/ 1870925 w 1870925"/>
                <a:gd name="connsiteY0" fmla="*/ 0 h 257442"/>
                <a:gd name="connsiteX1" fmla="*/ 1816204 w 1870925"/>
                <a:gd name="connsiteY1" fmla="*/ 257442 h 257442"/>
                <a:gd name="connsiteX2" fmla="*/ 0 w 1870925"/>
                <a:gd name="connsiteY2" fmla="*/ 257442 h 257442"/>
                <a:gd name="connsiteX3" fmla="*/ 54721 w 1870925"/>
                <a:gd name="connsiteY3" fmla="*/ 0 h 257442"/>
                <a:gd name="connsiteX0" fmla="*/ 1870925 w 1870925"/>
                <a:gd name="connsiteY0" fmla="*/ 0 h 257442"/>
                <a:gd name="connsiteX1" fmla="*/ 1816204 w 1870925"/>
                <a:gd name="connsiteY1" fmla="*/ 257442 h 257442"/>
                <a:gd name="connsiteX2" fmla="*/ 0 w 1870925"/>
                <a:gd name="connsiteY2" fmla="*/ 257442 h 257442"/>
                <a:gd name="connsiteX3" fmla="*/ 54721 w 1870925"/>
                <a:gd name="connsiteY3" fmla="*/ 0 h 257442"/>
                <a:gd name="connsiteX0" fmla="*/ 1870925 w 1870925"/>
                <a:gd name="connsiteY0" fmla="*/ 0 h 257442"/>
                <a:gd name="connsiteX1" fmla="*/ 1816204 w 1870925"/>
                <a:gd name="connsiteY1" fmla="*/ 257442 h 257442"/>
                <a:gd name="connsiteX2" fmla="*/ 0 w 1870925"/>
                <a:gd name="connsiteY2" fmla="*/ 257442 h 257442"/>
                <a:gd name="connsiteX3" fmla="*/ 54721 w 1870925"/>
                <a:gd name="connsiteY3" fmla="*/ 0 h 257442"/>
                <a:gd name="connsiteX0" fmla="*/ 2039240 w 2039240"/>
                <a:gd name="connsiteY0" fmla="*/ 0 h 257442"/>
                <a:gd name="connsiteX1" fmla="*/ 1816204 w 2039240"/>
                <a:gd name="connsiteY1" fmla="*/ 257442 h 257442"/>
                <a:gd name="connsiteX2" fmla="*/ 0 w 2039240"/>
                <a:gd name="connsiteY2" fmla="*/ 257442 h 257442"/>
                <a:gd name="connsiteX3" fmla="*/ 54721 w 2039240"/>
                <a:gd name="connsiteY3" fmla="*/ 0 h 257442"/>
                <a:gd name="connsiteX0" fmla="*/ 2039240 w 2039240"/>
                <a:gd name="connsiteY0" fmla="*/ 0 h 257442"/>
                <a:gd name="connsiteX1" fmla="*/ 1984518 w 2039240"/>
                <a:gd name="connsiteY1" fmla="*/ 257442 h 257442"/>
                <a:gd name="connsiteX2" fmla="*/ 0 w 2039240"/>
                <a:gd name="connsiteY2" fmla="*/ 257442 h 257442"/>
                <a:gd name="connsiteX3" fmla="*/ 54721 w 2039240"/>
                <a:gd name="connsiteY3" fmla="*/ 0 h 257442"/>
                <a:gd name="connsiteX0" fmla="*/ 2039241 w 2039241"/>
                <a:gd name="connsiteY0" fmla="*/ 0 h 257442"/>
                <a:gd name="connsiteX1" fmla="*/ 1984519 w 2039241"/>
                <a:gd name="connsiteY1" fmla="*/ 257442 h 257442"/>
                <a:gd name="connsiteX2" fmla="*/ 0 w 2039241"/>
                <a:gd name="connsiteY2" fmla="*/ 257442 h 257442"/>
                <a:gd name="connsiteX3" fmla="*/ 54722 w 2039241"/>
                <a:gd name="connsiteY3" fmla="*/ 0 h 257442"/>
                <a:gd name="connsiteX0" fmla="*/ 2039241 w 2039241"/>
                <a:gd name="connsiteY0" fmla="*/ 0 h 257442"/>
                <a:gd name="connsiteX1" fmla="*/ 1984519 w 2039241"/>
                <a:gd name="connsiteY1" fmla="*/ 257442 h 257442"/>
                <a:gd name="connsiteX2" fmla="*/ 0 w 2039241"/>
                <a:gd name="connsiteY2" fmla="*/ 257442 h 257442"/>
                <a:gd name="connsiteX3" fmla="*/ 54722 w 2039241"/>
                <a:gd name="connsiteY3" fmla="*/ 0 h 257442"/>
                <a:gd name="connsiteX0" fmla="*/ 950801 w 1984519"/>
                <a:gd name="connsiteY0" fmla="*/ 0 h 257442"/>
                <a:gd name="connsiteX1" fmla="*/ 1984519 w 1984519"/>
                <a:gd name="connsiteY1" fmla="*/ 257442 h 257442"/>
                <a:gd name="connsiteX2" fmla="*/ 0 w 1984519"/>
                <a:gd name="connsiteY2" fmla="*/ 257442 h 257442"/>
                <a:gd name="connsiteX3" fmla="*/ 54722 w 1984519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54722 w 950801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54722 w 950801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54721 w 950801"/>
                <a:gd name="connsiteY3" fmla="*/ 0 h 257442"/>
                <a:gd name="connsiteX0" fmla="*/ 1119116 w 1119116"/>
                <a:gd name="connsiteY0" fmla="*/ 0 h 257442"/>
                <a:gd name="connsiteX1" fmla="*/ 896080 w 1119116"/>
                <a:gd name="connsiteY1" fmla="*/ 257442 h 257442"/>
                <a:gd name="connsiteX2" fmla="*/ 0 w 1119116"/>
                <a:gd name="connsiteY2" fmla="*/ 257442 h 257442"/>
                <a:gd name="connsiteX3" fmla="*/ 54721 w 1119116"/>
                <a:gd name="connsiteY3" fmla="*/ 0 h 257442"/>
                <a:gd name="connsiteX0" fmla="*/ 1119116 w 1119116"/>
                <a:gd name="connsiteY0" fmla="*/ 0 h 257442"/>
                <a:gd name="connsiteX1" fmla="*/ 1064394 w 1119116"/>
                <a:gd name="connsiteY1" fmla="*/ 257442 h 257442"/>
                <a:gd name="connsiteX2" fmla="*/ 0 w 1119116"/>
                <a:gd name="connsiteY2" fmla="*/ 257442 h 257442"/>
                <a:gd name="connsiteX3" fmla="*/ 54721 w 1119116"/>
                <a:gd name="connsiteY3" fmla="*/ 0 h 257442"/>
                <a:gd name="connsiteX0" fmla="*/ 1119117 w 1119117"/>
                <a:gd name="connsiteY0" fmla="*/ 0 h 257442"/>
                <a:gd name="connsiteX1" fmla="*/ 1064395 w 1119117"/>
                <a:gd name="connsiteY1" fmla="*/ 257442 h 257442"/>
                <a:gd name="connsiteX2" fmla="*/ 0 w 1119117"/>
                <a:gd name="connsiteY2" fmla="*/ 257442 h 257442"/>
                <a:gd name="connsiteX3" fmla="*/ 54722 w 1119117"/>
                <a:gd name="connsiteY3" fmla="*/ 0 h 257442"/>
                <a:gd name="connsiteX0" fmla="*/ 1119117 w 1119117"/>
                <a:gd name="connsiteY0" fmla="*/ 0 h 257442"/>
                <a:gd name="connsiteX1" fmla="*/ 1064395 w 1119117"/>
                <a:gd name="connsiteY1" fmla="*/ 257442 h 257442"/>
                <a:gd name="connsiteX2" fmla="*/ 0 w 1119117"/>
                <a:gd name="connsiteY2" fmla="*/ 257442 h 257442"/>
                <a:gd name="connsiteX3" fmla="*/ 54722 w 1119117"/>
                <a:gd name="connsiteY3" fmla="*/ 0 h 257442"/>
                <a:gd name="connsiteX0" fmla="*/ 1287433 w 1287433"/>
                <a:gd name="connsiteY0" fmla="*/ 0 h 257442"/>
                <a:gd name="connsiteX1" fmla="*/ 1064395 w 1287433"/>
                <a:gd name="connsiteY1" fmla="*/ 257442 h 257442"/>
                <a:gd name="connsiteX2" fmla="*/ 0 w 1287433"/>
                <a:gd name="connsiteY2" fmla="*/ 257442 h 257442"/>
                <a:gd name="connsiteX3" fmla="*/ 54722 w 1287433"/>
                <a:gd name="connsiteY3" fmla="*/ 0 h 257442"/>
                <a:gd name="connsiteX0" fmla="*/ 1287433 w 1287433"/>
                <a:gd name="connsiteY0" fmla="*/ 0 h 257442"/>
                <a:gd name="connsiteX1" fmla="*/ 1232712 w 1287433"/>
                <a:gd name="connsiteY1" fmla="*/ 257442 h 257442"/>
                <a:gd name="connsiteX2" fmla="*/ 0 w 1287433"/>
                <a:gd name="connsiteY2" fmla="*/ 257442 h 257442"/>
                <a:gd name="connsiteX3" fmla="*/ 54722 w 1287433"/>
                <a:gd name="connsiteY3" fmla="*/ 0 h 257442"/>
                <a:gd name="connsiteX0" fmla="*/ 1287432 w 1287432"/>
                <a:gd name="connsiteY0" fmla="*/ 0 h 257442"/>
                <a:gd name="connsiteX1" fmla="*/ 1232711 w 1287432"/>
                <a:gd name="connsiteY1" fmla="*/ 257442 h 257442"/>
                <a:gd name="connsiteX2" fmla="*/ 0 w 1287432"/>
                <a:gd name="connsiteY2" fmla="*/ 257442 h 257442"/>
                <a:gd name="connsiteX3" fmla="*/ 54721 w 1287432"/>
                <a:gd name="connsiteY3" fmla="*/ 0 h 257442"/>
                <a:gd name="connsiteX0" fmla="*/ 1287432 w 1287432"/>
                <a:gd name="connsiteY0" fmla="*/ 0 h 257442"/>
                <a:gd name="connsiteX1" fmla="*/ 1232711 w 1287432"/>
                <a:gd name="connsiteY1" fmla="*/ 257442 h 257442"/>
                <a:gd name="connsiteX2" fmla="*/ 0 w 1287432"/>
                <a:gd name="connsiteY2" fmla="*/ 257442 h 257442"/>
                <a:gd name="connsiteX3" fmla="*/ 54720 w 1287432"/>
                <a:gd name="connsiteY3" fmla="*/ 0 h 257442"/>
                <a:gd name="connsiteX0" fmla="*/ 1455746 w 1455746"/>
                <a:gd name="connsiteY0" fmla="*/ 0 h 257442"/>
                <a:gd name="connsiteX1" fmla="*/ 1232711 w 1455746"/>
                <a:gd name="connsiteY1" fmla="*/ 257442 h 257442"/>
                <a:gd name="connsiteX2" fmla="*/ 0 w 1455746"/>
                <a:gd name="connsiteY2" fmla="*/ 257442 h 257442"/>
                <a:gd name="connsiteX3" fmla="*/ 54720 w 1455746"/>
                <a:gd name="connsiteY3" fmla="*/ 0 h 257442"/>
                <a:gd name="connsiteX0" fmla="*/ 1455746 w 1455746"/>
                <a:gd name="connsiteY0" fmla="*/ 0 h 257442"/>
                <a:gd name="connsiteX1" fmla="*/ 1401025 w 1455746"/>
                <a:gd name="connsiteY1" fmla="*/ 257442 h 257442"/>
                <a:gd name="connsiteX2" fmla="*/ 0 w 1455746"/>
                <a:gd name="connsiteY2" fmla="*/ 257442 h 257442"/>
                <a:gd name="connsiteX3" fmla="*/ 54720 w 1455746"/>
                <a:gd name="connsiteY3" fmla="*/ 0 h 257442"/>
                <a:gd name="connsiteX0" fmla="*/ 1455747 w 1455747"/>
                <a:gd name="connsiteY0" fmla="*/ 0 h 257442"/>
                <a:gd name="connsiteX1" fmla="*/ 1401026 w 1455747"/>
                <a:gd name="connsiteY1" fmla="*/ 257442 h 257442"/>
                <a:gd name="connsiteX2" fmla="*/ 0 w 1455747"/>
                <a:gd name="connsiteY2" fmla="*/ 257442 h 257442"/>
                <a:gd name="connsiteX3" fmla="*/ 54721 w 1455747"/>
                <a:gd name="connsiteY3" fmla="*/ 0 h 257442"/>
                <a:gd name="connsiteX0" fmla="*/ 1455747 w 1455747"/>
                <a:gd name="connsiteY0" fmla="*/ 0 h 257442"/>
                <a:gd name="connsiteX1" fmla="*/ 1401026 w 1455747"/>
                <a:gd name="connsiteY1" fmla="*/ 257442 h 257442"/>
                <a:gd name="connsiteX2" fmla="*/ 0 w 1455747"/>
                <a:gd name="connsiteY2" fmla="*/ 257442 h 257442"/>
                <a:gd name="connsiteX3" fmla="*/ 54722 w 1455747"/>
                <a:gd name="connsiteY3" fmla="*/ 0 h 257442"/>
                <a:gd name="connsiteX0" fmla="*/ 1633681 w 1633681"/>
                <a:gd name="connsiteY0" fmla="*/ 0 h 257442"/>
                <a:gd name="connsiteX1" fmla="*/ 1401026 w 1633681"/>
                <a:gd name="connsiteY1" fmla="*/ 257442 h 257442"/>
                <a:gd name="connsiteX2" fmla="*/ 0 w 1633681"/>
                <a:gd name="connsiteY2" fmla="*/ 257442 h 257442"/>
                <a:gd name="connsiteX3" fmla="*/ 54722 w 1633681"/>
                <a:gd name="connsiteY3" fmla="*/ 0 h 257442"/>
                <a:gd name="connsiteX0" fmla="*/ 1633681 w 1633681"/>
                <a:gd name="connsiteY0" fmla="*/ 0 h 257442"/>
                <a:gd name="connsiteX1" fmla="*/ 1578960 w 1633681"/>
                <a:gd name="connsiteY1" fmla="*/ 257442 h 257442"/>
                <a:gd name="connsiteX2" fmla="*/ 0 w 1633681"/>
                <a:gd name="connsiteY2" fmla="*/ 257442 h 257442"/>
                <a:gd name="connsiteX3" fmla="*/ 54722 w 1633681"/>
                <a:gd name="connsiteY3" fmla="*/ 0 h 257442"/>
                <a:gd name="connsiteX0" fmla="*/ 1633680 w 1633680"/>
                <a:gd name="connsiteY0" fmla="*/ 0 h 257442"/>
                <a:gd name="connsiteX1" fmla="*/ 1578959 w 1633680"/>
                <a:gd name="connsiteY1" fmla="*/ 257442 h 257442"/>
                <a:gd name="connsiteX2" fmla="*/ 0 w 1633680"/>
                <a:gd name="connsiteY2" fmla="*/ 257442 h 257442"/>
                <a:gd name="connsiteX3" fmla="*/ 54721 w 1633680"/>
                <a:gd name="connsiteY3" fmla="*/ 0 h 257442"/>
                <a:gd name="connsiteX0" fmla="*/ 1633680 w 1633680"/>
                <a:gd name="connsiteY0" fmla="*/ 0 h 257442"/>
                <a:gd name="connsiteX1" fmla="*/ 1578959 w 1633680"/>
                <a:gd name="connsiteY1" fmla="*/ 257442 h 257442"/>
                <a:gd name="connsiteX2" fmla="*/ 0 w 1633680"/>
                <a:gd name="connsiteY2" fmla="*/ 257442 h 257442"/>
                <a:gd name="connsiteX3" fmla="*/ 54720 w 1633680"/>
                <a:gd name="connsiteY3" fmla="*/ 0 h 257442"/>
                <a:gd name="connsiteX0" fmla="*/ 1801994 w 1801994"/>
                <a:gd name="connsiteY0" fmla="*/ 0 h 257442"/>
                <a:gd name="connsiteX1" fmla="*/ 1578959 w 1801994"/>
                <a:gd name="connsiteY1" fmla="*/ 257442 h 257442"/>
                <a:gd name="connsiteX2" fmla="*/ 0 w 1801994"/>
                <a:gd name="connsiteY2" fmla="*/ 257442 h 257442"/>
                <a:gd name="connsiteX3" fmla="*/ 54720 w 1801994"/>
                <a:gd name="connsiteY3" fmla="*/ 0 h 257442"/>
                <a:gd name="connsiteX0" fmla="*/ 1801994 w 1801994"/>
                <a:gd name="connsiteY0" fmla="*/ 0 h 257442"/>
                <a:gd name="connsiteX1" fmla="*/ 1747273 w 1801994"/>
                <a:gd name="connsiteY1" fmla="*/ 257442 h 257442"/>
                <a:gd name="connsiteX2" fmla="*/ 0 w 1801994"/>
                <a:gd name="connsiteY2" fmla="*/ 257442 h 257442"/>
                <a:gd name="connsiteX3" fmla="*/ 54720 w 1801994"/>
                <a:gd name="connsiteY3" fmla="*/ 0 h 257442"/>
                <a:gd name="connsiteX0" fmla="*/ 1801995 w 1801995"/>
                <a:gd name="connsiteY0" fmla="*/ 0 h 257442"/>
                <a:gd name="connsiteX1" fmla="*/ 1747274 w 1801995"/>
                <a:gd name="connsiteY1" fmla="*/ 257442 h 257442"/>
                <a:gd name="connsiteX2" fmla="*/ 0 w 1801995"/>
                <a:gd name="connsiteY2" fmla="*/ 257442 h 257442"/>
                <a:gd name="connsiteX3" fmla="*/ 54721 w 1801995"/>
                <a:gd name="connsiteY3" fmla="*/ 0 h 257442"/>
                <a:gd name="connsiteX0" fmla="*/ 1801995 w 1801995"/>
                <a:gd name="connsiteY0" fmla="*/ 0 h 257442"/>
                <a:gd name="connsiteX1" fmla="*/ 1747274 w 1801995"/>
                <a:gd name="connsiteY1" fmla="*/ 257442 h 257442"/>
                <a:gd name="connsiteX2" fmla="*/ 0 w 1801995"/>
                <a:gd name="connsiteY2" fmla="*/ 257442 h 257442"/>
                <a:gd name="connsiteX3" fmla="*/ 54722 w 1801995"/>
                <a:gd name="connsiteY3" fmla="*/ 0 h 257442"/>
                <a:gd name="connsiteX0" fmla="*/ 1979930 w 1979930"/>
                <a:gd name="connsiteY0" fmla="*/ 0 h 257442"/>
                <a:gd name="connsiteX1" fmla="*/ 1747274 w 1979930"/>
                <a:gd name="connsiteY1" fmla="*/ 257442 h 257442"/>
                <a:gd name="connsiteX2" fmla="*/ 0 w 1979930"/>
                <a:gd name="connsiteY2" fmla="*/ 257442 h 257442"/>
                <a:gd name="connsiteX3" fmla="*/ 54722 w 1979930"/>
                <a:gd name="connsiteY3" fmla="*/ 0 h 257442"/>
                <a:gd name="connsiteX0" fmla="*/ 1979930 w 1979930"/>
                <a:gd name="connsiteY0" fmla="*/ 0 h 257442"/>
                <a:gd name="connsiteX1" fmla="*/ 1925208 w 1979930"/>
                <a:gd name="connsiteY1" fmla="*/ 257442 h 257442"/>
                <a:gd name="connsiteX2" fmla="*/ 0 w 1979930"/>
                <a:gd name="connsiteY2" fmla="*/ 257442 h 257442"/>
                <a:gd name="connsiteX3" fmla="*/ 54722 w 1979930"/>
                <a:gd name="connsiteY3" fmla="*/ 0 h 257442"/>
                <a:gd name="connsiteX0" fmla="*/ 1979930 w 1979930"/>
                <a:gd name="connsiteY0" fmla="*/ 0 h 257442"/>
                <a:gd name="connsiteX1" fmla="*/ 1925208 w 1979930"/>
                <a:gd name="connsiteY1" fmla="*/ 257442 h 257442"/>
                <a:gd name="connsiteX2" fmla="*/ 0 w 1979930"/>
                <a:gd name="connsiteY2" fmla="*/ 257442 h 257442"/>
                <a:gd name="connsiteX3" fmla="*/ 54722 w 1979930"/>
                <a:gd name="connsiteY3" fmla="*/ 0 h 257442"/>
                <a:gd name="connsiteX0" fmla="*/ 1979930 w 1979930"/>
                <a:gd name="connsiteY0" fmla="*/ 0 h 257442"/>
                <a:gd name="connsiteX1" fmla="*/ 1925208 w 1979930"/>
                <a:gd name="connsiteY1" fmla="*/ 257442 h 257442"/>
                <a:gd name="connsiteX2" fmla="*/ 0 w 1979930"/>
                <a:gd name="connsiteY2" fmla="*/ 257442 h 257442"/>
                <a:gd name="connsiteX3" fmla="*/ 54721 w 1979930"/>
                <a:gd name="connsiteY3" fmla="*/ 0 h 257442"/>
                <a:gd name="connsiteX0" fmla="*/ 2148244 w 2148244"/>
                <a:gd name="connsiteY0" fmla="*/ 0 h 257442"/>
                <a:gd name="connsiteX1" fmla="*/ 1925208 w 2148244"/>
                <a:gd name="connsiteY1" fmla="*/ 257442 h 257442"/>
                <a:gd name="connsiteX2" fmla="*/ 0 w 2148244"/>
                <a:gd name="connsiteY2" fmla="*/ 257442 h 257442"/>
                <a:gd name="connsiteX3" fmla="*/ 54721 w 2148244"/>
                <a:gd name="connsiteY3" fmla="*/ 0 h 257442"/>
                <a:gd name="connsiteX0" fmla="*/ 2148244 w 2148244"/>
                <a:gd name="connsiteY0" fmla="*/ 0 h 257442"/>
                <a:gd name="connsiteX1" fmla="*/ 2093523 w 2148244"/>
                <a:gd name="connsiteY1" fmla="*/ 257442 h 257442"/>
                <a:gd name="connsiteX2" fmla="*/ 0 w 2148244"/>
                <a:gd name="connsiteY2" fmla="*/ 257442 h 257442"/>
                <a:gd name="connsiteX3" fmla="*/ 54721 w 2148244"/>
                <a:gd name="connsiteY3" fmla="*/ 0 h 257442"/>
                <a:gd name="connsiteX0" fmla="*/ 2148244 w 2148244"/>
                <a:gd name="connsiteY0" fmla="*/ 0 h 257442"/>
                <a:gd name="connsiteX1" fmla="*/ 2093523 w 2148244"/>
                <a:gd name="connsiteY1" fmla="*/ 257442 h 257442"/>
                <a:gd name="connsiteX2" fmla="*/ 0 w 2148244"/>
                <a:gd name="connsiteY2" fmla="*/ 257442 h 257442"/>
                <a:gd name="connsiteX3" fmla="*/ 54721 w 2148244"/>
                <a:gd name="connsiteY3" fmla="*/ 0 h 257442"/>
                <a:gd name="connsiteX0" fmla="*/ 2148244 w 2148244"/>
                <a:gd name="connsiteY0" fmla="*/ 0 h 257442"/>
                <a:gd name="connsiteX1" fmla="*/ 2093523 w 2148244"/>
                <a:gd name="connsiteY1" fmla="*/ 257442 h 257442"/>
                <a:gd name="connsiteX2" fmla="*/ 0 w 2148244"/>
                <a:gd name="connsiteY2" fmla="*/ 257442 h 257442"/>
                <a:gd name="connsiteX3" fmla="*/ 54721 w 2148244"/>
                <a:gd name="connsiteY3" fmla="*/ 0 h 257442"/>
                <a:gd name="connsiteX0" fmla="*/ 2316560 w 2316560"/>
                <a:gd name="connsiteY0" fmla="*/ 0 h 257442"/>
                <a:gd name="connsiteX1" fmla="*/ 2093523 w 2316560"/>
                <a:gd name="connsiteY1" fmla="*/ 257442 h 257442"/>
                <a:gd name="connsiteX2" fmla="*/ 0 w 2316560"/>
                <a:gd name="connsiteY2" fmla="*/ 257442 h 257442"/>
                <a:gd name="connsiteX3" fmla="*/ 54721 w 2316560"/>
                <a:gd name="connsiteY3" fmla="*/ 0 h 257442"/>
                <a:gd name="connsiteX0" fmla="*/ 2316560 w 2316560"/>
                <a:gd name="connsiteY0" fmla="*/ 0 h 257442"/>
                <a:gd name="connsiteX1" fmla="*/ 2261839 w 2316560"/>
                <a:gd name="connsiteY1" fmla="*/ 257442 h 257442"/>
                <a:gd name="connsiteX2" fmla="*/ 0 w 2316560"/>
                <a:gd name="connsiteY2" fmla="*/ 257442 h 257442"/>
                <a:gd name="connsiteX3" fmla="*/ 54721 w 2316560"/>
                <a:gd name="connsiteY3" fmla="*/ 0 h 257442"/>
                <a:gd name="connsiteX0" fmla="*/ 2316560 w 2316560"/>
                <a:gd name="connsiteY0" fmla="*/ 0 h 257442"/>
                <a:gd name="connsiteX1" fmla="*/ 2261839 w 2316560"/>
                <a:gd name="connsiteY1" fmla="*/ 257442 h 257442"/>
                <a:gd name="connsiteX2" fmla="*/ 0 w 2316560"/>
                <a:gd name="connsiteY2" fmla="*/ 257442 h 257442"/>
                <a:gd name="connsiteX3" fmla="*/ 54721 w 2316560"/>
                <a:gd name="connsiteY3" fmla="*/ 0 h 257442"/>
                <a:gd name="connsiteX0" fmla="*/ 2316560 w 2316560"/>
                <a:gd name="connsiteY0" fmla="*/ 0 h 257442"/>
                <a:gd name="connsiteX1" fmla="*/ 2261839 w 2316560"/>
                <a:gd name="connsiteY1" fmla="*/ 257442 h 257442"/>
                <a:gd name="connsiteX2" fmla="*/ 0 w 2316560"/>
                <a:gd name="connsiteY2" fmla="*/ 257442 h 257442"/>
                <a:gd name="connsiteX3" fmla="*/ 54721 w 2316560"/>
                <a:gd name="connsiteY3" fmla="*/ 0 h 257442"/>
                <a:gd name="connsiteX0" fmla="*/ 2484874 w 2484874"/>
                <a:gd name="connsiteY0" fmla="*/ 0 h 257442"/>
                <a:gd name="connsiteX1" fmla="*/ 2261839 w 2484874"/>
                <a:gd name="connsiteY1" fmla="*/ 257442 h 257442"/>
                <a:gd name="connsiteX2" fmla="*/ 0 w 2484874"/>
                <a:gd name="connsiteY2" fmla="*/ 257442 h 257442"/>
                <a:gd name="connsiteX3" fmla="*/ 54721 w 2484874"/>
                <a:gd name="connsiteY3" fmla="*/ 0 h 257442"/>
                <a:gd name="connsiteX0" fmla="*/ 2484874 w 2484874"/>
                <a:gd name="connsiteY0" fmla="*/ 0 h 257442"/>
                <a:gd name="connsiteX1" fmla="*/ 2430153 w 2484874"/>
                <a:gd name="connsiteY1" fmla="*/ 257442 h 257442"/>
                <a:gd name="connsiteX2" fmla="*/ 0 w 2484874"/>
                <a:gd name="connsiteY2" fmla="*/ 257442 h 257442"/>
                <a:gd name="connsiteX3" fmla="*/ 54721 w 2484874"/>
                <a:gd name="connsiteY3" fmla="*/ 0 h 257442"/>
                <a:gd name="connsiteX0" fmla="*/ 2484874 w 2484874"/>
                <a:gd name="connsiteY0" fmla="*/ 0 h 257442"/>
                <a:gd name="connsiteX1" fmla="*/ 2430153 w 2484874"/>
                <a:gd name="connsiteY1" fmla="*/ 257442 h 257442"/>
                <a:gd name="connsiteX2" fmla="*/ 0 w 2484874"/>
                <a:gd name="connsiteY2" fmla="*/ 257442 h 257442"/>
                <a:gd name="connsiteX3" fmla="*/ 54721 w 2484874"/>
                <a:gd name="connsiteY3" fmla="*/ 0 h 257442"/>
                <a:gd name="connsiteX0" fmla="*/ 2484874 w 2484874"/>
                <a:gd name="connsiteY0" fmla="*/ 0 h 257442"/>
                <a:gd name="connsiteX1" fmla="*/ 2430153 w 2484874"/>
                <a:gd name="connsiteY1" fmla="*/ 257442 h 257442"/>
                <a:gd name="connsiteX2" fmla="*/ 0 w 2484874"/>
                <a:gd name="connsiteY2" fmla="*/ 257442 h 257442"/>
                <a:gd name="connsiteX3" fmla="*/ 54721 w 2484874"/>
                <a:gd name="connsiteY3" fmla="*/ 0 h 257442"/>
                <a:gd name="connsiteX0" fmla="*/ 2645175 w 2645175"/>
                <a:gd name="connsiteY0" fmla="*/ 0 h 257442"/>
                <a:gd name="connsiteX1" fmla="*/ 2430153 w 2645175"/>
                <a:gd name="connsiteY1" fmla="*/ 257442 h 257442"/>
                <a:gd name="connsiteX2" fmla="*/ 0 w 2645175"/>
                <a:gd name="connsiteY2" fmla="*/ 257442 h 257442"/>
                <a:gd name="connsiteX3" fmla="*/ 54721 w 2645175"/>
                <a:gd name="connsiteY3" fmla="*/ 0 h 257442"/>
                <a:gd name="connsiteX0" fmla="*/ 2645175 w 2645175"/>
                <a:gd name="connsiteY0" fmla="*/ 0 h 257442"/>
                <a:gd name="connsiteX1" fmla="*/ 2590454 w 2645175"/>
                <a:gd name="connsiteY1" fmla="*/ 257442 h 257442"/>
                <a:gd name="connsiteX2" fmla="*/ 0 w 2645175"/>
                <a:gd name="connsiteY2" fmla="*/ 257442 h 257442"/>
                <a:gd name="connsiteX3" fmla="*/ 54721 w 2645175"/>
                <a:gd name="connsiteY3" fmla="*/ 0 h 257442"/>
                <a:gd name="connsiteX0" fmla="*/ 2645175 w 2645175"/>
                <a:gd name="connsiteY0" fmla="*/ 0 h 257442"/>
                <a:gd name="connsiteX1" fmla="*/ 2590454 w 2645175"/>
                <a:gd name="connsiteY1" fmla="*/ 257442 h 257442"/>
                <a:gd name="connsiteX2" fmla="*/ 0 w 2645175"/>
                <a:gd name="connsiteY2" fmla="*/ 257442 h 257442"/>
                <a:gd name="connsiteX3" fmla="*/ 54721 w 2645175"/>
                <a:gd name="connsiteY3" fmla="*/ 0 h 257442"/>
                <a:gd name="connsiteX0" fmla="*/ 2645175 w 2645175"/>
                <a:gd name="connsiteY0" fmla="*/ 0 h 257442"/>
                <a:gd name="connsiteX1" fmla="*/ 2590454 w 2645175"/>
                <a:gd name="connsiteY1" fmla="*/ 257442 h 257442"/>
                <a:gd name="connsiteX2" fmla="*/ 0 w 2645175"/>
                <a:gd name="connsiteY2" fmla="*/ 257442 h 257442"/>
                <a:gd name="connsiteX3" fmla="*/ 54721 w 2645175"/>
                <a:gd name="connsiteY3" fmla="*/ 0 h 257442"/>
                <a:gd name="connsiteX0" fmla="*/ 2813491 w 2813491"/>
                <a:gd name="connsiteY0" fmla="*/ 0 h 257442"/>
                <a:gd name="connsiteX1" fmla="*/ 2590454 w 2813491"/>
                <a:gd name="connsiteY1" fmla="*/ 257442 h 257442"/>
                <a:gd name="connsiteX2" fmla="*/ 0 w 2813491"/>
                <a:gd name="connsiteY2" fmla="*/ 257442 h 257442"/>
                <a:gd name="connsiteX3" fmla="*/ 54721 w 2813491"/>
                <a:gd name="connsiteY3" fmla="*/ 0 h 257442"/>
                <a:gd name="connsiteX0" fmla="*/ 2813491 w 2813491"/>
                <a:gd name="connsiteY0" fmla="*/ 0 h 257442"/>
                <a:gd name="connsiteX1" fmla="*/ 2758770 w 2813491"/>
                <a:gd name="connsiteY1" fmla="*/ 257442 h 257442"/>
                <a:gd name="connsiteX2" fmla="*/ 0 w 2813491"/>
                <a:gd name="connsiteY2" fmla="*/ 257442 h 257442"/>
                <a:gd name="connsiteX3" fmla="*/ 54721 w 2813491"/>
                <a:gd name="connsiteY3" fmla="*/ 0 h 257442"/>
                <a:gd name="connsiteX0" fmla="*/ 2813491 w 2813491"/>
                <a:gd name="connsiteY0" fmla="*/ 0 h 257442"/>
                <a:gd name="connsiteX1" fmla="*/ 2758770 w 2813491"/>
                <a:gd name="connsiteY1" fmla="*/ 257442 h 257442"/>
                <a:gd name="connsiteX2" fmla="*/ 0 w 2813491"/>
                <a:gd name="connsiteY2" fmla="*/ 257442 h 257442"/>
                <a:gd name="connsiteX3" fmla="*/ 54721 w 2813491"/>
                <a:gd name="connsiteY3" fmla="*/ 0 h 257442"/>
                <a:gd name="connsiteX0" fmla="*/ 2813491 w 2813491"/>
                <a:gd name="connsiteY0" fmla="*/ 0 h 257442"/>
                <a:gd name="connsiteX1" fmla="*/ 2758770 w 2813491"/>
                <a:gd name="connsiteY1" fmla="*/ 257442 h 257442"/>
                <a:gd name="connsiteX2" fmla="*/ 0 w 2813491"/>
                <a:gd name="connsiteY2" fmla="*/ 257442 h 257442"/>
                <a:gd name="connsiteX3" fmla="*/ 54721 w 2813491"/>
                <a:gd name="connsiteY3" fmla="*/ 0 h 257442"/>
                <a:gd name="connsiteX0" fmla="*/ 2981805 w 2981805"/>
                <a:gd name="connsiteY0" fmla="*/ 0 h 257442"/>
                <a:gd name="connsiteX1" fmla="*/ 2758770 w 2981805"/>
                <a:gd name="connsiteY1" fmla="*/ 257442 h 257442"/>
                <a:gd name="connsiteX2" fmla="*/ 0 w 2981805"/>
                <a:gd name="connsiteY2" fmla="*/ 257442 h 257442"/>
                <a:gd name="connsiteX3" fmla="*/ 54721 w 2981805"/>
                <a:gd name="connsiteY3" fmla="*/ 0 h 257442"/>
                <a:gd name="connsiteX0" fmla="*/ 2981805 w 2981805"/>
                <a:gd name="connsiteY0" fmla="*/ 0 h 257442"/>
                <a:gd name="connsiteX1" fmla="*/ 2927084 w 2981805"/>
                <a:gd name="connsiteY1" fmla="*/ 257442 h 257442"/>
                <a:gd name="connsiteX2" fmla="*/ 0 w 2981805"/>
                <a:gd name="connsiteY2" fmla="*/ 257442 h 257442"/>
                <a:gd name="connsiteX3" fmla="*/ 54721 w 2981805"/>
                <a:gd name="connsiteY3" fmla="*/ 0 h 257442"/>
                <a:gd name="connsiteX0" fmla="*/ 2981805 w 2981805"/>
                <a:gd name="connsiteY0" fmla="*/ 0 h 257442"/>
                <a:gd name="connsiteX1" fmla="*/ 2927084 w 2981805"/>
                <a:gd name="connsiteY1" fmla="*/ 257442 h 257442"/>
                <a:gd name="connsiteX2" fmla="*/ 0 w 2981805"/>
                <a:gd name="connsiteY2" fmla="*/ 257442 h 257442"/>
                <a:gd name="connsiteX3" fmla="*/ 54721 w 2981805"/>
                <a:gd name="connsiteY3" fmla="*/ 0 h 257442"/>
                <a:gd name="connsiteX0" fmla="*/ 2981805 w 2981805"/>
                <a:gd name="connsiteY0" fmla="*/ 0 h 257442"/>
                <a:gd name="connsiteX1" fmla="*/ 2927084 w 2981805"/>
                <a:gd name="connsiteY1" fmla="*/ 257442 h 257442"/>
                <a:gd name="connsiteX2" fmla="*/ 0 w 2981805"/>
                <a:gd name="connsiteY2" fmla="*/ 257442 h 257442"/>
                <a:gd name="connsiteX3" fmla="*/ 54721 w 2981805"/>
                <a:gd name="connsiteY3" fmla="*/ 0 h 257442"/>
                <a:gd name="connsiteX0" fmla="*/ 3150121 w 3150121"/>
                <a:gd name="connsiteY0" fmla="*/ 0 h 257442"/>
                <a:gd name="connsiteX1" fmla="*/ 2927084 w 3150121"/>
                <a:gd name="connsiteY1" fmla="*/ 257442 h 257442"/>
                <a:gd name="connsiteX2" fmla="*/ 0 w 3150121"/>
                <a:gd name="connsiteY2" fmla="*/ 257442 h 257442"/>
                <a:gd name="connsiteX3" fmla="*/ 54721 w 3150121"/>
                <a:gd name="connsiteY3" fmla="*/ 0 h 257442"/>
                <a:gd name="connsiteX0" fmla="*/ 3150121 w 3150121"/>
                <a:gd name="connsiteY0" fmla="*/ 0 h 257442"/>
                <a:gd name="connsiteX1" fmla="*/ 3095400 w 3150121"/>
                <a:gd name="connsiteY1" fmla="*/ 257442 h 257442"/>
                <a:gd name="connsiteX2" fmla="*/ 0 w 3150121"/>
                <a:gd name="connsiteY2" fmla="*/ 257442 h 257442"/>
                <a:gd name="connsiteX3" fmla="*/ 54721 w 3150121"/>
                <a:gd name="connsiteY3" fmla="*/ 0 h 257442"/>
                <a:gd name="connsiteX0" fmla="*/ 3150121 w 3150121"/>
                <a:gd name="connsiteY0" fmla="*/ 0 h 257442"/>
                <a:gd name="connsiteX1" fmla="*/ 3095400 w 3150121"/>
                <a:gd name="connsiteY1" fmla="*/ 257442 h 257442"/>
                <a:gd name="connsiteX2" fmla="*/ 0 w 3150121"/>
                <a:gd name="connsiteY2" fmla="*/ 257442 h 257442"/>
                <a:gd name="connsiteX3" fmla="*/ 54721 w 3150121"/>
                <a:gd name="connsiteY3" fmla="*/ 0 h 257442"/>
                <a:gd name="connsiteX0" fmla="*/ 3150121 w 3150121"/>
                <a:gd name="connsiteY0" fmla="*/ 0 h 257442"/>
                <a:gd name="connsiteX1" fmla="*/ 3095400 w 3150121"/>
                <a:gd name="connsiteY1" fmla="*/ 257442 h 257442"/>
                <a:gd name="connsiteX2" fmla="*/ 0 w 3150121"/>
                <a:gd name="connsiteY2" fmla="*/ 257442 h 257442"/>
                <a:gd name="connsiteX3" fmla="*/ 54721 w 3150121"/>
                <a:gd name="connsiteY3" fmla="*/ 0 h 257442"/>
                <a:gd name="connsiteX0" fmla="*/ 3318436 w 3318436"/>
                <a:gd name="connsiteY0" fmla="*/ 0 h 257442"/>
                <a:gd name="connsiteX1" fmla="*/ 3095400 w 3318436"/>
                <a:gd name="connsiteY1" fmla="*/ 257442 h 257442"/>
                <a:gd name="connsiteX2" fmla="*/ 0 w 3318436"/>
                <a:gd name="connsiteY2" fmla="*/ 257442 h 257442"/>
                <a:gd name="connsiteX3" fmla="*/ 54721 w 3318436"/>
                <a:gd name="connsiteY3" fmla="*/ 0 h 257442"/>
                <a:gd name="connsiteX0" fmla="*/ 3318436 w 3318436"/>
                <a:gd name="connsiteY0" fmla="*/ 0 h 257442"/>
                <a:gd name="connsiteX1" fmla="*/ 3263714 w 3318436"/>
                <a:gd name="connsiteY1" fmla="*/ 257442 h 257442"/>
                <a:gd name="connsiteX2" fmla="*/ 0 w 3318436"/>
                <a:gd name="connsiteY2" fmla="*/ 257442 h 257442"/>
                <a:gd name="connsiteX3" fmla="*/ 54721 w 3318436"/>
                <a:gd name="connsiteY3" fmla="*/ 0 h 257442"/>
                <a:gd name="connsiteX0" fmla="*/ 3318437 w 3318437"/>
                <a:gd name="connsiteY0" fmla="*/ 0 h 257442"/>
                <a:gd name="connsiteX1" fmla="*/ 3263715 w 3318437"/>
                <a:gd name="connsiteY1" fmla="*/ 257442 h 257442"/>
                <a:gd name="connsiteX2" fmla="*/ 0 w 3318437"/>
                <a:gd name="connsiteY2" fmla="*/ 257442 h 257442"/>
                <a:gd name="connsiteX3" fmla="*/ 54722 w 3318437"/>
                <a:gd name="connsiteY3" fmla="*/ 0 h 257442"/>
                <a:gd name="connsiteX0" fmla="*/ 3318437 w 3318437"/>
                <a:gd name="connsiteY0" fmla="*/ 0 h 257442"/>
                <a:gd name="connsiteX1" fmla="*/ 3263715 w 3318437"/>
                <a:gd name="connsiteY1" fmla="*/ 257442 h 257442"/>
                <a:gd name="connsiteX2" fmla="*/ 0 w 3318437"/>
                <a:gd name="connsiteY2" fmla="*/ 257442 h 257442"/>
                <a:gd name="connsiteX3" fmla="*/ 54722 w 3318437"/>
                <a:gd name="connsiteY3" fmla="*/ 0 h 257442"/>
                <a:gd name="connsiteX0" fmla="*/ 3560298 w 3560298"/>
                <a:gd name="connsiteY0" fmla="*/ 0 h 257442"/>
                <a:gd name="connsiteX1" fmla="*/ 3263715 w 3560298"/>
                <a:gd name="connsiteY1" fmla="*/ 257442 h 257442"/>
                <a:gd name="connsiteX2" fmla="*/ 0 w 3560298"/>
                <a:gd name="connsiteY2" fmla="*/ 257442 h 257442"/>
                <a:gd name="connsiteX3" fmla="*/ 54722 w 3560298"/>
                <a:gd name="connsiteY3" fmla="*/ 0 h 257442"/>
                <a:gd name="connsiteX0" fmla="*/ 3560298 w 3560298"/>
                <a:gd name="connsiteY0" fmla="*/ 0 h 257442"/>
                <a:gd name="connsiteX1" fmla="*/ 3505576 w 3560298"/>
                <a:gd name="connsiteY1" fmla="*/ 257442 h 257442"/>
                <a:gd name="connsiteX2" fmla="*/ 0 w 3560298"/>
                <a:gd name="connsiteY2" fmla="*/ 257442 h 257442"/>
                <a:gd name="connsiteX3" fmla="*/ 54722 w 3560298"/>
                <a:gd name="connsiteY3" fmla="*/ 0 h 257442"/>
                <a:gd name="connsiteX0" fmla="*/ 3560298 w 3560298"/>
                <a:gd name="connsiteY0" fmla="*/ 0 h 257442"/>
                <a:gd name="connsiteX1" fmla="*/ 3505576 w 3560298"/>
                <a:gd name="connsiteY1" fmla="*/ 257442 h 257442"/>
                <a:gd name="connsiteX2" fmla="*/ 0 w 3560298"/>
                <a:gd name="connsiteY2" fmla="*/ 257442 h 257442"/>
                <a:gd name="connsiteX3" fmla="*/ 54722 w 3560298"/>
                <a:gd name="connsiteY3" fmla="*/ 0 h 257442"/>
                <a:gd name="connsiteX0" fmla="*/ 3560298 w 3560298"/>
                <a:gd name="connsiteY0" fmla="*/ 0 h 257442"/>
                <a:gd name="connsiteX1" fmla="*/ 3505576 w 3560298"/>
                <a:gd name="connsiteY1" fmla="*/ 257442 h 257442"/>
                <a:gd name="connsiteX2" fmla="*/ 0 w 3560298"/>
                <a:gd name="connsiteY2" fmla="*/ 257442 h 257442"/>
                <a:gd name="connsiteX3" fmla="*/ 54721 w 3560298"/>
                <a:gd name="connsiteY3" fmla="*/ 0 h 257442"/>
                <a:gd name="connsiteX0" fmla="*/ 3738231 w 3738231"/>
                <a:gd name="connsiteY0" fmla="*/ 0 h 257442"/>
                <a:gd name="connsiteX1" fmla="*/ 3505576 w 3738231"/>
                <a:gd name="connsiteY1" fmla="*/ 257442 h 257442"/>
                <a:gd name="connsiteX2" fmla="*/ 0 w 3738231"/>
                <a:gd name="connsiteY2" fmla="*/ 257442 h 257442"/>
                <a:gd name="connsiteX3" fmla="*/ 54721 w 3738231"/>
                <a:gd name="connsiteY3" fmla="*/ 0 h 257442"/>
                <a:gd name="connsiteX0" fmla="*/ 3738231 w 3738231"/>
                <a:gd name="connsiteY0" fmla="*/ 0 h 257442"/>
                <a:gd name="connsiteX1" fmla="*/ 3683510 w 3738231"/>
                <a:gd name="connsiteY1" fmla="*/ 257442 h 257442"/>
                <a:gd name="connsiteX2" fmla="*/ 0 w 3738231"/>
                <a:gd name="connsiteY2" fmla="*/ 257442 h 257442"/>
                <a:gd name="connsiteX3" fmla="*/ 54721 w 3738231"/>
                <a:gd name="connsiteY3" fmla="*/ 0 h 257442"/>
                <a:gd name="connsiteX0" fmla="*/ 3738231 w 3738231"/>
                <a:gd name="connsiteY0" fmla="*/ 0 h 257442"/>
                <a:gd name="connsiteX1" fmla="*/ 3683510 w 3738231"/>
                <a:gd name="connsiteY1" fmla="*/ 257442 h 257442"/>
                <a:gd name="connsiteX2" fmla="*/ 0 w 3738231"/>
                <a:gd name="connsiteY2" fmla="*/ 257442 h 257442"/>
                <a:gd name="connsiteX3" fmla="*/ 54721 w 3738231"/>
                <a:gd name="connsiteY3" fmla="*/ 0 h 257442"/>
                <a:gd name="connsiteX0" fmla="*/ 3738231 w 3738231"/>
                <a:gd name="connsiteY0" fmla="*/ 0 h 257442"/>
                <a:gd name="connsiteX1" fmla="*/ 3683510 w 3738231"/>
                <a:gd name="connsiteY1" fmla="*/ 257442 h 257442"/>
                <a:gd name="connsiteX2" fmla="*/ 0 w 3738231"/>
                <a:gd name="connsiteY2" fmla="*/ 257442 h 257442"/>
                <a:gd name="connsiteX3" fmla="*/ 54721 w 3738231"/>
                <a:gd name="connsiteY3" fmla="*/ 0 h 257442"/>
                <a:gd name="connsiteX0" fmla="*/ 3906546 w 3906546"/>
                <a:gd name="connsiteY0" fmla="*/ 0 h 257442"/>
                <a:gd name="connsiteX1" fmla="*/ 3683510 w 3906546"/>
                <a:gd name="connsiteY1" fmla="*/ 257442 h 257442"/>
                <a:gd name="connsiteX2" fmla="*/ 0 w 3906546"/>
                <a:gd name="connsiteY2" fmla="*/ 257442 h 257442"/>
                <a:gd name="connsiteX3" fmla="*/ 54721 w 3906546"/>
                <a:gd name="connsiteY3" fmla="*/ 0 h 257442"/>
                <a:gd name="connsiteX0" fmla="*/ 3906546 w 3906546"/>
                <a:gd name="connsiteY0" fmla="*/ 0 h 257442"/>
                <a:gd name="connsiteX1" fmla="*/ 3851824 w 3906546"/>
                <a:gd name="connsiteY1" fmla="*/ 257442 h 257442"/>
                <a:gd name="connsiteX2" fmla="*/ 0 w 3906546"/>
                <a:gd name="connsiteY2" fmla="*/ 257442 h 257442"/>
                <a:gd name="connsiteX3" fmla="*/ 54721 w 3906546"/>
                <a:gd name="connsiteY3" fmla="*/ 0 h 257442"/>
                <a:gd name="connsiteX0" fmla="*/ 3906547 w 3906547"/>
                <a:gd name="connsiteY0" fmla="*/ 0 h 257442"/>
                <a:gd name="connsiteX1" fmla="*/ 3851825 w 3906547"/>
                <a:gd name="connsiteY1" fmla="*/ 257442 h 257442"/>
                <a:gd name="connsiteX2" fmla="*/ 0 w 3906547"/>
                <a:gd name="connsiteY2" fmla="*/ 257442 h 257442"/>
                <a:gd name="connsiteX3" fmla="*/ 54722 w 3906547"/>
                <a:gd name="connsiteY3" fmla="*/ 0 h 257442"/>
                <a:gd name="connsiteX0" fmla="*/ 3906547 w 3906547"/>
                <a:gd name="connsiteY0" fmla="*/ 0 h 257442"/>
                <a:gd name="connsiteX1" fmla="*/ 3851825 w 3906547"/>
                <a:gd name="connsiteY1" fmla="*/ 257442 h 257442"/>
                <a:gd name="connsiteX2" fmla="*/ 0 w 3906547"/>
                <a:gd name="connsiteY2" fmla="*/ 257442 h 257442"/>
                <a:gd name="connsiteX3" fmla="*/ 54722 w 3906547"/>
                <a:gd name="connsiteY3" fmla="*/ 0 h 257442"/>
                <a:gd name="connsiteX0" fmla="*/ 4074863 w 4074863"/>
                <a:gd name="connsiteY0" fmla="*/ 0 h 257442"/>
                <a:gd name="connsiteX1" fmla="*/ 3851825 w 4074863"/>
                <a:gd name="connsiteY1" fmla="*/ 257442 h 257442"/>
                <a:gd name="connsiteX2" fmla="*/ 0 w 4074863"/>
                <a:gd name="connsiteY2" fmla="*/ 257442 h 257442"/>
                <a:gd name="connsiteX3" fmla="*/ 54722 w 4074863"/>
                <a:gd name="connsiteY3" fmla="*/ 0 h 257442"/>
                <a:gd name="connsiteX0" fmla="*/ 4074863 w 4074863"/>
                <a:gd name="connsiteY0" fmla="*/ 0 h 257442"/>
                <a:gd name="connsiteX1" fmla="*/ 4020142 w 4074863"/>
                <a:gd name="connsiteY1" fmla="*/ 257442 h 257442"/>
                <a:gd name="connsiteX2" fmla="*/ 0 w 4074863"/>
                <a:gd name="connsiteY2" fmla="*/ 257442 h 257442"/>
                <a:gd name="connsiteX3" fmla="*/ 54722 w 4074863"/>
                <a:gd name="connsiteY3" fmla="*/ 0 h 257442"/>
                <a:gd name="connsiteX0" fmla="*/ 4074862 w 4074862"/>
                <a:gd name="connsiteY0" fmla="*/ 0 h 257442"/>
                <a:gd name="connsiteX1" fmla="*/ 4020141 w 4074862"/>
                <a:gd name="connsiteY1" fmla="*/ 257442 h 257442"/>
                <a:gd name="connsiteX2" fmla="*/ 0 w 4074862"/>
                <a:gd name="connsiteY2" fmla="*/ 257442 h 257442"/>
                <a:gd name="connsiteX3" fmla="*/ 54721 w 4074862"/>
                <a:gd name="connsiteY3" fmla="*/ 0 h 257442"/>
                <a:gd name="connsiteX0" fmla="*/ 4074862 w 4074862"/>
                <a:gd name="connsiteY0" fmla="*/ 0 h 257442"/>
                <a:gd name="connsiteX1" fmla="*/ 4020141 w 4074862"/>
                <a:gd name="connsiteY1" fmla="*/ 257442 h 257442"/>
                <a:gd name="connsiteX2" fmla="*/ 0 w 4074862"/>
                <a:gd name="connsiteY2" fmla="*/ 257442 h 257442"/>
                <a:gd name="connsiteX3" fmla="*/ 54720 w 4074862"/>
                <a:gd name="connsiteY3" fmla="*/ 0 h 257442"/>
                <a:gd name="connsiteX0" fmla="*/ 4325377 w 4325377"/>
                <a:gd name="connsiteY0" fmla="*/ 0 h 257442"/>
                <a:gd name="connsiteX1" fmla="*/ 4020141 w 4325377"/>
                <a:gd name="connsiteY1" fmla="*/ 257442 h 257442"/>
                <a:gd name="connsiteX2" fmla="*/ 0 w 4325377"/>
                <a:gd name="connsiteY2" fmla="*/ 257442 h 257442"/>
                <a:gd name="connsiteX3" fmla="*/ 54720 w 4325377"/>
                <a:gd name="connsiteY3" fmla="*/ 0 h 257442"/>
                <a:gd name="connsiteX0" fmla="*/ 4325377 w 4325377"/>
                <a:gd name="connsiteY0" fmla="*/ 0 h 257442"/>
                <a:gd name="connsiteX1" fmla="*/ 4270656 w 4325377"/>
                <a:gd name="connsiteY1" fmla="*/ 257442 h 257442"/>
                <a:gd name="connsiteX2" fmla="*/ 0 w 4325377"/>
                <a:gd name="connsiteY2" fmla="*/ 257442 h 257442"/>
                <a:gd name="connsiteX3" fmla="*/ 54720 w 4325377"/>
                <a:gd name="connsiteY3" fmla="*/ 0 h 257442"/>
                <a:gd name="connsiteX0" fmla="*/ 4325378 w 4325378"/>
                <a:gd name="connsiteY0" fmla="*/ 0 h 257442"/>
                <a:gd name="connsiteX1" fmla="*/ 4270657 w 4325378"/>
                <a:gd name="connsiteY1" fmla="*/ 257442 h 257442"/>
                <a:gd name="connsiteX2" fmla="*/ 0 w 4325378"/>
                <a:gd name="connsiteY2" fmla="*/ 257442 h 257442"/>
                <a:gd name="connsiteX3" fmla="*/ 54721 w 4325378"/>
                <a:gd name="connsiteY3" fmla="*/ 0 h 257442"/>
                <a:gd name="connsiteX0" fmla="*/ 4325378 w 4325378"/>
                <a:gd name="connsiteY0" fmla="*/ 0 h 257442"/>
                <a:gd name="connsiteX1" fmla="*/ 4270657 w 4325378"/>
                <a:gd name="connsiteY1" fmla="*/ 257442 h 257442"/>
                <a:gd name="connsiteX2" fmla="*/ 0 w 4325378"/>
                <a:gd name="connsiteY2" fmla="*/ 257442 h 257442"/>
                <a:gd name="connsiteX3" fmla="*/ 54721 w 4325378"/>
                <a:gd name="connsiteY3" fmla="*/ 0 h 257442"/>
                <a:gd name="connsiteX0" fmla="*/ 942786 w 4270657"/>
                <a:gd name="connsiteY0" fmla="*/ 0 h 257442"/>
                <a:gd name="connsiteX1" fmla="*/ 4270657 w 4270657"/>
                <a:gd name="connsiteY1" fmla="*/ 257442 h 257442"/>
                <a:gd name="connsiteX2" fmla="*/ 0 w 4270657"/>
                <a:gd name="connsiteY2" fmla="*/ 257442 h 257442"/>
                <a:gd name="connsiteX3" fmla="*/ 54721 w 4270657"/>
                <a:gd name="connsiteY3" fmla="*/ 0 h 257442"/>
                <a:gd name="connsiteX0" fmla="*/ 942786 w 942786"/>
                <a:gd name="connsiteY0" fmla="*/ 0 h 257442"/>
                <a:gd name="connsiteX1" fmla="*/ 888066 w 942786"/>
                <a:gd name="connsiteY1" fmla="*/ 257442 h 257442"/>
                <a:gd name="connsiteX2" fmla="*/ 0 w 942786"/>
                <a:gd name="connsiteY2" fmla="*/ 257442 h 257442"/>
                <a:gd name="connsiteX3" fmla="*/ 54721 w 942786"/>
                <a:gd name="connsiteY3" fmla="*/ 0 h 257442"/>
                <a:gd name="connsiteX0" fmla="*/ 942785 w 942785"/>
                <a:gd name="connsiteY0" fmla="*/ 0 h 257442"/>
                <a:gd name="connsiteX1" fmla="*/ 888065 w 942785"/>
                <a:gd name="connsiteY1" fmla="*/ 257442 h 257442"/>
                <a:gd name="connsiteX2" fmla="*/ 0 w 942785"/>
                <a:gd name="connsiteY2" fmla="*/ 257442 h 257442"/>
                <a:gd name="connsiteX3" fmla="*/ 54720 w 942785"/>
                <a:gd name="connsiteY3" fmla="*/ 0 h 257442"/>
                <a:gd name="connsiteX0" fmla="*/ 942785 w 942785"/>
                <a:gd name="connsiteY0" fmla="*/ 0 h 257442"/>
                <a:gd name="connsiteX1" fmla="*/ 888065 w 942785"/>
                <a:gd name="connsiteY1" fmla="*/ 257442 h 257442"/>
                <a:gd name="connsiteX2" fmla="*/ 0 w 942785"/>
                <a:gd name="connsiteY2" fmla="*/ 257442 h 257442"/>
                <a:gd name="connsiteX3" fmla="*/ 54721 w 942785"/>
                <a:gd name="connsiteY3" fmla="*/ 0 h 257442"/>
                <a:gd name="connsiteX0" fmla="*/ 1111101 w 1111101"/>
                <a:gd name="connsiteY0" fmla="*/ 0 h 257442"/>
                <a:gd name="connsiteX1" fmla="*/ 888065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279416 w 1279416"/>
                <a:gd name="connsiteY0" fmla="*/ 0 h 257442"/>
                <a:gd name="connsiteX1" fmla="*/ 1056380 w 1279416"/>
                <a:gd name="connsiteY1" fmla="*/ 257442 h 257442"/>
                <a:gd name="connsiteX2" fmla="*/ 0 w 1279416"/>
                <a:gd name="connsiteY2" fmla="*/ 257442 h 257442"/>
                <a:gd name="connsiteX3" fmla="*/ 54721 w 1279416"/>
                <a:gd name="connsiteY3" fmla="*/ 0 h 257442"/>
                <a:gd name="connsiteX0" fmla="*/ 1279416 w 1279416"/>
                <a:gd name="connsiteY0" fmla="*/ 0 h 257442"/>
                <a:gd name="connsiteX1" fmla="*/ 1224694 w 1279416"/>
                <a:gd name="connsiteY1" fmla="*/ 257442 h 257442"/>
                <a:gd name="connsiteX2" fmla="*/ 0 w 1279416"/>
                <a:gd name="connsiteY2" fmla="*/ 257442 h 257442"/>
                <a:gd name="connsiteX3" fmla="*/ 54721 w 1279416"/>
                <a:gd name="connsiteY3" fmla="*/ 0 h 257442"/>
                <a:gd name="connsiteX0" fmla="*/ 1279417 w 1279417"/>
                <a:gd name="connsiteY0" fmla="*/ 0 h 257442"/>
                <a:gd name="connsiteX1" fmla="*/ 1224695 w 1279417"/>
                <a:gd name="connsiteY1" fmla="*/ 257442 h 257442"/>
                <a:gd name="connsiteX2" fmla="*/ 0 w 1279417"/>
                <a:gd name="connsiteY2" fmla="*/ 257442 h 257442"/>
                <a:gd name="connsiteX3" fmla="*/ 54722 w 1279417"/>
                <a:gd name="connsiteY3" fmla="*/ 0 h 257442"/>
                <a:gd name="connsiteX0" fmla="*/ 1279417 w 1279417"/>
                <a:gd name="connsiteY0" fmla="*/ 0 h 257442"/>
                <a:gd name="connsiteX1" fmla="*/ 1224695 w 1279417"/>
                <a:gd name="connsiteY1" fmla="*/ 257442 h 257442"/>
                <a:gd name="connsiteX2" fmla="*/ 0 w 1279417"/>
                <a:gd name="connsiteY2" fmla="*/ 257442 h 257442"/>
                <a:gd name="connsiteX3" fmla="*/ 54722 w 1279417"/>
                <a:gd name="connsiteY3" fmla="*/ 0 h 257442"/>
                <a:gd name="connsiteX0" fmla="*/ 1447733 w 1447733"/>
                <a:gd name="connsiteY0" fmla="*/ 0 h 257442"/>
                <a:gd name="connsiteX1" fmla="*/ 1224695 w 1447733"/>
                <a:gd name="connsiteY1" fmla="*/ 257442 h 257442"/>
                <a:gd name="connsiteX2" fmla="*/ 0 w 1447733"/>
                <a:gd name="connsiteY2" fmla="*/ 257442 h 257442"/>
                <a:gd name="connsiteX3" fmla="*/ 54722 w 1447733"/>
                <a:gd name="connsiteY3" fmla="*/ 0 h 257442"/>
                <a:gd name="connsiteX0" fmla="*/ 1447733 w 1447733"/>
                <a:gd name="connsiteY0" fmla="*/ 0 h 257442"/>
                <a:gd name="connsiteX1" fmla="*/ 1393012 w 1447733"/>
                <a:gd name="connsiteY1" fmla="*/ 257442 h 257442"/>
                <a:gd name="connsiteX2" fmla="*/ 0 w 1447733"/>
                <a:gd name="connsiteY2" fmla="*/ 257442 h 257442"/>
                <a:gd name="connsiteX3" fmla="*/ 54722 w 1447733"/>
                <a:gd name="connsiteY3" fmla="*/ 0 h 257442"/>
                <a:gd name="connsiteX0" fmla="*/ 1447732 w 1447732"/>
                <a:gd name="connsiteY0" fmla="*/ 0 h 257442"/>
                <a:gd name="connsiteX1" fmla="*/ 1393011 w 1447732"/>
                <a:gd name="connsiteY1" fmla="*/ 257442 h 257442"/>
                <a:gd name="connsiteX2" fmla="*/ 0 w 1447732"/>
                <a:gd name="connsiteY2" fmla="*/ 257442 h 257442"/>
                <a:gd name="connsiteX3" fmla="*/ 54721 w 1447732"/>
                <a:gd name="connsiteY3" fmla="*/ 0 h 257442"/>
                <a:gd name="connsiteX0" fmla="*/ 1447732 w 1447732"/>
                <a:gd name="connsiteY0" fmla="*/ 0 h 257442"/>
                <a:gd name="connsiteX1" fmla="*/ 1393011 w 1447732"/>
                <a:gd name="connsiteY1" fmla="*/ 257442 h 257442"/>
                <a:gd name="connsiteX2" fmla="*/ 0 w 1447732"/>
                <a:gd name="connsiteY2" fmla="*/ 257442 h 257442"/>
                <a:gd name="connsiteX3" fmla="*/ 54720 w 1447732"/>
                <a:gd name="connsiteY3" fmla="*/ 0 h 257442"/>
                <a:gd name="connsiteX0" fmla="*/ 1616046 w 1616046"/>
                <a:gd name="connsiteY0" fmla="*/ 0 h 257442"/>
                <a:gd name="connsiteX1" fmla="*/ 1393011 w 1616046"/>
                <a:gd name="connsiteY1" fmla="*/ 257442 h 257442"/>
                <a:gd name="connsiteX2" fmla="*/ 0 w 1616046"/>
                <a:gd name="connsiteY2" fmla="*/ 257442 h 257442"/>
                <a:gd name="connsiteX3" fmla="*/ 54720 w 1616046"/>
                <a:gd name="connsiteY3" fmla="*/ 0 h 257442"/>
                <a:gd name="connsiteX0" fmla="*/ 1616046 w 1616046"/>
                <a:gd name="connsiteY0" fmla="*/ 0 h 257442"/>
                <a:gd name="connsiteX1" fmla="*/ 1561325 w 1616046"/>
                <a:gd name="connsiteY1" fmla="*/ 257442 h 257442"/>
                <a:gd name="connsiteX2" fmla="*/ 0 w 1616046"/>
                <a:gd name="connsiteY2" fmla="*/ 257442 h 257442"/>
                <a:gd name="connsiteX3" fmla="*/ 54720 w 1616046"/>
                <a:gd name="connsiteY3" fmla="*/ 0 h 257442"/>
                <a:gd name="connsiteX0" fmla="*/ 1616047 w 1616047"/>
                <a:gd name="connsiteY0" fmla="*/ 0 h 257442"/>
                <a:gd name="connsiteX1" fmla="*/ 1561326 w 1616047"/>
                <a:gd name="connsiteY1" fmla="*/ 257442 h 257442"/>
                <a:gd name="connsiteX2" fmla="*/ 0 w 1616047"/>
                <a:gd name="connsiteY2" fmla="*/ 257442 h 257442"/>
                <a:gd name="connsiteX3" fmla="*/ 54721 w 1616047"/>
                <a:gd name="connsiteY3" fmla="*/ 0 h 257442"/>
                <a:gd name="connsiteX0" fmla="*/ 1616047 w 1616047"/>
                <a:gd name="connsiteY0" fmla="*/ 0 h 257442"/>
                <a:gd name="connsiteX1" fmla="*/ 1561326 w 1616047"/>
                <a:gd name="connsiteY1" fmla="*/ 257442 h 257442"/>
                <a:gd name="connsiteX2" fmla="*/ 0 w 1616047"/>
                <a:gd name="connsiteY2" fmla="*/ 257442 h 257442"/>
                <a:gd name="connsiteX3" fmla="*/ 54722 w 1616047"/>
                <a:gd name="connsiteY3" fmla="*/ 0 h 257442"/>
                <a:gd name="connsiteX0" fmla="*/ 1857909 w 1857909"/>
                <a:gd name="connsiteY0" fmla="*/ 0 h 257442"/>
                <a:gd name="connsiteX1" fmla="*/ 1561326 w 1857909"/>
                <a:gd name="connsiteY1" fmla="*/ 257442 h 257442"/>
                <a:gd name="connsiteX2" fmla="*/ 0 w 1857909"/>
                <a:gd name="connsiteY2" fmla="*/ 257442 h 257442"/>
                <a:gd name="connsiteX3" fmla="*/ 54722 w 1857909"/>
                <a:gd name="connsiteY3" fmla="*/ 0 h 257442"/>
                <a:gd name="connsiteX0" fmla="*/ 1857909 w 1857909"/>
                <a:gd name="connsiteY0" fmla="*/ 0 h 257442"/>
                <a:gd name="connsiteX1" fmla="*/ 1803188 w 1857909"/>
                <a:gd name="connsiteY1" fmla="*/ 257442 h 257442"/>
                <a:gd name="connsiteX2" fmla="*/ 0 w 1857909"/>
                <a:gd name="connsiteY2" fmla="*/ 257442 h 257442"/>
                <a:gd name="connsiteX3" fmla="*/ 54722 w 1857909"/>
                <a:gd name="connsiteY3" fmla="*/ 0 h 257442"/>
                <a:gd name="connsiteX0" fmla="*/ 1857908 w 1857908"/>
                <a:gd name="connsiteY0" fmla="*/ 0 h 257442"/>
                <a:gd name="connsiteX1" fmla="*/ 1803187 w 1857908"/>
                <a:gd name="connsiteY1" fmla="*/ 257442 h 257442"/>
                <a:gd name="connsiteX2" fmla="*/ 0 w 1857908"/>
                <a:gd name="connsiteY2" fmla="*/ 257442 h 257442"/>
                <a:gd name="connsiteX3" fmla="*/ 54721 w 1857908"/>
                <a:gd name="connsiteY3" fmla="*/ 0 h 257442"/>
                <a:gd name="connsiteX0" fmla="*/ 1857908 w 1857908"/>
                <a:gd name="connsiteY0" fmla="*/ 0 h 257442"/>
                <a:gd name="connsiteX1" fmla="*/ 1803187 w 1857908"/>
                <a:gd name="connsiteY1" fmla="*/ 257442 h 257442"/>
                <a:gd name="connsiteX2" fmla="*/ 0 w 1857908"/>
                <a:gd name="connsiteY2" fmla="*/ 257442 h 257442"/>
                <a:gd name="connsiteX3" fmla="*/ 54720 w 1857908"/>
                <a:gd name="connsiteY3" fmla="*/ 0 h 257442"/>
                <a:gd name="connsiteX0" fmla="*/ 2035841 w 2035841"/>
                <a:gd name="connsiteY0" fmla="*/ 0 h 257442"/>
                <a:gd name="connsiteX1" fmla="*/ 1803187 w 2035841"/>
                <a:gd name="connsiteY1" fmla="*/ 257442 h 257442"/>
                <a:gd name="connsiteX2" fmla="*/ 0 w 2035841"/>
                <a:gd name="connsiteY2" fmla="*/ 257442 h 257442"/>
                <a:gd name="connsiteX3" fmla="*/ 54720 w 2035841"/>
                <a:gd name="connsiteY3" fmla="*/ 0 h 257442"/>
                <a:gd name="connsiteX0" fmla="*/ 2035841 w 2035841"/>
                <a:gd name="connsiteY0" fmla="*/ 0 h 257442"/>
                <a:gd name="connsiteX1" fmla="*/ 1981120 w 2035841"/>
                <a:gd name="connsiteY1" fmla="*/ 257442 h 257442"/>
                <a:gd name="connsiteX2" fmla="*/ 0 w 2035841"/>
                <a:gd name="connsiteY2" fmla="*/ 257442 h 257442"/>
                <a:gd name="connsiteX3" fmla="*/ 54720 w 2035841"/>
                <a:gd name="connsiteY3" fmla="*/ 0 h 257442"/>
                <a:gd name="connsiteX0" fmla="*/ 2035842 w 2035842"/>
                <a:gd name="connsiteY0" fmla="*/ 0 h 257442"/>
                <a:gd name="connsiteX1" fmla="*/ 1981121 w 2035842"/>
                <a:gd name="connsiteY1" fmla="*/ 257442 h 257442"/>
                <a:gd name="connsiteX2" fmla="*/ 0 w 2035842"/>
                <a:gd name="connsiteY2" fmla="*/ 257442 h 257442"/>
                <a:gd name="connsiteX3" fmla="*/ 54721 w 2035842"/>
                <a:gd name="connsiteY3" fmla="*/ 0 h 257442"/>
                <a:gd name="connsiteX0" fmla="*/ 2035842 w 2035842"/>
                <a:gd name="connsiteY0" fmla="*/ 0 h 257442"/>
                <a:gd name="connsiteX1" fmla="*/ 1981121 w 2035842"/>
                <a:gd name="connsiteY1" fmla="*/ 257442 h 257442"/>
                <a:gd name="connsiteX2" fmla="*/ 0 w 2035842"/>
                <a:gd name="connsiteY2" fmla="*/ 257442 h 257442"/>
                <a:gd name="connsiteX3" fmla="*/ 54721 w 2035842"/>
                <a:gd name="connsiteY3" fmla="*/ 0 h 257442"/>
                <a:gd name="connsiteX0" fmla="*/ 2204157 w 2204157"/>
                <a:gd name="connsiteY0" fmla="*/ 0 h 257442"/>
                <a:gd name="connsiteX1" fmla="*/ 1981121 w 2204157"/>
                <a:gd name="connsiteY1" fmla="*/ 257442 h 257442"/>
                <a:gd name="connsiteX2" fmla="*/ 0 w 2204157"/>
                <a:gd name="connsiteY2" fmla="*/ 257442 h 257442"/>
                <a:gd name="connsiteX3" fmla="*/ 54721 w 2204157"/>
                <a:gd name="connsiteY3" fmla="*/ 0 h 257442"/>
                <a:gd name="connsiteX0" fmla="*/ 2204157 w 2204157"/>
                <a:gd name="connsiteY0" fmla="*/ 0 h 257442"/>
                <a:gd name="connsiteX1" fmla="*/ 2149436 w 2204157"/>
                <a:gd name="connsiteY1" fmla="*/ 257442 h 257442"/>
                <a:gd name="connsiteX2" fmla="*/ 0 w 2204157"/>
                <a:gd name="connsiteY2" fmla="*/ 257442 h 257442"/>
                <a:gd name="connsiteX3" fmla="*/ 54721 w 2204157"/>
                <a:gd name="connsiteY3" fmla="*/ 0 h 257442"/>
                <a:gd name="connsiteX0" fmla="*/ 2204157 w 2204157"/>
                <a:gd name="connsiteY0" fmla="*/ 0 h 257442"/>
                <a:gd name="connsiteX1" fmla="*/ 2149436 w 2204157"/>
                <a:gd name="connsiteY1" fmla="*/ 257442 h 257442"/>
                <a:gd name="connsiteX2" fmla="*/ 0 w 2204157"/>
                <a:gd name="connsiteY2" fmla="*/ 257442 h 257442"/>
                <a:gd name="connsiteX3" fmla="*/ 54721 w 2204157"/>
                <a:gd name="connsiteY3" fmla="*/ 0 h 257442"/>
                <a:gd name="connsiteX0" fmla="*/ 2204157 w 2204157"/>
                <a:gd name="connsiteY0" fmla="*/ 0 h 257442"/>
                <a:gd name="connsiteX1" fmla="*/ 2149436 w 2204157"/>
                <a:gd name="connsiteY1" fmla="*/ 257442 h 257442"/>
                <a:gd name="connsiteX2" fmla="*/ 0 w 2204157"/>
                <a:gd name="connsiteY2" fmla="*/ 257442 h 257442"/>
                <a:gd name="connsiteX3" fmla="*/ 54721 w 2204157"/>
                <a:gd name="connsiteY3" fmla="*/ 0 h 257442"/>
                <a:gd name="connsiteX0" fmla="*/ 934771 w 2149436"/>
                <a:gd name="connsiteY0" fmla="*/ 0 h 257442"/>
                <a:gd name="connsiteX1" fmla="*/ 2149436 w 2149436"/>
                <a:gd name="connsiteY1" fmla="*/ 257442 h 257442"/>
                <a:gd name="connsiteX2" fmla="*/ 0 w 2149436"/>
                <a:gd name="connsiteY2" fmla="*/ 257442 h 257442"/>
                <a:gd name="connsiteX3" fmla="*/ 54721 w 2149436"/>
                <a:gd name="connsiteY3" fmla="*/ 0 h 257442"/>
                <a:gd name="connsiteX0" fmla="*/ 934771 w 934771"/>
                <a:gd name="connsiteY0" fmla="*/ 0 h 257442"/>
                <a:gd name="connsiteX1" fmla="*/ 880050 w 934771"/>
                <a:gd name="connsiteY1" fmla="*/ 257442 h 257442"/>
                <a:gd name="connsiteX2" fmla="*/ 0 w 934771"/>
                <a:gd name="connsiteY2" fmla="*/ 257442 h 257442"/>
                <a:gd name="connsiteX3" fmla="*/ 54721 w 934771"/>
                <a:gd name="connsiteY3" fmla="*/ 0 h 257442"/>
                <a:gd name="connsiteX0" fmla="*/ 934770 w 934770"/>
                <a:gd name="connsiteY0" fmla="*/ 0 h 257442"/>
                <a:gd name="connsiteX1" fmla="*/ 880049 w 934770"/>
                <a:gd name="connsiteY1" fmla="*/ 257442 h 257442"/>
                <a:gd name="connsiteX2" fmla="*/ 0 w 934770"/>
                <a:gd name="connsiteY2" fmla="*/ 257442 h 257442"/>
                <a:gd name="connsiteX3" fmla="*/ 54720 w 934770"/>
                <a:gd name="connsiteY3" fmla="*/ 0 h 257442"/>
                <a:gd name="connsiteX0" fmla="*/ 934770 w 934770"/>
                <a:gd name="connsiteY0" fmla="*/ 0 h 257442"/>
                <a:gd name="connsiteX1" fmla="*/ 880049 w 934770"/>
                <a:gd name="connsiteY1" fmla="*/ 257442 h 257442"/>
                <a:gd name="connsiteX2" fmla="*/ 0 w 934770"/>
                <a:gd name="connsiteY2" fmla="*/ 257442 h 257442"/>
                <a:gd name="connsiteX3" fmla="*/ 54720 w 934770"/>
                <a:gd name="connsiteY3" fmla="*/ 0 h 257442"/>
                <a:gd name="connsiteX0" fmla="*/ 1243957 w 1243957"/>
                <a:gd name="connsiteY0" fmla="*/ 0 h 257442"/>
                <a:gd name="connsiteX1" fmla="*/ 880049 w 1243957"/>
                <a:gd name="connsiteY1" fmla="*/ 257442 h 257442"/>
                <a:gd name="connsiteX2" fmla="*/ 0 w 1243957"/>
                <a:gd name="connsiteY2" fmla="*/ 257442 h 257442"/>
                <a:gd name="connsiteX3" fmla="*/ 54720 w 1243957"/>
                <a:gd name="connsiteY3" fmla="*/ 0 h 257442"/>
                <a:gd name="connsiteX0" fmla="*/ 1243957 w 1243957"/>
                <a:gd name="connsiteY0" fmla="*/ 0 h 257442"/>
                <a:gd name="connsiteX1" fmla="*/ 1189236 w 1243957"/>
                <a:gd name="connsiteY1" fmla="*/ 257442 h 257442"/>
                <a:gd name="connsiteX2" fmla="*/ 0 w 1243957"/>
                <a:gd name="connsiteY2" fmla="*/ 257442 h 257442"/>
                <a:gd name="connsiteX3" fmla="*/ 54720 w 1243957"/>
                <a:gd name="connsiteY3" fmla="*/ 0 h 257442"/>
                <a:gd name="connsiteX0" fmla="*/ 1243958 w 1243958"/>
                <a:gd name="connsiteY0" fmla="*/ 0 h 257442"/>
                <a:gd name="connsiteX1" fmla="*/ 1189237 w 1243958"/>
                <a:gd name="connsiteY1" fmla="*/ 257442 h 257442"/>
                <a:gd name="connsiteX2" fmla="*/ 0 w 1243958"/>
                <a:gd name="connsiteY2" fmla="*/ 257442 h 257442"/>
                <a:gd name="connsiteX3" fmla="*/ 54721 w 1243958"/>
                <a:gd name="connsiteY3" fmla="*/ 0 h 257442"/>
                <a:gd name="connsiteX0" fmla="*/ 1243958 w 1243958"/>
                <a:gd name="connsiteY0" fmla="*/ 0 h 257442"/>
                <a:gd name="connsiteX1" fmla="*/ 1189237 w 1243958"/>
                <a:gd name="connsiteY1" fmla="*/ 257442 h 257442"/>
                <a:gd name="connsiteX2" fmla="*/ 0 w 1243958"/>
                <a:gd name="connsiteY2" fmla="*/ 257442 h 257442"/>
                <a:gd name="connsiteX3" fmla="*/ 54721 w 1243958"/>
                <a:gd name="connsiteY3" fmla="*/ 0 h 257442"/>
                <a:gd name="connsiteX0" fmla="*/ 1404259 w 1404259"/>
                <a:gd name="connsiteY0" fmla="*/ 0 h 257442"/>
                <a:gd name="connsiteX1" fmla="*/ 1189237 w 1404259"/>
                <a:gd name="connsiteY1" fmla="*/ 257442 h 257442"/>
                <a:gd name="connsiteX2" fmla="*/ 0 w 1404259"/>
                <a:gd name="connsiteY2" fmla="*/ 257442 h 257442"/>
                <a:gd name="connsiteX3" fmla="*/ 54721 w 1404259"/>
                <a:gd name="connsiteY3" fmla="*/ 0 h 257442"/>
                <a:gd name="connsiteX0" fmla="*/ 1404259 w 1404259"/>
                <a:gd name="connsiteY0" fmla="*/ 0 h 257442"/>
                <a:gd name="connsiteX1" fmla="*/ 1349538 w 1404259"/>
                <a:gd name="connsiteY1" fmla="*/ 257442 h 257442"/>
                <a:gd name="connsiteX2" fmla="*/ 0 w 1404259"/>
                <a:gd name="connsiteY2" fmla="*/ 257442 h 257442"/>
                <a:gd name="connsiteX3" fmla="*/ 54721 w 1404259"/>
                <a:gd name="connsiteY3" fmla="*/ 0 h 257442"/>
                <a:gd name="connsiteX0" fmla="*/ 1404259 w 1404259"/>
                <a:gd name="connsiteY0" fmla="*/ 0 h 257442"/>
                <a:gd name="connsiteX1" fmla="*/ 1349538 w 1404259"/>
                <a:gd name="connsiteY1" fmla="*/ 257442 h 257442"/>
                <a:gd name="connsiteX2" fmla="*/ 0 w 1404259"/>
                <a:gd name="connsiteY2" fmla="*/ 257442 h 257442"/>
                <a:gd name="connsiteX3" fmla="*/ 54721 w 1404259"/>
                <a:gd name="connsiteY3" fmla="*/ 0 h 257442"/>
                <a:gd name="connsiteX0" fmla="*/ 1404259 w 1404259"/>
                <a:gd name="connsiteY0" fmla="*/ 0 h 257442"/>
                <a:gd name="connsiteX1" fmla="*/ 1349538 w 1404259"/>
                <a:gd name="connsiteY1" fmla="*/ 257442 h 257442"/>
                <a:gd name="connsiteX2" fmla="*/ 0 w 1404259"/>
                <a:gd name="connsiteY2" fmla="*/ 257442 h 257442"/>
                <a:gd name="connsiteX3" fmla="*/ 54721 w 1404259"/>
                <a:gd name="connsiteY3" fmla="*/ 0 h 257442"/>
                <a:gd name="connsiteX0" fmla="*/ 1572573 w 1572573"/>
                <a:gd name="connsiteY0" fmla="*/ 0 h 257442"/>
                <a:gd name="connsiteX1" fmla="*/ 1349538 w 1572573"/>
                <a:gd name="connsiteY1" fmla="*/ 257442 h 257442"/>
                <a:gd name="connsiteX2" fmla="*/ 0 w 1572573"/>
                <a:gd name="connsiteY2" fmla="*/ 257442 h 257442"/>
                <a:gd name="connsiteX3" fmla="*/ 54721 w 1572573"/>
                <a:gd name="connsiteY3" fmla="*/ 0 h 257442"/>
                <a:gd name="connsiteX0" fmla="*/ 1572573 w 1572573"/>
                <a:gd name="connsiteY0" fmla="*/ 0 h 257442"/>
                <a:gd name="connsiteX1" fmla="*/ 1517852 w 1572573"/>
                <a:gd name="connsiteY1" fmla="*/ 257442 h 257442"/>
                <a:gd name="connsiteX2" fmla="*/ 0 w 1572573"/>
                <a:gd name="connsiteY2" fmla="*/ 257442 h 257442"/>
                <a:gd name="connsiteX3" fmla="*/ 54721 w 1572573"/>
                <a:gd name="connsiteY3" fmla="*/ 0 h 257442"/>
                <a:gd name="connsiteX0" fmla="*/ 1572573 w 1572573"/>
                <a:gd name="connsiteY0" fmla="*/ 0 h 257442"/>
                <a:gd name="connsiteX1" fmla="*/ 1517852 w 1572573"/>
                <a:gd name="connsiteY1" fmla="*/ 257442 h 257442"/>
                <a:gd name="connsiteX2" fmla="*/ 0 w 1572573"/>
                <a:gd name="connsiteY2" fmla="*/ 257442 h 257442"/>
                <a:gd name="connsiteX3" fmla="*/ 54721 w 1572573"/>
                <a:gd name="connsiteY3" fmla="*/ 0 h 257442"/>
                <a:gd name="connsiteX0" fmla="*/ 1572573 w 1572573"/>
                <a:gd name="connsiteY0" fmla="*/ 0 h 257442"/>
                <a:gd name="connsiteX1" fmla="*/ 1517852 w 1572573"/>
                <a:gd name="connsiteY1" fmla="*/ 257442 h 257442"/>
                <a:gd name="connsiteX2" fmla="*/ 0 w 1572573"/>
                <a:gd name="connsiteY2" fmla="*/ 257442 h 257442"/>
                <a:gd name="connsiteX3" fmla="*/ 54721 w 1572573"/>
                <a:gd name="connsiteY3" fmla="*/ 0 h 257442"/>
                <a:gd name="connsiteX0" fmla="*/ 942786 w 1517852"/>
                <a:gd name="connsiteY0" fmla="*/ 0 h 257442"/>
                <a:gd name="connsiteX1" fmla="*/ 1517852 w 1517852"/>
                <a:gd name="connsiteY1" fmla="*/ 257442 h 257442"/>
                <a:gd name="connsiteX2" fmla="*/ 0 w 1517852"/>
                <a:gd name="connsiteY2" fmla="*/ 257442 h 257442"/>
                <a:gd name="connsiteX3" fmla="*/ 54721 w 1517852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0 w 942786"/>
                <a:gd name="connsiteY2" fmla="*/ 257442 h 257442"/>
                <a:gd name="connsiteX3" fmla="*/ 54721 w 942786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0 w 942786"/>
                <a:gd name="connsiteY2" fmla="*/ 257442 h 257442"/>
                <a:gd name="connsiteX3" fmla="*/ 54721 w 942786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0 w 942786"/>
                <a:gd name="connsiteY2" fmla="*/ 257442 h 257442"/>
                <a:gd name="connsiteX3" fmla="*/ 54721 w 942786"/>
                <a:gd name="connsiteY3" fmla="*/ 0 h 257442"/>
                <a:gd name="connsiteX0" fmla="*/ 1111101 w 1111101"/>
                <a:gd name="connsiteY0" fmla="*/ 0 h 257442"/>
                <a:gd name="connsiteX1" fmla="*/ 888065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279416 w 1279416"/>
                <a:gd name="connsiteY0" fmla="*/ 0 h 257442"/>
                <a:gd name="connsiteX1" fmla="*/ 1056380 w 1279416"/>
                <a:gd name="connsiteY1" fmla="*/ 257442 h 257442"/>
                <a:gd name="connsiteX2" fmla="*/ 0 w 1279416"/>
                <a:gd name="connsiteY2" fmla="*/ 257442 h 257442"/>
                <a:gd name="connsiteX3" fmla="*/ 54721 w 1279416"/>
                <a:gd name="connsiteY3" fmla="*/ 0 h 257442"/>
                <a:gd name="connsiteX0" fmla="*/ 1279416 w 1279416"/>
                <a:gd name="connsiteY0" fmla="*/ 0 h 257442"/>
                <a:gd name="connsiteX1" fmla="*/ 1224694 w 1279416"/>
                <a:gd name="connsiteY1" fmla="*/ 257442 h 257442"/>
                <a:gd name="connsiteX2" fmla="*/ 0 w 1279416"/>
                <a:gd name="connsiteY2" fmla="*/ 257442 h 257442"/>
                <a:gd name="connsiteX3" fmla="*/ 54721 w 1279416"/>
                <a:gd name="connsiteY3" fmla="*/ 0 h 257442"/>
                <a:gd name="connsiteX0" fmla="*/ 1279417 w 1279417"/>
                <a:gd name="connsiteY0" fmla="*/ 0 h 257442"/>
                <a:gd name="connsiteX1" fmla="*/ 1224695 w 1279417"/>
                <a:gd name="connsiteY1" fmla="*/ 257442 h 257442"/>
                <a:gd name="connsiteX2" fmla="*/ 0 w 1279417"/>
                <a:gd name="connsiteY2" fmla="*/ 257442 h 257442"/>
                <a:gd name="connsiteX3" fmla="*/ 54722 w 1279417"/>
                <a:gd name="connsiteY3" fmla="*/ 0 h 257442"/>
                <a:gd name="connsiteX0" fmla="*/ 1279417 w 1279417"/>
                <a:gd name="connsiteY0" fmla="*/ 0 h 257442"/>
                <a:gd name="connsiteX1" fmla="*/ 1224695 w 1279417"/>
                <a:gd name="connsiteY1" fmla="*/ 257442 h 257442"/>
                <a:gd name="connsiteX2" fmla="*/ 0 w 1279417"/>
                <a:gd name="connsiteY2" fmla="*/ 257442 h 257442"/>
                <a:gd name="connsiteX3" fmla="*/ 54722 w 1279417"/>
                <a:gd name="connsiteY3" fmla="*/ 0 h 257442"/>
                <a:gd name="connsiteX0" fmla="*/ 1447733 w 1447733"/>
                <a:gd name="connsiteY0" fmla="*/ 0 h 257442"/>
                <a:gd name="connsiteX1" fmla="*/ 1224695 w 1447733"/>
                <a:gd name="connsiteY1" fmla="*/ 257442 h 257442"/>
                <a:gd name="connsiteX2" fmla="*/ 0 w 1447733"/>
                <a:gd name="connsiteY2" fmla="*/ 257442 h 257442"/>
                <a:gd name="connsiteX3" fmla="*/ 54722 w 1447733"/>
                <a:gd name="connsiteY3" fmla="*/ 0 h 257442"/>
                <a:gd name="connsiteX0" fmla="*/ 1447733 w 1447733"/>
                <a:gd name="connsiteY0" fmla="*/ 0 h 257442"/>
                <a:gd name="connsiteX1" fmla="*/ 1393012 w 1447733"/>
                <a:gd name="connsiteY1" fmla="*/ 257442 h 257442"/>
                <a:gd name="connsiteX2" fmla="*/ 0 w 1447733"/>
                <a:gd name="connsiteY2" fmla="*/ 257442 h 257442"/>
                <a:gd name="connsiteX3" fmla="*/ 54722 w 1447733"/>
                <a:gd name="connsiteY3" fmla="*/ 0 h 257442"/>
                <a:gd name="connsiteX0" fmla="*/ 1447732 w 1447732"/>
                <a:gd name="connsiteY0" fmla="*/ 0 h 257442"/>
                <a:gd name="connsiteX1" fmla="*/ 1393011 w 1447732"/>
                <a:gd name="connsiteY1" fmla="*/ 257442 h 257442"/>
                <a:gd name="connsiteX2" fmla="*/ 0 w 1447732"/>
                <a:gd name="connsiteY2" fmla="*/ 257442 h 257442"/>
                <a:gd name="connsiteX3" fmla="*/ 54721 w 1447732"/>
                <a:gd name="connsiteY3" fmla="*/ 0 h 257442"/>
                <a:gd name="connsiteX0" fmla="*/ 1447732 w 1447732"/>
                <a:gd name="connsiteY0" fmla="*/ 0 h 257442"/>
                <a:gd name="connsiteX1" fmla="*/ 1393011 w 1447732"/>
                <a:gd name="connsiteY1" fmla="*/ 257442 h 257442"/>
                <a:gd name="connsiteX2" fmla="*/ 0 w 1447732"/>
                <a:gd name="connsiteY2" fmla="*/ 257442 h 257442"/>
                <a:gd name="connsiteX3" fmla="*/ 54720 w 1447732"/>
                <a:gd name="connsiteY3" fmla="*/ 0 h 257442"/>
                <a:gd name="connsiteX0" fmla="*/ 1756918 w 1756918"/>
                <a:gd name="connsiteY0" fmla="*/ 0 h 257442"/>
                <a:gd name="connsiteX1" fmla="*/ 1393011 w 1756918"/>
                <a:gd name="connsiteY1" fmla="*/ 257442 h 257442"/>
                <a:gd name="connsiteX2" fmla="*/ 0 w 1756918"/>
                <a:gd name="connsiteY2" fmla="*/ 257442 h 257442"/>
                <a:gd name="connsiteX3" fmla="*/ 54720 w 1756918"/>
                <a:gd name="connsiteY3" fmla="*/ 0 h 257442"/>
                <a:gd name="connsiteX0" fmla="*/ 1756918 w 1756918"/>
                <a:gd name="connsiteY0" fmla="*/ 0 h 257442"/>
                <a:gd name="connsiteX1" fmla="*/ 1702197 w 1756918"/>
                <a:gd name="connsiteY1" fmla="*/ 257442 h 257442"/>
                <a:gd name="connsiteX2" fmla="*/ 0 w 1756918"/>
                <a:gd name="connsiteY2" fmla="*/ 257442 h 257442"/>
                <a:gd name="connsiteX3" fmla="*/ 54720 w 1756918"/>
                <a:gd name="connsiteY3" fmla="*/ 0 h 257442"/>
                <a:gd name="connsiteX0" fmla="*/ 1756919 w 1756919"/>
                <a:gd name="connsiteY0" fmla="*/ 0 h 257442"/>
                <a:gd name="connsiteX1" fmla="*/ 1702198 w 1756919"/>
                <a:gd name="connsiteY1" fmla="*/ 257442 h 257442"/>
                <a:gd name="connsiteX2" fmla="*/ 0 w 1756919"/>
                <a:gd name="connsiteY2" fmla="*/ 257442 h 257442"/>
                <a:gd name="connsiteX3" fmla="*/ 54721 w 1756919"/>
                <a:gd name="connsiteY3" fmla="*/ 0 h 257442"/>
                <a:gd name="connsiteX0" fmla="*/ 1756919 w 1756919"/>
                <a:gd name="connsiteY0" fmla="*/ 0 h 257442"/>
                <a:gd name="connsiteX1" fmla="*/ 1702198 w 1756919"/>
                <a:gd name="connsiteY1" fmla="*/ 257442 h 257442"/>
                <a:gd name="connsiteX2" fmla="*/ 0 w 1756919"/>
                <a:gd name="connsiteY2" fmla="*/ 257442 h 257442"/>
                <a:gd name="connsiteX3" fmla="*/ 54722 w 1756919"/>
                <a:gd name="connsiteY3" fmla="*/ 0 h 257442"/>
                <a:gd name="connsiteX0" fmla="*/ 2035843 w 2035843"/>
                <a:gd name="connsiteY0" fmla="*/ 0 h 257442"/>
                <a:gd name="connsiteX1" fmla="*/ 1702198 w 2035843"/>
                <a:gd name="connsiteY1" fmla="*/ 257442 h 257442"/>
                <a:gd name="connsiteX2" fmla="*/ 0 w 2035843"/>
                <a:gd name="connsiteY2" fmla="*/ 257442 h 257442"/>
                <a:gd name="connsiteX3" fmla="*/ 54722 w 2035843"/>
                <a:gd name="connsiteY3" fmla="*/ 0 h 257442"/>
                <a:gd name="connsiteX0" fmla="*/ 2035843 w 2035843"/>
                <a:gd name="connsiteY0" fmla="*/ 0 h 257442"/>
                <a:gd name="connsiteX1" fmla="*/ 1981122 w 2035843"/>
                <a:gd name="connsiteY1" fmla="*/ 257442 h 257442"/>
                <a:gd name="connsiteX2" fmla="*/ 0 w 2035843"/>
                <a:gd name="connsiteY2" fmla="*/ 257442 h 257442"/>
                <a:gd name="connsiteX3" fmla="*/ 54722 w 2035843"/>
                <a:gd name="connsiteY3" fmla="*/ 0 h 257442"/>
                <a:gd name="connsiteX0" fmla="*/ 2035842 w 2035842"/>
                <a:gd name="connsiteY0" fmla="*/ 0 h 257442"/>
                <a:gd name="connsiteX1" fmla="*/ 1981121 w 2035842"/>
                <a:gd name="connsiteY1" fmla="*/ 257442 h 257442"/>
                <a:gd name="connsiteX2" fmla="*/ 0 w 2035842"/>
                <a:gd name="connsiteY2" fmla="*/ 257442 h 257442"/>
                <a:gd name="connsiteX3" fmla="*/ 54721 w 2035842"/>
                <a:gd name="connsiteY3" fmla="*/ 0 h 257442"/>
                <a:gd name="connsiteX0" fmla="*/ 2035842 w 2035842"/>
                <a:gd name="connsiteY0" fmla="*/ 0 h 257442"/>
                <a:gd name="connsiteX1" fmla="*/ 1981121 w 2035842"/>
                <a:gd name="connsiteY1" fmla="*/ 257442 h 257442"/>
                <a:gd name="connsiteX2" fmla="*/ 0 w 2035842"/>
                <a:gd name="connsiteY2" fmla="*/ 257442 h 257442"/>
                <a:gd name="connsiteX3" fmla="*/ 54720 w 2035842"/>
                <a:gd name="connsiteY3" fmla="*/ 0 h 257442"/>
                <a:gd name="connsiteX0" fmla="*/ 2204156 w 2204156"/>
                <a:gd name="connsiteY0" fmla="*/ 0 h 257442"/>
                <a:gd name="connsiteX1" fmla="*/ 1981121 w 2204156"/>
                <a:gd name="connsiteY1" fmla="*/ 257442 h 257442"/>
                <a:gd name="connsiteX2" fmla="*/ 0 w 2204156"/>
                <a:gd name="connsiteY2" fmla="*/ 257442 h 257442"/>
                <a:gd name="connsiteX3" fmla="*/ 54720 w 2204156"/>
                <a:gd name="connsiteY3" fmla="*/ 0 h 257442"/>
                <a:gd name="connsiteX0" fmla="*/ 2204156 w 2204156"/>
                <a:gd name="connsiteY0" fmla="*/ 0 h 257442"/>
                <a:gd name="connsiteX1" fmla="*/ 2149435 w 2204156"/>
                <a:gd name="connsiteY1" fmla="*/ 257442 h 257442"/>
                <a:gd name="connsiteX2" fmla="*/ 0 w 2204156"/>
                <a:gd name="connsiteY2" fmla="*/ 257442 h 257442"/>
                <a:gd name="connsiteX3" fmla="*/ 54720 w 2204156"/>
                <a:gd name="connsiteY3" fmla="*/ 0 h 257442"/>
                <a:gd name="connsiteX0" fmla="*/ 2204157 w 2204157"/>
                <a:gd name="connsiteY0" fmla="*/ 0 h 257442"/>
                <a:gd name="connsiteX1" fmla="*/ 2149436 w 2204157"/>
                <a:gd name="connsiteY1" fmla="*/ 257442 h 257442"/>
                <a:gd name="connsiteX2" fmla="*/ 0 w 2204157"/>
                <a:gd name="connsiteY2" fmla="*/ 257442 h 257442"/>
                <a:gd name="connsiteX3" fmla="*/ 54721 w 2204157"/>
                <a:gd name="connsiteY3" fmla="*/ 0 h 257442"/>
                <a:gd name="connsiteX0" fmla="*/ 2204157 w 2204157"/>
                <a:gd name="connsiteY0" fmla="*/ 0 h 257442"/>
                <a:gd name="connsiteX1" fmla="*/ 2149436 w 2204157"/>
                <a:gd name="connsiteY1" fmla="*/ 257442 h 257442"/>
                <a:gd name="connsiteX2" fmla="*/ 0 w 2204157"/>
                <a:gd name="connsiteY2" fmla="*/ 257442 h 257442"/>
                <a:gd name="connsiteX3" fmla="*/ 54722 w 2204157"/>
                <a:gd name="connsiteY3" fmla="*/ 0 h 257442"/>
                <a:gd name="connsiteX0" fmla="*/ 2047256 w 2149436"/>
                <a:gd name="connsiteY0" fmla="*/ 0 h 257442"/>
                <a:gd name="connsiteX1" fmla="*/ 2149436 w 2149436"/>
                <a:gd name="connsiteY1" fmla="*/ 257442 h 257442"/>
                <a:gd name="connsiteX2" fmla="*/ 0 w 2149436"/>
                <a:gd name="connsiteY2" fmla="*/ 257442 h 257442"/>
                <a:gd name="connsiteX3" fmla="*/ 54722 w 2149436"/>
                <a:gd name="connsiteY3" fmla="*/ 0 h 257442"/>
                <a:gd name="connsiteX0" fmla="*/ 2047256 w 2047256"/>
                <a:gd name="connsiteY0" fmla="*/ 0 h 257442"/>
                <a:gd name="connsiteX1" fmla="*/ 1992535 w 2047256"/>
                <a:gd name="connsiteY1" fmla="*/ 257442 h 257442"/>
                <a:gd name="connsiteX2" fmla="*/ 0 w 2047256"/>
                <a:gd name="connsiteY2" fmla="*/ 257442 h 257442"/>
                <a:gd name="connsiteX3" fmla="*/ 54722 w 2047256"/>
                <a:gd name="connsiteY3" fmla="*/ 0 h 257442"/>
                <a:gd name="connsiteX0" fmla="*/ 2047255 w 2047255"/>
                <a:gd name="connsiteY0" fmla="*/ 0 h 257442"/>
                <a:gd name="connsiteX1" fmla="*/ 1992534 w 2047255"/>
                <a:gd name="connsiteY1" fmla="*/ 257442 h 257442"/>
                <a:gd name="connsiteX2" fmla="*/ 0 w 2047255"/>
                <a:gd name="connsiteY2" fmla="*/ 257442 h 257442"/>
                <a:gd name="connsiteX3" fmla="*/ 54721 w 2047255"/>
                <a:gd name="connsiteY3" fmla="*/ 0 h 257442"/>
                <a:gd name="connsiteX0" fmla="*/ 2047255 w 2047255"/>
                <a:gd name="connsiteY0" fmla="*/ 0 h 257442"/>
                <a:gd name="connsiteX1" fmla="*/ 1992534 w 2047255"/>
                <a:gd name="connsiteY1" fmla="*/ 257442 h 257442"/>
                <a:gd name="connsiteX2" fmla="*/ 0 w 2047255"/>
                <a:gd name="connsiteY2" fmla="*/ 257442 h 257442"/>
                <a:gd name="connsiteX3" fmla="*/ 54721 w 2047255"/>
                <a:gd name="connsiteY3" fmla="*/ 0 h 257442"/>
                <a:gd name="connsiteX0" fmla="*/ 1894969 w 1992534"/>
                <a:gd name="connsiteY0" fmla="*/ 0 h 257442"/>
                <a:gd name="connsiteX1" fmla="*/ 1992534 w 1992534"/>
                <a:gd name="connsiteY1" fmla="*/ 257442 h 257442"/>
                <a:gd name="connsiteX2" fmla="*/ 0 w 1992534"/>
                <a:gd name="connsiteY2" fmla="*/ 257442 h 257442"/>
                <a:gd name="connsiteX3" fmla="*/ 54721 w 1992534"/>
                <a:gd name="connsiteY3" fmla="*/ 0 h 257442"/>
                <a:gd name="connsiteX0" fmla="*/ 1894969 w 1894969"/>
                <a:gd name="connsiteY0" fmla="*/ 0 h 257442"/>
                <a:gd name="connsiteX1" fmla="*/ 1840248 w 1894969"/>
                <a:gd name="connsiteY1" fmla="*/ 257442 h 257442"/>
                <a:gd name="connsiteX2" fmla="*/ 0 w 1894969"/>
                <a:gd name="connsiteY2" fmla="*/ 257442 h 257442"/>
                <a:gd name="connsiteX3" fmla="*/ 54721 w 1894969"/>
                <a:gd name="connsiteY3" fmla="*/ 0 h 257442"/>
                <a:gd name="connsiteX0" fmla="*/ 1894968 w 1894968"/>
                <a:gd name="connsiteY0" fmla="*/ 0 h 257442"/>
                <a:gd name="connsiteX1" fmla="*/ 1840247 w 1894968"/>
                <a:gd name="connsiteY1" fmla="*/ 257442 h 257442"/>
                <a:gd name="connsiteX2" fmla="*/ 0 w 1894968"/>
                <a:gd name="connsiteY2" fmla="*/ 257442 h 257442"/>
                <a:gd name="connsiteX3" fmla="*/ 54720 w 1894968"/>
                <a:gd name="connsiteY3" fmla="*/ 0 h 257442"/>
                <a:gd name="connsiteX0" fmla="*/ 1894968 w 1894968"/>
                <a:gd name="connsiteY0" fmla="*/ 0 h 257442"/>
                <a:gd name="connsiteX1" fmla="*/ 1840247 w 1894968"/>
                <a:gd name="connsiteY1" fmla="*/ 257442 h 257442"/>
                <a:gd name="connsiteX2" fmla="*/ 0 w 1894968"/>
                <a:gd name="connsiteY2" fmla="*/ 257442 h 257442"/>
                <a:gd name="connsiteX3" fmla="*/ 54720 w 1894968"/>
                <a:gd name="connsiteY3" fmla="*/ 0 h 257442"/>
                <a:gd name="connsiteX0" fmla="*/ 2063284 w 2063284"/>
                <a:gd name="connsiteY0" fmla="*/ 0 h 257442"/>
                <a:gd name="connsiteX1" fmla="*/ 1840247 w 2063284"/>
                <a:gd name="connsiteY1" fmla="*/ 257442 h 257442"/>
                <a:gd name="connsiteX2" fmla="*/ 0 w 2063284"/>
                <a:gd name="connsiteY2" fmla="*/ 257442 h 257442"/>
                <a:gd name="connsiteX3" fmla="*/ 54720 w 2063284"/>
                <a:gd name="connsiteY3" fmla="*/ 0 h 257442"/>
                <a:gd name="connsiteX0" fmla="*/ 2063284 w 2063284"/>
                <a:gd name="connsiteY0" fmla="*/ 0 h 257442"/>
                <a:gd name="connsiteX1" fmla="*/ 2008563 w 2063284"/>
                <a:gd name="connsiteY1" fmla="*/ 257442 h 257442"/>
                <a:gd name="connsiteX2" fmla="*/ 0 w 2063284"/>
                <a:gd name="connsiteY2" fmla="*/ 257442 h 257442"/>
                <a:gd name="connsiteX3" fmla="*/ 54720 w 2063284"/>
                <a:gd name="connsiteY3" fmla="*/ 0 h 257442"/>
                <a:gd name="connsiteX0" fmla="*/ 2063285 w 2063285"/>
                <a:gd name="connsiteY0" fmla="*/ 0 h 257442"/>
                <a:gd name="connsiteX1" fmla="*/ 2008564 w 2063285"/>
                <a:gd name="connsiteY1" fmla="*/ 257442 h 257442"/>
                <a:gd name="connsiteX2" fmla="*/ 0 w 2063285"/>
                <a:gd name="connsiteY2" fmla="*/ 257442 h 257442"/>
                <a:gd name="connsiteX3" fmla="*/ 54721 w 2063285"/>
                <a:gd name="connsiteY3" fmla="*/ 0 h 257442"/>
                <a:gd name="connsiteX0" fmla="*/ 2063285 w 2063285"/>
                <a:gd name="connsiteY0" fmla="*/ 0 h 257442"/>
                <a:gd name="connsiteX1" fmla="*/ 2008564 w 2063285"/>
                <a:gd name="connsiteY1" fmla="*/ 257442 h 257442"/>
                <a:gd name="connsiteX2" fmla="*/ 0 w 2063285"/>
                <a:gd name="connsiteY2" fmla="*/ 257442 h 257442"/>
                <a:gd name="connsiteX3" fmla="*/ 54722 w 2063285"/>
                <a:gd name="connsiteY3" fmla="*/ 0 h 257442"/>
                <a:gd name="connsiteX0" fmla="*/ 2305147 w 2305147"/>
                <a:gd name="connsiteY0" fmla="*/ 0 h 257442"/>
                <a:gd name="connsiteX1" fmla="*/ 2008564 w 2305147"/>
                <a:gd name="connsiteY1" fmla="*/ 257442 h 257442"/>
                <a:gd name="connsiteX2" fmla="*/ 0 w 2305147"/>
                <a:gd name="connsiteY2" fmla="*/ 257442 h 257442"/>
                <a:gd name="connsiteX3" fmla="*/ 54722 w 2305147"/>
                <a:gd name="connsiteY3" fmla="*/ 0 h 257442"/>
                <a:gd name="connsiteX0" fmla="*/ 2305147 w 2305147"/>
                <a:gd name="connsiteY0" fmla="*/ 0 h 257442"/>
                <a:gd name="connsiteX1" fmla="*/ 2250426 w 2305147"/>
                <a:gd name="connsiteY1" fmla="*/ 257442 h 257442"/>
                <a:gd name="connsiteX2" fmla="*/ 0 w 2305147"/>
                <a:gd name="connsiteY2" fmla="*/ 257442 h 257442"/>
                <a:gd name="connsiteX3" fmla="*/ 54722 w 2305147"/>
                <a:gd name="connsiteY3" fmla="*/ 0 h 257442"/>
                <a:gd name="connsiteX0" fmla="*/ 2305146 w 2305146"/>
                <a:gd name="connsiteY0" fmla="*/ 0 h 257442"/>
                <a:gd name="connsiteX1" fmla="*/ 2250425 w 2305146"/>
                <a:gd name="connsiteY1" fmla="*/ 257442 h 257442"/>
                <a:gd name="connsiteX2" fmla="*/ 0 w 2305146"/>
                <a:gd name="connsiteY2" fmla="*/ 257442 h 257442"/>
                <a:gd name="connsiteX3" fmla="*/ 54721 w 2305146"/>
                <a:gd name="connsiteY3" fmla="*/ 0 h 257442"/>
                <a:gd name="connsiteX0" fmla="*/ 2305146 w 2305146"/>
                <a:gd name="connsiteY0" fmla="*/ 0 h 257442"/>
                <a:gd name="connsiteX1" fmla="*/ 2250425 w 2305146"/>
                <a:gd name="connsiteY1" fmla="*/ 257442 h 257442"/>
                <a:gd name="connsiteX2" fmla="*/ 0 w 2305146"/>
                <a:gd name="connsiteY2" fmla="*/ 257442 h 257442"/>
                <a:gd name="connsiteX3" fmla="*/ 54720 w 2305146"/>
                <a:gd name="connsiteY3" fmla="*/ 0 h 257442"/>
                <a:gd name="connsiteX0" fmla="*/ 2204156 w 2250425"/>
                <a:gd name="connsiteY0" fmla="*/ 0 h 257442"/>
                <a:gd name="connsiteX1" fmla="*/ 2250425 w 2250425"/>
                <a:gd name="connsiteY1" fmla="*/ 257442 h 257442"/>
                <a:gd name="connsiteX2" fmla="*/ 0 w 2250425"/>
                <a:gd name="connsiteY2" fmla="*/ 257442 h 257442"/>
                <a:gd name="connsiteX3" fmla="*/ 54720 w 2250425"/>
                <a:gd name="connsiteY3" fmla="*/ 0 h 257442"/>
                <a:gd name="connsiteX0" fmla="*/ 2204156 w 2204156"/>
                <a:gd name="connsiteY0" fmla="*/ 0 h 257442"/>
                <a:gd name="connsiteX1" fmla="*/ 2149436 w 2204156"/>
                <a:gd name="connsiteY1" fmla="*/ 257442 h 257442"/>
                <a:gd name="connsiteX2" fmla="*/ 0 w 2204156"/>
                <a:gd name="connsiteY2" fmla="*/ 257442 h 257442"/>
                <a:gd name="connsiteX3" fmla="*/ 54720 w 2204156"/>
                <a:gd name="connsiteY3" fmla="*/ 0 h 257442"/>
                <a:gd name="connsiteX0" fmla="*/ 2204156 w 2204156"/>
                <a:gd name="connsiteY0" fmla="*/ 0 h 257442"/>
                <a:gd name="connsiteX1" fmla="*/ 2149436 w 2204156"/>
                <a:gd name="connsiteY1" fmla="*/ 257442 h 257442"/>
                <a:gd name="connsiteX2" fmla="*/ 0 w 2204156"/>
                <a:gd name="connsiteY2" fmla="*/ 257442 h 257442"/>
                <a:gd name="connsiteX3" fmla="*/ 54720 w 2204156"/>
                <a:gd name="connsiteY3" fmla="*/ 0 h 257442"/>
                <a:gd name="connsiteX0" fmla="*/ 2204156 w 2204156"/>
                <a:gd name="connsiteY0" fmla="*/ 0 h 257442"/>
                <a:gd name="connsiteX1" fmla="*/ 2149436 w 2204156"/>
                <a:gd name="connsiteY1" fmla="*/ 257442 h 257442"/>
                <a:gd name="connsiteX2" fmla="*/ 0 w 2204156"/>
                <a:gd name="connsiteY2" fmla="*/ 257442 h 257442"/>
                <a:gd name="connsiteX3" fmla="*/ 54721 w 2204156"/>
                <a:gd name="connsiteY3" fmla="*/ 0 h 257442"/>
                <a:gd name="connsiteX0" fmla="*/ 942786 w 2149436"/>
                <a:gd name="connsiteY0" fmla="*/ 0 h 257442"/>
                <a:gd name="connsiteX1" fmla="*/ 2149436 w 2149436"/>
                <a:gd name="connsiteY1" fmla="*/ 257442 h 257442"/>
                <a:gd name="connsiteX2" fmla="*/ 0 w 2149436"/>
                <a:gd name="connsiteY2" fmla="*/ 257442 h 257442"/>
                <a:gd name="connsiteX3" fmla="*/ 54721 w 2149436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0 w 942786"/>
                <a:gd name="connsiteY2" fmla="*/ 257442 h 257442"/>
                <a:gd name="connsiteX3" fmla="*/ 54721 w 942786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0 w 942786"/>
                <a:gd name="connsiteY2" fmla="*/ 257442 h 257442"/>
                <a:gd name="connsiteX3" fmla="*/ 54721 w 942786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0 w 942786"/>
                <a:gd name="connsiteY2" fmla="*/ 257442 h 257442"/>
                <a:gd name="connsiteX3" fmla="*/ 54721 w 942786"/>
                <a:gd name="connsiteY3" fmla="*/ 0 h 257442"/>
                <a:gd name="connsiteX0" fmla="*/ 1103086 w 1103086"/>
                <a:gd name="connsiteY0" fmla="*/ 0 h 257442"/>
                <a:gd name="connsiteX1" fmla="*/ 888065 w 1103086"/>
                <a:gd name="connsiteY1" fmla="*/ 257442 h 257442"/>
                <a:gd name="connsiteX2" fmla="*/ 0 w 1103086"/>
                <a:gd name="connsiteY2" fmla="*/ 257442 h 257442"/>
                <a:gd name="connsiteX3" fmla="*/ 54721 w 1103086"/>
                <a:gd name="connsiteY3" fmla="*/ 0 h 257442"/>
                <a:gd name="connsiteX0" fmla="*/ 1103086 w 1103086"/>
                <a:gd name="connsiteY0" fmla="*/ 0 h 257442"/>
                <a:gd name="connsiteX1" fmla="*/ 1048365 w 1103086"/>
                <a:gd name="connsiteY1" fmla="*/ 257442 h 257442"/>
                <a:gd name="connsiteX2" fmla="*/ 0 w 1103086"/>
                <a:gd name="connsiteY2" fmla="*/ 257442 h 257442"/>
                <a:gd name="connsiteX3" fmla="*/ 54721 w 1103086"/>
                <a:gd name="connsiteY3" fmla="*/ 0 h 257442"/>
                <a:gd name="connsiteX0" fmla="*/ 1103086 w 1103086"/>
                <a:gd name="connsiteY0" fmla="*/ 0 h 257442"/>
                <a:gd name="connsiteX1" fmla="*/ 1048365 w 1103086"/>
                <a:gd name="connsiteY1" fmla="*/ 257442 h 257442"/>
                <a:gd name="connsiteX2" fmla="*/ 0 w 1103086"/>
                <a:gd name="connsiteY2" fmla="*/ 257442 h 257442"/>
                <a:gd name="connsiteX3" fmla="*/ 54721 w 1103086"/>
                <a:gd name="connsiteY3" fmla="*/ 0 h 257442"/>
                <a:gd name="connsiteX0" fmla="*/ 1103086 w 1103086"/>
                <a:gd name="connsiteY0" fmla="*/ 0 h 257442"/>
                <a:gd name="connsiteX1" fmla="*/ 1048365 w 1103086"/>
                <a:gd name="connsiteY1" fmla="*/ 257442 h 257442"/>
                <a:gd name="connsiteX2" fmla="*/ 0 w 1103086"/>
                <a:gd name="connsiteY2" fmla="*/ 257442 h 257442"/>
                <a:gd name="connsiteX3" fmla="*/ 54721 w 1103086"/>
                <a:gd name="connsiteY3" fmla="*/ 0 h 257442"/>
                <a:gd name="connsiteX0" fmla="*/ 1271402 w 1271402"/>
                <a:gd name="connsiteY0" fmla="*/ 0 h 257442"/>
                <a:gd name="connsiteX1" fmla="*/ 1048365 w 1271402"/>
                <a:gd name="connsiteY1" fmla="*/ 257442 h 257442"/>
                <a:gd name="connsiteX2" fmla="*/ 0 w 1271402"/>
                <a:gd name="connsiteY2" fmla="*/ 257442 h 257442"/>
                <a:gd name="connsiteX3" fmla="*/ 54721 w 1271402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54721 w 1271402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54721 w 1271402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54721 w 1271402"/>
                <a:gd name="connsiteY3" fmla="*/ 0 h 257442"/>
                <a:gd name="connsiteX0" fmla="*/ 1550324 w 1550324"/>
                <a:gd name="connsiteY0" fmla="*/ 0 h 257442"/>
                <a:gd name="connsiteX1" fmla="*/ 1216681 w 1550324"/>
                <a:gd name="connsiteY1" fmla="*/ 257442 h 257442"/>
                <a:gd name="connsiteX2" fmla="*/ 0 w 1550324"/>
                <a:gd name="connsiteY2" fmla="*/ 257442 h 257442"/>
                <a:gd name="connsiteX3" fmla="*/ 54721 w 1550324"/>
                <a:gd name="connsiteY3" fmla="*/ 0 h 257442"/>
                <a:gd name="connsiteX0" fmla="*/ 1550324 w 1550324"/>
                <a:gd name="connsiteY0" fmla="*/ 0 h 257442"/>
                <a:gd name="connsiteX1" fmla="*/ 1495603 w 1550324"/>
                <a:gd name="connsiteY1" fmla="*/ 257442 h 257442"/>
                <a:gd name="connsiteX2" fmla="*/ 0 w 1550324"/>
                <a:gd name="connsiteY2" fmla="*/ 257442 h 257442"/>
                <a:gd name="connsiteX3" fmla="*/ 54721 w 1550324"/>
                <a:gd name="connsiteY3" fmla="*/ 0 h 257442"/>
                <a:gd name="connsiteX0" fmla="*/ 1550324 w 1550324"/>
                <a:gd name="connsiteY0" fmla="*/ 0 h 257442"/>
                <a:gd name="connsiteX1" fmla="*/ 1495603 w 1550324"/>
                <a:gd name="connsiteY1" fmla="*/ 257442 h 257442"/>
                <a:gd name="connsiteX2" fmla="*/ 0 w 1550324"/>
                <a:gd name="connsiteY2" fmla="*/ 257442 h 257442"/>
                <a:gd name="connsiteX3" fmla="*/ 54721 w 1550324"/>
                <a:gd name="connsiteY3" fmla="*/ 0 h 257442"/>
                <a:gd name="connsiteX0" fmla="*/ 1550324 w 1550324"/>
                <a:gd name="connsiteY0" fmla="*/ 0 h 257442"/>
                <a:gd name="connsiteX1" fmla="*/ 1495603 w 1550324"/>
                <a:gd name="connsiteY1" fmla="*/ 257442 h 257442"/>
                <a:gd name="connsiteX2" fmla="*/ 0 w 1550324"/>
                <a:gd name="connsiteY2" fmla="*/ 257442 h 257442"/>
                <a:gd name="connsiteX3" fmla="*/ 54721 w 1550324"/>
                <a:gd name="connsiteY3" fmla="*/ 0 h 257442"/>
                <a:gd name="connsiteX0" fmla="*/ 1718639 w 1718639"/>
                <a:gd name="connsiteY0" fmla="*/ 0 h 257442"/>
                <a:gd name="connsiteX1" fmla="*/ 1495603 w 1718639"/>
                <a:gd name="connsiteY1" fmla="*/ 257442 h 257442"/>
                <a:gd name="connsiteX2" fmla="*/ 0 w 1718639"/>
                <a:gd name="connsiteY2" fmla="*/ 257442 h 257442"/>
                <a:gd name="connsiteX3" fmla="*/ 54721 w 1718639"/>
                <a:gd name="connsiteY3" fmla="*/ 0 h 257442"/>
                <a:gd name="connsiteX0" fmla="*/ 1718639 w 1718639"/>
                <a:gd name="connsiteY0" fmla="*/ 0 h 257442"/>
                <a:gd name="connsiteX1" fmla="*/ 1663918 w 1718639"/>
                <a:gd name="connsiteY1" fmla="*/ 257442 h 257442"/>
                <a:gd name="connsiteX2" fmla="*/ 0 w 1718639"/>
                <a:gd name="connsiteY2" fmla="*/ 257442 h 257442"/>
                <a:gd name="connsiteX3" fmla="*/ 54721 w 1718639"/>
                <a:gd name="connsiteY3" fmla="*/ 0 h 257442"/>
                <a:gd name="connsiteX0" fmla="*/ 1718639 w 1718639"/>
                <a:gd name="connsiteY0" fmla="*/ 0 h 257442"/>
                <a:gd name="connsiteX1" fmla="*/ 1663918 w 1718639"/>
                <a:gd name="connsiteY1" fmla="*/ 257442 h 257442"/>
                <a:gd name="connsiteX2" fmla="*/ 0 w 1718639"/>
                <a:gd name="connsiteY2" fmla="*/ 257442 h 257442"/>
                <a:gd name="connsiteX3" fmla="*/ 54721 w 1718639"/>
                <a:gd name="connsiteY3" fmla="*/ 0 h 257442"/>
                <a:gd name="connsiteX0" fmla="*/ 1718639 w 1718639"/>
                <a:gd name="connsiteY0" fmla="*/ 0 h 257442"/>
                <a:gd name="connsiteX1" fmla="*/ 1663918 w 1718639"/>
                <a:gd name="connsiteY1" fmla="*/ 257442 h 257442"/>
                <a:gd name="connsiteX2" fmla="*/ 0 w 1718639"/>
                <a:gd name="connsiteY2" fmla="*/ 257442 h 257442"/>
                <a:gd name="connsiteX3" fmla="*/ 54721 w 1718639"/>
                <a:gd name="connsiteY3" fmla="*/ 0 h 257442"/>
                <a:gd name="connsiteX0" fmla="*/ 1971914 w 1971914"/>
                <a:gd name="connsiteY0" fmla="*/ 0 h 257442"/>
                <a:gd name="connsiteX1" fmla="*/ 1663918 w 1971914"/>
                <a:gd name="connsiteY1" fmla="*/ 257442 h 257442"/>
                <a:gd name="connsiteX2" fmla="*/ 0 w 1971914"/>
                <a:gd name="connsiteY2" fmla="*/ 257442 h 257442"/>
                <a:gd name="connsiteX3" fmla="*/ 54721 w 1971914"/>
                <a:gd name="connsiteY3" fmla="*/ 0 h 257442"/>
                <a:gd name="connsiteX0" fmla="*/ 1971914 w 1971914"/>
                <a:gd name="connsiteY0" fmla="*/ 0 h 257442"/>
                <a:gd name="connsiteX1" fmla="*/ 1917192 w 1971914"/>
                <a:gd name="connsiteY1" fmla="*/ 257442 h 257442"/>
                <a:gd name="connsiteX2" fmla="*/ 0 w 1971914"/>
                <a:gd name="connsiteY2" fmla="*/ 257442 h 257442"/>
                <a:gd name="connsiteX3" fmla="*/ 54721 w 1971914"/>
                <a:gd name="connsiteY3" fmla="*/ 0 h 257442"/>
                <a:gd name="connsiteX0" fmla="*/ 1971915 w 1971915"/>
                <a:gd name="connsiteY0" fmla="*/ 0 h 257442"/>
                <a:gd name="connsiteX1" fmla="*/ 1917193 w 1971915"/>
                <a:gd name="connsiteY1" fmla="*/ 257442 h 257442"/>
                <a:gd name="connsiteX2" fmla="*/ 0 w 1971915"/>
                <a:gd name="connsiteY2" fmla="*/ 257442 h 257442"/>
                <a:gd name="connsiteX3" fmla="*/ 54722 w 1971915"/>
                <a:gd name="connsiteY3" fmla="*/ 0 h 257442"/>
                <a:gd name="connsiteX0" fmla="*/ 1971915 w 1971915"/>
                <a:gd name="connsiteY0" fmla="*/ 0 h 257442"/>
                <a:gd name="connsiteX1" fmla="*/ 1917193 w 1971915"/>
                <a:gd name="connsiteY1" fmla="*/ 257442 h 257442"/>
                <a:gd name="connsiteX2" fmla="*/ 0 w 1971915"/>
                <a:gd name="connsiteY2" fmla="*/ 257442 h 257442"/>
                <a:gd name="connsiteX3" fmla="*/ 54722 w 1971915"/>
                <a:gd name="connsiteY3" fmla="*/ 0 h 257442"/>
                <a:gd name="connsiteX0" fmla="*/ 2132215 w 2132215"/>
                <a:gd name="connsiteY0" fmla="*/ 0 h 257442"/>
                <a:gd name="connsiteX1" fmla="*/ 1917193 w 2132215"/>
                <a:gd name="connsiteY1" fmla="*/ 257442 h 257442"/>
                <a:gd name="connsiteX2" fmla="*/ 0 w 2132215"/>
                <a:gd name="connsiteY2" fmla="*/ 257442 h 257442"/>
                <a:gd name="connsiteX3" fmla="*/ 54722 w 2132215"/>
                <a:gd name="connsiteY3" fmla="*/ 0 h 257442"/>
                <a:gd name="connsiteX0" fmla="*/ 2132215 w 2132215"/>
                <a:gd name="connsiteY0" fmla="*/ 0 h 257442"/>
                <a:gd name="connsiteX1" fmla="*/ 2077494 w 2132215"/>
                <a:gd name="connsiteY1" fmla="*/ 257442 h 257442"/>
                <a:gd name="connsiteX2" fmla="*/ 0 w 2132215"/>
                <a:gd name="connsiteY2" fmla="*/ 257442 h 257442"/>
                <a:gd name="connsiteX3" fmla="*/ 54722 w 2132215"/>
                <a:gd name="connsiteY3" fmla="*/ 0 h 257442"/>
                <a:gd name="connsiteX0" fmla="*/ 2132214 w 2132214"/>
                <a:gd name="connsiteY0" fmla="*/ 0 h 257442"/>
                <a:gd name="connsiteX1" fmla="*/ 2077493 w 2132214"/>
                <a:gd name="connsiteY1" fmla="*/ 257442 h 257442"/>
                <a:gd name="connsiteX2" fmla="*/ 0 w 2132214"/>
                <a:gd name="connsiteY2" fmla="*/ 257442 h 257442"/>
                <a:gd name="connsiteX3" fmla="*/ 54721 w 2132214"/>
                <a:gd name="connsiteY3" fmla="*/ 0 h 257442"/>
                <a:gd name="connsiteX0" fmla="*/ 2132214 w 2132214"/>
                <a:gd name="connsiteY0" fmla="*/ 0 h 257442"/>
                <a:gd name="connsiteX1" fmla="*/ 2077493 w 2132214"/>
                <a:gd name="connsiteY1" fmla="*/ 257442 h 257442"/>
                <a:gd name="connsiteX2" fmla="*/ 0 w 2132214"/>
                <a:gd name="connsiteY2" fmla="*/ 257442 h 257442"/>
                <a:gd name="connsiteX3" fmla="*/ 54720 w 2132214"/>
                <a:gd name="connsiteY3" fmla="*/ 0 h 257442"/>
                <a:gd name="connsiteX0" fmla="*/ 934770 w 2077493"/>
                <a:gd name="connsiteY0" fmla="*/ 0 h 257442"/>
                <a:gd name="connsiteX1" fmla="*/ 2077493 w 2077493"/>
                <a:gd name="connsiteY1" fmla="*/ 257442 h 257442"/>
                <a:gd name="connsiteX2" fmla="*/ 0 w 2077493"/>
                <a:gd name="connsiteY2" fmla="*/ 257442 h 257442"/>
                <a:gd name="connsiteX3" fmla="*/ 54720 w 2077493"/>
                <a:gd name="connsiteY3" fmla="*/ 0 h 257442"/>
                <a:gd name="connsiteX0" fmla="*/ 934770 w 934770"/>
                <a:gd name="connsiteY0" fmla="*/ 0 h 257442"/>
                <a:gd name="connsiteX1" fmla="*/ 880050 w 934770"/>
                <a:gd name="connsiteY1" fmla="*/ 257442 h 257442"/>
                <a:gd name="connsiteX2" fmla="*/ 0 w 934770"/>
                <a:gd name="connsiteY2" fmla="*/ 257442 h 257442"/>
                <a:gd name="connsiteX3" fmla="*/ 54720 w 934770"/>
                <a:gd name="connsiteY3" fmla="*/ 0 h 257442"/>
                <a:gd name="connsiteX0" fmla="*/ 934770 w 934770"/>
                <a:gd name="connsiteY0" fmla="*/ 0 h 257442"/>
                <a:gd name="connsiteX1" fmla="*/ 880050 w 934770"/>
                <a:gd name="connsiteY1" fmla="*/ 257442 h 257442"/>
                <a:gd name="connsiteX2" fmla="*/ 0 w 934770"/>
                <a:gd name="connsiteY2" fmla="*/ 257442 h 257442"/>
                <a:gd name="connsiteX3" fmla="*/ 54720 w 934770"/>
                <a:gd name="connsiteY3" fmla="*/ 0 h 257442"/>
                <a:gd name="connsiteX0" fmla="*/ 934770 w 934770"/>
                <a:gd name="connsiteY0" fmla="*/ 0 h 257442"/>
                <a:gd name="connsiteX1" fmla="*/ 880050 w 934770"/>
                <a:gd name="connsiteY1" fmla="*/ 257442 h 257442"/>
                <a:gd name="connsiteX2" fmla="*/ 0 w 934770"/>
                <a:gd name="connsiteY2" fmla="*/ 257442 h 257442"/>
                <a:gd name="connsiteX3" fmla="*/ 54721 w 934770"/>
                <a:gd name="connsiteY3" fmla="*/ 0 h 257442"/>
                <a:gd name="connsiteX0" fmla="*/ 1188046 w 1188046"/>
                <a:gd name="connsiteY0" fmla="*/ 0 h 257442"/>
                <a:gd name="connsiteX1" fmla="*/ 880050 w 1188046"/>
                <a:gd name="connsiteY1" fmla="*/ 257442 h 257442"/>
                <a:gd name="connsiteX2" fmla="*/ 0 w 1188046"/>
                <a:gd name="connsiteY2" fmla="*/ 257442 h 257442"/>
                <a:gd name="connsiteX3" fmla="*/ 54721 w 1188046"/>
                <a:gd name="connsiteY3" fmla="*/ 0 h 257442"/>
                <a:gd name="connsiteX0" fmla="*/ 1188046 w 1188046"/>
                <a:gd name="connsiteY0" fmla="*/ 0 h 257442"/>
                <a:gd name="connsiteX1" fmla="*/ 1133325 w 1188046"/>
                <a:gd name="connsiteY1" fmla="*/ 257442 h 257442"/>
                <a:gd name="connsiteX2" fmla="*/ 0 w 1188046"/>
                <a:gd name="connsiteY2" fmla="*/ 257442 h 257442"/>
                <a:gd name="connsiteX3" fmla="*/ 54721 w 1188046"/>
                <a:gd name="connsiteY3" fmla="*/ 0 h 257442"/>
                <a:gd name="connsiteX0" fmla="*/ 1188046 w 1188046"/>
                <a:gd name="connsiteY0" fmla="*/ 0 h 257442"/>
                <a:gd name="connsiteX1" fmla="*/ 1133325 w 1188046"/>
                <a:gd name="connsiteY1" fmla="*/ 257442 h 257442"/>
                <a:gd name="connsiteX2" fmla="*/ 0 w 1188046"/>
                <a:gd name="connsiteY2" fmla="*/ 257442 h 257442"/>
                <a:gd name="connsiteX3" fmla="*/ 54721 w 1188046"/>
                <a:gd name="connsiteY3" fmla="*/ 0 h 257442"/>
                <a:gd name="connsiteX0" fmla="*/ 1188046 w 1188046"/>
                <a:gd name="connsiteY0" fmla="*/ 0 h 257442"/>
                <a:gd name="connsiteX1" fmla="*/ 1133325 w 1188046"/>
                <a:gd name="connsiteY1" fmla="*/ 257442 h 257442"/>
                <a:gd name="connsiteX2" fmla="*/ 0 w 1188046"/>
                <a:gd name="connsiteY2" fmla="*/ 257442 h 257442"/>
                <a:gd name="connsiteX3" fmla="*/ 54721 w 1188046"/>
                <a:gd name="connsiteY3" fmla="*/ 0 h 257442"/>
                <a:gd name="connsiteX0" fmla="*/ 1348346 w 1348346"/>
                <a:gd name="connsiteY0" fmla="*/ 0 h 257442"/>
                <a:gd name="connsiteX1" fmla="*/ 1133325 w 1348346"/>
                <a:gd name="connsiteY1" fmla="*/ 257442 h 257442"/>
                <a:gd name="connsiteX2" fmla="*/ 0 w 1348346"/>
                <a:gd name="connsiteY2" fmla="*/ 257442 h 257442"/>
                <a:gd name="connsiteX3" fmla="*/ 54721 w 1348346"/>
                <a:gd name="connsiteY3" fmla="*/ 0 h 257442"/>
                <a:gd name="connsiteX0" fmla="*/ 1348346 w 1348346"/>
                <a:gd name="connsiteY0" fmla="*/ 0 h 257442"/>
                <a:gd name="connsiteX1" fmla="*/ 1293625 w 1348346"/>
                <a:gd name="connsiteY1" fmla="*/ 257442 h 257442"/>
                <a:gd name="connsiteX2" fmla="*/ 0 w 1348346"/>
                <a:gd name="connsiteY2" fmla="*/ 257442 h 257442"/>
                <a:gd name="connsiteX3" fmla="*/ 54721 w 1348346"/>
                <a:gd name="connsiteY3" fmla="*/ 0 h 257442"/>
                <a:gd name="connsiteX0" fmla="*/ 1348346 w 1348346"/>
                <a:gd name="connsiteY0" fmla="*/ 0 h 257442"/>
                <a:gd name="connsiteX1" fmla="*/ 1293625 w 1348346"/>
                <a:gd name="connsiteY1" fmla="*/ 257442 h 257442"/>
                <a:gd name="connsiteX2" fmla="*/ 0 w 1348346"/>
                <a:gd name="connsiteY2" fmla="*/ 257442 h 257442"/>
                <a:gd name="connsiteX3" fmla="*/ 54721 w 1348346"/>
                <a:gd name="connsiteY3" fmla="*/ 0 h 257442"/>
                <a:gd name="connsiteX0" fmla="*/ 1348346 w 1348346"/>
                <a:gd name="connsiteY0" fmla="*/ 0 h 257442"/>
                <a:gd name="connsiteX1" fmla="*/ 1293625 w 1348346"/>
                <a:gd name="connsiteY1" fmla="*/ 257442 h 257442"/>
                <a:gd name="connsiteX2" fmla="*/ 0 w 1348346"/>
                <a:gd name="connsiteY2" fmla="*/ 257442 h 257442"/>
                <a:gd name="connsiteX3" fmla="*/ 54721 w 1348346"/>
                <a:gd name="connsiteY3" fmla="*/ 0 h 257442"/>
                <a:gd name="connsiteX0" fmla="*/ 1188046 w 1293625"/>
                <a:gd name="connsiteY0" fmla="*/ 0 h 257442"/>
                <a:gd name="connsiteX1" fmla="*/ 1293625 w 1293625"/>
                <a:gd name="connsiteY1" fmla="*/ 257442 h 257442"/>
                <a:gd name="connsiteX2" fmla="*/ 0 w 1293625"/>
                <a:gd name="connsiteY2" fmla="*/ 257442 h 257442"/>
                <a:gd name="connsiteX3" fmla="*/ 54721 w 1293625"/>
                <a:gd name="connsiteY3" fmla="*/ 0 h 257442"/>
                <a:gd name="connsiteX0" fmla="*/ 1188046 w 1188046"/>
                <a:gd name="connsiteY0" fmla="*/ 0 h 257442"/>
                <a:gd name="connsiteX1" fmla="*/ 1133326 w 1188046"/>
                <a:gd name="connsiteY1" fmla="*/ 257442 h 257442"/>
                <a:gd name="connsiteX2" fmla="*/ 0 w 1188046"/>
                <a:gd name="connsiteY2" fmla="*/ 257442 h 257442"/>
                <a:gd name="connsiteX3" fmla="*/ 54721 w 1188046"/>
                <a:gd name="connsiteY3" fmla="*/ 0 h 257442"/>
                <a:gd name="connsiteX0" fmla="*/ 1188045 w 1188045"/>
                <a:gd name="connsiteY0" fmla="*/ 0 h 257442"/>
                <a:gd name="connsiteX1" fmla="*/ 1133325 w 1188045"/>
                <a:gd name="connsiteY1" fmla="*/ 257442 h 257442"/>
                <a:gd name="connsiteX2" fmla="*/ 0 w 1188045"/>
                <a:gd name="connsiteY2" fmla="*/ 257442 h 257442"/>
                <a:gd name="connsiteX3" fmla="*/ 54720 w 1188045"/>
                <a:gd name="connsiteY3" fmla="*/ 0 h 257442"/>
                <a:gd name="connsiteX0" fmla="*/ 1188045 w 1188045"/>
                <a:gd name="connsiteY0" fmla="*/ 0 h 257442"/>
                <a:gd name="connsiteX1" fmla="*/ 1133325 w 1188045"/>
                <a:gd name="connsiteY1" fmla="*/ 257442 h 257442"/>
                <a:gd name="connsiteX2" fmla="*/ 0 w 1188045"/>
                <a:gd name="connsiteY2" fmla="*/ 257442 h 257442"/>
                <a:gd name="connsiteX3" fmla="*/ 54721 w 1188045"/>
                <a:gd name="connsiteY3" fmla="*/ 0 h 257442"/>
                <a:gd name="connsiteX0" fmla="*/ 1500631 w 1500631"/>
                <a:gd name="connsiteY0" fmla="*/ 0 h 257442"/>
                <a:gd name="connsiteX1" fmla="*/ 1133325 w 1500631"/>
                <a:gd name="connsiteY1" fmla="*/ 257442 h 257442"/>
                <a:gd name="connsiteX2" fmla="*/ 0 w 1500631"/>
                <a:gd name="connsiteY2" fmla="*/ 257442 h 257442"/>
                <a:gd name="connsiteX3" fmla="*/ 54721 w 1500631"/>
                <a:gd name="connsiteY3" fmla="*/ 0 h 257442"/>
                <a:gd name="connsiteX0" fmla="*/ 1500631 w 1500631"/>
                <a:gd name="connsiteY0" fmla="*/ 0 h 257442"/>
                <a:gd name="connsiteX1" fmla="*/ 1445910 w 1500631"/>
                <a:gd name="connsiteY1" fmla="*/ 257442 h 257442"/>
                <a:gd name="connsiteX2" fmla="*/ 0 w 1500631"/>
                <a:gd name="connsiteY2" fmla="*/ 257442 h 257442"/>
                <a:gd name="connsiteX3" fmla="*/ 54721 w 1500631"/>
                <a:gd name="connsiteY3" fmla="*/ 0 h 257442"/>
                <a:gd name="connsiteX0" fmla="*/ 1500631 w 1500631"/>
                <a:gd name="connsiteY0" fmla="*/ 0 h 257442"/>
                <a:gd name="connsiteX1" fmla="*/ 1445910 w 1500631"/>
                <a:gd name="connsiteY1" fmla="*/ 257442 h 257442"/>
                <a:gd name="connsiteX2" fmla="*/ 0 w 1500631"/>
                <a:gd name="connsiteY2" fmla="*/ 257442 h 257442"/>
                <a:gd name="connsiteX3" fmla="*/ 54721 w 1500631"/>
                <a:gd name="connsiteY3" fmla="*/ 0 h 257442"/>
                <a:gd name="connsiteX0" fmla="*/ 1500631 w 1500631"/>
                <a:gd name="connsiteY0" fmla="*/ 0 h 257442"/>
                <a:gd name="connsiteX1" fmla="*/ 1445910 w 1500631"/>
                <a:gd name="connsiteY1" fmla="*/ 257442 h 257442"/>
                <a:gd name="connsiteX2" fmla="*/ 0 w 1500631"/>
                <a:gd name="connsiteY2" fmla="*/ 257442 h 257442"/>
                <a:gd name="connsiteX3" fmla="*/ 54721 w 1500631"/>
                <a:gd name="connsiteY3" fmla="*/ 0 h 257442"/>
                <a:gd name="connsiteX0" fmla="*/ 1660931 w 1660931"/>
                <a:gd name="connsiteY0" fmla="*/ 0 h 257442"/>
                <a:gd name="connsiteX1" fmla="*/ 1445910 w 1660931"/>
                <a:gd name="connsiteY1" fmla="*/ 257442 h 257442"/>
                <a:gd name="connsiteX2" fmla="*/ 0 w 1660931"/>
                <a:gd name="connsiteY2" fmla="*/ 257442 h 257442"/>
                <a:gd name="connsiteX3" fmla="*/ 54721 w 1660931"/>
                <a:gd name="connsiteY3" fmla="*/ 0 h 257442"/>
                <a:gd name="connsiteX0" fmla="*/ 1660931 w 1660931"/>
                <a:gd name="connsiteY0" fmla="*/ 0 h 257442"/>
                <a:gd name="connsiteX1" fmla="*/ 1606210 w 1660931"/>
                <a:gd name="connsiteY1" fmla="*/ 257442 h 257442"/>
                <a:gd name="connsiteX2" fmla="*/ 0 w 1660931"/>
                <a:gd name="connsiteY2" fmla="*/ 257442 h 257442"/>
                <a:gd name="connsiteX3" fmla="*/ 54721 w 1660931"/>
                <a:gd name="connsiteY3" fmla="*/ 0 h 257442"/>
                <a:gd name="connsiteX0" fmla="*/ 1660931 w 1660931"/>
                <a:gd name="connsiteY0" fmla="*/ 0 h 257442"/>
                <a:gd name="connsiteX1" fmla="*/ 1606210 w 1660931"/>
                <a:gd name="connsiteY1" fmla="*/ 257442 h 257442"/>
                <a:gd name="connsiteX2" fmla="*/ 0 w 1660931"/>
                <a:gd name="connsiteY2" fmla="*/ 257442 h 257442"/>
                <a:gd name="connsiteX3" fmla="*/ 54721 w 1660931"/>
                <a:gd name="connsiteY3" fmla="*/ 0 h 257442"/>
                <a:gd name="connsiteX0" fmla="*/ 1660931 w 1660931"/>
                <a:gd name="connsiteY0" fmla="*/ 0 h 257442"/>
                <a:gd name="connsiteX1" fmla="*/ 1606210 w 1660931"/>
                <a:gd name="connsiteY1" fmla="*/ 257442 h 257442"/>
                <a:gd name="connsiteX2" fmla="*/ 0 w 1660931"/>
                <a:gd name="connsiteY2" fmla="*/ 257442 h 257442"/>
                <a:gd name="connsiteX3" fmla="*/ 54721 w 1660931"/>
                <a:gd name="connsiteY3" fmla="*/ 0 h 257442"/>
                <a:gd name="connsiteX0" fmla="*/ 934771 w 1606210"/>
                <a:gd name="connsiteY0" fmla="*/ 0 h 257442"/>
                <a:gd name="connsiteX1" fmla="*/ 1606210 w 1606210"/>
                <a:gd name="connsiteY1" fmla="*/ 257442 h 257442"/>
                <a:gd name="connsiteX2" fmla="*/ 0 w 1606210"/>
                <a:gd name="connsiteY2" fmla="*/ 257442 h 257442"/>
                <a:gd name="connsiteX3" fmla="*/ 54721 w 1606210"/>
                <a:gd name="connsiteY3" fmla="*/ 0 h 257442"/>
                <a:gd name="connsiteX0" fmla="*/ 934771 w 934771"/>
                <a:gd name="connsiteY0" fmla="*/ 0 h 257442"/>
                <a:gd name="connsiteX1" fmla="*/ 880050 w 934771"/>
                <a:gd name="connsiteY1" fmla="*/ 257442 h 257442"/>
                <a:gd name="connsiteX2" fmla="*/ 0 w 934771"/>
                <a:gd name="connsiteY2" fmla="*/ 257442 h 257442"/>
                <a:gd name="connsiteX3" fmla="*/ 54721 w 934771"/>
                <a:gd name="connsiteY3" fmla="*/ 0 h 257442"/>
                <a:gd name="connsiteX0" fmla="*/ 934770 w 934770"/>
                <a:gd name="connsiteY0" fmla="*/ 0 h 257442"/>
                <a:gd name="connsiteX1" fmla="*/ 880049 w 934770"/>
                <a:gd name="connsiteY1" fmla="*/ 257442 h 257442"/>
                <a:gd name="connsiteX2" fmla="*/ 0 w 934770"/>
                <a:gd name="connsiteY2" fmla="*/ 257442 h 257442"/>
                <a:gd name="connsiteX3" fmla="*/ 54720 w 934770"/>
                <a:gd name="connsiteY3" fmla="*/ 0 h 257442"/>
                <a:gd name="connsiteX0" fmla="*/ 934770 w 934770"/>
                <a:gd name="connsiteY0" fmla="*/ 0 h 257442"/>
                <a:gd name="connsiteX1" fmla="*/ 880049 w 934770"/>
                <a:gd name="connsiteY1" fmla="*/ 257442 h 257442"/>
                <a:gd name="connsiteX2" fmla="*/ 0 w 934770"/>
                <a:gd name="connsiteY2" fmla="*/ 257442 h 257442"/>
                <a:gd name="connsiteX3" fmla="*/ 54720 w 934770"/>
                <a:gd name="connsiteY3" fmla="*/ 0 h 257442"/>
                <a:gd name="connsiteX0" fmla="*/ 1103085 w 1103085"/>
                <a:gd name="connsiteY0" fmla="*/ 0 h 257442"/>
                <a:gd name="connsiteX1" fmla="*/ 880049 w 1103085"/>
                <a:gd name="connsiteY1" fmla="*/ 257442 h 257442"/>
                <a:gd name="connsiteX2" fmla="*/ 0 w 1103085"/>
                <a:gd name="connsiteY2" fmla="*/ 257442 h 257442"/>
                <a:gd name="connsiteX3" fmla="*/ 54720 w 1103085"/>
                <a:gd name="connsiteY3" fmla="*/ 0 h 257442"/>
                <a:gd name="connsiteX0" fmla="*/ 1103085 w 1103085"/>
                <a:gd name="connsiteY0" fmla="*/ 0 h 257442"/>
                <a:gd name="connsiteX1" fmla="*/ 1048364 w 1103085"/>
                <a:gd name="connsiteY1" fmla="*/ 257442 h 257442"/>
                <a:gd name="connsiteX2" fmla="*/ 0 w 1103085"/>
                <a:gd name="connsiteY2" fmla="*/ 257442 h 257442"/>
                <a:gd name="connsiteX3" fmla="*/ 54720 w 1103085"/>
                <a:gd name="connsiteY3" fmla="*/ 0 h 257442"/>
                <a:gd name="connsiteX0" fmla="*/ 1103086 w 1103086"/>
                <a:gd name="connsiteY0" fmla="*/ 0 h 257442"/>
                <a:gd name="connsiteX1" fmla="*/ 1048365 w 1103086"/>
                <a:gd name="connsiteY1" fmla="*/ 257442 h 257442"/>
                <a:gd name="connsiteX2" fmla="*/ 0 w 1103086"/>
                <a:gd name="connsiteY2" fmla="*/ 257442 h 257442"/>
                <a:gd name="connsiteX3" fmla="*/ 54721 w 1103086"/>
                <a:gd name="connsiteY3" fmla="*/ 0 h 257442"/>
                <a:gd name="connsiteX0" fmla="*/ 1103086 w 1103086"/>
                <a:gd name="connsiteY0" fmla="*/ 0 h 257442"/>
                <a:gd name="connsiteX1" fmla="*/ 1048365 w 1103086"/>
                <a:gd name="connsiteY1" fmla="*/ 257442 h 257442"/>
                <a:gd name="connsiteX2" fmla="*/ 0 w 1103086"/>
                <a:gd name="connsiteY2" fmla="*/ 257442 h 257442"/>
                <a:gd name="connsiteX3" fmla="*/ 54721 w 1103086"/>
                <a:gd name="connsiteY3" fmla="*/ 0 h 257442"/>
                <a:gd name="connsiteX0" fmla="*/ 1271402 w 1271402"/>
                <a:gd name="connsiteY0" fmla="*/ 0 h 257442"/>
                <a:gd name="connsiteX1" fmla="*/ 1048365 w 1271402"/>
                <a:gd name="connsiteY1" fmla="*/ 257442 h 257442"/>
                <a:gd name="connsiteX2" fmla="*/ 0 w 1271402"/>
                <a:gd name="connsiteY2" fmla="*/ 257442 h 257442"/>
                <a:gd name="connsiteX3" fmla="*/ 54721 w 1271402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54721 w 1271402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54721 w 1271402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54721 w 1271402"/>
                <a:gd name="connsiteY3" fmla="*/ 0 h 257442"/>
                <a:gd name="connsiteX0" fmla="*/ 1439717 w 1439717"/>
                <a:gd name="connsiteY0" fmla="*/ 0 h 257442"/>
                <a:gd name="connsiteX1" fmla="*/ 1216681 w 1439717"/>
                <a:gd name="connsiteY1" fmla="*/ 257442 h 257442"/>
                <a:gd name="connsiteX2" fmla="*/ 0 w 1439717"/>
                <a:gd name="connsiteY2" fmla="*/ 257442 h 257442"/>
                <a:gd name="connsiteX3" fmla="*/ 54721 w 1439717"/>
                <a:gd name="connsiteY3" fmla="*/ 0 h 257442"/>
                <a:gd name="connsiteX0" fmla="*/ 1439717 w 1439717"/>
                <a:gd name="connsiteY0" fmla="*/ 0 h 257442"/>
                <a:gd name="connsiteX1" fmla="*/ 1384996 w 1439717"/>
                <a:gd name="connsiteY1" fmla="*/ 257442 h 257442"/>
                <a:gd name="connsiteX2" fmla="*/ 0 w 1439717"/>
                <a:gd name="connsiteY2" fmla="*/ 257442 h 257442"/>
                <a:gd name="connsiteX3" fmla="*/ 54721 w 1439717"/>
                <a:gd name="connsiteY3" fmla="*/ 0 h 257442"/>
                <a:gd name="connsiteX0" fmla="*/ 1439717 w 1439717"/>
                <a:gd name="connsiteY0" fmla="*/ 0 h 257442"/>
                <a:gd name="connsiteX1" fmla="*/ 1384996 w 1439717"/>
                <a:gd name="connsiteY1" fmla="*/ 257442 h 257442"/>
                <a:gd name="connsiteX2" fmla="*/ 0 w 1439717"/>
                <a:gd name="connsiteY2" fmla="*/ 257442 h 257442"/>
                <a:gd name="connsiteX3" fmla="*/ 54721 w 1439717"/>
                <a:gd name="connsiteY3" fmla="*/ 0 h 257442"/>
                <a:gd name="connsiteX0" fmla="*/ 1439717 w 1439717"/>
                <a:gd name="connsiteY0" fmla="*/ 0 h 257442"/>
                <a:gd name="connsiteX1" fmla="*/ 1384996 w 1439717"/>
                <a:gd name="connsiteY1" fmla="*/ 257442 h 257442"/>
                <a:gd name="connsiteX2" fmla="*/ 0 w 1439717"/>
                <a:gd name="connsiteY2" fmla="*/ 257442 h 257442"/>
                <a:gd name="connsiteX3" fmla="*/ 54721 w 1439717"/>
                <a:gd name="connsiteY3" fmla="*/ 0 h 257442"/>
                <a:gd name="connsiteX0" fmla="*/ 1692991 w 1692991"/>
                <a:gd name="connsiteY0" fmla="*/ 0 h 257442"/>
                <a:gd name="connsiteX1" fmla="*/ 1384996 w 1692991"/>
                <a:gd name="connsiteY1" fmla="*/ 257442 h 257442"/>
                <a:gd name="connsiteX2" fmla="*/ 0 w 1692991"/>
                <a:gd name="connsiteY2" fmla="*/ 257442 h 257442"/>
                <a:gd name="connsiteX3" fmla="*/ 54721 w 1692991"/>
                <a:gd name="connsiteY3" fmla="*/ 0 h 257442"/>
                <a:gd name="connsiteX0" fmla="*/ 1692991 w 1692991"/>
                <a:gd name="connsiteY0" fmla="*/ 0 h 257442"/>
                <a:gd name="connsiteX1" fmla="*/ 1638270 w 1692991"/>
                <a:gd name="connsiteY1" fmla="*/ 257442 h 257442"/>
                <a:gd name="connsiteX2" fmla="*/ 0 w 1692991"/>
                <a:gd name="connsiteY2" fmla="*/ 257442 h 257442"/>
                <a:gd name="connsiteX3" fmla="*/ 54721 w 1692991"/>
                <a:gd name="connsiteY3" fmla="*/ 0 h 257442"/>
                <a:gd name="connsiteX0" fmla="*/ 1692991 w 1692991"/>
                <a:gd name="connsiteY0" fmla="*/ 0 h 257442"/>
                <a:gd name="connsiteX1" fmla="*/ 1638270 w 1692991"/>
                <a:gd name="connsiteY1" fmla="*/ 257442 h 257442"/>
                <a:gd name="connsiteX2" fmla="*/ 0 w 1692991"/>
                <a:gd name="connsiteY2" fmla="*/ 257442 h 257442"/>
                <a:gd name="connsiteX3" fmla="*/ 54721 w 1692991"/>
                <a:gd name="connsiteY3" fmla="*/ 0 h 257442"/>
                <a:gd name="connsiteX0" fmla="*/ 1692991 w 1692991"/>
                <a:gd name="connsiteY0" fmla="*/ 0 h 257442"/>
                <a:gd name="connsiteX1" fmla="*/ 1638270 w 1692991"/>
                <a:gd name="connsiteY1" fmla="*/ 257442 h 257442"/>
                <a:gd name="connsiteX2" fmla="*/ 0 w 1692991"/>
                <a:gd name="connsiteY2" fmla="*/ 257442 h 257442"/>
                <a:gd name="connsiteX3" fmla="*/ 54721 w 1692991"/>
                <a:gd name="connsiteY3" fmla="*/ 0 h 257442"/>
                <a:gd name="connsiteX0" fmla="*/ 1870925 w 1870925"/>
                <a:gd name="connsiteY0" fmla="*/ 0 h 257442"/>
                <a:gd name="connsiteX1" fmla="*/ 1638270 w 1870925"/>
                <a:gd name="connsiteY1" fmla="*/ 257442 h 257442"/>
                <a:gd name="connsiteX2" fmla="*/ 0 w 1870925"/>
                <a:gd name="connsiteY2" fmla="*/ 257442 h 257442"/>
                <a:gd name="connsiteX3" fmla="*/ 54721 w 1870925"/>
                <a:gd name="connsiteY3" fmla="*/ 0 h 257442"/>
                <a:gd name="connsiteX0" fmla="*/ 1870925 w 1870925"/>
                <a:gd name="connsiteY0" fmla="*/ 0 h 257442"/>
                <a:gd name="connsiteX1" fmla="*/ 1816204 w 1870925"/>
                <a:gd name="connsiteY1" fmla="*/ 257442 h 257442"/>
                <a:gd name="connsiteX2" fmla="*/ 0 w 1870925"/>
                <a:gd name="connsiteY2" fmla="*/ 257442 h 257442"/>
                <a:gd name="connsiteX3" fmla="*/ 54721 w 1870925"/>
                <a:gd name="connsiteY3" fmla="*/ 0 h 257442"/>
                <a:gd name="connsiteX0" fmla="*/ 1870925 w 1870925"/>
                <a:gd name="connsiteY0" fmla="*/ 0 h 257442"/>
                <a:gd name="connsiteX1" fmla="*/ 1816204 w 1870925"/>
                <a:gd name="connsiteY1" fmla="*/ 257442 h 257442"/>
                <a:gd name="connsiteX2" fmla="*/ 0 w 1870925"/>
                <a:gd name="connsiteY2" fmla="*/ 257442 h 257442"/>
                <a:gd name="connsiteX3" fmla="*/ 54721 w 1870925"/>
                <a:gd name="connsiteY3" fmla="*/ 0 h 257442"/>
                <a:gd name="connsiteX0" fmla="*/ 1870925 w 1870925"/>
                <a:gd name="connsiteY0" fmla="*/ 0 h 257442"/>
                <a:gd name="connsiteX1" fmla="*/ 1816204 w 1870925"/>
                <a:gd name="connsiteY1" fmla="*/ 257442 h 257442"/>
                <a:gd name="connsiteX2" fmla="*/ 0 w 1870925"/>
                <a:gd name="connsiteY2" fmla="*/ 257442 h 257442"/>
                <a:gd name="connsiteX3" fmla="*/ 54721 w 1870925"/>
                <a:gd name="connsiteY3" fmla="*/ 0 h 257442"/>
                <a:gd name="connsiteX0" fmla="*/ 2039240 w 2039240"/>
                <a:gd name="connsiteY0" fmla="*/ 0 h 257442"/>
                <a:gd name="connsiteX1" fmla="*/ 1816204 w 2039240"/>
                <a:gd name="connsiteY1" fmla="*/ 257442 h 257442"/>
                <a:gd name="connsiteX2" fmla="*/ 0 w 2039240"/>
                <a:gd name="connsiteY2" fmla="*/ 257442 h 257442"/>
                <a:gd name="connsiteX3" fmla="*/ 54721 w 2039240"/>
                <a:gd name="connsiteY3" fmla="*/ 0 h 257442"/>
                <a:gd name="connsiteX0" fmla="*/ 2039240 w 2039240"/>
                <a:gd name="connsiteY0" fmla="*/ 0 h 257442"/>
                <a:gd name="connsiteX1" fmla="*/ 1984518 w 2039240"/>
                <a:gd name="connsiteY1" fmla="*/ 257442 h 257442"/>
                <a:gd name="connsiteX2" fmla="*/ 0 w 2039240"/>
                <a:gd name="connsiteY2" fmla="*/ 257442 h 257442"/>
                <a:gd name="connsiteX3" fmla="*/ 54721 w 2039240"/>
                <a:gd name="connsiteY3" fmla="*/ 0 h 257442"/>
                <a:gd name="connsiteX0" fmla="*/ 2039241 w 2039241"/>
                <a:gd name="connsiteY0" fmla="*/ 0 h 257442"/>
                <a:gd name="connsiteX1" fmla="*/ 1984519 w 2039241"/>
                <a:gd name="connsiteY1" fmla="*/ 257442 h 257442"/>
                <a:gd name="connsiteX2" fmla="*/ 0 w 2039241"/>
                <a:gd name="connsiteY2" fmla="*/ 257442 h 257442"/>
                <a:gd name="connsiteX3" fmla="*/ 54722 w 2039241"/>
                <a:gd name="connsiteY3" fmla="*/ 0 h 257442"/>
                <a:gd name="connsiteX0" fmla="*/ 2039241 w 2039241"/>
                <a:gd name="connsiteY0" fmla="*/ 0 h 257442"/>
                <a:gd name="connsiteX1" fmla="*/ 1984519 w 2039241"/>
                <a:gd name="connsiteY1" fmla="*/ 257442 h 257442"/>
                <a:gd name="connsiteX2" fmla="*/ 0 w 2039241"/>
                <a:gd name="connsiteY2" fmla="*/ 257442 h 257442"/>
                <a:gd name="connsiteX3" fmla="*/ 54722 w 2039241"/>
                <a:gd name="connsiteY3" fmla="*/ 0 h 257442"/>
                <a:gd name="connsiteX0" fmla="*/ 2300531 w 2300531"/>
                <a:gd name="connsiteY0" fmla="*/ 0 h 257442"/>
                <a:gd name="connsiteX1" fmla="*/ 1984519 w 2300531"/>
                <a:gd name="connsiteY1" fmla="*/ 257442 h 257442"/>
                <a:gd name="connsiteX2" fmla="*/ 0 w 2300531"/>
                <a:gd name="connsiteY2" fmla="*/ 257442 h 257442"/>
                <a:gd name="connsiteX3" fmla="*/ 54722 w 2300531"/>
                <a:gd name="connsiteY3" fmla="*/ 0 h 257442"/>
                <a:gd name="connsiteX0" fmla="*/ 2300531 w 2300531"/>
                <a:gd name="connsiteY0" fmla="*/ 0 h 257442"/>
                <a:gd name="connsiteX1" fmla="*/ 2245810 w 2300531"/>
                <a:gd name="connsiteY1" fmla="*/ 257442 h 257442"/>
                <a:gd name="connsiteX2" fmla="*/ 0 w 2300531"/>
                <a:gd name="connsiteY2" fmla="*/ 257442 h 257442"/>
                <a:gd name="connsiteX3" fmla="*/ 54722 w 2300531"/>
                <a:gd name="connsiteY3" fmla="*/ 0 h 257442"/>
                <a:gd name="connsiteX0" fmla="*/ 2300530 w 2300530"/>
                <a:gd name="connsiteY0" fmla="*/ 0 h 257442"/>
                <a:gd name="connsiteX1" fmla="*/ 2245809 w 2300530"/>
                <a:gd name="connsiteY1" fmla="*/ 257442 h 257442"/>
                <a:gd name="connsiteX2" fmla="*/ 0 w 2300530"/>
                <a:gd name="connsiteY2" fmla="*/ 257442 h 257442"/>
                <a:gd name="connsiteX3" fmla="*/ 54721 w 2300530"/>
                <a:gd name="connsiteY3" fmla="*/ 0 h 257442"/>
                <a:gd name="connsiteX0" fmla="*/ 2300530 w 2300530"/>
                <a:gd name="connsiteY0" fmla="*/ 0 h 257442"/>
                <a:gd name="connsiteX1" fmla="*/ 2245809 w 2300530"/>
                <a:gd name="connsiteY1" fmla="*/ 257442 h 257442"/>
                <a:gd name="connsiteX2" fmla="*/ 0 w 2300530"/>
                <a:gd name="connsiteY2" fmla="*/ 257442 h 257442"/>
                <a:gd name="connsiteX3" fmla="*/ 54720 w 2300530"/>
                <a:gd name="connsiteY3" fmla="*/ 0 h 257442"/>
                <a:gd name="connsiteX0" fmla="*/ 2460829 w 2460829"/>
                <a:gd name="connsiteY0" fmla="*/ 0 h 257442"/>
                <a:gd name="connsiteX1" fmla="*/ 2245809 w 2460829"/>
                <a:gd name="connsiteY1" fmla="*/ 257442 h 257442"/>
                <a:gd name="connsiteX2" fmla="*/ 0 w 2460829"/>
                <a:gd name="connsiteY2" fmla="*/ 257442 h 257442"/>
                <a:gd name="connsiteX3" fmla="*/ 54720 w 2460829"/>
                <a:gd name="connsiteY3" fmla="*/ 0 h 257442"/>
                <a:gd name="connsiteX0" fmla="*/ 2460829 w 2460829"/>
                <a:gd name="connsiteY0" fmla="*/ 0 h 257442"/>
                <a:gd name="connsiteX1" fmla="*/ 2406108 w 2460829"/>
                <a:gd name="connsiteY1" fmla="*/ 257442 h 257442"/>
                <a:gd name="connsiteX2" fmla="*/ 0 w 2460829"/>
                <a:gd name="connsiteY2" fmla="*/ 257442 h 257442"/>
                <a:gd name="connsiteX3" fmla="*/ 54720 w 2460829"/>
                <a:gd name="connsiteY3" fmla="*/ 0 h 257442"/>
                <a:gd name="connsiteX0" fmla="*/ 2460830 w 2460830"/>
                <a:gd name="connsiteY0" fmla="*/ 0 h 257442"/>
                <a:gd name="connsiteX1" fmla="*/ 2406109 w 2460830"/>
                <a:gd name="connsiteY1" fmla="*/ 257442 h 257442"/>
                <a:gd name="connsiteX2" fmla="*/ 0 w 2460830"/>
                <a:gd name="connsiteY2" fmla="*/ 257442 h 257442"/>
                <a:gd name="connsiteX3" fmla="*/ 54721 w 2460830"/>
                <a:gd name="connsiteY3" fmla="*/ 0 h 257442"/>
                <a:gd name="connsiteX0" fmla="*/ 2460830 w 2460830"/>
                <a:gd name="connsiteY0" fmla="*/ 0 h 257442"/>
                <a:gd name="connsiteX1" fmla="*/ 2406109 w 2460830"/>
                <a:gd name="connsiteY1" fmla="*/ 257442 h 257442"/>
                <a:gd name="connsiteX2" fmla="*/ 0 w 2460830"/>
                <a:gd name="connsiteY2" fmla="*/ 257442 h 257442"/>
                <a:gd name="connsiteX3" fmla="*/ 54721 w 2460830"/>
                <a:gd name="connsiteY3" fmla="*/ 0 h 257442"/>
                <a:gd name="connsiteX0" fmla="*/ 2714104 w 2714104"/>
                <a:gd name="connsiteY0" fmla="*/ 0 h 257442"/>
                <a:gd name="connsiteX1" fmla="*/ 2406109 w 2714104"/>
                <a:gd name="connsiteY1" fmla="*/ 257442 h 257442"/>
                <a:gd name="connsiteX2" fmla="*/ 0 w 2714104"/>
                <a:gd name="connsiteY2" fmla="*/ 257442 h 257442"/>
                <a:gd name="connsiteX3" fmla="*/ 54721 w 2714104"/>
                <a:gd name="connsiteY3" fmla="*/ 0 h 257442"/>
                <a:gd name="connsiteX0" fmla="*/ 2714104 w 2714104"/>
                <a:gd name="connsiteY0" fmla="*/ 0 h 257442"/>
                <a:gd name="connsiteX1" fmla="*/ 2659383 w 2714104"/>
                <a:gd name="connsiteY1" fmla="*/ 257442 h 257442"/>
                <a:gd name="connsiteX2" fmla="*/ 0 w 2714104"/>
                <a:gd name="connsiteY2" fmla="*/ 257442 h 257442"/>
                <a:gd name="connsiteX3" fmla="*/ 54721 w 2714104"/>
                <a:gd name="connsiteY3" fmla="*/ 0 h 257442"/>
                <a:gd name="connsiteX0" fmla="*/ 2714104 w 2714104"/>
                <a:gd name="connsiteY0" fmla="*/ 0 h 257442"/>
                <a:gd name="connsiteX1" fmla="*/ 2659383 w 2714104"/>
                <a:gd name="connsiteY1" fmla="*/ 257442 h 257442"/>
                <a:gd name="connsiteX2" fmla="*/ 0 w 2714104"/>
                <a:gd name="connsiteY2" fmla="*/ 257442 h 257442"/>
                <a:gd name="connsiteX3" fmla="*/ 54721 w 2714104"/>
                <a:gd name="connsiteY3" fmla="*/ 0 h 257442"/>
                <a:gd name="connsiteX0" fmla="*/ 2714104 w 2714104"/>
                <a:gd name="connsiteY0" fmla="*/ 0 h 257442"/>
                <a:gd name="connsiteX1" fmla="*/ 2659383 w 2714104"/>
                <a:gd name="connsiteY1" fmla="*/ 257442 h 257442"/>
                <a:gd name="connsiteX2" fmla="*/ 0 w 2714104"/>
                <a:gd name="connsiteY2" fmla="*/ 257442 h 257442"/>
                <a:gd name="connsiteX3" fmla="*/ 54721 w 2714104"/>
                <a:gd name="connsiteY3" fmla="*/ 0 h 257442"/>
                <a:gd name="connsiteX0" fmla="*/ 782550 w 2659383"/>
                <a:gd name="connsiteY0" fmla="*/ 0 h 257442"/>
                <a:gd name="connsiteX1" fmla="*/ 2659383 w 2659383"/>
                <a:gd name="connsiteY1" fmla="*/ 257442 h 257442"/>
                <a:gd name="connsiteX2" fmla="*/ 0 w 2659383"/>
                <a:gd name="connsiteY2" fmla="*/ 257442 h 257442"/>
                <a:gd name="connsiteX3" fmla="*/ 54721 w 2659383"/>
                <a:gd name="connsiteY3" fmla="*/ 0 h 257442"/>
                <a:gd name="connsiteX0" fmla="*/ 782550 w 782550"/>
                <a:gd name="connsiteY0" fmla="*/ 0 h 257442"/>
                <a:gd name="connsiteX1" fmla="*/ 727830 w 782550"/>
                <a:gd name="connsiteY1" fmla="*/ 257442 h 257442"/>
                <a:gd name="connsiteX2" fmla="*/ 0 w 782550"/>
                <a:gd name="connsiteY2" fmla="*/ 257442 h 257442"/>
                <a:gd name="connsiteX3" fmla="*/ 54721 w 782550"/>
                <a:gd name="connsiteY3" fmla="*/ 0 h 257442"/>
                <a:gd name="connsiteX0" fmla="*/ 782549 w 782549"/>
                <a:gd name="connsiteY0" fmla="*/ 0 h 257442"/>
                <a:gd name="connsiteX1" fmla="*/ 727829 w 782549"/>
                <a:gd name="connsiteY1" fmla="*/ 257442 h 257442"/>
                <a:gd name="connsiteX2" fmla="*/ 0 w 782549"/>
                <a:gd name="connsiteY2" fmla="*/ 257442 h 257442"/>
                <a:gd name="connsiteX3" fmla="*/ 54720 w 782549"/>
                <a:gd name="connsiteY3" fmla="*/ 0 h 257442"/>
                <a:gd name="connsiteX0" fmla="*/ 782549 w 782549"/>
                <a:gd name="connsiteY0" fmla="*/ 0 h 257442"/>
                <a:gd name="connsiteX1" fmla="*/ 727829 w 782549"/>
                <a:gd name="connsiteY1" fmla="*/ 257442 h 257442"/>
                <a:gd name="connsiteX2" fmla="*/ 0 w 782549"/>
                <a:gd name="connsiteY2" fmla="*/ 257442 h 257442"/>
                <a:gd name="connsiteX3" fmla="*/ 54721 w 782549"/>
                <a:gd name="connsiteY3" fmla="*/ 0 h 257442"/>
                <a:gd name="connsiteX0" fmla="*/ 1103086 w 1103086"/>
                <a:gd name="connsiteY0" fmla="*/ 0 h 257442"/>
                <a:gd name="connsiteX1" fmla="*/ 727829 w 1103086"/>
                <a:gd name="connsiteY1" fmla="*/ 257442 h 257442"/>
                <a:gd name="connsiteX2" fmla="*/ 0 w 1103086"/>
                <a:gd name="connsiteY2" fmla="*/ 257442 h 257442"/>
                <a:gd name="connsiteX3" fmla="*/ 54721 w 1103086"/>
                <a:gd name="connsiteY3" fmla="*/ 0 h 257442"/>
                <a:gd name="connsiteX0" fmla="*/ 1103086 w 1103086"/>
                <a:gd name="connsiteY0" fmla="*/ 0 h 257442"/>
                <a:gd name="connsiteX1" fmla="*/ 1048364 w 1103086"/>
                <a:gd name="connsiteY1" fmla="*/ 257442 h 257442"/>
                <a:gd name="connsiteX2" fmla="*/ 0 w 1103086"/>
                <a:gd name="connsiteY2" fmla="*/ 257442 h 257442"/>
                <a:gd name="connsiteX3" fmla="*/ 54721 w 1103086"/>
                <a:gd name="connsiteY3" fmla="*/ 0 h 257442"/>
                <a:gd name="connsiteX0" fmla="*/ 1103087 w 1103087"/>
                <a:gd name="connsiteY0" fmla="*/ 0 h 257442"/>
                <a:gd name="connsiteX1" fmla="*/ 1048365 w 1103087"/>
                <a:gd name="connsiteY1" fmla="*/ 257442 h 257442"/>
                <a:gd name="connsiteX2" fmla="*/ 0 w 1103087"/>
                <a:gd name="connsiteY2" fmla="*/ 257442 h 257442"/>
                <a:gd name="connsiteX3" fmla="*/ 54722 w 1103087"/>
                <a:gd name="connsiteY3" fmla="*/ 0 h 257442"/>
                <a:gd name="connsiteX0" fmla="*/ 1103087 w 1103087"/>
                <a:gd name="connsiteY0" fmla="*/ 0 h 257442"/>
                <a:gd name="connsiteX1" fmla="*/ 1048365 w 1103087"/>
                <a:gd name="connsiteY1" fmla="*/ 257442 h 257442"/>
                <a:gd name="connsiteX2" fmla="*/ 0 w 1103087"/>
                <a:gd name="connsiteY2" fmla="*/ 257442 h 257442"/>
                <a:gd name="connsiteX3" fmla="*/ 54722 w 1103087"/>
                <a:gd name="connsiteY3" fmla="*/ 0 h 257442"/>
                <a:gd name="connsiteX0" fmla="*/ 1271403 w 1271403"/>
                <a:gd name="connsiteY0" fmla="*/ 0 h 257442"/>
                <a:gd name="connsiteX1" fmla="*/ 1048365 w 1271403"/>
                <a:gd name="connsiteY1" fmla="*/ 257442 h 257442"/>
                <a:gd name="connsiteX2" fmla="*/ 0 w 1271403"/>
                <a:gd name="connsiteY2" fmla="*/ 257442 h 257442"/>
                <a:gd name="connsiteX3" fmla="*/ 54722 w 1271403"/>
                <a:gd name="connsiteY3" fmla="*/ 0 h 257442"/>
                <a:gd name="connsiteX0" fmla="*/ 1271403 w 1271403"/>
                <a:gd name="connsiteY0" fmla="*/ 0 h 257442"/>
                <a:gd name="connsiteX1" fmla="*/ 1216682 w 1271403"/>
                <a:gd name="connsiteY1" fmla="*/ 257442 h 257442"/>
                <a:gd name="connsiteX2" fmla="*/ 0 w 1271403"/>
                <a:gd name="connsiteY2" fmla="*/ 257442 h 257442"/>
                <a:gd name="connsiteX3" fmla="*/ 54722 w 1271403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54721 w 1271402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54720 w 1271402"/>
                <a:gd name="connsiteY3" fmla="*/ 0 h 257442"/>
                <a:gd name="connsiteX0" fmla="*/ 1550323 w 1550323"/>
                <a:gd name="connsiteY0" fmla="*/ 0 h 257442"/>
                <a:gd name="connsiteX1" fmla="*/ 1216681 w 1550323"/>
                <a:gd name="connsiteY1" fmla="*/ 257442 h 257442"/>
                <a:gd name="connsiteX2" fmla="*/ 0 w 1550323"/>
                <a:gd name="connsiteY2" fmla="*/ 257442 h 257442"/>
                <a:gd name="connsiteX3" fmla="*/ 54720 w 1550323"/>
                <a:gd name="connsiteY3" fmla="*/ 0 h 257442"/>
                <a:gd name="connsiteX0" fmla="*/ 1550323 w 1550323"/>
                <a:gd name="connsiteY0" fmla="*/ 0 h 257442"/>
                <a:gd name="connsiteX1" fmla="*/ 1495602 w 1550323"/>
                <a:gd name="connsiteY1" fmla="*/ 257442 h 257442"/>
                <a:gd name="connsiteX2" fmla="*/ 0 w 1550323"/>
                <a:gd name="connsiteY2" fmla="*/ 257442 h 257442"/>
                <a:gd name="connsiteX3" fmla="*/ 54720 w 1550323"/>
                <a:gd name="connsiteY3" fmla="*/ 0 h 257442"/>
                <a:gd name="connsiteX0" fmla="*/ 1550324 w 1550324"/>
                <a:gd name="connsiteY0" fmla="*/ 0 h 257442"/>
                <a:gd name="connsiteX1" fmla="*/ 1495603 w 1550324"/>
                <a:gd name="connsiteY1" fmla="*/ 257442 h 257442"/>
                <a:gd name="connsiteX2" fmla="*/ 0 w 1550324"/>
                <a:gd name="connsiteY2" fmla="*/ 257442 h 257442"/>
                <a:gd name="connsiteX3" fmla="*/ 54721 w 1550324"/>
                <a:gd name="connsiteY3" fmla="*/ 0 h 257442"/>
                <a:gd name="connsiteX0" fmla="*/ 1550324 w 1550324"/>
                <a:gd name="connsiteY0" fmla="*/ 0 h 257442"/>
                <a:gd name="connsiteX1" fmla="*/ 1495603 w 1550324"/>
                <a:gd name="connsiteY1" fmla="*/ 257442 h 257442"/>
                <a:gd name="connsiteX2" fmla="*/ 0 w 1550324"/>
                <a:gd name="connsiteY2" fmla="*/ 257442 h 257442"/>
                <a:gd name="connsiteX3" fmla="*/ 54721 w 1550324"/>
                <a:gd name="connsiteY3" fmla="*/ 0 h 257442"/>
                <a:gd name="connsiteX0" fmla="*/ 1718639 w 1718639"/>
                <a:gd name="connsiteY0" fmla="*/ 0 h 257442"/>
                <a:gd name="connsiteX1" fmla="*/ 1495603 w 1718639"/>
                <a:gd name="connsiteY1" fmla="*/ 257442 h 257442"/>
                <a:gd name="connsiteX2" fmla="*/ 0 w 1718639"/>
                <a:gd name="connsiteY2" fmla="*/ 257442 h 257442"/>
                <a:gd name="connsiteX3" fmla="*/ 54721 w 1718639"/>
                <a:gd name="connsiteY3" fmla="*/ 0 h 257442"/>
                <a:gd name="connsiteX0" fmla="*/ 1718639 w 1718639"/>
                <a:gd name="connsiteY0" fmla="*/ 0 h 257442"/>
                <a:gd name="connsiteX1" fmla="*/ 1663918 w 1718639"/>
                <a:gd name="connsiteY1" fmla="*/ 257442 h 257442"/>
                <a:gd name="connsiteX2" fmla="*/ 0 w 1718639"/>
                <a:gd name="connsiteY2" fmla="*/ 257442 h 257442"/>
                <a:gd name="connsiteX3" fmla="*/ 54721 w 1718639"/>
                <a:gd name="connsiteY3" fmla="*/ 0 h 257442"/>
                <a:gd name="connsiteX0" fmla="*/ 1718639 w 1718639"/>
                <a:gd name="connsiteY0" fmla="*/ 0 h 257442"/>
                <a:gd name="connsiteX1" fmla="*/ 1663918 w 1718639"/>
                <a:gd name="connsiteY1" fmla="*/ 257442 h 257442"/>
                <a:gd name="connsiteX2" fmla="*/ 0 w 1718639"/>
                <a:gd name="connsiteY2" fmla="*/ 257442 h 257442"/>
                <a:gd name="connsiteX3" fmla="*/ 54721 w 1718639"/>
                <a:gd name="connsiteY3" fmla="*/ 0 h 257442"/>
                <a:gd name="connsiteX0" fmla="*/ 1718639 w 1718639"/>
                <a:gd name="connsiteY0" fmla="*/ 0 h 257442"/>
                <a:gd name="connsiteX1" fmla="*/ 1663918 w 1718639"/>
                <a:gd name="connsiteY1" fmla="*/ 257442 h 257442"/>
                <a:gd name="connsiteX2" fmla="*/ 0 w 1718639"/>
                <a:gd name="connsiteY2" fmla="*/ 257442 h 257442"/>
                <a:gd name="connsiteX3" fmla="*/ 54721 w 1718639"/>
                <a:gd name="connsiteY3" fmla="*/ 0 h 257442"/>
                <a:gd name="connsiteX0" fmla="*/ 1971914 w 1971914"/>
                <a:gd name="connsiteY0" fmla="*/ 0 h 257442"/>
                <a:gd name="connsiteX1" fmla="*/ 1663918 w 1971914"/>
                <a:gd name="connsiteY1" fmla="*/ 257442 h 257442"/>
                <a:gd name="connsiteX2" fmla="*/ 0 w 1971914"/>
                <a:gd name="connsiteY2" fmla="*/ 257442 h 257442"/>
                <a:gd name="connsiteX3" fmla="*/ 54721 w 1971914"/>
                <a:gd name="connsiteY3" fmla="*/ 0 h 257442"/>
                <a:gd name="connsiteX0" fmla="*/ 1971914 w 1971914"/>
                <a:gd name="connsiteY0" fmla="*/ 0 h 257442"/>
                <a:gd name="connsiteX1" fmla="*/ 1917192 w 1971914"/>
                <a:gd name="connsiteY1" fmla="*/ 257442 h 257442"/>
                <a:gd name="connsiteX2" fmla="*/ 0 w 1971914"/>
                <a:gd name="connsiteY2" fmla="*/ 257442 h 257442"/>
                <a:gd name="connsiteX3" fmla="*/ 54721 w 1971914"/>
                <a:gd name="connsiteY3" fmla="*/ 0 h 257442"/>
                <a:gd name="connsiteX0" fmla="*/ 1971915 w 1971915"/>
                <a:gd name="connsiteY0" fmla="*/ 0 h 257442"/>
                <a:gd name="connsiteX1" fmla="*/ 1917193 w 1971915"/>
                <a:gd name="connsiteY1" fmla="*/ 257442 h 257442"/>
                <a:gd name="connsiteX2" fmla="*/ 0 w 1971915"/>
                <a:gd name="connsiteY2" fmla="*/ 257442 h 257442"/>
                <a:gd name="connsiteX3" fmla="*/ 54722 w 1971915"/>
                <a:gd name="connsiteY3" fmla="*/ 0 h 257442"/>
                <a:gd name="connsiteX0" fmla="*/ 1971915 w 1971915"/>
                <a:gd name="connsiteY0" fmla="*/ 0 h 257442"/>
                <a:gd name="connsiteX1" fmla="*/ 1917193 w 1971915"/>
                <a:gd name="connsiteY1" fmla="*/ 257442 h 257442"/>
                <a:gd name="connsiteX2" fmla="*/ 0 w 1971915"/>
                <a:gd name="connsiteY2" fmla="*/ 257442 h 257442"/>
                <a:gd name="connsiteX3" fmla="*/ 54722 w 1971915"/>
                <a:gd name="connsiteY3" fmla="*/ 0 h 257442"/>
                <a:gd name="connsiteX0" fmla="*/ 2132215 w 2132215"/>
                <a:gd name="connsiteY0" fmla="*/ 0 h 257442"/>
                <a:gd name="connsiteX1" fmla="*/ 1917193 w 2132215"/>
                <a:gd name="connsiteY1" fmla="*/ 257442 h 257442"/>
                <a:gd name="connsiteX2" fmla="*/ 0 w 2132215"/>
                <a:gd name="connsiteY2" fmla="*/ 257442 h 257442"/>
                <a:gd name="connsiteX3" fmla="*/ 54722 w 2132215"/>
                <a:gd name="connsiteY3" fmla="*/ 0 h 257442"/>
                <a:gd name="connsiteX0" fmla="*/ 2132215 w 2132215"/>
                <a:gd name="connsiteY0" fmla="*/ 0 h 257442"/>
                <a:gd name="connsiteX1" fmla="*/ 2077494 w 2132215"/>
                <a:gd name="connsiteY1" fmla="*/ 257442 h 257442"/>
                <a:gd name="connsiteX2" fmla="*/ 0 w 2132215"/>
                <a:gd name="connsiteY2" fmla="*/ 257442 h 257442"/>
                <a:gd name="connsiteX3" fmla="*/ 54722 w 2132215"/>
                <a:gd name="connsiteY3" fmla="*/ 0 h 257442"/>
                <a:gd name="connsiteX0" fmla="*/ 2132214 w 2132214"/>
                <a:gd name="connsiteY0" fmla="*/ 0 h 257442"/>
                <a:gd name="connsiteX1" fmla="*/ 2077493 w 2132214"/>
                <a:gd name="connsiteY1" fmla="*/ 257442 h 257442"/>
                <a:gd name="connsiteX2" fmla="*/ 0 w 2132214"/>
                <a:gd name="connsiteY2" fmla="*/ 257442 h 257442"/>
                <a:gd name="connsiteX3" fmla="*/ 54721 w 2132214"/>
                <a:gd name="connsiteY3" fmla="*/ 0 h 257442"/>
                <a:gd name="connsiteX0" fmla="*/ 2132214 w 2132214"/>
                <a:gd name="connsiteY0" fmla="*/ 0 h 257442"/>
                <a:gd name="connsiteX1" fmla="*/ 2077493 w 2132214"/>
                <a:gd name="connsiteY1" fmla="*/ 257442 h 257442"/>
                <a:gd name="connsiteX2" fmla="*/ 0 w 2132214"/>
                <a:gd name="connsiteY2" fmla="*/ 257442 h 257442"/>
                <a:gd name="connsiteX3" fmla="*/ 54720 w 2132214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32214" h="257442">
                  <a:moveTo>
                    <a:pt x="2132214" y="0"/>
                  </a:moveTo>
                  <a:lnTo>
                    <a:pt x="2077493" y="257442"/>
                  </a:lnTo>
                  <a:lnTo>
                    <a:pt x="0" y="257442"/>
                  </a:lnTo>
                  <a:lnTo>
                    <a:pt x="54720" y="0"/>
                  </a:lnTo>
                  <a:close/>
                </a:path>
              </a:pathLst>
            </a:custGeom>
            <a:solidFill>
              <a:srgbClr val="B4B4B4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" name="btfpRunningAgenda2LevelTextRight228391">
              <a:extLst>
                <a:ext uri="{FF2B5EF4-FFF2-40B4-BE49-F238E27FC236}">
                  <a16:creationId xmlns:a16="http://schemas.microsoft.com/office/drawing/2014/main" id="{A705D401-B388-4CD5-A573-B3DCABCC0E18}"/>
                </a:ext>
              </a:extLst>
            </p:cNvPr>
            <p:cNvSpPr txBox="1"/>
            <p:nvPr/>
          </p:nvSpPr>
          <p:spPr bwMode="gray">
            <a:xfrm>
              <a:off x="2192937" y="876300"/>
              <a:ext cx="2077493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all" spc="4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ENIORITY</a:t>
              </a:r>
            </a:p>
          </p:txBody>
        </p:sp>
      </p:grpSp>
      <p:sp>
        <p:nvSpPr>
          <p:cNvPr id="71" name="Rectangle 70">
            <a:extLst>
              <a:ext uri="{FF2B5EF4-FFF2-40B4-BE49-F238E27FC236}">
                <a16:creationId xmlns:a16="http://schemas.microsoft.com/office/drawing/2014/main" id="{69CFF8C1-CD46-499C-AAAF-D4C4F7AE7CDF}"/>
              </a:ext>
            </a:extLst>
          </p:cNvPr>
          <p:cNvSpPr/>
          <p:nvPr/>
        </p:nvSpPr>
        <p:spPr bwMode="gray">
          <a:xfrm>
            <a:off x="9638681" y="1945571"/>
            <a:ext cx="927965" cy="4274076"/>
          </a:xfrm>
          <a:prstGeom prst="rect">
            <a:avLst/>
          </a:prstGeom>
          <a:noFill/>
          <a:ln w="1905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31" name="btfpNotesBox521293">
            <a:extLst>
              <a:ext uri="{FF2B5EF4-FFF2-40B4-BE49-F238E27FC236}">
                <a16:creationId xmlns:a16="http://schemas.microsoft.com/office/drawing/2014/main" id="{7FCD83D4-0A84-15CB-41B6-52A705CEF459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gray">
          <a:xfrm>
            <a:off x="330199" y="6319679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Note: Junior includes Analysts, Associates etc., Middle includes Managers, Consultants, Senior Associates etc. ;Top includes Directors, VPs, Partners, CXOs etc. Bars sorted basis total # of profiles; Top lines may not match </a:t>
            </a:r>
            <a:br>
              <a:rPr lang="en-US" sz="800" dirty="0">
                <a:solidFill>
                  <a:srgbClr val="000000"/>
                </a:solidFill>
              </a:rPr>
            </a:br>
            <a:r>
              <a:rPr lang="en-US" sz="800" dirty="0">
                <a:solidFill>
                  <a:srgbClr val="000000"/>
                </a:solidFill>
              </a:rPr>
              <a:t>since seniority for some generic titles is unavailable | Source: Aura, Bain analysis </a:t>
            </a:r>
          </a:p>
        </p:txBody>
      </p:sp>
      <p:pic>
        <p:nvPicPr>
          <p:cNvPr id="48" name="Picture 47">
            <a:extLst>
              <a:ext uri="{FF2B5EF4-FFF2-40B4-BE49-F238E27FC236}">
                <a16:creationId xmlns:a16="http://schemas.microsoft.com/office/drawing/2014/main" id="{92AD20F6-5362-544A-AA00-B09F2968301C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0646654" y="6219647"/>
            <a:ext cx="1261892" cy="353608"/>
          </a:xfrm>
          <a:prstGeom prst="rect">
            <a:avLst/>
          </a:prstGeom>
        </p:spPr>
      </p:pic>
      <p:grpSp>
        <p:nvGrpSpPr>
          <p:cNvPr id="53" name="btfpStatusSticker323952">
            <a:extLst>
              <a:ext uri="{FF2B5EF4-FFF2-40B4-BE49-F238E27FC236}">
                <a16:creationId xmlns:a16="http://schemas.microsoft.com/office/drawing/2014/main" id="{9AED61AC-D9FC-C600-87A7-05F54C92581E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10102664" y="955344"/>
            <a:ext cx="1759136" cy="235611"/>
            <a:chOff x="-2269853" y="876300"/>
            <a:chExt cx="1759136" cy="235611"/>
          </a:xfrm>
        </p:grpSpPr>
        <p:sp>
          <p:nvSpPr>
            <p:cNvPr id="51" name="btfpStatusStickerText323952">
              <a:extLst>
                <a:ext uri="{FF2B5EF4-FFF2-40B4-BE49-F238E27FC236}">
                  <a16:creationId xmlns:a16="http://schemas.microsoft.com/office/drawing/2014/main" id="{2B8FCCD3-088A-7DFB-1D28-31C979763166}"/>
                </a:ext>
              </a:extLst>
            </p:cNvPr>
            <p:cNvSpPr txBox="1"/>
            <p:nvPr/>
          </p:nvSpPr>
          <p:spPr bwMode="gray">
            <a:xfrm>
              <a:off x="-2269853" y="876300"/>
              <a:ext cx="1759136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000000"/>
                  </a:solidFill>
                </a:rPr>
                <a:t>directional</a:t>
              </a:r>
            </a:p>
          </p:txBody>
        </p:sp>
        <p:cxnSp>
          <p:nvCxnSpPr>
            <p:cNvPr id="52" name="btfpStatusStickerLine323952">
              <a:extLst>
                <a:ext uri="{FF2B5EF4-FFF2-40B4-BE49-F238E27FC236}">
                  <a16:creationId xmlns:a16="http://schemas.microsoft.com/office/drawing/2014/main" id="{C03E4E9E-DC81-95BC-B279-B39ADDEFAF28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2269853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Title 1">
            <a:extLst>
              <a:ext uri="{FF2B5EF4-FFF2-40B4-BE49-F238E27FC236}">
                <a16:creationId xmlns:a16="http://schemas.microsoft.com/office/drawing/2014/main" id="{694D5409-4D32-D7A6-3C93-E11306BEA0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1"/>
            <a:ext cx="11522075" cy="876687"/>
          </a:xfrm>
        </p:spPr>
        <p:txBody>
          <a:bodyPr vert="horz"/>
          <a:lstStyle/>
          <a:p>
            <a:r>
              <a:rPr lang="en-US" dirty="0">
                <a:highlight>
                  <a:srgbClr val="FFFFFF"/>
                </a:highlight>
              </a:rPr>
              <a:t>Target, Peer 4 and Peer 2 have higher share of their workforce (~50-60%) in mid level roles as compared to peers</a:t>
            </a:r>
          </a:p>
        </p:txBody>
      </p:sp>
      <p:sp>
        <p:nvSpPr>
          <p:cNvPr id="100" name="Rounded Rectangle 84">
            <a:extLst>
              <a:ext uri="{FF2B5EF4-FFF2-40B4-BE49-F238E27FC236}">
                <a16:creationId xmlns:a16="http://schemas.microsoft.com/office/drawing/2014/main" id="{F2DB2B85-3467-DB90-A345-485736973799}"/>
              </a:ext>
            </a:extLst>
          </p:cNvPr>
          <p:cNvSpPr/>
          <p:nvPr>
            <p:custDataLst>
              <p:tags r:id="rId7"/>
            </p:custDataLst>
          </p:nvPr>
        </p:nvSpPr>
        <p:spPr bwMode="gray">
          <a:xfrm>
            <a:off x="9779886" y="1286004"/>
            <a:ext cx="325071" cy="306004"/>
          </a:xfrm>
          <a:prstGeom prst="roundRect">
            <a:avLst/>
          </a:prstGeom>
          <a:solidFill>
            <a:schemeClr val="bg1"/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15" name="Graphic 114" descr="Gears outline">
            <a:extLst>
              <a:ext uri="{FF2B5EF4-FFF2-40B4-BE49-F238E27FC236}">
                <a16:creationId xmlns:a16="http://schemas.microsoft.com/office/drawing/2014/main" id="{8EF18AF2-DF0D-2AD0-6090-A4F37DDE8C94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9842867" y="1340210"/>
            <a:ext cx="293429" cy="293429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99331063-E475-8D66-251A-D32DE911954A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0551169" y="6215844"/>
            <a:ext cx="1261892" cy="353608"/>
          </a:xfrm>
          <a:prstGeom prst="rect">
            <a:avLst/>
          </a:prstGeom>
        </p:spPr>
      </p:pic>
      <p:sp>
        <p:nvSpPr>
          <p:cNvPr id="60" name="Rectangle: Rounded Corners 59">
            <a:extLst>
              <a:ext uri="{FF2B5EF4-FFF2-40B4-BE49-F238E27FC236}">
                <a16:creationId xmlns:a16="http://schemas.microsoft.com/office/drawing/2014/main" id="{4D46F693-6C03-32D5-4161-CD37B48FBA36}"/>
              </a:ext>
            </a:extLst>
          </p:cNvPr>
          <p:cNvSpPr/>
          <p:nvPr/>
        </p:nvSpPr>
        <p:spPr bwMode="gray">
          <a:xfrm>
            <a:off x="10747068" y="796006"/>
            <a:ext cx="956332" cy="382533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00" dirty="0">
                <a:solidFill>
                  <a:schemeClr val="tx1"/>
                </a:solidFill>
              </a:rPr>
              <a:t>BCN updated 11/09</a:t>
            </a: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CDF1A2D5-FFFC-CBE7-582C-F7B9106CDFD7}"/>
              </a:ext>
            </a:extLst>
          </p:cNvPr>
          <p:cNvSpPr/>
          <p:nvPr/>
        </p:nvSpPr>
        <p:spPr bwMode="gray">
          <a:xfrm>
            <a:off x="7078790" y="807683"/>
            <a:ext cx="1832553" cy="547327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00">
                <a:solidFill>
                  <a:schemeClr val="tx1"/>
                </a:solidFill>
              </a:rPr>
              <a:t>Version 2 – </a:t>
            </a:r>
            <a:br>
              <a:rPr lang="en-US" sz="1000">
                <a:solidFill>
                  <a:schemeClr val="tx1"/>
                </a:solidFill>
              </a:rPr>
            </a:br>
            <a:r>
              <a:rPr lang="en-US" sz="1000">
                <a:solidFill>
                  <a:schemeClr val="tx1"/>
                </a:solidFill>
              </a:rPr>
              <a:t>Overall workforce</a:t>
            </a:r>
            <a:br>
              <a:rPr lang="en-US" sz="1000">
                <a:solidFill>
                  <a:schemeClr val="tx1"/>
                </a:solidFill>
              </a:rPr>
            </a:br>
            <a:r>
              <a:rPr lang="en-US" sz="1000">
                <a:solidFill>
                  <a:schemeClr val="tx1"/>
                </a:solidFill>
              </a:rPr>
              <a:t>(Using Aura default tagging)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7754964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btfpColumnIndicatorGroup2">
            <a:extLst>
              <a:ext uri="{FF2B5EF4-FFF2-40B4-BE49-F238E27FC236}">
                <a16:creationId xmlns:a16="http://schemas.microsoft.com/office/drawing/2014/main" id="{F59E4DE6-D761-431B-B829-13A3AC2FC185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42" name="btfpColumnGapBlocker377227">
              <a:extLst>
                <a:ext uri="{FF2B5EF4-FFF2-40B4-BE49-F238E27FC236}">
                  <a16:creationId xmlns:a16="http://schemas.microsoft.com/office/drawing/2014/main" id="{27A32DA8-783C-4F07-82C8-A876BBCA7036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40" name="btfpColumnGapBlocker991335">
              <a:extLst>
                <a:ext uri="{FF2B5EF4-FFF2-40B4-BE49-F238E27FC236}">
                  <a16:creationId xmlns:a16="http://schemas.microsoft.com/office/drawing/2014/main" id="{1AC0F5B3-15D7-4C6C-A8BB-E9378C800BBF}"/>
                </a:ext>
              </a:extLst>
            </p:cNvPr>
            <p:cNvSpPr/>
            <p:nvPr/>
          </p:nvSpPr>
          <p:spPr bwMode="gray">
            <a:xfrm>
              <a:off x="5825728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38" name="btfpColumnIndicator418121">
              <a:extLst>
                <a:ext uri="{FF2B5EF4-FFF2-40B4-BE49-F238E27FC236}">
                  <a16:creationId xmlns:a16="http://schemas.microsoft.com/office/drawing/2014/main" id="{00B558CF-D1BD-4079-866A-FA5C827B1C99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btfpColumnIndicator781458">
              <a:extLst>
                <a:ext uri="{FF2B5EF4-FFF2-40B4-BE49-F238E27FC236}">
                  <a16:creationId xmlns:a16="http://schemas.microsoft.com/office/drawing/2014/main" id="{5AC4D865-3D2B-450B-8228-149A31B8A422}"/>
                </a:ext>
              </a:extLst>
            </p:cNvPr>
            <p:cNvCxnSpPr/>
            <p:nvPr/>
          </p:nvCxnSpPr>
          <p:spPr bwMode="gray">
            <a:xfrm flipV="1">
              <a:off x="636627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btfpColumnGapBlocker512058">
              <a:extLst>
                <a:ext uri="{FF2B5EF4-FFF2-40B4-BE49-F238E27FC236}">
                  <a16:creationId xmlns:a16="http://schemas.microsoft.com/office/drawing/2014/main" id="{FBBC2971-6A03-48A0-9792-8225CAD28C49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9" name="btfpColumnIndicator961435">
              <a:extLst>
                <a:ext uri="{FF2B5EF4-FFF2-40B4-BE49-F238E27FC236}">
                  <a16:creationId xmlns:a16="http://schemas.microsoft.com/office/drawing/2014/main" id="{C4285ABA-6A91-4443-9B27-5D117690AE82}"/>
                </a:ext>
              </a:extLst>
            </p:cNvPr>
            <p:cNvCxnSpPr/>
            <p:nvPr/>
          </p:nvCxnSpPr>
          <p:spPr bwMode="gray">
            <a:xfrm flipV="1">
              <a:off x="582572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btfpColumnIndicator382946">
              <a:extLst>
                <a:ext uri="{FF2B5EF4-FFF2-40B4-BE49-F238E27FC236}">
                  <a16:creationId xmlns:a16="http://schemas.microsoft.com/office/drawing/2014/main" id="{4A049551-5ABD-4935-AC24-227625CA26B2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3" name="btfpColumnIndicatorGroup1">
            <a:extLst>
              <a:ext uri="{FF2B5EF4-FFF2-40B4-BE49-F238E27FC236}">
                <a16:creationId xmlns:a16="http://schemas.microsoft.com/office/drawing/2014/main" id="{1EF9D9E7-1693-485F-9CBD-AD63F58355A1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41" name="btfpColumnGapBlocker102321">
              <a:extLst>
                <a:ext uri="{FF2B5EF4-FFF2-40B4-BE49-F238E27FC236}">
                  <a16:creationId xmlns:a16="http://schemas.microsoft.com/office/drawing/2014/main" id="{84FE1F3A-71CE-4A29-A8B5-87F8EE446215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39" name="btfpColumnGapBlocker717987">
              <a:extLst>
                <a:ext uri="{FF2B5EF4-FFF2-40B4-BE49-F238E27FC236}">
                  <a16:creationId xmlns:a16="http://schemas.microsoft.com/office/drawing/2014/main" id="{3B3A68F6-15BC-4B93-AA7E-8AB8258ABDB0}"/>
                </a:ext>
              </a:extLst>
            </p:cNvPr>
            <p:cNvSpPr/>
            <p:nvPr/>
          </p:nvSpPr>
          <p:spPr bwMode="gray">
            <a:xfrm>
              <a:off x="5825728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34" name="btfpColumnIndicator573773">
              <a:extLst>
                <a:ext uri="{FF2B5EF4-FFF2-40B4-BE49-F238E27FC236}">
                  <a16:creationId xmlns:a16="http://schemas.microsoft.com/office/drawing/2014/main" id="{12EF1C4F-92F2-48E6-9E6B-1DDA93CECCB0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btfpColumnIndicator549751">
              <a:extLst>
                <a:ext uri="{FF2B5EF4-FFF2-40B4-BE49-F238E27FC236}">
                  <a16:creationId xmlns:a16="http://schemas.microsoft.com/office/drawing/2014/main" id="{55440FB4-3421-471B-8A9C-27F3F0D7E6C6}"/>
                </a:ext>
              </a:extLst>
            </p:cNvPr>
            <p:cNvCxnSpPr/>
            <p:nvPr/>
          </p:nvCxnSpPr>
          <p:spPr bwMode="gray">
            <a:xfrm flipV="1">
              <a:off x="636627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btfpColumnGapBlocker315186">
              <a:extLst>
                <a:ext uri="{FF2B5EF4-FFF2-40B4-BE49-F238E27FC236}">
                  <a16:creationId xmlns:a16="http://schemas.microsoft.com/office/drawing/2014/main" id="{211FD051-741E-4048-8C3F-47348F1B4FE9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8" name="btfpColumnIndicator133356">
              <a:extLst>
                <a:ext uri="{FF2B5EF4-FFF2-40B4-BE49-F238E27FC236}">
                  <a16:creationId xmlns:a16="http://schemas.microsoft.com/office/drawing/2014/main" id="{69459835-295A-4CFA-8FFB-63018E9DC1EF}"/>
                </a:ext>
              </a:extLst>
            </p:cNvPr>
            <p:cNvCxnSpPr/>
            <p:nvPr/>
          </p:nvCxnSpPr>
          <p:spPr bwMode="gray">
            <a:xfrm flipV="1">
              <a:off x="582572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btfpColumnIndicator896412">
              <a:extLst>
                <a:ext uri="{FF2B5EF4-FFF2-40B4-BE49-F238E27FC236}">
                  <a16:creationId xmlns:a16="http://schemas.microsoft.com/office/drawing/2014/main" id="{B33D3C50-145D-4490-95BB-321C30B92C1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ajor caveats and summary of count of profiles</a:t>
            </a:r>
          </a:p>
        </p:txBody>
      </p:sp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161158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>
                <a:solidFill>
                  <a:srgbClr val="FFFFFF">
                    <a:alpha val="0"/>
                  </a:srgbClr>
                </a:solidFill>
              </a:rPr>
              <a:t>overall_0_132385880523912290 columns_2_132385879797606648 6_1_132385879826180686 9_1_132385879826281331 12_1_132385880101400904 13_1_132385880293391530 19_1_132385880486859730 16_1_132385880486879682 7_1_132387664413524717 8_1_132387757057575586 </a:t>
            </a:r>
            <a:endParaRPr lang="en-US" sz="100" err="1">
              <a:solidFill>
                <a:srgbClr val="FFFFFF">
                  <a:alpha val="0"/>
                </a:srgbClr>
              </a:solidFill>
            </a:endParaRPr>
          </a:p>
        </p:txBody>
      </p:sp>
      <p:grpSp>
        <p:nvGrpSpPr>
          <p:cNvPr id="59" name="btfpColumnHeaderBox259637"/>
          <p:cNvGrpSpPr/>
          <p:nvPr>
            <p:custDataLst>
              <p:tags r:id="rId2"/>
            </p:custDataLst>
          </p:nvPr>
        </p:nvGrpSpPr>
        <p:grpSpPr>
          <a:xfrm>
            <a:off x="333119" y="1270000"/>
            <a:ext cx="5495528" cy="315913"/>
            <a:chOff x="6366272" y="1270000"/>
            <a:chExt cx="5495528" cy="315913"/>
          </a:xfrm>
        </p:grpSpPr>
        <p:sp>
          <p:nvSpPr>
            <p:cNvPr id="60" name="btfpColumnHeaderBoxText259637"/>
            <p:cNvSpPr txBox="1"/>
            <p:nvPr/>
          </p:nvSpPr>
          <p:spPr bwMode="gray">
            <a:xfrm>
              <a:off x="6366272" y="1270000"/>
              <a:ext cx="5495528" cy="31591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600" b="1">
                  <a:solidFill>
                    <a:srgbClr val="000000"/>
                  </a:solidFill>
                </a:rPr>
                <a:t>Major caveats</a:t>
              </a:r>
            </a:p>
          </p:txBody>
        </p:sp>
        <p:cxnSp>
          <p:nvCxnSpPr>
            <p:cNvPr id="61" name="btfpColumnHeaderBoxLine259637"/>
            <p:cNvCxnSpPr/>
            <p:nvPr/>
          </p:nvCxnSpPr>
          <p:spPr bwMode="gray">
            <a:xfrm>
              <a:off x="6366272" y="1585913"/>
              <a:ext cx="5495528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2" name="btfpRowHeaderBox416762"/>
          <p:cNvGrpSpPr/>
          <p:nvPr>
            <p:custDataLst>
              <p:tags r:id="rId3"/>
            </p:custDataLst>
          </p:nvPr>
        </p:nvGrpSpPr>
        <p:grpSpPr>
          <a:xfrm>
            <a:off x="333119" y="3126765"/>
            <a:ext cx="1094339" cy="626701"/>
            <a:chOff x="330200" y="1712913"/>
            <a:chExt cx="2540000" cy="972979"/>
          </a:xfrm>
        </p:grpSpPr>
        <p:sp>
          <p:nvSpPr>
            <p:cNvPr id="63" name="btfpRowHeaderBoxText416762"/>
            <p:cNvSpPr txBox="1"/>
            <p:nvPr/>
          </p:nvSpPr>
          <p:spPr bwMode="gray">
            <a:xfrm>
              <a:off x="330200" y="1712913"/>
              <a:ext cx="2540000" cy="972979"/>
            </a:xfrm>
            <a:prstGeom prst="rect">
              <a:avLst/>
            </a:prstGeom>
            <a:noFill/>
          </p:spPr>
          <p:txBody>
            <a:bodyPr vert="horz" wrap="square" lIns="36036" tIns="36036" rIns="180181" bIns="36036" rtlCol="0" anchor="t">
              <a:no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>
                  <a:solidFill>
                    <a:srgbClr val="333333"/>
                  </a:solidFill>
                </a:rPr>
                <a:t>Data sources </a:t>
              </a:r>
            </a:p>
          </p:txBody>
        </p:sp>
        <p:cxnSp>
          <p:nvCxnSpPr>
            <p:cNvPr id="64" name="btfpRowHeaderBoxLine416762"/>
            <p:cNvCxnSpPr/>
            <p:nvPr/>
          </p:nvCxnSpPr>
          <p:spPr bwMode="gray">
            <a:xfrm>
              <a:off x="2870200" y="1712913"/>
              <a:ext cx="0" cy="972979"/>
            </a:xfrm>
            <a:prstGeom prst="line">
              <a:avLst/>
            </a:prstGeom>
            <a:ln w="152400" cap="flat">
              <a:solidFill>
                <a:srgbClr val="333333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5" name="btfpRowHeaderBox416762"/>
          <p:cNvGrpSpPr/>
          <p:nvPr>
            <p:custDataLst>
              <p:tags r:id="rId4"/>
            </p:custDataLst>
          </p:nvPr>
        </p:nvGrpSpPr>
        <p:grpSpPr>
          <a:xfrm>
            <a:off x="333119" y="1785745"/>
            <a:ext cx="1094339" cy="1149920"/>
            <a:chOff x="330200" y="1751024"/>
            <a:chExt cx="2540000" cy="972979"/>
          </a:xfrm>
        </p:grpSpPr>
        <p:sp>
          <p:nvSpPr>
            <p:cNvPr id="66" name="btfpRowHeaderBoxText416762"/>
            <p:cNvSpPr txBox="1"/>
            <p:nvPr/>
          </p:nvSpPr>
          <p:spPr bwMode="gray">
            <a:xfrm>
              <a:off x="330200" y="1751024"/>
              <a:ext cx="2540000" cy="972979"/>
            </a:xfrm>
            <a:prstGeom prst="rect">
              <a:avLst/>
            </a:prstGeom>
            <a:noFill/>
          </p:spPr>
          <p:txBody>
            <a:bodyPr vert="horz" wrap="square" lIns="36036" tIns="36036" rIns="180181" bIns="36036" rtlCol="0" anchor="t">
              <a:no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>
                  <a:solidFill>
                    <a:srgbClr val="333333"/>
                  </a:solidFill>
                </a:rPr>
                <a:t>Confidence index </a:t>
              </a:r>
            </a:p>
          </p:txBody>
        </p:sp>
        <p:cxnSp>
          <p:nvCxnSpPr>
            <p:cNvPr id="67" name="btfpRowHeaderBoxLine416762"/>
            <p:cNvCxnSpPr/>
            <p:nvPr/>
          </p:nvCxnSpPr>
          <p:spPr bwMode="gray">
            <a:xfrm>
              <a:off x="2870200" y="1751024"/>
              <a:ext cx="0" cy="972979"/>
            </a:xfrm>
            <a:prstGeom prst="line">
              <a:avLst/>
            </a:prstGeom>
            <a:ln w="152400" cap="flat">
              <a:solidFill>
                <a:srgbClr val="333333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8" name="btfpRowHeaderBox416762"/>
          <p:cNvGrpSpPr/>
          <p:nvPr>
            <p:custDataLst>
              <p:tags r:id="rId5"/>
            </p:custDataLst>
          </p:nvPr>
        </p:nvGrpSpPr>
        <p:grpSpPr>
          <a:xfrm>
            <a:off x="333119" y="4031101"/>
            <a:ext cx="1094339" cy="1442309"/>
            <a:chOff x="330200" y="1652672"/>
            <a:chExt cx="2540000" cy="972979"/>
          </a:xfrm>
        </p:grpSpPr>
        <p:sp>
          <p:nvSpPr>
            <p:cNvPr id="69" name="btfpRowHeaderBoxText416762"/>
            <p:cNvSpPr txBox="1"/>
            <p:nvPr/>
          </p:nvSpPr>
          <p:spPr bwMode="gray">
            <a:xfrm>
              <a:off x="330200" y="1652672"/>
              <a:ext cx="2540000" cy="972979"/>
            </a:xfrm>
            <a:prstGeom prst="rect">
              <a:avLst/>
            </a:prstGeom>
            <a:noFill/>
          </p:spPr>
          <p:txBody>
            <a:bodyPr vert="horz" wrap="square" lIns="36036" tIns="36036" rIns="180181" bIns="36036" rtlCol="0" anchor="t">
              <a:no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>
                  <a:solidFill>
                    <a:srgbClr val="333333"/>
                  </a:solidFill>
                </a:rPr>
                <a:t>Coverage</a:t>
              </a:r>
            </a:p>
          </p:txBody>
        </p:sp>
        <p:cxnSp>
          <p:nvCxnSpPr>
            <p:cNvPr id="70" name="btfpRowHeaderBoxLine416762"/>
            <p:cNvCxnSpPr/>
            <p:nvPr/>
          </p:nvCxnSpPr>
          <p:spPr bwMode="gray">
            <a:xfrm>
              <a:off x="2870200" y="1652672"/>
              <a:ext cx="0" cy="972979"/>
            </a:xfrm>
            <a:prstGeom prst="line">
              <a:avLst/>
            </a:prstGeom>
            <a:ln w="152400" cap="flat">
              <a:solidFill>
                <a:srgbClr val="333333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1" name="btfpBulletedList463003"/>
          <p:cNvSpPr txBox="1"/>
          <p:nvPr>
            <p:custDataLst>
              <p:tags r:id="rId6"/>
            </p:custDataLst>
          </p:nvPr>
        </p:nvSpPr>
        <p:spPr bwMode="gray">
          <a:xfrm>
            <a:off x="1664108" y="3126765"/>
            <a:ext cx="4159777" cy="626701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r>
              <a:rPr lang="en-US" sz="1200"/>
              <a:t>The Aura dataset </a:t>
            </a:r>
            <a:r>
              <a:rPr lang="en-US" sz="1200" b="1"/>
              <a:t>combines several sources </a:t>
            </a:r>
            <a:r>
              <a:rPr lang="en-US" sz="1200"/>
              <a:t>(CRMs, job boards, socials, etc.) and performs entity resolution in merging overlapping data</a:t>
            </a:r>
            <a:endParaRPr lang="en-US" sz="1000"/>
          </a:p>
        </p:txBody>
      </p:sp>
      <p:sp>
        <p:nvSpPr>
          <p:cNvPr id="72" name="btfpBulletedList463003"/>
          <p:cNvSpPr txBox="1"/>
          <p:nvPr>
            <p:custDataLst>
              <p:tags r:id="rId7"/>
            </p:custDataLst>
          </p:nvPr>
        </p:nvSpPr>
        <p:spPr bwMode="gray">
          <a:xfrm>
            <a:off x="1664108" y="1785744"/>
            <a:ext cx="4167102" cy="1149921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r>
              <a:rPr lang="en-US" sz="1200"/>
              <a:t>The workforce analysis through Aura and LinkedIn provides a quick </a:t>
            </a:r>
            <a:r>
              <a:rPr lang="en-US" sz="1200" b="1"/>
              <a:t>directional answer </a:t>
            </a:r>
            <a:r>
              <a:rPr lang="en-US" sz="1200"/>
              <a:t>with medium to high confidence</a:t>
            </a:r>
          </a:p>
          <a:p>
            <a:r>
              <a:rPr lang="en-US" sz="1200"/>
              <a:t>Employee information is sourced from various data sources that </a:t>
            </a:r>
            <a:r>
              <a:rPr lang="en-US" sz="1200" b="1"/>
              <a:t>are user reported</a:t>
            </a:r>
            <a:endParaRPr lang="en-US" sz="1200"/>
          </a:p>
        </p:txBody>
      </p:sp>
      <p:sp>
        <p:nvSpPr>
          <p:cNvPr id="73" name="btfpBulletedList463003"/>
          <p:cNvSpPr txBox="1"/>
          <p:nvPr>
            <p:custDataLst>
              <p:tags r:id="rId8"/>
            </p:custDataLst>
          </p:nvPr>
        </p:nvSpPr>
        <p:spPr bwMode="gray">
          <a:xfrm>
            <a:off x="1666671" y="4031101"/>
            <a:ext cx="4164539" cy="1442309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>
              <a:spcBef>
                <a:spcPts val="600"/>
              </a:spcBef>
            </a:pPr>
            <a:r>
              <a:rPr lang="en-US" sz="1200" dirty="0"/>
              <a:t>For these specific set of companies operating </a:t>
            </a:r>
            <a:r>
              <a:rPr lang="en-US" sz="1200" b="1" dirty="0"/>
              <a:t>in the Economic consulting </a:t>
            </a:r>
            <a:r>
              <a:rPr lang="en-US" sz="1200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space,</a:t>
            </a:r>
            <a:r>
              <a:rPr lang="en-US" sz="1200" dirty="0"/>
              <a:t> Aura covers ~</a:t>
            </a:r>
            <a:r>
              <a:rPr lang="en-US" sz="1200" b="1"/>
              <a:t>90</a:t>
            </a:r>
            <a:r>
              <a:rPr lang="en-US" sz="1200" b="1" dirty="0"/>
              <a:t>% of the total profiles on LinkedIn </a:t>
            </a:r>
          </a:p>
          <a:p>
            <a:pPr>
              <a:spcBef>
                <a:spcPts val="600"/>
              </a:spcBef>
            </a:pPr>
            <a:r>
              <a:rPr lang="en-US" sz="1200" dirty="0"/>
              <a:t>Given that Aura and LinkedIn is extracting data from user reported sources, all fields are not consistently reported, and therefore, top lines across pages will not exactly match</a:t>
            </a:r>
          </a:p>
        </p:txBody>
      </p:sp>
      <p:grpSp>
        <p:nvGrpSpPr>
          <p:cNvPr id="74" name="btfpRowHeaderBox416762"/>
          <p:cNvGrpSpPr/>
          <p:nvPr>
            <p:custDataLst>
              <p:tags r:id="rId9"/>
            </p:custDataLst>
          </p:nvPr>
        </p:nvGrpSpPr>
        <p:grpSpPr>
          <a:xfrm>
            <a:off x="333119" y="5615443"/>
            <a:ext cx="1094339" cy="849333"/>
            <a:chOff x="330200" y="1751024"/>
            <a:chExt cx="2540000" cy="972979"/>
          </a:xfrm>
        </p:grpSpPr>
        <p:sp>
          <p:nvSpPr>
            <p:cNvPr id="78" name="btfpRowHeaderBoxText416762"/>
            <p:cNvSpPr txBox="1"/>
            <p:nvPr/>
          </p:nvSpPr>
          <p:spPr bwMode="gray">
            <a:xfrm>
              <a:off x="330200" y="1751024"/>
              <a:ext cx="2540000" cy="972979"/>
            </a:xfrm>
            <a:prstGeom prst="rect">
              <a:avLst/>
            </a:prstGeom>
            <a:noFill/>
          </p:spPr>
          <p:txBody>
            <a:bodyPr vert="horz" wrap="square" lIns="36036" tIns="36036" rIns="180181" bIns="36036" rtlCol="0" anchor="t">
              <a:no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>
                  <a:solidFill>
                    <a:srgbClr val="333333"/>
                  </a:solidFill>
                </a:rPr>
                <a:t>Data period</a:t>
              </a:r>
            </a:p>
          </p:txBody>
        </p:sp>
        <p:cxnSp>
          <p:nvCxnSpPr>
            <p:cNvPr id="79" name="btfpRowHeaderBoxLine416762"/>
            <p:cNvCxnSpPr/>
            <p:nvPr/>
          </p:nvCxnSpPr>
          <p:spPr bwMode="gray">
            <a:xfrm>
              <a:off x="2870200" y="1751024"/>
              <a:ext cx="0" cy="972979"/>
            </a:xfrm>
            <a:prstGeom prst="line">
              <a:avLst/>
            </a:prstGeom>
            <a:ln w="152400" cap="flat">
              <a:solidFill>
                <a:srgbClr val="333333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0" name="btfpBulletedList463003"/>
          <p:cNvSpPr txBox="1"/>
          <p:nvPr>
            <p:custDataLst>
              <p:tags r:id="rId10"/>
            </p:custDataLst>
          </p:nvPr>
        </p:nvSpPr>
        <p:spPr bwMode="gray">
          <a:xfrm>
            <a:off x="1666671" y="5638020"/>
            <a:ext cx="4164539" cy="442035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r>
              <a:rPr lang="en-US" sz="1200" dirty="0"/>
              <a:t>The </a:t>
            </a:r>
            <a:r>
              <a:rPr lang="en-US" sz="1200" b="1" dirty="0"/>
              <a:t>Aura dataset is updated quarterly, </a:t>
            </a:r>
            <a:r>
              <a:rPr lang="en-US" sz="1200" dirty="0"/>
              <a:t>and the current analysis is based on the </a:t>
            </a:r>
            <a:r>
              <a:rPr lang="en-US" sz="1200" b="1" dirty="0"/>
              <a:t>latest pull as of August 2024</a:t>
            </a:r>
          </a:p>
        </p:txBody>
      </p:sp>
      <p:grpSp>
        <p:nvGrpSpPr>
          <p:cNvPr id="81" name="btfpColumnHeaderBox259637"/>
          <p:cNvGrpSpPr/>
          <p:nvPr>
            <p:custDataLst>
              <p:tags r:id="rId11"/>
            </p:custDataLst>
          </p:nvPr>
        </p:nvGrpSpPr>
        <p:grpSpPr>
          <a:xfrm>
            <a:off x="6366272" y="1270000"/>
            <a:ext cx="5495528" cy="315913"/>
            <a:chOff x="6366272" y="1270000"/>
            <a:chExt cx="5495528" cy="315913"/>
          </a:xfrm>
        </p:grpSpPr>
        <p:sp>
          <p:nvSpPr>
            <p:cNvPr id="82" name="btfpColumnHeaderBoxText259637"/>
            <p:cNvSpPr txBox="1"/>
            <p:nvPr/>
          </p:nvSpPr>
          <p:spPr bwMode="gray">
            <a:xfrm>
              <a:off x="6366272" y="1270000"/>
              <a:ext cx="5495528" cy="31591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600" b="1">
                  <a:solidFill>
                    <a:srgbClr val="000000"/>
                  </a:solidFill>
                </a:rPr>
                <a:t>Summary – profile count for Aura and LinkedIn</a:t>
              </a:r>
            </a:p>
          </p:txBody>
        </p:sp>
        <p:cxnSp>
          <p:nvCxnSpPr>
            <p:cNvPr id="83" name="btfpColumnHeaderBoxLine259637"/>
            <p:cNvCxnSpPr/>
            <p:nvPr/>
          </p:nvCxnSpPr>
          <p:spPr bwMode="gray">
            <a:xfrm>
              <a:off x="6366272" y="1585913"/>
              <a:ext cx="5495528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btfpStatusSticker594423"/>
          <p:cNvGrpSpPr/>
          <p:nvPr>
            <p:custDataLst>
              <p:tags r:id="rId12"/>
            </p:custDataLst>
          </p:nvPr>
        </p:nvGrpSpPr>
        <p:grpSpPr>
          <a:xfrm>
            <a:off x="9629778" y="955344"/>
            <a:ext cx="2232022" cy="235611"/>
            <a:chOff x="9629778" y="955344"/>
            <a:chExt cx="2232022" cy="235611"/>
          </a:xfrm>
        </p:grpSpPr>
        <p:sp>
          <p:nvSpPr>
            <p:cNvPr id="5" name="btfpStatusStickerText594423"/>
            <p:cNvSpPr txBox="1"/>
            <p:nvPr/>
          </p:nvSpPr>
          <p:spPr bwMode="gray">
            <a:xfrm>
              <a:off x="9629778" y="955344"/>
              <a:ext cx="2232022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000000"/>
                  </a:solidFill>
                </a:rPr>
                <a:t>Not Exhaustive</a:t>
              </a:r>
            </a:p>
          </p:txBody>
        </p:sp>
        <p:cxnSp>
          <p:nvCxnSpPr>
            <p:cNvPr id="6" name="btfpStatusStickerLine594423"/>
            <p:cNvCxnSpPr/>
            <p:nvPr/>
          </p:nvCxnSpPr>
          <p:spPr bwMode="gray">
            <a:xfrm rot="720000">
              <a:off x="9629778" y="955344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5" name="Picture 34"/>
          <p:cNvPicPr>
            <a:picLocks noChangeAspect="1"/>
          </p:cNvPicPr>
          <p:nvPr/>
        </p:nvPicPr>
        <p:blipFill>
          <a:blip r:embed="rId16"/>
          <a:srcRect/>
          <a:stretch>
            <a:fillRect/>
          </a:stretch>
        </p:blipFill>
        <p:spPr>
          <a:xfrm>
            <a:off x="10102664" y="6340698"/>
            <a:ext cx="673111" cy="228272"/>
          </a:xfrm>
          <a:prstGeom prst="rect">
            <a:avLst/>
          </a:prstGeom>
        </p:spPr>
      </p:pic>
      <p:cxnSp>
        <p:nvCxnSpPr>
          <p:cNvPr id="36" name="Straight Connector 35"/>
          <p:cNvCxnSpPr/>
          <p:nvPr/>
        </p:nvCxnSpPr>
        <p:spPr bwMode="gray">
          <a:xfrm>
            <a:off x="10899627" y="6375367"/>
            <a:ext cx="0" cy="153030"/>
          </a:xfrm>
          <a:prstGeom prst="line">
            <a:avLst/>
          </a:prstGeom>
          <a:ln w="3175" cap="flat">
            <a:solidFill>
              <a:schemeClr val="bg1">
                <a:lumMod val="65000"/>
              </a:schemeClr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Picture 36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97246" y="6341987"/>
            <a:ext cx="888354" cy="235348"/>
          </a:xfrm>
          <a:prstGeom prst="rect">
            <a:avLst/>
          </a:prstGeom>
        </p:spPr>
      </p:pic>
      <p:graphicFrame>
        <p:nvGraphicFramePr>
          <p:cNvPr id="51" name="btfpTable330310">
            <a:extLst>
              <a:ext uri="{FF2B5EF4-FFF2-40B4-BE49-F238E27FC236}">
                <a16:creationId xmlns:a16="http://schemas.microsoft.com/office/drawing/2014/main" id="{0A90D0A8-11D5-4BEE-879F-CFC3A475B5FF}"/>
              </a:ext>
            </a:extLst>
          </p:cNvPr>
          <p:cNvGraphicFramePr>
            <a:graphicFrameLocks noGrp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224036641"/>
              </p:ext>
            </p:extLst>
          </p:nvPr>
        </p:nvGraphicFramePr>
        <p:xfrm>
          <a:off x="6347020" y="1589271"/>
          <a:ext cx="5510017" cy="4430362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438278">
                  <a:extLst>
                    <a:ext uri="{9D8B030D-6E8A-4147-A177-3AD203B41FA5}">
                      <a16:colId xmlns:a16="http://schemas.microsoft.com/office/drawing/2014/main" val="2129886444"/>
                    </a:ext>
                  </a:extLst>
                </a:gridCol>
                <a:gridCol w="1504113">
                  <a:extLst>
                    <a:ext uri="{9D8B030D-6E8A-4147-A177-3AD203B41FA5}">
                      <a16:colId xmlns:a16="http://schemas.microsoft.com/office/drawing/2014/main" val="1504051033"/>
                    </a:ext>
                  </a:extLst>
                </a:gridCol>
                <a:gridCol w="1200251">
                  <a:extLst>
                    <a:ext uri="{9D8B030D-6E8A-4147-A177-3AD203B41FA5}">
                      <a16:colId xmlns:a16="http://schemas.microsoft.com/office/drawing/2014/main" val="3034844158"/>
                    </a:ext>
                  </a:extLst>
                </a:gridCol>
                <a:gridCol w="1367375">
                  <a:extLst>
                    <a:ext uri="{9D8B030D-6E8A-4147-A177-3AD203B41FA5}">
                      <a16:colId xmlns:a16="http://schemas.microsoft.com/office/drawing/2014/main" val="1440288617"/>
                    </a:ext>
                  </a:extLst>
                </a:gridCol>
              </a:tblGrid>
              <a:tr h="618410"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1" i="0" u="none" strike="noStrike">
                          <a:solidFill>
                            <a:srgbClr val="CC0000"/>
                          </a:solidFill>
                          <a:effectLst/>
                          <a:latin typeface="Arial" panose="020B0604020202020204" pitchFamily="34" charset="0"/>
                        </a:rPr>
                        <a:t>Key companies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CC0000"/>
                          </a:solidFill>
                          <a:effectLst/>
                          <a:latin typeface="Arial" panose="020B0604020202020204" pitchFamily="34" charset="0"/>
                        </a:rPr>
                        <a:t># LinkedIn profiles</a:t>
                      </a:r>
                      <a:br>
                        <a:rPr lang="en-US" sz="900" b="1" i="0" u="none" strike="noStrike" dirty="0">
                          <a:solidFill>
                            <a:srgbClr val="CC000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en-US" sz="900" b="1" i="0" u="none" strike="noStrike" dirty="0">
                          <a:solidFill>
                            <a:srgbClr val="CC0000"/>
                          </a:solidFill>
                          <a:effectLst/>
                          <a:latin typeface="Arial" panose="020B0604020202020204" pitchFamily="34" charset="0"/>
                        </a:rPr>
                        <a:t>(current)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1" i="0" u="none" strike="noStrike">
                          <a:solidFill>
                            <a:srgbClr val="CC0000"/>
                          </a:solidFill>
                          <a:effectLst/>
                          <a:latin typeface="Arial" panose="020B0604020202020204" pitchFamily="34" charset="0"/>
                        </a:rPr>
                        <a:t>Aura fill rate (%)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1" i="0" u="none" strike="noStrike">
                          <a:solidFill>
                            <a:srgbClr val="CC0000"/>
                          </a:solidFill>
                          <a:effectLst/>
                          <a:latin typeface="Arial" panose="020B0604020202020204" pitchFamily="34" charset="0"/>
                        </a:rPr>
                        <a:t># Overall</a:t>
                      </a:r>
                      <a:br>
                        <a:rPr lang="en-US" sz="900" b="1" i="0" u="none" strike="noStrike">
                          <a:solidFill>
                            <a:srgbClr val="CC000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en-US" sz="900" b="1" i="0" u="none" strike="noStrike">
                          <a:solidFill>
                            <a:srgbClr val="CC0000"/>
                          </a:solidFill>
                          <a:effectLst/>
                          <a:latin typeface="Arial" panose="020B0604020202020204" pitchFamily="34" charset="0"/>
                        </a:rPr>
                        <a:t>Aura profiles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492041467"/>
                  </a:ext>
                </a:extLst>
              </a:tr>
              <a:tr h="249867"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</a:t>
                      </a:r>
                    </a:p>
                  </a:txBody>
                  <a:tcPr marL="6350" marR="6350" marT="635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</a:t>
                      </a:r>
                    </a:p>
                  </a:txBody>
                  <a:tcPr marL="6350" marR="6350" marT="635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</a:t>
                      </a:r>
                    </a:p>
                  </a:txBody>
                  <a:tcPr marL="6350" marR="6350" marT="635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=BxC</a:t>
                      </a:r>
                    </a:p>
                  </a:txBody>
                  <a:tcPr marL="6350" marR="6350" marT="635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92402270"/>
                  </a:ext>
                </a:extLst>
              </a:tr>
              <a:tr h="336250"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Target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8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FontTx/>
                        <a:buNone/>
                      </a:pP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0%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FontTx/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7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275745065"/>
                  </a:ext>
                </a:extLst>
              </a:tr>
              <a:tr h="336250"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eer 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7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3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921649433"/>
                  </a:ext>
                </a:extLst>
              </a:tr>
              <a:tr h="321065"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eer 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68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2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57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630146492"/>
                  </a:ext>
                </a:extLst>
              </a:tr>
              <a:tr h="321065"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eer 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6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53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960992623"/>
                  </a:ext>
                </a:extLst>
              </a:tr>
              <a:tr h="321065"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eer 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6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5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72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293738598"/>
                  </a:ext>
                </a:extLst>
              </a:tr>
              <a:tr h="321065"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eer 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9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95634769"/>
                  </a:ext>
                </a:extLst>
              </a:tr>
              <a:tr h="321065"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eer 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8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3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05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933958916"/>
                  </a:ext>
                </a:extLst>
              </a:tr>
              <a:tr h="321065"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eer 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5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5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522309400"/>
                  </a:ext>
                </a:extLst>
              </a:tr>
              <a:tr h="321065"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eer 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4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703634918"/>
                  </a:ext>
                </a:extLst>
              </a:tr>
              <a:tr h="321065"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eer 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ctr" fontAlgn="b">
                        <a:buFontTx/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0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indent="0" algn="ctr" fontAlgn="b">
                        <a:buFontTx/>
                        <a:buNone/>
                      </a:pP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021781146"/>
                  </a:ext>
                </a:extLst>
              </a:tr>
              <a:tr h="321065">
                <a:tc>
                  <a:txBody>
                    <a:bodyPr/>
                    <a:lstStyle/>
                    <a:p>
                      <a:pPr marL="0" indent="0" algn="ctr" fontAlgn="ctr">
                        <a:buNone/>
                      </a:pPr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Total (in K)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ctr" rtl="0" fontAlgn="ctr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  <a:cs typeface="Calibri" panose="020F0502020204030204" pitchFamily="34" charset="0"/>
                        </a:rPr>
                        <a:t>9.2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1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indent="0" algn="ctr" rtl="0" fontAlgn="b">
                        <a:buNone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  <a:cs typeface="Calibri" panose="020F0502020204030204" pitchFamily="34" charset="0"/>
                        </a:rPr>
                        <a:t>8.5K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664534320"/>
                  </a:ext>
                </a:extLst>
              </a:tr>
            </a:tbl>
          </a:graphicData>
        </a:graphic>
      </p:graphicFrame>
      <p:sp>
        <p:nvSpPr>
          <p:cNvPr id="9" name="btfpCallout243667">
            <a:extLst>
              <a:ext uri="{FF2B5EF4-FFF2-40B4-BE49-F238E27FC236}">
                <a16:creationId xmlns:a16="http://schemas.microsoft.com/office/drawing/2014/main" id="{763E37A3-4A99-D250-0E5E-825F7583ADAF}"/>
              </a:ext>
            </a:extLst>
          </p:cNvPr>
          <p:cNvSpPr/>
          <p:nvPr/>
        </p:nvSpPr>
        <p:spPr bwMode="gray">
          <a:xfrm>
            <a:off x="7725597" y="2312438"/>
            <a:ext cx="667112" cy="229076"/>
          </a:xfrm>
          <a:prstGeom prst="wedgeRectCallout">
            <a:avLst>
              <a:gd name="adj1" fmla="val 41794"/>
              <a:gd name="adj2" fmla="val 86588"/>
            </a:avLst>
          </a:prstGeom>
          <a:solidFill>
            <a:srgbClr val="FFFFFF"/>
          </a:solidFill>
          <a:ln w="19050">
            <a:solidFill>
              <a:srgbClr val="5C5C5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5C5C5C"/>
                </a:solidFill>
              </a:rPr>
              <a:t>Profiles on websit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5826898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3" name="think-cell data - do not delete" hidden="1">
            <a:extLst>
              <a:ext uri="{FF2B5EF4-FFF2-40B4-BE49-F238E27FC236}">
                <a16:creationId xmlns:a16="http://schemas.microsoft.com/office/drawing/2014/main" id="{8C882579-3D22-C274-8C8C-55150391FEE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23496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04" imgH="405" progId="TCLayout.ActiveDocument.1">
                  <p:embed/>
                </p:oleObj>
              </mc:Choice>
              <mc:Fallback>
                <p:oleObj name="think-cell Slide" r:id="rId10" imgW="404" imgH="405" progId="TCLayout.ActiveDocument.1">
                  <p:embed/>
                  <p:pic>
                    <p:nvPicPr>
                      <p:cNvPr id="6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882579-3D22-C274-8C8C-55150391FE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" name="Rectangle 51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aYhHdubK/b9WYMbiqTQFZNRdTaHJ1Coz+gznC5J29/l+uni9WCTqRMIgVGBy5FSCqTCP+Vdrf4pg20L7fH6DBLCUQPEirnQtbpBHNoYBczTAjyI+Q8sdgREG8v3HKj7eJNBIgJSMWMn0emcwEVHj1u6frAMlnit+99IngQn8QIep/Qhr8jUi1LO+/o87oAKNdTM6HxTKJKukgEon8U9FN9MjiMGwBafZuJU+WqCFQVdev7ARK70uXYwiD9qBOT2xEJ53xs00Tf/E5haV1DY5Jejc+G8rXeT0UMHAoqTZdF5PTimqNMQ/u4r2K2rZiVAy65rGTsAipTXkzOj+LqzfpFyxzuHfdAgpd5blrULJEbY3qpdIUzvO77uPOqZui+8jANKorFIWX/KMAlc5SCJgaaEoyCajY5TTSCNxmawIgjBq/B2UP5L8+zGoTl6wk/0B3xMvzx0dsZ8Xux4e3xWxirSBQoAG92YdcNya40FwiPCMGdld9wvnf3BH5Dkqx8TsHAOZAFANKbAQvGiSmMn8ODm2uU0XXHh02ntm5Ex2u4Sr58nH6sJup7SM/D681FWViSF9JvbxiZ7mHs++7E5+XfvoqjuId4qpVs2k1tOKGeXATQIwmq1Eolvtj3cFlDTvK/iygWxn8jCh7SApcOIWeXV07BnQugPA4GjbrTpiWTFSs3vbBT2lQ5Ec9HvYEAGVn/hX6oj2mUYQzcz6pBkyubX8FEOU2py6vWuOXr3VOF18pw07NWG3MyRdcxMk5H9vHM3hgL/I9+m+/wLJ8vB0p0QtKAUgCYfYOPs5DbBInqNMUhj58g28V7dgo7NWQm5NAz9qmSZr8Uh1ucUsnF8sR2P7melkODKkkEYRPz60bTcDqiZAFvEiU2ftlHW/CQEjL9b93E1udycibpwEtJMhdq5pX+7izphOUWG4T1HEam6BlYcQzVUXP0ByQFgVQiC0WlLHcwNsCwCKj3aBxZIZwp/N4MwaYHz5ZHDZF+PiMRTjIIpjpgxtlDcdJ58HOEFU/zOGp5ePPhUUqNNU8sYSM0ZwvDhPufxeHAydFwLr1a3NH53h+uXz4P3/+NULZAdzhmuRCCuIyCapSwHgvZYu6KkdQ55dEyp/LJdb2G7ZhjWMgziPpnUO6aEerPaVK7YExyZWvDRs5wqBO8BWKjjQEwZW3hcOizCMUJrjEvhPD2/HJ6h5B3k6gSJg1q5v01nQopD/P/xGRu0+4Jlb1t9REjudMVEZOjEtA4jklZx4kivkQuRP4PkVBmno/X+f3My+TyMdhcxz3wN/4NsUTzo0UKa9GGR6VVFErnaXSj+z6oLhqTIn6H5R59ANKza1t2nnVujyovnKyiggcBlrJnOrimvC9tzlN76nMGnuUqtPskIBNQco6vl5Jz97UaVMXBimT7C5K6M146jTEn0CtVW08rjdsWTHH0X2vOyVFPR64VN6uL2UyjBFGV6njv/Eox3UdAcx/i5de2g5KBvbVY8reOQ+xjnu8uziu5HbowGj3uKOgfv3x+2ALNh1R3/OeRNlcP1YPOsxjdwHhNJFU1djYS+DrphniAM0RvKm6sJsM57XSFvf/B/i/7mdqrGv3N68VH6whGokS1R+zkMeA7lcA/6sacaYBg30YjXfU6fSa+YnNMV3Qn4LHMvC2PKYkyNSYW5gbau6hF8T2DZNklEiLcjI5OMdb9XH+UkwDTokNBsrJdX/zPoniFqS+tchKykpJv3UtZt/rRiQjD/mo5NHoSHaimgzJkKICwzeLlUbpw8eqQhxQ70V+nnKdyW9XV4GX87z6MKy4os5NiDvVnZVueFpIEIH6HSY5cNWY+VyqvwyeAtkKxqwmmw01RJeiQaQxZYrUjAuKC3FjKOWJ/+22Qs1A4JZK4gXNQgecahpN183dPN2ufLoKvAd5k2nPbed90pN896jh3m5nl9gy56yn3ELkzPYhEm+Qah06UpdTJP3FMqpuP9aDLzRt40PIz8GvPcACausuzvaBa1rOIKBaRN7ilz1KmNsm5KbriAsMeCBQXVeOcO5C3IljmuxgKLG6v9m9fT2IFAEUu2IWv8qfuyZPXPPO1nPhlvfOKJTLVx5wJKZZIruSJ92jyZ76rymFvlV+ITZ8w7iydPtOLrLJKFRDoo3YWSaI8uB9jhYfM3rbisX64guWkBxXUw0dMSFmPBFSASm8RpwQmpZt9OTti2TkIoCeYxZt+zAWc1bYYLRIBbIH1vrJcbGx7wXwT4e8gMP+9AlmxLjahBV8uhwkTc6hWnlwqrKDWAdyuCUXJBWUFcsTDb4aK+GLVJ2O7RiPCDJM8+0S1vM5FhRLtpbKjD0/Uf9/RJ8LmJeouI78688mimjTpb68+ZscjmWvz4JcjR3tdXGAEg931/kXP5MZLEWHTN3VOLEzHj4OGJyKcZ2lRyXzRF0LN+8SIsp4PHpMZqdW76Fb9v8M3uyhvQFfWwnextKAymsVQ7zcIXVlqui6hAh46BZYMlpz0qCaSI2KzeZgOA98yrAEjMQonrK7PLrFRFukvFMUGmIqLFL8G4QtPJdAPTkktarYvNhDCcyE1sGYRjqolZjv5GVNMHI0k0Z4ixGUYK6AQTl+JI0sIXQtkhR3KIGYJc7o3pY+WJiOLBTcLugPc3j+tf2dBFbfywSnPtix+BsxqB3ajip/lPmRjH6kSQwm13XwtdaefDgPG9wz2GealkiRgEdlmwj4U9x9tXHBc2gsFEwMrXyUx1Ip9QDy3ND6Z4h4vGulPdHuVT/CTk6NyJtUnTkAYErd1thVoyvpDm6gOPXxLCkDcSTXYK2SrDxT3SxvgPrINDn9Cbl3Bk0YFePywJLJVil3LOUeo2/DUjIMUiafyrCBxT/0ekw+dapiU/3f0IMb7+dE7R+PeCHPFw9v0zMJ0nbR8Ecwk6kTHpTtmr0aWjN8otWJdIAv6gio+M16UJWb/LzP7DJdlWDojyH/wXxNAcvRdic5KusGX5cKt2J/HJhPuy9QgdapvD5KC9LBEH5A2ZlAXpebDu7DNePTthAFrqlJqcupfMSIyLeRLxVmGfE4ww04Ky5oGwENRA1ucCGYTGGbK/uqp7fvvDwowNSIJidWU1ByHiVefivlNCQ4l11DH0GbR8WH1dx6ka8SE3dhI4S9ktJm+qzLLghKmvInEwlWbQUJ2ZoulbmEODUZlAO6Ic40yC1n9slnVRNp4tX3UXbNdcO5PLlgPFgkh5AGzZZdCyhDuQOv7zB4jsnGl63KNSDlBiSj02uuXCemZ4XqH8vAxrUASZ/w5QLTTtegRjZvBZiZHcpIfJ5HkcCKKkj9L/sUzk5suUNt822T3oh4cDcYz+bACoae9mO3LwwNg/B7fMBXMwMzs8QpJVYEGzMT05aO5AZWAjZkmzt27gMXMcsoSOFdO1228xAZ+V0kKIQAs+Q7O7VhmCFWippIulhI6jfK/uGtE/fHZ3lzTfVKwoyKtZ28xCCjODVQFyJ/xi20G399CaeCO2Zk2kQCUK31U6y0SrLz+oubXanmlns8rfChmhjN1by5fRv5Uu6CyqQoA/eblNmodgllQy98nvUwOld/1PFPCyoeCC7gZuiJXf18vkOa4rOWlaI/PPBhBbl6ysnRey8TRYNnWfWfQR20MGaG/DOM1NAY19jR7bmTj9AiISRt0CtA+aIYhfjzra5jqDY1Rcllyv6Mu1F+2qobvP5LLY63W+KrOB2pEK6QdTYB72Kast5bJ8YFAP5A2gcRt5TAR2/sdwdBYyWI11E9U7qJGS9Yi7AB2NO+kTNIKwtcQFrGoVWFREkfqHanaZN2FSPiP6VJJnb2d/GoGCcvG1kkmAJu/LcVuOGQ7qFUIaWNQmscu2tneqIz4ttCR52IOeIgj+OkrUVnQhX4lugxWFl+ZWiuJSK52y6FTVHHOQyrank7YS5MVxlyogh3G3rpTz/rE4k1y7T4hvNqSbyAlx1HlZJgO8krsI1JF5ZRcsxAX8XAvjtfZ20eMDNOrKtGa5hgsYJiz3UtADPRYQ20MpiKps6DX2jKv8zFoVDnz5KhvxPjgaN3d5rZ4l36hFhrsq+KRCUvQoNA2hv1m+IESDOrCB/8kMJwr1woumI16Lzv9nKRDP9i5jk9ed4CV61OTcwKpsP5nHGcx7JHY9kv5xWwOrll4WxS1h1ELnJQvDdToBy7y5SOju6uOkpeKNw2in8GSp/cAAEoQXl7ZwbDPG0RkA7+t1t8qEixevLvaIorS+e3rKRzeMYpMHnlgXYkKiV5bkVR1Pk/njsL7Msb1KaHRw8rSSsxCg5bSvvBlCMlQWND2RDdPq29yL6WVbf4CGpA4PEO7yQdkJ2bLbb6B4VCQ7eT7HwsBRXM4QgVJDMQrNoBVy4KC84LI1mYH0w+AkeKdAQIhFof+nkcLWrPouKFnyz5j8+qdzemuX9o5MsVGhLGBu1Z5T3hbTtn5j23lj8vnvRh6PwKGRaf1RMztlXmOzz33i3tlB35aqzqXgfefCSGX5uox73zxy9JvTBztYTvFK3dVwjYisThpBmp6Gbj/PWYq5nYUSlBBwOXfj3cEmFLf+YpriofFISma2LjCJQi2dZMkB85CU3shIbf3NwizmBNrPr5nF9TEiU147l+s9cCGwG0EfZ0g1wIxTJketp8y4ggYdX+t6r2MYELyp3As16CuELSSfFbp+t7CLoLOyiZ3+3atDYC6bM3muVpKLWjS7UWvSFMauclUMon7b+Tp3ksi9JV9DEtGxdorEzAuSqK/qgrQog3lhBr600FFXm5TVstGUnlLJtMFX4AczWkmLKYIQN85UUf2bUzG2RzOvGXOuAskNXHVJF8iXpNHzH4ZwJY+utsFpmqdF9yCd5+qYRRT2Oh/qeUEvHdNVTGGMavHlYxxpikPl3yJWJ/a/Tj8NH8RZzFELU35FccmCVtE1oPULSLp/l4js4BWod6wUo++KJykLeaFGfNpk/NqbWcwuRHvvqWmCAzOgYvL1RMzdI5cq9zqRV6u2TF4g1Wsb1bGr+uRFiM3Tqu56uVZKQjf7eynLsy/5iin4tXH4CPg/FZyiIDupsxNVgSJbgLF2uJDC2sqHShsJTkGLc7A6xWjx1E/LrsQL3stJthmEnhVOgT5KY6I+pOm0GzFvFZwRCb9qnbHJdWZ1A+wetzFH5wVTn9nHJiAewTT/nwietZyX6E5CnSYHseYfi1AbBnBBgD56OEd/p5Po9/SsOQuyk47AtwlIvTZtP3ECobK2z82I9Mdg12g52V4ZbpfF3nUKmbUkc/adn3IOOS0+0QY4AORoHccPMBFdKQpXoLTjNS5PN+ZhLPmPTSeQTYHImbt3SlEhfMMJbTymhaIO2euoN2bDFQ3Gj7kCvc872bqG5sVZf9cQbyGNWckvM3tPw2ry3qOn9Hy0LmvU5yiOEpPC7bkC+PuKYK/q212P2AVLDKmY30cWCHw3ssVRv34cGspAEWEfqxbdnkbRL0EdNdQy8A9dGbLpRTEWhz6pJpD+JIaesWd3ajq7CKVwrW5YEswQsWyhhF82X1458G+HARXB0L23xISFIYg57TzX1vinBQq43Y/QfIPc70zVevTq1lg8jUe2g2oRCd+0imOk9gGRJ+2V3E4oVOiksp1uR19/Fum3o2PgPttCb0yEyq4plbUxslRsN4IrNFoFhJcRaIiWrSVFdzlxR4wXWzJKdZYm3WMAAh+LFQQ9OEhXCgEaeToLkTm9ruwR5uEpKOla9K/vKguCswpRUB8Ub408zgmapjy3tt0xW6IBh6KeCNj3eiyjjdNAXiXrBZ4XPromKRaOzndDm1xZsq9n6aSE/xa/p3lhQglI+uVt9D//pVtNC7Ai09bjHRpEPkYvoU/YHTBfxgcUtVbX2S+CmrJH7sU9mrIqHE/SmsYhtU+NFEOyqFcghrbVyFaOXa8ISM6L5Gzw6ljy1mPWixsfe1XDc9s1/SjTobPVEgC71kKPi/tD+S4aRMSzfhuwpmvQYs2AaOSDBONSbjjfu2bHayJu/wBSa3QInfnCXjYEd8O8eNdX5aH0cKErSwe6D3SzGX9zlFUZt4IDCj7C97HO/zKK0XiYbHhXVnBjG2rQ2YEar+lxxgixXW+7aOZ6lubG2CEBiuDdf7lnMjTO8HboY2e7PxgHiKNf9axL48TM25sAvAGXQRpYWlksFIrMPTswr062JAjpH+BR36TB0Jk042QW78MaWmZjxVE7WAsun9k7nO8T44H7QZ4NEv/Bf/c+WtgOYU4uzxlDeq8hdx46Roddvgd6J5zjDZcCtushSIAvpwdmFsiTWwcKw4w5CSzFLKkainyYCRGyY1HqkK1ZbcgJCU8JxdgrbUdy5M79SCN6oba/dGu1tV62xRTvwizqrmdrje+Mi3wF5N3OIB7mGvGmgbzqtuvn68pdQ5cSc4s3LmvHtLnsoIVf2NzyAFlGJJbuCOa7KHbOAK8kZ4i3hJgFy1Q8VoVqsGdzbv9SWBObLegQDk2MO7T8HmhYyCrjnBGkM4vjkCFfriPUn6j/FDS1PR/y4zLXLBxRRmRGaRyCOwHIgsY5JROVS5DLFIVv68BqcrLJOm88O3TnFTM1qMneMr0VvrwO3QzfVjA9Dl+4Iv5r3T9wicXmpAQW8SPC9JhQDlHEyAIv2poDez2ylHm8Q/Ej7BafDcYDCBTd0GkRzyTmdXL+MFv4ozWmGLcyk9IeDp7LWiMEEZwC7jaW+cMMZwrutWqAZcIxj6RhuSHFTHyiF8nD2ltRK+9/GUTm5reA38x9VO0Z4XlOOBrEGtchor4a7RMnYAZzphcQVvFM1X9LLfiqvYa5oyYfJWpx3OGg5hSHyaMEo/Cj7sloi8dda2UNxI8vOHVO6ybx2hS9kWPDViorD1zv3VPE0Qpvjm/whoY1l4vHZtRd3PUbh9cMXD/oHul5WpN0vkIhzz04akxyuH7PYJc3uOWDV3Pa1A/3/zGBjVNX3yHaAFhAX9a9ientgXo3FbOv33K6Pj+MrnxN6Gj/dl1GFM/8VJXNMFhG5ZDXUBG/E+ckusJgE3Vrc0Lp834vkDBM8Mi+cH2xlFwZqYfWGTJKLOq56YaEc0kI5nIjwbD+G15tsPAOcsWMvzsa6XuO2eQdwv3y1SeRDwOnFHifEPtwRY5oQ35zGv/G192DgCvByp0OZAjMMjDkgX8ZaZGPie/1k1mccx3QD2KS7lIJuPc7BmCa7QByqrj/4LqHoCCrJG6whg5yixAWxlFihkFgzFnKI+jElTdRbOHtorX8j3evF7tTpNihkHJM5QOqtRF+M1BnLacwdIuOeOvFnH2we1qjYgnoNEKMiwR0z17kmAFddRw5p5H8S0q+bjlj2obMvDaIX9MTL7hX8hzHYvBV0Z2v0MS6pQNYgSVKy8y7dYfIsoOwG6lhTqXAWod57+OxdEpKkhFxgFR3Wj6Z53sMBpyaUp+ANAjROqNfRy8f/lHOqr6UdV4t4PNWDyuTRY04erO8BIJG8n/EJA4UjXglIT7QeWbzC4p9yjrbCa0awSleUCyDlJ68ajW0tlDnXG7fb8lS0KzH1n62W/dhK/AXIxoRH9+axnpemZRQfx+QEFgGUAB6GGR5ogQaggubnQoZnmMtoQktLPKhFSlZcs212L34oBjXcxBPZSv7DrUPSOyvq1Iz/C5xQ4GqpJIv4bWnF1aOLWlLI1wZxa1CeNsVMrQZOwsHTHpw9FBqQKWIsZRk4PClDHQFGTXhfZGOSl61Ng4qzikjk5ZINJY4dZjUaDNrH9OtLMrr4eiplq7loVDHSwbL6hu/GRw2EHNBjPxm4q/WPpR/FJLA7A8VDqEVQhqAEfrIWBNr7TPncQg6b/pZnqpD2Zks1W7nMcM4o+6dxl4YK60A+yv7etv9QI+9Lt1f3GOzunVdslZOLYmSAY+Cac/WwKqaaZLVUNPjXHHTYQvzgmz1qzXpsab9kK9Kg3WEl1TGYpgjXOoYTKyjvQgd6h21y3WqLbJMSq+2BupycxKiIBUEm4KuHojuz4bNsVda8dyRHUCkpGwOV1Hff1I1Erisw6rCz1YzdibQBw0jWgxaB2mDx2Rmc1Kt1/6VgJhri0GsyIPg2TVR/YnKvtQBgo8ljV7FrNmGMcUd7oY5y+p/iAu3vpMo9MadeFj0o+fFHITCFhi2s/dMPDCXqE8aXBoXa9XliddCQhLxkAoEwsflknpGQGaYvagSFgaONwJLuUBIvxf1LfKPsyFUrBiXUXszrm7dx6rlCCosy8PJbqlginW8j9fG6yUSMelbNxd3HLfud/zGHxKaAhXaCiI4URj+DjtUNEq13zazLhZduDe0+TUAvyP3DCUue4bxHRKZdV5Ko5Nva8t3x8wCWGZyL+W/lv242U8ro0GhNOFMWi28v2KrMYoMn7B39Sq3ADA7+o8s8FDnmzEaA3N9qMW7eoqyXStQS06sGRI6K6AAe42Ibg1RShbCEgzXstr2l75fLSEy142oebe8Y5WGXdBUju1awnTxfMZj46rGn4GdsihYr2jXWTv1LiEO3D8D8AYEbClD1QqvL1CDKSJzn/zHsRoDRgGDGAZ43K881QfxpfNWzOX6qitqLlo3HqXs9+8b+9JCXCmWHrWVa14eyPYp+x44LJW2ZxwRw287pwNMYGiTnQh1gV4uRtP8ZrJZZr5ioTYxDM3r2liLcGJk2A0gTs/kFcFbtAISmffeS+FI3jFoj5rBIY4jJPx/cVcvDbjHwHr4fpEBIJPNXCrwGJ3ktDYRwkvTrXunonNWvQy1hthCIB7xE2h4BEJ95n6W4ycg135Brrh36jAKjhBEan4PE3Ph87p/9rdELF9ixucRbFxa47F+eLxmZnI7HpbXHn8JygpjbkBZEuZMQTxlJ/qw6xtEHd7Ff0+TcZDGJ0Y6PyeyOM1dfMOOadzhJOlA/gx855SgPFfmWNNfu2FFt7LBBsL/DsWMpoeg+7gHvsJyZYDd6yK4IwaU0f5j/FZNDOpwNY28JIZKF0462VpINlMJD3Mu+r/rsYuyABR9o2+MWZ9QdlZlKF8Hd3u8FRWQ4770f/kPmut8olEQQDv78ghVCyivZZ2W5suBHYvX7ggwx989ubqSRofLJcztzZ4DxG/TlMlQirD7mPZVF6HaKAVYLw81qK9Lz0k9bZyNHk6zNQPwNQfRCPzZS+gmyZcyGdYbmj8cXrxRuG7s9tEZwb3qTwgyLyWXad95TDOnMQlJc99/5WOlfxC+WpJ4cc/jEqOOo1iMjK7hrTr8QKBKQec7g27jK32X2zi5R3KZpMsHnywSC0wW6JZutFelnnRZFRFT3Up8vlyVDWiP16dbiFJ/BnUq4KtwCnqBPTxonr27SaTO6VtqDxI2sMZtYfcOqIMV1PaG7dhLeztmjpbe13ln522ss2MLhlRWYuA4Epiu00uzCuY/vNXAVcepL9y57tHrpUAjPSTx9EyYEG4cZ1oRgrcfEPvLhSrec/tF+eUgqO0xWKM4aRQliVSlNqFcw0aRnYg/owAe3Vmyjhy1IegT0YJ6Qo3i1E7yZsn4D5P3Po46EIiSM5CtZcKL3T33r9tctbLD/Dvr//InB5acbnKd5ZRvam83wUrN7HJlHrQWZR/QnW9Y2VINOoqsO8pswXS18C+UrmWn7Qslo/DY2Jjhq6vigt5I5jJ4YHWdWWrpYJgqTnoP9bg93CiIsd8XUeNXk7F8g8e/dbINB7aMiG5WhX72tADaofMbN1cnLlZ5Dk7aQTof7sdIRWt83cj/FsRfdOabuH9Tqx4oVIXXuarUdS6WBZLJLibYm72oR2z08VR+scQIIM9wO3xLtJogsKwPrSzBIbV7lYTyL097l7RHFRfuNsE2XtM5SMf2KEEoHcEnNEc6jE3nT9O95kqNh90MKUL/UfTdZ74xRUX6S47ACSy2SrqZKXdw03Vt/Vkn98ej/fwQRe2rAqYA6SoWG/TGA/b7mVgKCwUiJvBF2bFcKBxBbVvXrgwX/gMOpXw5Gspo28jD/bz/hXMpV950fWgSXidVtnBfluQgq1RbaFivHdFKn5IPcpbA73FHu3WelIRg0VXFKfPHroCHkLSZtrPD6iBrLvTo00W3cFJb2Hv47g14tCQjjwZGilJU/TAkwClfUcB7HYrMA6q1fHHL7t0vHhfc+JzA3rl868wCHsCADrDM0e/Co2uld/1r/Z4Zb44WlXYLNHYxETP6vD1ciX6l6N/aftDyJ2MFVa8Unj5P6w/Ro4IQxVj2PVrk89PczLn8pfvZbuueFlcrX7sGStGG0G4BbqTfkvy6D4yhWyHGDKMclDh/jE+5zPRyNKETGbRQVjckAzRVslAdG9nTWIakMBHjZ+CKyuA9PWI0B6MYY6WeWsq6RNZunn570voAALkOGmNwcitXBT/LiVJnVRrKLXQ8TMGPqBnSPPmm6rRWEQ9+2T+E424bkktCx1uBWDKQ6i+OlTGT3VS+X6tnjZZLKYory7bTvKvy7cx/PRR9AblL+3hkAvb3suTuShP6tx2qAnBqCP1U+xM/Tl2ECy/2g8KOvvig4bC0q8QNGWUNGL68Jtxv2NV0yFoIsKBDkhvvR0wFp0teVjYlF4mzzdBgbn+XDpewfw2ByfT33jxVJxEJyyeiL9FKA6mDFHyTKasqCRzVeVR42voxWfut1chPFTk4mTnJ0TcX5Ptj6ReQEdoRjsHMhzk5uJi8BADDXahLx0e26XORBa+1dVMaN2i7vzzGmTmrj0zLgxup7TtQmljEo+gg9Pu859BE9FN2u3qV+DGbyFX9ZD25tTi/yVjAtdAc+VqzGAvXnxLebXae9yvJGCH25fJu3OfDCk8G9mViuGjy+wgh3oAf6eexo++ipnwA89sOsJKzzVGrN9n+6EIucibGJZvYTqlH2a09c/HUKKfuYwnE/vI/N57TZcNZX/Ii7h3npiLMEW163BpX+rZIfGHeZ7sjJKMfCaOYgT0XDkMlzAiIc7hKT8A14D8GIAZNIlbbhdsdxUYq2llISPQ7TLYqzRcElaXUQhampk0PJ1xQ0SzQfza2ANEitCHiDMsbkvM583wsf9z+6J3zG1u8bdoD4Oeqi+zQ9BZr28jq62BI/prOdaqKHiYfgbEQpfdANzgsWymjZPHHnBnHfoVrF4Z7J8b29Jt5sMORw5wm+CqQ/RURJMIwCrop/ZjGUuYqD+iUpJ6e/A6GLNPtM/3KQmFPgjaXotQB5aXKpCIip0MboZTCJcR/uNnVbKfNf3u2yxmmI4Nos3k47b6RPcV9RfF9W3Yoaf8FqzZ2VkBBEcEdcSP5D73s1men+OB7/hSGuErVFEvgKxtVegKtquTT/+RCJCfUdmPsWJilbU5FAqgK4Lr8YlSt6ByDSo6tVk0Z3kBdgnzwbdWjMiP1QqfEvZBgjBMoaTGoPGIRvu1Vg08QH8yZsFiacDAqpPVNNUpMJMutmYboje0WGGp9rznmnS03k+QUbpWUoSB7RdqN9ObK1zPC9VTM5BDfYMN2bWKeCVIS+uJ8l/sMsrFCpsA6m7LOAZ4QbE9MgXhi4PDw9fWVRRyMjrn6lxMlXYm4aFW8o9ucpymJs0YU3ZqM1OWvZ1pIBcSh1CwD3c2Y9G576A4XFdWSTDL+qZNLo7E1KusI71lG5MF7BRjS8oSd81TPdnIRdPWgkIEUcjYAY9WuPssGAInUfJayb/OYZEVB7uHN5XWjrCc+TcQ4cqYM3GlzNjeNj5yU4ToFSrPvpHpguYe6NBcPE9rTK9ZYqy7nG49pZKOQA36wN/axz+KCe7WtmhxYGfZleFIE4OTu/h8ee4CNWK6qTLlPxnGgwFYynnXhywMv+a5uLBVGGdL8uPkyS5wpoRZWCFulnKTihVeAQA5RDYGMU+dX2LxChKjrqomD9J8SMBGhUQ17YzGGgr6zTqXDbrUP0fjLDRzkFRHn4UKfIp7uxxouHfGA+kpRC/hRaRrzEivqpm9AFTsiERaybPLThLixxRmTINFTC+eZDZwHnXHZMLEV/uYzzt65u6CTA+bLti8BuqfkpMYR0/QxTtVFZtPGdxEqQd3QXxZzERsnoN/r5LZKWm/XBWSM5gaIB4DPGORmrTgzflddf+L2KDt9GQUmPi4jWsNYkc3siYRF4UXE95evt9JAONQyipqHV3zUQf7L/bPqt1A3Ln8T2LJyF/l46W3p9knbsqvFlRf+HolHmxNHIHZBL+OOjyAef3ihNTmPhIMkfRX9mjIcwjm1xe6M6izrXjPczjzanBLVottseeR+v2J17erMGNgsLbIRkymRw3oCm7Ck/jhlDxZoMWxiTAk2zC9niVZqzCQ/roU7nDcOZQG6rkREAMqghOAD2SDsLiT8myQ5DPP8uS1i0LP+jwIi/jRGdnsp931pZDjO2+AaTmJsv0HM/+FrcPfg4bS4mhxaSLR9aIS/5d5fnebB1EIj32xcwoTsfwycmFucBWXUXnF4aAg5aELri+HdI41q400CJ/tIwD0JKrsXMyxPbicvhBVw72Mm0mALDtVrPEt5nEpTQyeOckqkmdlLrJRKoX0+ncYk/ume9lowdEM31C9h0IjsUrOlB0zEHPb8ddngSG3Gpy7QZJXprvz0VGqI/pso+ZrykJxhjJKQSzbfN3/FSDNouQlpp33mIsQpGO/XPTkui28Dnf1wRUhAqray8qQI/M8Bi4oK/pdhUjTjppykgUplBaKAV+pj+Ci8F/DNGFiaOUxrPfAPDMC5yWWfnpeFrWLduSEVDuzs6q2IJYx7Ch3J+i6e+g5SVHOYoJxQBGdJoJn2j3WqkVDB4qJeg0CWcBsu0dkaAv/0ydkWjuQ3QVfbZ46Kq+PbKQp0DCpfEOskuXYLuobrU2qS8RGm2FnNj3sjqoY9N+gky2StoNGSFDbJdKaKGfPAfi/bV3qHTGYvSEfSWBVxhhpbBNeD4N+/3QVjYqq0k5meL5uEvT82DodTqY/j3eOYKwJbmVPj22RX9fh9dWgjDaPRH4/k4/jo4u7PbzsgIPkgJrNeMMbAI9FAM/gcxxqRYFbmacD6MlCi2sHGBI8qsd4u7IJ3fQwJXw3CNtCin8o/9R8EJ3caQZVpg3fIPkFUefq4vJzWkRc2CEMHhog0HD3nUsQMD14wYNluvllbPBGyPPDgoK/wrbs/mMd7HEXSo4KtJ7lasVfiqmu57nHyPDc5pPzUQxj6GrFemsOjfP8dtvU/wcUVdNuskXKjmQ3ONfyoO8ErAZdazTkA1F+xErJkgH3fWb07CRWgOBaNAIEzTBYZYfUE+d4RkjzfVhzF1n7yc3dD7UTY9k+DGfhvK6fzzOOXa6A06b9Vd4t/JWLc9q/47s3zgo8Lq2XkGKdpRiSHyhK26YTvfpGLPf7rG1HXQ34sFD2syA2Wus9o94L5R1Ykk4xCNQDJy7EDNtq50uLWuAMhRNXCckgyuS9MDAsBM1g8baPSxHNykjI/O6W291POH504CVIZvroJOSWKenQlp3UvnttOzrzNEN2egd5aFbY/Vd4uCBP80ux9Xc+6NYHH38Tkv7t2NmmUa8UgNQP8j9KgwNbHdLTNVl376AaKWwE+R35/B1IjQrydZMUxVXYtdVs/FeijgDfb4B2uggg8Ai9gDyU+tf8GQQ7sI30/JVEkZiqH0qJ1cjYYeBdbvcADS8iWWemNgCFwGAhKdSxjoLp6DClc+NIayHVhQcMYKwffjpyxluAAh5vAcFtKvxBk00Ie22I0QW5lO/DkFq3vOFRXPETpnF65ussW87yJQr2Zzord/4hLtaTyYLn28x7cRHlKg6Na5qGU7ExQXu2XoFmuKmumOvkYLQrEvgDso3KXrMUvc82FtwZZb821GCnPkuvPU74eAHRFd/KBEH9ddfjKiXMLldvOZq/d/NIIv4CV/ffR8y1+uq/ygDZCUxxQzYsZFwNLR2v8f9QMvDiJgeY7tpMvrIzVIy5UaN4N7z9D/TWlXi+kuKwSrgO0fPUQiw/cgBmVDutGJsSRCgvS0RTn/0z8ztGWMGtn4N/NHKW+d+8NZ613aj2AhDvNjN94Te1ePra9j07n5GQdPCfFL+nXXixxRef9xZKA+TJaqc+HI0+aqZW4pj/DyHboaWPrSCovfyM8cnoQvJRXg6w4s8Pxpf9niPGPlp+SrwvJJoaJABzTo/xKhjmb0TSpLlZvAONWGQwFn6Vj8umR5kEo6afN47E7vmZp9DfccRCE3+D9ZwqLg35ScoL0h51Sbfza/7liTnOB/6W8ecAKY6hfS20vrnykddbgHwF2I3OG8WF98OvW5KFa4Fjjxc3c6OEBWEb14WKka/xUq9S2olnPC+qnnERTglNVI+6J2m12gLZGEOn4Ohiqd6oOKKy7yPAdIm4ejUryaHhO/bFTKilsdlUevLYWsnsY+yGbMyWR9wUtAkXh+gGWvEej70ubQnwUMQr3Fr4ltFBFAxjblJEbw9pGka9wJGvGuwPCqfXcZ1gP6Gnb0kCDbgV10B19dDeDhPzPKpFgux7JWVWJp+EF4XAHuLG3ByZEduj+sK1Ibsq97iLbdv4bJ7mJ868+/24zNGBP5REg7/0tAjNuonDHR7RIVMrTE2HkCI+sU+OCBFRDPh22Qm/zDRvtJ33V1Nncxq90Tn5RgSus6ILDvZsEbS+5ggoebNVrZFezcDQaTq1twJvzW8R/q93HLYcL+P2UzoHx4izc03PIViemcxVn+kLQphFQv94r0N8j+EFQ03irwxXrBYIXA+sfuZrwf9C0h0zxLxXlVqNn5EnDcmBTmkdXv2ng7kEJdPv2mx5Mtn2zLRVlyhx3Q5SQNQjl34QrIh0zPSnkKHfsHRw3fhMNqSWVtR0pCh/XgJ6eJW6fgb6TGBpWvUNQyCdGyyUN/+S2QLABIZTAuE/0k9WbxWqPPEP1KcJ/J2e8Dc9osUMG6XwpKYRU/56U4NM9AHXpr9o+2OjiYhj1P/v3HO6cswPZHwtfQBKiB+Q2VOkKRMVLD45FhIiWSg5BZy32GKHHXXmrQLpWvcxvIiZWVC/+S6FraOqIIeC92rCxkGDUC7zTIKKET+GiIipsLF/1vmzcpf/L423edeE3S1iy0r3Eg+YTCUicMgDLqFjSbsIhoaTrrA/chmvmNbD3tI9D75C+afBxKe8Ccut9NAeBgJxgo22LCkPuNxi8+stbkIbNhnZxskqI2jP34lPzyef/ClOrHoPNAwtKUu1PGTFQsaw07KILNPMVDAK+/ZdBcwq+/HpTO4ls/Oxwg/Ck11DaAEXVyRBIlIveBj59doe9VxOrAtB5ZVTaPGkKguZhw56YXh02I9RKxIXmwXaEnKXimKdE/j5wlvpaT1cwGsi7km1Jmhr++y8IUVN5UuCCQ+QqYGNjF0z9xjFFsaByPEwgLQLmr6dLt+lVy23VToNQwyKLZ5Mb36BIDGAJ1MRoYzcSUaCZ2elObnJGKJV0UkR19Rv85B3L5k8dMzoyhKXjlNYJ2hjBd2S7W3Xt0vFadqdd6D/gIg9VwJLVZHTCOkOZAR/wohJtLvGQAJVvhbIbUjxccioYaetp5ONlXj4BD6tHV3w6Waooha5EkRd1BCOtEuTKd0cpSn5VlSaN8tDZessgVNehhAO5LfUEyH7mtoCbu+D3X122Zlvm7ye8ive+Ifjuq/Fg9mZc4P+jAHEVSfYYIK/I2Xdrz6m6SCFaLZSoKrzDeEohJxydD309VaOR1672hDa0Z3uYNnzCMWCvfZ4WgzOUFSFpjh0ZDGfaKQfnTWLqrpCRAN47tXQ8aJOTuPr+MaPUJ42dJMbHmBi3oPi/so/y7nQ3fR6tnA55s1CX1H4eJvPNgxz9IAD6MKG+iIfGKkUIOdp6MyQIQQVUIy7dkn1N5UJ/8d9M6VhgHvm2fpAYotUE4dbfNJZJRRlKZuAJ6yiH8jOHYTHOfBtuAb0cMiUXgnXih3JWBI9jiCkNPzUaQx262QLqQB6pCtcaah/Lqd3v+v7s5ue9Rfv8ufbbCvBf/kblAeFnmbI291h/gOKtXstU4CclJeor7dZeH7oNSCgVSWUZG56Xtsfkqh+XycMb0wQ+BtO5dTZvSRWkJQ1Ywnw4TWk9gxLx0jGyA2isgcylxt8Om6Ge9hFJkIF4jU8G8GbORzv/8x1JX3/75Ur8eymwDfRkOMXevf0Z6A+LCccg5Imek4M2OXUrdnNP4G4GBv1sYvLQKOeKU7Uib5wz0lH+oR/2uJo0mQNd9wklTwAJmeTbicJpAx1e5McfRt2y4R4zRzWOxn9S2nNHq3NxwGz9h/PnVkplwOGz6ZSCv0pLmBs2PFOxv0YoYxaRpPOT9QEFQNmDfpkzA1gtRavu2VfjGmW600pYdPnV4to2f6peivlz7py+BCxF1XTaQ/LNZpZItVjkQ292hC4DhNh/Wq3Fi2yvV2i4F2a8Bz27Zce04ypyhcAoc5qie0X/Cg5k/CRgzHb5vgR5NAPxjuFgXKxY67NGiBegSL4DKzwqjAPwUKJ/UF2Hv7nsMoHVS+7DVRA3u239KlAYYCzYGLTQUEULOWEqEepGW8OHVGQYLnh7WGLDW43fjbI3kV0tG22d06fJUZdFhQ8pDVhLz+2zO0gWMae6EesSOKGviOUVqMzwUCtjY0n5XrIs+EYmhb94LH3DzwosF+a7WFzB9MRbDvXS58e6248Q4i9VL7VziWqWoGHum0oK7PK7FpLow5B8ODl5efiKFrzNwoOaX9aPeDJsIptVFEj5esYMnF+SYSISyiTHEbblGcPweYQSJbcu37WPEybKYECVhlUwZr2W5UaQsl4qFOCJdMKt5PboXm889a6bnerR2KL3RLaNX/TkEQSM8Y8hms1ljuJFyF+KjFA9xww/Cqgt7d1bJu7xu61NxUwpINDVLzeqDRMm+knisKfd6BmaQx8cZ0Wxq4B52ZP/eN/eoA9mJ3dCFUp7rsRZ3wuZnIjW7uxLrtrB0/D1bGpwJeJsiArdKd12EPvxTtL3mh6oVcsPTzboX8mnhsrebUO9d0mbxzJqI+8sgf/4h4g42DN4f3JqCmxpc8kkEOey7G1uWl0XHO5JjXZ+s+iCUimzOefkZiha0qOuemg55oZO9i5vLGLEquhHGAAnfsT1GOV/qSTfuk/6V6RnTJQQ2U/LxchQMbLGiFosgkjAtrRsMDEqfwgwFPqV+C2mJxFUweyBg4l4ivYFlhw4CTz2Gk4t0D8ZeGLjcxAJqsFdAsLMfiNo9TFy1M28FfJ4aD8KEQ0zT/ztKY0/YHLQC1X4dyyqVoBPxeM4M2YmCcGrDusd8KGqa/r7nddtW8OGE2tBN6eB5eB5ZfLmhTvW4WG0R8XWaM7n3ChBbVChPDAhhOQLzIlPtjwyEUJm+DiY7vHytviaBOm06HYse59iX8Fj0W9R85tdifPPb6qcXtClLdKIQgWitKcAgLPOd6wlx7AgOEtEJi31YbTLKrpKAW3Exo5AESSSqEvAkmfjnB243TLXE041xC8v/tGUk2WdvcNIu5vTOuiE9691lPiNBdUhgsORMW6C9FkEhwcb4T+tWuvoxswN7K0l+WxtdMtgExdFkMvt+eH/PoV4PFZeBCtPD79WbGIBuhqQrEpsDzorMJkwd1DCR6/VbI5BvG6grqxn2DOWm6x6v+G1OUcqETVKaL+dZKCkHg3tF/xafjZCXkFvm6ciX7lFciuIw2ijShc5PsAV4rT7xvQNRRV1Qu+4qNOycyK/04AV5R4V7gr1AJGkLnkxdJh7fm5ZqCZhd6sGcfjKMq94VZP57Adh6+zpwmiCqU0UPe/WvhG4Q2Qf7vJmNHzrKRRWyYHEy6rXzwpQ5MFBbNI5bIqOHbrmzhVs9g2152Xr3W6fdmvSqihrUogVlpPHRjN5rYtlkmcUvAORZUe1f+fqn1DiUGc9u6rWMRtFdBB19hOkpsZ9ddTjlHWJXyYm5D/LTANQ/j61pEEI8yotjdfcxIpe0htWdTBsSF3w1QvFRBdQB0Eln4MDfr/09LYg1lGRnDMZRADr6OH7mp6mYUtyO3dD62K49Lb8kDSHrqSjGduatchmvt4Cj4DMvSse26imvCvTTK+r2tngNt/YTXuPh4hVGor7d0uzGH8JO4CSSlvE7FVbutrOtGTmbjN+pLv7se2VgHPGSBI28OCcwDNZBHVagqGi5s8Wvbgzj1ybzaVZhcfKiNOPe58O3muTgun1Ujhm8R+2h+0qTwhiJ/1wbPeDt6+bTqdJ05+6JvYSdK9vDpwcjby0vAys4UaVyntLqeL7En3/LSDZ0D4LEbygo3VpC/zgerfzmCO2bQJg+ebQRm7+h3E+b9YUN83YnxSAcld7LxLMhfEpdimtqAmp4vWScPOhogWrZbeTd7e1Q20NilsoHo8HHZ2621UzpJ0htpLFoVhJIJ1elNk52jyo4Uj5eqcv6D9AQcyhhVHsFuq7uc8fHaatloX+n7dYT3dswxaPYKoqTshK3SeqdgfpDS+6wrreHi94mWD6XJlB+5ePk5UgrIRUO1hYwmliW88/a4QLAs48lkzGPjiug5TjO9nlyc+v10EFF1G6redu8Cd2dsc0XZCuWh3Aase2S+7JonBDUb42BcpJGXEcnX2EXZf0C7KH/FD6NJH5jQSQQyCJ+j4rNmvSAWcrA6tNoPy5JjOixssc2GWJUp3fEOMocE6n1oAMvnAbHaYTTpI5N+XIplqjwlFJ33BsZtnqeLeX/Ilrcw0t9FdDjBEemGafls1nj/K8t8cNJoZoPx6Bx8xDIJk9Rgz6794ekYUlm9uM12hcG+eAcxAEh/uc9NSuf8AnVWCqGRKFnoVhWHA4j5FW/k9RVRww2M9BhrFG9k5rKDyfD2EDa+k+yuyYK8Wn0mKs0Ld7vfkzYHUNR3CuYyz3PFiR7Hu/tX7cdWOlNQ3ExCkzqVOHVWrIWqrWnFfEHYEHSMWTYbjxBn4sbUuipZ0OnR/o4ngrrdsUp2rxhZwArI697p6iU/+1WfQR/VXtA6UU4IqAHM3scxOLMH9rnruhdld7A4ZbaZ2J74AbhYHZfA9mL0aIVTxdTkqZTj8wnCdDBX9N3E91xqTkazaUqzd1JAdjFI+q0m0b0ETDO6+hRnBMsV8L68sgT6hqTSvjDZ606o/hk8PudsScgUzQpGl/dAS6RFtrQr2r5Ge5bk1njT1w5lJBV3MGRSza8gqjwQLL2tEpnBR/SoZeheWUAieu5HziFWbhLGnWi9a/Zqv8Ae3kiQkYxi1LwQ7e2AZ4v/imdLhVktT/O6GEcsjETtgmG6HyZkZxcQ96VKGhYwYziRSY35b4BOMaha0/x+OxM0oet+mTw+aae5rSgBVbbgVjkII/3G+qNzsrxYNzTSF/l/M9/lFr6MMDxrANApBrOPSo800+RSNtVbp1Q3AffE7glsJN9Iy+D2BY00c72ysCKen3sIM8VXRzTe0pnp++hwVj54ojUkw5ZSL8TVRsWDstjOkEneJxFpkhBpkMUpi3tVqBvhlFf9x+EYGfm9Zk5drQuLinajm/ElZwLH7N+6kahlV0Ban2igCxg6v0iW60PyopmsA+ZoFLxBk2rY3zWWOK4RU4MiFHn7N5scN0vKgqSrhWbZZowtKE3Z8UAfFX2nJ81aWCLldMWlpR5Z/5q+tA92tmU5SndWQOgjZlMziDw9tuqVzbPPsxFe7NtZoBxFL7vhXu//wjF6EVNV4EksggiEuNX/Wt4VnSiIUYjsAniR4YmDWnnYdhYG2753txXQF9tp4uSCyqvng329FVAgNq4vSFlMbMrCqDgG3JM4eZO1Do6UwfNBcw+6/P5mNEr/2UxFQaUyGvndtXl6qJautpznwGPy5Py4MOCGpElv/GKYW4nQ7ktgqz2wTDqIftDSSRsPekffAYdeFiaIrKKR37PEWj23XJopidf0ojcOv9k8Azz6z0ZyyIlsvA7zPsWGxW9zFNORSYwCOZzay7Vo3RAjruKzIl8AfKrfkZvZSoz4I20dnmJRcdhlU1TEvLIhnFhEm44VpVrhUXL8Ak7rJ434O+TcLdVfwPxZ/BUzTllABW5lpXglatDVnMuehjp++mdM8xpTEcOz+N7iz2YSgTNn08gGvEq695I91Zf1ErfUFCU0NTdmKiBqfLA+W/whDD3xY3vcOegUINrNglMiZ1vd09l1s1mAyUkzB6TVyn+Gmk49CY4Aue2zZKbX8MMNUIgktaO8PAsNL55ktCJUMk0Dbu1DbD9omNf7mBHtIup7ZNC0RtxyX3NDvd73Rk9hj1VrvJpQMFVxGAHZwnXc0PIimO2JEl+ZU3CqQXekrnZQjb1IY9FbOAxpCCvtTqyvZyDpFbIz+PvinVRr+LwAxQmhQPCzZKEW/U0dnA9Hb7eBzjRtxcX0hNcV23PYkrjF0nIvxKOh7AdK2FLPFylPwi3D10BCaK1vEeCc+4AXUgcYCmZmB+kPScZtAOJigUS5gJcSdwkARv8lvpfDKrk/tIt2+V9371WSe8vIxt+EIfebBaUH9xg1sCEVRW0L72Nt+c5ggwIGWjXeSDlqis5piwrq7WkTDHehlB8AtRVnsIV+8XPr0rAofsuRyiyi5tyann5qPm3gK/4KP2kl7c7WGohFtJ5gQCjCT4Plbsmh7HZmyF9UoRlET4LBzY7dT4YWJ/QByBDAM7vnZLwXGA9DlTzWzFnZ0zm2OSCNyMUd22n8cG7BlKCZEMgAPulGRaHpXbuSHcwFkiOcGAV9L0YZVVw81sAX8zZtuFsMP6BaP/WRCNOjqa/jZrPo1+J7RjG89C1vpHGexX2Lduua3dxgMLp7QKcXtBG7MDFq7GkfHmiHyBYnWziZcRs+uy3JED5gdydPOEjUHOx2Ub5oAXWpg/NWV9jjsERp503MhrivgqO6kutJKA96tYjr66Tcwzs6OpKhii8Xu0u/OZns6dVAZrnR1sdVPHZwXQ7ZoG9IigBjUje7mkc8Pzyu2OsnNIjJWzv1HtVkATSPwBun7uUfFjwq+PUs/f5DgzdagwAbIb7aTkrIlliFxh2hBls3JnK98nwpqwKt9AsIOWVCzfMMmEgS6z9hfDlITEcg+QG/j9vedPEq7oIQtTOLzd5UhExSjmbxa0jD5ri6ugJJwfMAnwZ/OU26hak3Tx+SAZFVjRtDpVDoRVhAr1OfhQlr/9gJ4YKO4teRDhTCTkaQQ1JyLDyixUWLkkdr2lcw7Wjbhpbf5qxAlk5ibcC+PfqUvdoVEu+8GPt9uvvFNpQwvmdL0NyvLy/WgeNj8iF+eV3XqbowzO566PsdysDKgL/e7Rh7S9Wgela4IXNka5gXJPz/JVF12jJLTuCPLecM0QF3rX1dT2q9D+F7p7CpXGV4H41oyefK5spV8ufAY7TSDJ+zJjk0SQzpoW9cImHB+7Fn8UdaHtmjHYyGZ9JMsVuAwIGEoyjvaJ3rfSM+wm9Y55IHBV9D6pTEKt6aYXPePmsQmSFRNKjGCKaY1XV5mdKZQBlmBKpS9I4iVqZlCoSwDCB44C+fmTvJPD+OzcmruCZK/Ne/GrYnKkM8MKWrat611GQiiTl+mhqAYxSqLIlptQk0eBEt8xX6IGdtuKmVpi0kCv9ovuofU5jaM34qs4V9FOt8N9wn+5vFLni2lXW+CwcsodzNYLS4/n7IFczuZ8l2Gk5vZLDo34U05kF032fB7sd36Z9e/T3QagXcCqx8GS4c8fYT20CNnP9JPkEX9OvL5e07UPP0oMtsxwaPMQwzt5K/l5+nD8XGeopmZJe4sDs1hkaWo5R4ypLiy5jUDZ2JgwQ8Viws3mKdps0IxTdAp4RiLemNwcYQkKCRiDXOymINvaMwVvwM6RNn+rq7wiCL7ELPuHO62dSUrivNAIJ5MJ3UKuCA/kAa3AZKZOHCnxvHXmlYLdePbPAEE73WrecwpyAaO7BHZDAnkX9MHSaUYm5/Fjy1agAWriCf1nKRQkPfR2QVhH38NWCjdpttaksOUOgC3X3oll9QrHtSdA2iViuQAsyMi5lXAbea6zx9HXVs/lnHFNHuC40pNNTI2F9clPXk9lv7zySF3YCRtjOYn+aR6JTnypfk0wVgZpIlHJvX5ZZq7U5Buer6io2ulThftNcsNvEXSX60rXyfjdO+VSw2dMLnP12u5XzWYb81Qzn/rmxaXF8RuuhPFZsYQ0/TYnmAObNxzNImArTL2MVJR/kn6mjGOw5Gu2CT4UFO3iVIQatipiCahOTm8QqHJBKOzyfg+xtHIHbk1rXoAXzn1HSdPEy3D4Nlh7jyVrdyDuCWR4wSMqf097/U+zwwA5eSU/hYll8BD/8bj691WqSJCvzbERlunGJUvB+MvqRtLOj0pto0IogM8yKlfSPYys0IbdJ5arVEpqiSLd4u2Cg2bTxNRS4sXJ8ChASy2JosIwOoqQRFXZRDOTwS36/wupg37mfLRVgUjPITYLP2H16azF9AybsUROA3mH1T9AJ1x1gZ7kGBORItUsykAV4CK7iAhUreKaUnpmLTV9oDhs1WSsfWOI+mRwxrDzz3xwrXtkl5qn/Buz7Wh6EvNwMryWSGj/ojDN8qX0utAfacN2B2e0hqWv2dOVIrtVHa5VJMA0Q6TG79v3t4RtMV2FkosT+PNDvZe0fiVZN4KeXCmVIZuXpFvse+naXoanTDVhCHY9J4s23J/ZfHY8K6VLKiGlX44IoJfoGjuCzyIrOrVZ/iwUvnvZnfi0lBebO5l6QXy1krqXySLCIT6XqScvRGZR2o6IYM5UUmN1LircfnPbnsqK+4MTQ/XCpXAu1ZOnCABcpB8w6DCDoyntICNodcD+qrSLg/oIXHwD7pmC/NAoeuOzKZMhPW7C0trWxvxts8VmfHQwx7jdY3pgaXIyfbgwxBtuBgawwsIvZKH9KwVgjH18CYZVLvdotaGE6274bFlosjOPpAFuAaZDeSzOAQOcC2pOQl5yX79xvBsqEhY5DLldYm1q+oS9hvX3ALP1KhHAVASRzKJnXXutC2vLpef3z89Bg2Z2LcBx+bz2jPT7Sv4bOIBfp9JuIUQO2mcH03oqu5JZk7xpHtwf8iiAmV6IdqnlUyLI4LauOyPTufvfhHeLCcGySkmCLV80rphjASuGA9HvqhoBCcoMnwjialKE0Lv7Zwx6kNIfMkH1cASj2DffBe23l4DXxjg5BmaSdzVe3Okb4xe5aHy0YwBlg2G3YI7IFPxl32LVPff2fDxjTFvbx+PsTUqP91kULdfYpeMcn+rIPDjUCcKAlLjnhVDMsh4qH7W2luh665mEJIBtZlB5KCtmOEe0TOE83j/1wNOhMEzd0ifxm7SNl2SZXtOQi8S+V3XFuS0psIATWXo4UxKIeq6RmK16q0rZnrSXOB+Vl1zjuTbfegScGBmoMW5ifUCaGlBpAcqdcFVfLa7yo8/fyB4Mfn6wJyJ16f2G5YGP51zKrzEAqOdPtErPbxYD7gkgQl7P7dxe+8jw7KIA6w3z7fVm3GUVGEBFO4UqF9VT9yM0nqwU4WIPIWGJXrMFDig61z6yCCDEzvlATagF+vToOrVTpR+lAr5kwMHG7hn6BLLhKRBK7Pz5HqzRZzKKH0ErIiDD5Bm6W+0dnt5B28l6U0pLqMXsju6GrXPAy6sIFRuvQjGIclYcqfAUnyp8aX231WLOYXTPZSW4kB3GZGURfOy6wTYQ5g+oQzCdmqkFFe7qFawcixC80jj5AEMiNjAn0PgG+6y11MOWjiQxx61PRiBE6hm6HOhY4d7MDzydS+C/c4RB2bDdSljUBoSo4Vcd7kvXg1vceYcIzUzB0lFP7+AZqeVQEw8B5h9gBlob+cJBhrHGr/9Ku1+C8RwWCemsMyP0l1mysqH+pkXGAaPM1yxOMFGvEVHNAgdq1mTOIiZBbDehO9MNixNul6KN9zekKC0CLLdZ4qZOb8+VVVbMVbs4KUdV0fSmYw0QOkjK5QtgD3SWl+QRcaXKRYCwF4wwbO2EfFOfmXGbvh7k8RBUyQRddGgb3+5ZBTpVgo+l3JEF22JY7ijzfD5B6Tx6FWxG11qLbu5P8nKHliEKgdr7Pwky5uOaqPp29ltzD7PovLe8gnyRIWILn6XMgdUxXX6OlgVUqHLhCtBU86hhhjtPiIG2t6d5lhl7dY+JQVtgPFzYYXRHzsWzcecmWwDcBXQg5W62GECkPGPctJZu6TaNxfx72uQOCSX5L5X19aGC3VDr1hsmYefLSQ+1/wvATcQG1XFVuaHUkYduBa7yrScFPk3ZjRs/Xai5ultEfauHb63kWEB/jlCpt+n8fphe6MqkjkakRDjJ+i2DiAh08o15Xd5bupD+6y0m6dxkvaUdUMZ2UfnYCYdCt4MF2gK0I9uhrb+ibXXFOAelHrwM7S3BmPjem5TASoAITFlnyPsukzLNG8dHVYwExubdg8W3iE2WNOz1tfh1ErkIgvrrG17TL0LlH2iFDoV/chpOa51kZPeLKfmNRqip09bNQPYYBR8MaNNxzGPRwFA4MGxux/RHwx1Wfw0IhjK7db5pkfhSeepUiwd586cGJtwdvZqaQpTjYtFz05Qpfbw/atsAo019OHm8yl/z8K6K0S25DO10gmbSAoXXWg/A6eXBug5t6xyv4zdmMRoi0D3nsC9qmS9Xc2T+UhSyT6tb5Fptfe/SU1rRQZZdaw+EDe5geSkKkckyVmDgl+p/bZYnt3jHN25tKZ1Ceth+TkOE/HZCkz5S4LWDcylEjS92oqrjkQ+PrnWZoBvnk8DlaEgiCQA2Cb/JC9RLEDWwkqMYuKyA4ly+pFGbALQPrQIYBH4adU84vfD4DpByqFRgyfCl519rDjliFpUTySiQ9jmC4cxPtMAQtbI9ZEWfDIF88699NTRtd9dpBkEmHl7/n26FJyFfo0TKbOoRH6GjXuxN2zjgWUl6AlyNlbaRohQqseAx2ZIA3SZbJc6cGr8t5SD1rYoRX749TN/2aZjxkRRduzVlNTj1neOvRiBfxBmKu+DnxD2HcDq8kPDw/5XRqoG/XCd20XTHXk3Gop4FCMbpcHnoobWVSB33+gaOM0qVrA96mHYsIfF9t5NtoTMPBY3gv5H7GA2g7oVY1/hO9nkHnfEJF6Y7qsjhGpcrMlaoA4p9PsWKY15feKdOVOal7DNWY23xv88cFMK98fjKJ18cO5aNpxwruqEzEUBnNb8rOc6URQOeHX2QW/u8i/jzHiKRerC6hdVbIvDQuSn1nNul8EoHJKh56chaD3GYjnCXBS9dQOG4/bQYHC6IB4hcoFapB9nhQVOr9IvLKhFLYdUKrvgW9dCjuMZU6CeOVSsa32PCJ+XRkrvoD0AEVC5EMjoYwZuI2gBt53+dTm3xVgzFhI426c1Qh9TzCTbnjXjIX0bynkXeu2CgYnyA3arSiFCbXrJChELXJqdCDZvwfRJsYy+DXYZ6o7N9uwY8pSPKmanQxXkOAAKeg3oHbS3AAQ3GTi/VwH6spIxGivlXBSFNqDg5xuGf8Uga4A1qCZbY8FxzL/q6N10EKtT6ilSx7bbo3BscjOaG6lQGuSCBu8TvospjZ2w21/qUv9/zlz5L7qLoWSpfmVhltV/whhnvZ2OGlAiBGtgv8rIkolWjlwWTzNPQ1g7tKOp02/Zjt6EVPlPY/T5KTcwuQFhepDd3MUyXl9gUOO3vpFwmAbIsEeQQhcHuGMU+KIZSVfjRFtU4bdWKCYHgb+gHjIHgKuJogSP3/9lOm6bDQ1QrDeembIxSZRiv9N5RemYwQww6diUzXWAJxFtwDKESR375sLdz/tyKZuIE1JgsYUgBctQtWCGtwsK1W4EJivc542J9Qa1dyCs4YeqxdhlYaWbmpvByRRcq5TBRBw1OAmUq2rTAzhfu+lfamxRtL7vhORYwaDvl/fiPgScBWa6rdf8gKR57xPhYwNL/2/QdIgcYmhknERD/NzY3Mh1t/2ISI6IJT6o7hhRuL01E838UBVAuOCVsPUuP3+GEQAy3GMCBLKMQ/CXzmmo3nq+udbFxTonQUfR1hA6IxrwBZnSXwYSQ4RArzeudWvWXkvK/WxLs8Hgf9ZOpAuyfXgrJy+gJvWBkN+g2Q4ena/Kqdr+ohkanHNqSepora34+Ch7IaxT7sWRxfjtPvg64+/tfDQoT1TC6XvKjJe6BWPVclaim8vXzP3dqWjhSMSU2WiSj13da636xCvz+fLxVSTqGzDeAYxbc86o6yIOw++P9Gk8SXXmmQYCbEGS2astF0iid94Z2pdlNGiqc04TRmOQpQTgEED85wlNoXNxj/E4wVYlfmjQl0vdSqCn0FLWRjwnIAZAcYH24dBzGTIvEQUYkpGHmLS+4/SvLMqh4XJvUYKwAYsivXbWpLlHeNY1MfwIeBBl2j+U4Vhv3fLOPOorQ9l0sM4NOIOm13rYiGPHor1/kNMJsTL5Pn14whywMd5rN8AfKK7nWbtiaTZMlk5UMo5j6cwy+6CGtLJuYueEQ+pY5n8ty87OLVONtqbWrTUuymcIBTt+XhlqZRPvRbS7tBsv4Ji6+9O00oWGW4ezLCxfCE1hJ7M3++Jz4bcGqQDKCVOx/BFPFdhr4GrEM6UshWH7pErk1Fjjdu3btt56hz8bbzpO4olY6k3YyzGs00TeBNsVi/JnwFkXS+TnaYA2O9zKdGFItuzLPJYe8IzylN7csfM0RWSar71k4qSlEWYdmsNiM2Fud86k7LnDbQ1ijTGJOGStx4ViZ7HWbQd1pyxComtuYNnXQutmxnc7mQuFWsLmenTu4Gmgf6KPwwNrvKElRKddwIwDdPPyqzbTb6YkzW00PQEYOqvosaMywbRNeo+8dXz7qr0bJeFIo/440a/66gegHLD4PDnzt3plxEH14GE75JdlivKgdT8Afc1aUBxQqvf+bS9UHuQGoq4fYD538zLOO/FPtL1/15nYXG2KUGrjhurQx1mq4SwJXxrqwyUFE+gnzwzPftoko9HoLl2hwrCaYp9EB5/+IEP24BwvhsYYmKV6oEsFgnTbv0H5E7tzZmInse2ud9XjJCwnX/Bjw/WUOOrLrjaf2GAQ1Grmsd0mX0DKoq8UtmWRu7ZiF12vwoM2iR1lWsD40Nyl9MvP8S4/Xz+Pt9+PRPRTC6/koBniEV5u4QkgPFXX9GpWUVMuumzESrhinH4KQkkjvIHc2bmnA1/YMrIBOebjEzMV3MRbral+IqLvajsAhUcwM7AcKWJigVLULdO56d7GMLlGZ3RPT6hjNIkryfS/3sD3gZDgLe2ZwZQ6bviSnPa5w9oOXI/D2+a7PnT388jQOlL2VQWVuU+QkZTShvTFzg1dQSp3yNlN2+0Zljzja7fXAjvCUeegHsOKt0+TOJO3fuI+o/NXNl3aB2kpVuS+3bPtRu8gd7q6o7PvE4C201wcO4XslSiWtNU/yOsKcuYc1xVxF19SB/DrbFw9l9I44mbvbeVbonYaP5SRSkxHteJPtGpUvGKwlonh9BarPAHrPQVSBknSPFXzl2ILau0usotIuLjTRCljIZMb8GfMwKlZQ6rtZyhk2TeTXdEWEYENlZNbySYweaG0Pqg/jaC4JJEuvyN+SGfupiKfrcV5d3/0+jPFeCqGAVxAJcDhCMkOa9p5kIfg/P7I5oAyUOkbZSioBxhJUJpcate6e2kTVB/O5VVPM95SBlIbu1w23cwJ4LsQXpNXxjTYaeTryFqpFKT1FgVGNJ1SBtcvZWl6hKmdx8/iuWEDNYIoIQOiwR6UBEfIFWbnT7Rd5CfXpzDpSBeOXN71U7fHr542ME8AldIFfxvBAB3zjNynLwlkjFD6ZJxsbztCoSqQPUMPU6k7zh0oiSktda0nEdAlC9hTUDGMzHT8D3ywLsRjyz9afIksbeKfCzOBL2QYqpJ8cUjwoGP4fXjoFpHhBpapSKzgFwworzeFYsU3XQFpE4DdCEaHnIRnmWEtRd+i6bSI5D8mk04fE1iIX7rwi2LTXYS4rbF615RpK9eEWgrsrQPv3eMx3VK1dRd09x6qqt/i0fqgViDIAgxTMya9Q0uNem2eQHkCYgwkgzPZqbIfXzzGeYlNUCDxUaJDOPyHine1ScdS929be2+35qtmyRMZdTBBV6StB4REFqEADBiJSRJJFK+JO29J/MnSAmwmLD0BPTjuHGSpqS608+eWzAe1vfN4vHVcuYvqhItR4zR3dDl9LGChiEriuQ3KuEPJ80KMkuTRrvISFMetObPBBOJ9LoPCe1azyuPfbg6Y6GoSKMo9IS7DRb7/ELx6knKvXuVLhJ5FREROcv88WtYmeqKUEWHge6qbuq6yDliLcvLa77UDhR5yugZbrZyLD5YnyDXXZwOzSmLs3gAA/DGduvKR0RcjDViA2qjCXFqX0tSHUCy3e+hYgyD1e66fbBq4pkuFguNqqeZBPZxn++0LaVThOiLoIjgIvhMkqFHHJ7gP3+XTTlrB/ZXdAUpWmMbygE2RxxGVbk34Tuokt1GP/McGuHKAufyweWqV+V5zcfdx1/C0wNUbAmN5ifoR11qvaNgxh/cdy1s1qdL/cieAqLnL/7URmCWIuxhW81foKKTYdApK+Sn0dVA60RBI1E5F/wB6h/m99YxINUn32iPOfRWDc8VlWUB1nHM44vnMXcy+VRW6FA4nzG2ZbKpQe3HVcb/Tlol+xoPW4nEUAe/wCIOsYGXTVVxnmGSNYDI6SVKjaQjxKtAbVHftCFbGqXRyF3ZR/f2jrkzQ4/e0A9EgX1LhJz3s2qcCYe7qfQUTt91daF4GIFx9G0H3D2hiCbkEr7vmEwae5j1erurEWDKiWlJrbXinXsHKXuBQRpqDgvC6f8BXQ96vmDHASbAnoh+UcEY4NvraQj6IXpPkV/Z+ioXd6p63YDuWRjkrtxe+qRqABNkzqiY+rE2+znJQgK1FIg7uzBK/W7dJewLCMz+Nu+tMUd3ok+L7YIvDavVVZ9iDUSePpRoIBM2yFmOW6HFTuPFYGuxYZLDNF5FVNGv+dZE7Lmm40foZpN85CagNSI/j/0InEAJlAgh57BVq2pWtlNO5QmDmDv+ZqT50trYY3/HtqpQzgPslhxfynzgXlBB5oX3VW9M1qFzDNurGCshUrvmbtuEe/1tubxyJcg1M5RRkmwUxUWwzzUjvdFOV0nddEYMaw1TKA8PIO3LcP4MmgcwDMBn5tyWBreZ50ssmR/nrMG/uD7zVQ3XFtXSNAeuLgUCROkE4cXj07yVEU8M1ygfwIcoH3n/cEPhOl4qnGVVLdL04l0Qgsn0Q/KURV7I2kBjU87vDla+UxXAzNSmeVAYUlSYwAZRRMQT1T/xBIr6zNCb9p+ZrTEryGTonaKsl51iK67Sic4xXvvdBNRa4qYvXYOrkkc0peZQKFl8Wm1B7CpJhrm28q2NYXoSRdzKHeI+PQ41Emtx75PR5biheGN+tYqrYom42C1qC5cJCf+/VVmyjnS4+W2XL+6WI06Jtk/RxdJcZKrFtineSeVAXm2Ya8f8YSaPRa9npG0DyBMliYE0h3wmUP4hxS8XFR+tIDumb9KwADsgC1DdXP+W77i9kn5KI9mZ+dm2DH9A2FqlZh3ADGig8tNRZvssi3v5B5Z+ejNxXdrb/Q+oeaWN7QwKQsdivewGq39mrT3ueACFwJeG9811IriTh+oTA8jfcXc0R+frqp3UiWLQ7AgYd2xvvqI83KoNmxz04c9tWLso+4fdlatj7XduX2d7t7Y4eaHxsagMz8xE06DKJdkii6y2yED2/86ZBetjfNa4dLu9B0klOMMjyaU+yHWe3Yc4YZVQyeiDQSmnvyHlzXt33ldykP8HOosJOXvCMHSjPAROXrGT238qrlDLBfQW8TD+XPKT6hgKLzhm9PJWB8QjHMzBX9uBaMyrafB8t6GI+cqeNiwVeG9I5omHMP4Vj7dVo2vUK6xkw0qe17uDpiNUOSDLfpUA5yHgJiGBorcuDq/m42rIS6y2mdXwtNr8x24vG9QtwT8nurQgoBh+/ApfgZ9KAiBvsUlZ9+/fdmxwZixyS7FiG84Nqochd1jeKgXHRUfL5/xhPifAJWbknaAaCNq37geQJoU0UvWQ4sxnMkPhxG9MGy4xqAKaixw6bpbrF6vjD0k8bKHaWCbakXvQv3hYnrSkPyEgtVP7TuC+XDpkl0KSH3Ui5SKa3Vw+Y9v81+Zl7/vKEM7FC5ajuuAfupNbKMsMffkgd2iR3FcIac+gvhN4tz2Il7UE/nieY/DdpSt87RsSs+5YTpk4Mn6EfosJfq9eygGplnOKcVolBXI6FPlHSypBgqOtsLNNhLr1Wrp+OtEp4OI9EPzxfKTm5iczTL+2o437zF0tUiizksLnSnKJCukjFRAe1strvnCpf0I57amuuciT9UMZmk3kvsVU/zUk9obMBYh5erPWs3k+hQdWXf1loNNvuOSv7GlT22jPQabTy57S2C7GDgoxi9hn0T5/jQaWYCCH0KnBf9AuKFdbmgZnsr0EdrFa+y1u1KQmfY8jtPcQ8U3oFT5p1u0no7jESoBJwitUqNjQUCRjytmAQ/EZ+PJZ9RY2rvFDCSglU2eeL4h1JJGONcCR37OvOghNSJcFmUho1dQ00JYvU8J/1YseATGY63T5h6rNH4USfBEIQvF73A7YTqvEPyjCyfDgAHL7/wOp2P+qGd6K7up0+MRu8ahZt/GgabHD1XNVY5QeMV5SP08XEAd513UPz1z3VOjVn9auwiGBSHp0ihL1Um8lloB58NW0fB6tFma1UoZ5uMUciXMCC2vLjvA3Y/zBGNlNugFbmpXV0K8Rou3bultnS//b2faZpKkmcFSsHYzwsO3udWN7BfC6fofJsjIVLrZ0JLuhqsktT3+F6bDhLVvAsZpc8mOdj30hMcOtjSb2b0oLCLo+vRzWPrpJNkpFB5QHHevXueVlqJn3Jn9a4Gm0EGCJ1TDz4HAJCbFqFvkpI7MsqxopSpExDt2y/rkntOLoHbqVO4OxoZdSznDmDKaGG0UQ/U51tuKm29WFAz75Wqs2bvHO55Ol0/JmRkdNPh68TxaMauf0vBvodw+zIMYT6uMbokhgASAnk46vAxPdWs7AdJB74ij68K8mCLnQMSekzIO+fC/v/n0ebOqAYHPtms/CoOOXi7pfYcT8JLqXZbfJCjtI6clVuxArL4pBkwFwlcEg9TzOZpaG8gOKfutnPQijoYR/IJAOXgUsuDqKy6a4kjlH1NHzcrQCTBibRxG1kfVaZBbwA51j9aj/OAtz5Th9Li2eo0qdhksuFoGmQrMRO7zgLAtg93Z3+DhWimCjswtG6QcR7q7rTCvuDJPdWa3gTmlrlinAYZKcwErdzcMMViKOZUkimFrKsuKJuv+ADrqguMjHp0E9T4IMA0FzWdJO7+PWdx6nGQaNsBJBnk8XSi8VP6E3l75u/xFcgu6OOqFSx9XjyMxwJqa0/nbJzIff2OTt3aeIjMkR8c8eMNWVmhI8MYKcL1StyEMBI1tycC3VqFYW+yJlTt8pZREwII3QtR2MX+78/6IrAdsDRKcpfgDUOylGru8iZSybASttw3l2cI44Ce2+Id+p/C9tnji4Vb9SxnrDWmhGw/zz0Ovvwgv8vKzCOuFcCpF+opHVa8MtpAi97bjyWJpo6uzUtxg3xuUXc4PyhyndB1zZWFQhDPwGLV9yxBmkBMIc0tsHvB+YBHJsCzYSpDMBAfIEEbCTNwda9bzdazAocIPMPT/5xptdPaZZ6iZliqku6z2yJukMpGvkB90uC4mb4avCkqfOG42d/K3nKCsQaUfISFf3aGVlcO+Y670fC6NF9J2k0LrBf7gDgDqpuHLXRlVmsHNAFMt4E+ZpfcWutOGtNpr5dV4xCz2ogHSWqTmqXif8DuuXU3rOFyM3rECA+0dB72ehCNn1ibFbK7bKI8oroJyyUjukHjbJqzypdzfI6qfn48tEkxk1uQ7jDp7UPLaao/fvxGQcjRS060TqKoO3g/E+iFbJDHMymU9ufvqU1Vf1s5YtEz7l7vJC30aSwOOwcwFN97XgRd/1X/zFOfKC7bQR1XIP586GV6BKjEyu68GTW9UEf37nsX+TUJgwImLEdbDAE2xawDSAc/z4gzP1kID2502sCqobf6fNvvvC9y0tCjyq29P/80KACkyt3P+1tWzewTPL1VsmautuLooMY3f4DFy/q85GnLdb/HGH5RCEMPaHWVoAtYXL811yEQlTKAWZ7G0cj64AmLgCBO+J0bPjRSJprvDBv+gHEplJcGRD7oOPqujIS6gGLUDrDzg7ZZLXZELBjYltTVIl47A6VRyMA3J4zWhZStoYqB/FLYwmb9uipoTmZGHp+0LRzeLYrBmP0lUk/YMrsToRjmnOW7dyqej3uTVdvY1vqqZJHHl92xxtqp0+DcqsVn5IcMcGygXsNAJqbbzqjMsesbtfgtVNe1ZgZSHZzKvLTSJUx9nNf36lS+m2ngn9jIcXxdvsvvxZ/A6/bJYOOQAtb54TG6jfmag8pEm4/rH5e8vM0lHoNPYh/OTWXEGilh5gac3dxmBuLX4xXuFg1U3/JrbimXR7gUU0uzY4MnO1xYRiZI1xaJBnFfFaJym85kEw8TnfEEaY/JjIk47RoyxNjfhVd7tmGml66xgUJRSJVFYAeR5aPw7YhBSQBEcwBO+IlUx+bp3GeExGJzFaUv4OCEbrhduwy/3DLp57baz8xJd/3L6go/QdRZ1ON4cqLu2EOfupq2rKb9kC4Jtog+8h3+H3c7L5dzyPcNz6Z/FqDH/nQpnStqQM7Okdui4sVsV/cAlTReESpp89xlxRxt5N5uy+uqUxUfiTisruddUro0QbDfEsSpios3L9LJGYZJI3o/9PFw3ORGBwcPaqtTd5vzTZCLu4m+kpwQNT2+ciY/YVHo67wD8yRa/IvUUsN7+Z4huzO3oRVkgnr1JrN3Wjd1CLuUPYSGHsx9e5aEep11OThR8UrJKYSX3+azfEQ/AZPBnhqopXaiITx3WHsNWk/LvRb1pe9pM0mems9Tzmu4bDeUpcEIO2k/3IMiqocYPaZ5I0dombJstH2iwZQMgaSZAjyJ4k9A9CVjeljcTkl29DctQ5hXkHoTy/oaGO6vAYbWgoSCjRKewd4c2LMjkyi6rDnHotnCofPGsvShdCSVAR8tLeUbqpCViJH+IAlZXr4LlZ4QBV8WyZA0iGtWncepgn8X+GX64+tBz1vkse2sEvVGA7hvu/r24W01cuRmao43vjpfk803RZVzFlWwaRYsq2H4t/wjW822mFVmXMaFfNs9Hf0b4TxABMfD90NHfI3+oUB9oLVdwKcc7q3uSsus8NCx9c99Jn33GIuZuPoGQZGUXTCKNEVN4g5PKpzY7PmJrPjr+/Akadwk3neSFZ135ZQjJ+UACfNoZC0xvJZnn/THgRblZ7HS34PzlGOuP4lktwp2WAw1VfIjP9G8iFQ+DmJSkUNFPaTXPahEVdUInP8j50z5znjZJ8xkzFEdVsPqNwe3FucC0GIhzF2+T2AWiOh0XeLJkDB8hNIcdfEdVJQjkDNsBqiMwWBiM/HqIUku/i5XtwexHIz/IwkoW+0O5geJLEkW1d0mfF+rc1ckUnVAefzLjQxpyl5olPMEZioIwi52DTtPiLj073yoWV1Y55B2XsT8VM1iJt5B1xC2zaKDSTBczheNFNzaihl5TuuOD50ku9/Po4WXr5EXceFWNn2A2NCOMXNZxnZBQFYqcBdG1VPsqAmUTlGvlYLvBXV8jm/kU6nqAphZ6AAB0oQWXLvPrSnDR4wTZT2y9QkfQpws2/bf0cnpLdOU/+RbpMlMcq0ys4+J0KisAiMjvLVY0NxI8N6G6TJeeDJmG9OvDCyHUTWwwbql4+Yds7SS1TM92i8+T8KL7qUEBjJ8MBTVB3UL1DsGoQRrCpKaSYJE54XkwZrCmvJDmzlZKSFyKu09bcE1kwN4wbzsyC1ESgX0V6z3g55I/DOQCpmy+A0YCp3VXOx35fqomKUgELaPgMa1e0rybXoNIzUurbn/maddykoWDr9F7QkAkUWXbFE8kAzYPFS0uAXjG8rObtLB8ZXYU3/sJ2GINveOpv1xRdYhswVt+wIqUWHMFy11fl/QLgepWrOiLoYpwoHa4nCRqFA6lmRtuY8xHXx+ehWEHln2Gzn9/eYG+tYsuDytmg9z88PAAUPtv94cIBog76NRWdRUs+Y345qkSeJ8YPXJsL9pEMW7ugwowjrgeCxoNp0LlhBi0cIPDmS9a/ynYCCM81NP5VFMqAsELt6EYa8KLxtzL7zyUcqxcnHxU8o4sEEGr6FMs52czyrMy3vAip045Jm93EFOssG0mkH69o8YVELKFL6PkRI3NmofOYhknCBjIn2uNp8jUHuPlz2+EPOoaOs+pLqS3yq91EsdudrKBpA14OAecG5qi3urwbx2W4k4ceo/sHrfIXTlGQmLKHcC24ciiYFzgl1Mrelg0jOSlveoUPviNN5/oITS8GTd8CoWIChZrxLZbWjKFEtvLAtVv6rwfGpZAdvIaVJy8kksPK3vC2RmFFDHlNDWr/nKfsEUMmXL4UVVZ6TsuGsJfHm5b/nGbYxQ2JgTbEjDOyYu7cqfIG3y6Ba31C2nbxeujuqK+8B6SAVcBhSECcA8rDRXMq2xBVZtLh+wUWJ/Sq/0i8V1pDMcvhx4/N/NSR4iamn9SfAAkGmfUnl0bUJkl01HkJgJdqdk7FWxQ+BBRK+oviAN4/fX0Y9VxFKKk8Cxofn7XWhpPTErbiGTRY5m6pwGAy8h0xJYUsCdw30aHbcStVH0a9n4qoYXcFlMyKeATLWNozdCk2xDLOzxp9PHIX9sqA1YTA/fXwO91/m7UfDqhRy71zkluJTIc8tOK2+sybJLjui726zEL5mkXbTdbSf6BpGjEBuwQkfa1VtqBBZmm6ZC7qahgUpYS8E9RuzXFj0W5v6PyoqM0I/ljxNEybIDzTAlbUhngfd1LcdrTLM6J0mmhfP1307eoTiabCqakvIhtr9LFhtK7oOyG76gWLW9QHXuyKGRMHO5Jzjme8sKsvouJHx71LKqEgTaQExn/pYZkzLLwycxvFVOwFyfwLSBwQYQ62vaMsjyYnjlO6nCd7vFH1QU53oEKXajnn1wPTdz52+2HieZ3ZUOYlCXqxaiH5/5EJQbPdRPxNVN6y2IbdwTbXMqhMfsdy+75BK3labQK1ueqBuQ5nJRMhVbJZMDPz6aFym19uV34h7hCdyhDYJiUzlgCiT9uaqU1tCcbP72h4LbzOiRDXLdHcFaPODLMs81lJ48FKXuCUhwlRhOMOUApt+Il4LnwlRvmmfsoSQxUwG920wdq83X5H9udcacOUkqkXA3iIjSG4VFQxZV9up+1kQxw6ESCLcEQ8q00pIgbAXt71QC9eVdzxUzQN1S2nD/bMQB+FZmiNgIOJeGbr8mGMt6JTIeA8pjEz5RfXYqAau400nC/zlb+bVE5poCEgknsWIsaJjbrS2LTvcMuLwhzj00cN7wTkkEfGFP0au8b+X/gauQURdoFjiAR+fQYQjhdf17ynv0SLBfAH2hv1uCmMP5BfzzOAg7RsTpsgq4SB2jKHOaHb5NXFNt25K04dWhunJ35KIaaobwo1WryEo7Ozame5+zvGfTlR0j8A+0xHdNuhL4JseYq2odj5m4y61mtu27TrztnNI0Uf70y6tZvdxjgyk+Lo7Y1p9R3AhVQdEt0jSvj2BqwFw0UuWThJhIlLvNS0Fdq87xb8V9WiXu3J9AOAVq/7RH4CNnrhiOVCf6iQcIFzkEOc2lD+wh1WkowjYD7ETX1pI9zgojyiFPyUfPZZ9W1afKk7ZIbBxfH6JOCzJZZaXx1OUbAw9n6Zxkt8EExn+djTX/nrm6zrYyRCnNfvdcCQ57PNoPKPJfY6uOZ3g+I0yLUBbP5zeUK08UW5BYqupQ2giKdhMIiar73aor79JKoO3ONgLdjgpRa92xfyjsyS+o2utprBc7g+Jcaj/2y1iixalk+whbO445hCM0PQ47H+H8H6d3QlcPJY1tfdeLs5Rqn24UATyvHz6EdKK4HSGPWABZSunHBZn1aO+xktya8g5e9n+ZIPG2eNoERqpiiHrQAacrr4/rF+Pw9X+g7klGzhqgXC+fwjGEUm/MwWJKjOCfWy1s2hxHQrytrSJV6IabpMhfwUuN86+cDWrHrcxn/eh09Ud2yIXKEnQlKEjU1UAMlf3+1DPnVAZuMa3Q3YCrBloTR47qTe1zmoQmJKOgPTzowY2/v/Av0G2gwMH4AcSRz7PV2qVtQVP0PXDbJYsaLChursiEwEClIeDKYevw66yxazDF3TNbKhexdR1iI9eh/OynPTtrFq16Gzbs/oRZK0xpJmDEAfN6O+VlcuoCK+1MOsMwjk6ZHumPSQ4YqThUt3laiR5LdxFMGNQYpsnhgUTGVMQNXqaVMvTjEbvOTLZIBoxVMkrRNjDufS6tiHh9Kej1KgPYMnHFCafG/gGDtFJvQbFW3F1Kh28POA68rvmizeNvJScxLIurSjnWCUjTef/66sjPQTsSWhTfGEXw69y72vc7rK4RJe0SF+oXOodyBM3CJN03S6lh1lPiufJeZPiaRN9ygVHNYvC7pEr2Tdf9N5Z4FxySgjM+BRx6fHwBYmoO2tzQ722oHwXTxJKKIBBv9ckYcqAKMkOZMfRdHj7QG3YCdaECD0CD46uAnb6A/grWXpdV+gvShndRLHEbSJuHbSrHTMvu7ZHQExq/G8d3ChSzTbveKH4k2sKQW3KOAXVf/XtizGqOKA5/B/otU/qIggZ0b9WIYITwFbTNp9LvVh+1pm6zX6I8sfgAANCo9oWixpbR1A6N5EJ4SZge0WCX0EePuFKo8mpdUZLRozpncKgRVRe85EjMDreG7iICmR9sAIQvvvUc4c3hiSs2XnuAV/nUVIePnB+isq6hlzXAyQQwj6aTAJBAY0Ny3giRY0n4LGuJX4fjhe/+7MD79Dfc3F46flxCDQ/2bs/mL3DD7T0PFkeBhrVsTt9VVv0zdZmwBj6s8MpdJTByZcwz9NpL8ioX/WgVgKggueNTr/VfLv/HrQBtkkODUjTX//sSP0twztR+4pmV/hI1avQyO9TH0FR77cVqCxaPM8Z1GWRaP5g5KY+rORHddBuSJYj3e9JDC5Np63Rw/HFN9mvRpwMqrrpB+gy2sm/KpinmuuxxWhC8kK0pgz4bAunUhtwpdU2vwX8Rxqpj0Ry2Eiq3eAsrr8Tak6l80hasVjcGbiH0LIRZaDP2NkbvBeBlCuKHsaLL9QzF9LDfHtsSxfcfT7H0RrJjq5akU2VnKNs545me8nQLbJofvE9fgjj+SotIfdLQ0Zyz11ThxYMYisFp96YiKUpIkPlXUmyAi0+xuPGh0irhCIjHcCESxU32rI2qXSGxNhyfVDmsG9LO0rPtrbsx54oTcMQwHRN1p73pQQT62nC2SWVWCWszM9yiKxrPHFWibyeGG5OLjibr6FesAU6cIilPM+nRiTNf+oMyTnKRHNiix074Vd9CcRLX2zsjtoGcVThaNuoCVOxYqU5DIAB8viM0z2hGDZz0vz4APsxJTLGWNhJg5mdpCKU9jNFkjQlInOcFuc/HDjI0u3bpQPuvFoAyFenidCGYEA0wgTPlGCvWnjUXpNAZueiCsfWSLhHdm5pwKYz0Ud5MiBmAjCD64eiV/VllUHqLrE2TjajAHR1EbeeogNnokU73b4/OVQOgvtwzdK1DgQgqfkn+6Q7UDzqSdunFRea0CZtDTPBM3Czql1XYRTkL+DZgii1I+qiwlELaU7xxpN03i0aY5btHUAQsfCmC2ATzvdncEFe0JJRPrLwvo+Rrq3E5xGgjHqEP1Be5QXGq0ZPdPW4Uo+tu1QBaqJ4INwectZ3LgDG2FFi5QTL+48+cKXznq+o8mHLHs116weyrM8vZ0IaqkLHx0VtTP74kurLbuu0gyPUw/gAA9mTqlTsi9zR7TZFN/AWEfhXarroAEptJtWLGan0X5RZNvLXTzMQwqoeTjEpuIz05lBNHAmez/hGsNOFB4F0LhcF8dt1HvwLBn15E6wFilj+/xYxScEeMG56+unIp5I9DmA8s7vfuUrrmnqx0Oot1CA/RaFrSUIVYWajdFD5GiT7XAvguL3nhFauJTQmCCbJVwwEEm5kyrsTjwFbsQxw71fipqSYE3Ihq7XB5aJ6TsdhgaGH9SO61vT5dvyySgvrarnGhBFM+LyVAHRhlBmkZMJlAguG5MgSCNP3jn0LSLr5Zq11pCpp2uKzoxwXir5674itb7RL8HuuwXhP8yUMAQn6Qp3Adop0rkW8PRGxBvzzghBJE3s1mUeM4/kdgpcw6ZQVXPHjzZgtZAALC5jl5Ynor4ob4hkxU0elqzzyhrLHK+KJPOac7BeCJb4gvhSKxQoX7EsBfPgfiuZGcXZixLAgEsq02hiCJEE+h7Zz9iVc5rUzTs29dwKpSJsVlQYXE3Uc1pQi1TKWfK7uid4tLCHqQKNpUSlwg5W5keHLIyWXK+m7Ik3vVQwSip5gyqMNNYk9DbX1WGTh+khCl6hznYfxVhZps5u8Z5HrbMD08e2uTi1etfpGelsg9rfY1BuiFzM4f8LaL9F6cxtcZbflti/T6XDHckxyEbcq/Dex3OxuVXdQI1tUfx7zpLeX11EQT1xV7z3ci9br3qkMdZ+5sO8n4mHnWR/itKPWMtBTm8dBuqtILVl4qnlCgRGi++JOos1NHcp7Ea5rKnPewNV0TNL4JUPAMnYIHy0ah6+sOPjcuN3vH5aBs/cqzKb7iqYSFaCypeiaTpI8+WxMoKcaBZ8v5bXN6VAp7r3B8PnyBtkcvE6USshIlqLhahszt4dKs6qYz2hKWLYvION597MNpMoPdZq/1YJz8BTZ9/8j9udzrZEKIVp6JXTCp92io2VGCFbZ22YOI9TV4Z0XefLZmE79f2qPxI8wurgshey3BVX1ZVRhYIWzHw7+K+z+OVgHstGVIj6y2domOaO1BpXAlh0DJBd57WTDjhapBCil1WAmwiuV4gu1T8YrmnTnJDNAakq1QURcFcbwgy2sBjdvJFtS/V9p5ERFZO5MJBICCPL6HOi4FA9RfShsPaQuIpO3VRkaVYEwGcoehjKdH+wvay0/+PVvG4Ch045YqG3Y2G7eeEULiiZq0whUfcJ+7rOwkINeCI6u3eOJmcpaik6QYMtrAChrWjw+YXhmomhzymgIx7n/acSO7r6Uk2rGYmQ5S5u5g95siOMInAGtIvviBerM5Er8yXyaytLZOlbOKyv0KudPOE8sKWf73WjOcAQd9g495l2OvJ+kuIj5vcrFJAd642ZhbG9887VOKwnmQ2HHrs0dOO8WOYB5St6vyDj4me/PZiRGfcwuYBVQG3uxWbG5X/m4gK7cFXSmioMuh0zWKASc4tOrGCHJCzwyCcNuUV0GI+3r9JWOc2v/w22fS25+QXAajamrT8fR+G0jgWBv0Zp/OMCDJUuryEMQ6WurjbE7YSLL8SZ7qYsCCEik+b2PO5q0XeHsAHJGdZFqpBmTnI+9fl3m5hD+sHO4kh3OQxZmh83mA5jz8ioaYvR3GgTnyWIBP5u0gWNG1sD+/HvAN4XIR6VOeNB2NbIA1hn7WjkD9J/UaZTgdAutcCddbOvDtSqZOzC9nF0VARHdcLTPtg6wfR1R9MWFJABmAT2W61QRqTSY5IAMTa/6enjc5D0kcg6XqYZa/Ko6UHyYiImS72jr86B0hAAVoP2ouBREQde7HVxt79CNyyezCh4Hk5v6YLotpIWp13j4qwAyP2duEWGMHmkTa9/JwqTUgWs6VfK+xbeqn/r9frKmV+cdEfiklR6f3JOs9ynPfzK47Gq4/6TM2OGZ8lR+N2hZq8Y1hTwJN7lgAKOpQLnD4t8e8294peHlkdDomZN/I2blHg4UMgYMTymi/bHsdc1zeHqW17dI1ME59vS5zFbWRBiaikgfsDe8bTiPtOZqhTDmJSGrFxGrtrLgedZyJLQFbfiBWfAPuCE5XqiXCu18jRhg+uBfj+OmmnRAztx3WQsuXaffG6DxTsD4kSaIqrGXgO3JLz0OgXfh5nQ2MLFg4fucs3VBYqscdU2qymd9Ys+xMOVTKTLjkY6lFQ6pJvf7eqJj1CxhOG9XT2UezrnbquLjuKbUekeyXgiUPrBx9HJ0PzWVi6bSQQXoU1dx7wRG5SziA0pe/2qfIWF9cUMhqkLy+TLR3M51tPVe/U6HUc+4oercSe7+QZiHvPUMJkXoQa4uUKWSpeDken55tvhc/9glhrNvm9zZMk84hpZFds0YLFJe8LzfM8SBdFSrUnE0ZEHOn5T0ztI0FQSV1S0fwnLX2F5Lm+oSPpNRDVz9coZFfK1C+yvGt2jT4aC1yVmTMAoDblt4wV1V6v6UiVwMXC8KuLxqQXba7efwuyafGO5hwaPxNcyS7JHp6dw/jXSJ/K7CLyqrydarSKlgPhA4PG0M6PM3erI6zL/NgP7PvyE9ENx4RCPLhfMf9a9KojIoqmRZ69XzZA1ZvmeVj3FcIvNgjBr7Ab25abUgOFmW1Xfx248gpBBJZ0NA49tSFShfS+qIAkfMoNxtJW7/hwxAM50BbT4SxLSAcJdHhZwQQiQfCQxJqQBLBJ4dOULFwCCRPe9Ck+NuOd/Mh8bEwE5u0mcEcBCtejfNEDAD5tJEA26JHvDJM2Bro2OI40DIcNf62FMs+rL4JcqJUiNPxWGREmd91xeclPidL8fJla/Wm6piSha00ocLCvqL1bhVo1lwlP8BZXCtvAqNxs0qlAmulvJW+PQdlbsoqIzbEKzQtPlHDmXdxfAC4tokJDQlYCNp3Y3eOqkiCqID2N8orLZGMVOoJsfDsqiks4hqqJlIqGDJ6zNyelD/bQ2c6dGjxaeL2nV8aS51R3RqyPshbMYGrs3qIQQGEq+A+2jQyop7wt/UGAVW044Bif7/GSSneaN0FKePwYwnZeBickrwU5Pu2Wma3QJFU0x7OWneWRDyqc9rkkCabqMqjr9j0XiLE673p+Wl9dMCYYjNbO7HBHJtv/KqzYOLZS6V5r6uO1vJZxKf/yMyDObI6OXPMh8CYjbF1/q3FsVdRlDAobIKX/97uuuVn9rvGy78WFxL6KoA+crp/AaAAr0F/NCkx7FfnpgV64DwOHyUYN/0k6SoSIAKGVKqo8XhGhtBCCojMExtXadrrSoHjwk8Q40Y/Xjg3pN+aavS1Zt5Tc+2RwYNT3/H1umui55RQC8QW0D9Th1tp0iHpiZuS7vXe6uF4TBks3IUGaKIAIKpv5fvDkKuq2GRqY1BdPTv/xLeuKHeXQnT3v84m8M34eXV2Y23q3zFAYZC9XH3p1JcimWTrQf9p/qAD9RjACKxhL5EKNdtW54hrT/mgQJiOngMoutljGHRM0E91wuZdbjhVZofKA2zMEz1twC0L2wER2pUPJh6WpesfbryR59OS1NlZ0x/9NQ1fhDJ3XMVO3xg6hGb+nhcVOTRjljo/8gzd/RV9PJrB5ZdC5VEVZJKqeDmEZnrQYp2VwT+ahBUF3GUCKHp0sZm/FYP8ExFZDiZK1fM544O5OZ7qqQShuR11loRAYKTlUiLWvVu1jR1055w/Z7ugM1fbBV2vk691eSP50AvUva/7UQ/8NG/zfEdDRnkuk7vCe4eMSvMuZz9l3H5PIIOAFFiDkYPsOaibo1qii7r1fCey/wmPq/SxFAlNxZPhq1CAkZOynITAXxd7hlKa/J38Gj6RvJ8/p3jOxjHdZqQUq3HJ2KLvqoUcbKIMJetJnwOG3XVDoSvYpVynvY1bssY9NAhHhyHlxksuJAVPSPtAPwdpxAWuVUtXZrbgCT3Wc7V0lsgrw+fmSJbsc/jY/IV41ljWF4IvXFCgdYLldB8N0xAkecWQieYXf014q5vGYZXWT7n24YOHgeyXaiyU5uBT+aUzY2XHkbsG3kUE9MS0UKQPblW3CmovZ2bHUsLc0ch6+HhD3l5oYPTw/jhJoqlah3RmEulvTWor3YvGfbYRtx6xxsrhtGltNZpJggFsTq4RBIB/QLC9q6mb2OlTc7y4RbSuNy5Jokn0jrVQTUuF3zIA2pvu5eORlmFQ67wTY4+l2PY2uErmux51LosW28zNd6VPvNdslBs9us+sjmGjuMACnNIPTgNWPELQgNMhVKGfHY4x1ZekiRVr+4f6hg7ag9L+576hbSvbflreEnXkcB3nbsyW3/KEaTMz9TYenRGQTcbBwIWRhK3YAUxVKH8xreMq48u6bjUh2UGWtVYkgg8dJZULS9TIRFdGfmwClI7fHSrgUewE3amh9DWSx+4Qe1glAPv2mRA9HyFsAQH/zeQWFjdrLkAdeP4+FM0iRVugZz92IuMrmgBsJK9EWkclBwdpO+4np6eKfPodhq9qIfetpK6McZVhqQ+dSQWDvOuohnN76C3ySKIV6XGY3dLz75G/ZAbgr3VAXR2LI6s5mWv0wGyKe+Cwhj98kKj09ucOyWPW38mZEKhfd3yGvTzu5IwM6wnzRUjf4H3m4KoakbNN1U5P5z8zJTf6mameYeFcvaGUCfWfFtGYWHaM7bk6bH8/B0nM5DJtpJUX4bPRhl0qgELfOHevAxT5Fb6Bs4vu7/77fQYB6qfS7eW+4kfVefxbH2ohksFEsUPasU3NxgmnbTBY5MrHECOkSjRV/CKjzSa23ROrYu1JGq5kgSAeaA0nz5y7eqOOqktHfXEXfOgDUXzd8Vhwa0XspzZ1pWOwyRbrp8T7KgAE8K3zg8iqLmiTNPFHaxXrbY5iwAHhvBIwInknS9AJEQdDD7uNzwd8Q5bRZ7BCDhbg2erwU0VN836eGyupMzBJeFv7ic5L8mlN1bwVu3IyMOz6z1Ec8wxiaSMuC7PtrfEJ12UODOkaRRG8/Z2KY9NyZoU03oYRiHnSuRYVlnPmsaUeq9q7hkiPCzUjPqyJbAn9ZGN+CO43LzRcnAAtoazsvEhDxB10mWSOKIjPiBeDpTdvrf/Y5nerWpfbhe3MdjF3Umk8q+UCyY6UZ+a3BGChKbL794SJ6g3j7avaCBQMjZ2mTiz6FsQ2pCH0Gj2aDATf0tKvEEo+gH8ljvVZkKyG2kUt4oN2RdgxpUMcu/HPGDpABn5GwbFn6KAIliSFryab8oSk1fBrwkeTf+aOZGNq9q3OPl66thXermInT3qrWfY/SuMAewti4mWwjwAegOIN/Ou1EyKRqBHiEoWxtIbxAp3cTcUOWJZKtzevBQNvTo7eNxOUdrNkc9uYxcBemE21KS8E51N3Lw9syrwZz4+BST+9qy9EhsHeaDsoDx14fulCM1MU7/G+tJthm7lAuS5ibHyoRPTyR5Jm5MbkCbl1ELX6Arc+J/fOGEsulD9ots6jRx9KoMtmbniei9rRIe+hVtGCtMcvk/qpD3Riaj2HHFXFMoWDipZRmHhJ8AnIM6cO8ZF0nM/gSz3yO//btBU3DD6aAG9+wDm+cNxZbfZjfji5WIsTFlw/+N8x6r74CkY4ScQfQWBF+IA7CoihWycnXYucLcAOP+dQQuTQy6tfEASrDzPMxDeE92Lpl6jsX7CBoJxKjvDyfzz++71GShrkO+2DkbG/PWPcdD4Dy3NeECpg0HQHcRm0KTTpMUL1RxFkKrBsBZuIGZAOwWkXZ8N6KOdHMymbtQV5/aeQm9/J35PrvuoqhDYb6tlBANWseWb0l3pcQJ9WxjdsnU3qCJPfE4OONLD62/8gmgSpmWvSQiRxBE4zQTZDYcyKy0hl/JOm6KE4/eIzTfWMTlrDmxs64+sUNAbn1Serv8LY0sq7FklSA1mEQbgIp61LzK7nM7nPebbgKA7UW69J/NoGd+S/CGbq78vlit2KxTrKyaUsltptt/CSsBrJJEc07Bv9O2H/onFLilOmLvDPPZQ3rSNHm51fy6EW4T//y16eQKw1i9o6XY6Fn2dWH++rT2w3D+FuULPSpvcGH/4JvAEXO1qTil2jIStE6DZwxmA6Tynt4BESoXqULGucU00dNAVKNaITbzgw9HW6v+yINMQ+cj3X4Kh/yTSvIbZ2bayVnc1jRki54312b4l6FOnnh06Dr9RPzpgFR3Lz5PbcmqaODgnVmfDiBLhbxd2ox3ok7zIS/cH3MvQzfKZvxQmNXhhheh9u2+3/VWVpuPWyWK5LDN6RAPBjKbq/we3A8uYx0j1m626zIhNYGqClbWya600U8BC+0RdHKbvPdlRrUwbc4fHfNujurvBF1BSQut43xjSA2M8XN2srtsSECyvsbcZWJREdpNbwGVPvjvDMJwd19uS4hn6gQmN/heO+9qp5GIgR+OF0pCmRWrlE7ubLBmeo2symj4JB1gV8KmaHRiwzNskhLtZ1GduiJTpyy/tjQlKggQRap+QiCy9mHmatlongeLOgZ8DzziuJiBp6mYgFBDiuiqoM6KJREpKsmA3pDA6awmKhzRhUZ7eMRzkIyvTrsqJ4I6eNn44zYSqMMLku+MrzuNb+nIM1zLQDuxuZBq46HQ7x/EJbUa1z5VwidmVw5khA74ub+mVFU3c1ut1CsvZynM7K1/RvtvyaDMOhUzwWMapS6ZqQVP5VL6JRvumERFM2+GZiJhAduRgzcldYfs19SegTWLUlZP5ww9R6BbSbBBC2kFAjGYvsbUPzIwVpKE/wvyM82ImMlpuuPxAzxratNVhz0KOLhhWm5BGIld479oyCJ1OHxnnDFvwkGFEUTFxVTnKkL3rj+erHCBsPIXfMsF8HHhvSLAgk8PqWP2f4SkiQ5AqV/poBdaUx1Mke2flrx+iqIzzlYG1DepJ/n+cwU06byXxparkMTAW3VW/qnlzAV9HNoqAqPgOqCrhlvyjuUIkYt8wx3Q9wVxIDgVloGQ9bhT30wpeFXLdMmxSPYz/QDzpGctWezSrA46QeCK3ufEskuMMvcyRnLGVMyGuOEgkwwpqYLv5oknJpewktQdLygXE/PNFWPY7aUTxjJS8KAvMo3aM7u+Y+6syxHqVaeg9fwqlPftnkoCmP+xi24xww+x0tQ7R6pegcKP7cFBLulp+CZln4vWIKSTyvgsMIsExJ7TWOKjXPNBdGnW8x9DhbCawBDUNcvwRrxhlW10JnNZAdFRtpc2mXXWSwYYIZjK7PNoZfx5We5XbCkWJRJ0aua3gzagCJovVeLtwmNwfLxsqEsJ6qZejFQpWvUr3Y7o0VT9PtEfkgBfP3skU/gzJyM9lNLhioZZ0Yg+BbaJyaKA/w4Q44TXPGoqpXKSBVI8iisQjnMO2LjyT/FGYRcTyEND2ii9qrdgyAnumZqJjlrlrClkcMmTPt4x8u3F07JmsIplqwpxuba12WKMaKZqwHkE5QGt0v4Z+lOL5ZsYwDl6gpCFfwRxK1q0RF6ZEfQQGF+yP0tKyozOtGNSwhyF50IZEytRleMXFxWBVEh0fAGRulyHbG9iPRKHT3Ktx9SVIWAFnPOLil1GlvZru9Msh5KftHhULEYVhLaDgi1h2nAtHaER/EAcyPIo0IquI6pFSbc68M/dzXfqZMBfKPVeFPehsRcRQqeVAG7XRed/SSwdRXYqi42dLW0BFaCb8yVcl5WYe+ak5MCO3baUMDfhrEtNnAamLRnrYgLMPevaJce/xYlx+2Glolsvyx8yYzKiMnLOA0qCXexdKbUwpGMbBYyoB8w61abuHH7ZHBLVaDZz/qXCtNUPFvIqb/ZFeXVkjMFpjutQxtfG+TVoQ6DnPJ+SAtgi5CbJITYrWRJgMUoJN6lfMCH3iyBphDnPoqCkClHEGg1DJyjwTid5Boh4D8N2E5JP/gHcS5NvISNVqwE9E9FiDNZeqIOroM9bg+jktEug/Sg12Qd56Voh4s2ElATToLkySJU7kUFrPZOOSseKHOI66PVXtMDTkcePpezBCVbYeo/XB/8rEFUhFvJ1of+bwjqWBBfugJTGfPhP8p8nsZdYZS2hL6W4undYjos5Rc0PTFv9lHzn3qUB/SOqxJek0Y7cFa8E5zn/SyxueLfPdMReYyN6Ckr4/E23KKPyd4IIZndVveEtjoeKfwca5VjoG68NGXyJoijQL8yCPev+yzCenBMHi7c0IOEtM39sWnlFd2Xxhwbzl/v9lev17cQcKqs/Y1kx/wNjfI17+JbtBXEdzp9P1MjvZt7F+hMATftzSeekC1T0TPcVE93ClTBX6CtmAkD2xmSE4FRCZDXdrU9LUB2aH5r6sEbdAmp/hjgAcJn0+uDe7+7BKmErmtK0TLAGAmKS/3A7wYQfxv4Ga1/fkrM8iu0RgT5CUnpZe7jKIlFy4crcJEE25QtpjUEaurFoyFLU9p11mMYGgcN25x2zIqZkBr9Ezuua7WC+xMH30tADLTaSMgd+CrtJQdzBkfTTsEtG7nIMuO5ecvuCSZK+aXA9Scyh0klwZMUNpfOFSbrhri4P7nVyEkBFFmzQMS4ApYTJab+c1C3J+u4EBeRxv/xnMYvbaa1BTQxuNI8On8YnnX5xOhVWKFETEkKpE7ZQgFMzBOiJRETgi7AJ5t7BDf/JSWsjPSUDAF2nQtw87JU7917WoNV+9cmxldX91eCSPq0A+KKSewqQMIVTPnsBFy/rurmxI//ePntNUMsq/n40LjFq3AEuladyCtj7BM6Pa8tYAW7X7VPV9KctbJLQ0vdZtN7c2mOXz4VSW8fUAYTF/GVJ01Z+TxJqOaqzdOJfZ3daxsU09PtQZJ3VxFkcmC5dmr4yWohMtq5E/dRjLrRlgNZRa1PNqh1jIrE1Ub6zhmMbOeXrwXUpv0nkPzLFcTSXOx6VAROnHNJpAEZX42ML2+T6Rn/av9f008w6SX4SR69Nc0jOw+DUTKhR+MIQgb2f+OGUGEVV+nE53w6M+hHg+q+LXWYGhqRnREMT8Gegi4Y32XGhqs8DV5G9rLLgRVtWH3tZhvxZYXDZTlk3IqGmrlNiHmA/TEn8DXz/cgBGuDuZDosAqGBirMAIGRMcKDftyPg3esvLfJozof1tVEivszTF+PIo6o8D8nY/oyWB4Es8QEaiMCZPLncADeA0txcuDbRxdPGe4QYaBuFtur299OsfPPaBS5AeK6HDUO0h06HE2s7t69806/4RIDGj5P1oDYK/arI4C0kmZvjSDb6uVwuy7Wf7RI/YOC/GxrFtXUOg5fRcbjLOQwF9fy0x0EMpyhU7qVChZ2jNkCILHd0XOySz9p92a3FsPpsJrtVcMyzkFmSxIgsGaQZX4DiHINCZ60VY5TVD6u/DU6pEJqarxkziWWH5PAFb34k+OpLIjiaC4QYe60Xku66nKWf2DXq6JI4s0NH755LiMLmIFDqEyvCejMygV+TuWIX4/y2HgKfKKShjXNtbQJ9ZBkuCWAxCRz1C1ocX6LREadVNdRxEdoB+OEUG1zqI2ufxQYfm9N8dppF2eq9ZUXP9GlPF5FaHwS/KaySSbVWM2kIoZmNABDYoH4sCozJ5Jj2894jDnoTx+RXD/rNwYTKMA3ALsyIvqvOiQy1eFjg/1jXIHEQrHjB7ppsb73cDddYg2/ELvxV9qO59EAPBPVb8JTK8HH3bkPAVceQ0UcZW5/SAblEbYWQU8AhpZOreHjrCT0z7tFYqtEuh8c4GF1y3u7Q0mMKeME1WwLmi+jYzlxXHxx3Cv4259hskh0+zC0LSlgneyZrSBK4InBezZV6kh/H9wpaRjfN1BLhvEUXK/ZIc4T9FXgJsQoa1nHVl56gwN7oqIEKsglzBWIBBf59VxSgCl5dbBszH0jIc1gALb6S+3ya4fcpsTTlmZ0Fty4+kL9PpbAjoLjQkGbKl6xTNq7H1fBRASHXMISa5XRZiYLEzqspk3CkfF11goQ12yCN05J3eG1Ni3X+ky25Ok3NX3C0oS+MGTBSC6sWj+GPuBuS4fs/1rCSzrbkq4kHO99IgX5KCc8/pULMH6HHbPFBOZgitnvALqI7qe4Flc2jqWzjbIafJgGJPOUsbgvwLE1KZ5PLYe7v03af4DR46eVsIRn1TZ6nUjk3SF98yVEhnCFLfM4kTnGWCTZthUFfKi7DwY9V6xxMx9R2TYeXlkpLu+oPvhjqG/DRZmYRhXA4l+exLMZlbjIQF5mbmvHGCOFcj9guSwg691GLupukuWW84J0P7KtQ1//F2lIy6Wv1gG+JJF/YqmNgH8/Nxeapfupk0lPut1auIa2P3ZPRpp7zp5AwMzB8E9iiaefrs+ggCDl/ybdFuGpmSuFN5UWsxXI9pqQHE5z1gAcAXRkgB/d/4BumA8Zf+ZfMlf0Se4YD99jblCUQgNCPmmkeBHDMNi5akjmwjmE5pHI9KmKrrOBESrqCosG2qUeRqsHoXx3jgsgNGy2hn5YFD7LiMM3tnjXxbW5tXqP6i2qGyUzrXBycByLa+y7z5k6tfWDTnQlHU+6UZdwZpylHSkaNvod8QRzS+ttyZRsmlUnd3bvTeHdWPGNLdikK5w4wwRdsmKkn9JWZWM2SCeNshSn6LGqt3NDe47spoXrk0m3aGgZUcd7bVGpihU+nR3DpBrHT6Dk4MPQ2uKGnyYEfq7az2D9T5dajMpZMNFZZTgnsJP8s9+4JbPXl7GHdMEgCFgyi+0dS7iEqkGsQpHSk9D8Pi8xDkbcvkYoZHipRd3m6JKsW3QomOQ1Ocmp/P73SZu6U5XxMlexmuaORq6grr9Ycolqtb3VDl19tfazoTovUeWbI4l4UcjA4UiI4mhO3syTfCg0daggbDDYDzaDMd26dIt4VrnTHzZFOzwZ3Q8iwn/yelddrNaoJ/+xjEoxgU4+r2WfqGGoj0BYge6qnKdYpArloHWUXZwZxIgq+bZq1VMpmDuu0yP6dNA8QdoMFaYuG35ZyxcYJe0Mx846OaIOTr0pvKVaM8mP3QwQKGEfAnvNngQoWz89W726p65IKpsTnyJRyvX3jmATdOL3P0t+pGrU9ZxnlcX/O2PzlHxT89V3DajPSIytT/Et7xpY5MdUTNwiOxdOz9TcZLR7owTsOoXvVcAS6E1jpOZ9mTr1Z4bjNu8pdcx0R122jTmNQ40tFQjAiYPm11+UsNM7wxZZiA7FIGPQ7sHk3jKPlucJhx2bYEVr/xBweACW38dHZ82ZPMBlGP+FcgN4whcBgHS625a5jXMGuUR8BCrlDpyr8saFpmh/GekKPpj2cYq7y29lKNGQspNCTR3P4gPKYThXfhkYK0pPAsai9hXBF2mn67N6xmAzT5Isqleiq8RNfqmtIOTX2p+d70Ofy2EwqbYahlBSRNujfugBnlgbew4ootngDZrcEuymT23PSBcNW8nTdXEC5ej+mmK254f/p6fkLyCndaHoD71htmwtdLMgKHrwnbSNNDj9hkbtNPoHgDNI46DSvZd3diiVquD0907xy1jhQgbwltkRT+qm425aGAGcwQutnn+s/dUz1aevU717v7Uv8aFQh0zeplIBt5L7WrmiE/d+MInBnxTZClxfMDXemsdYgZ4J7IECrv5TpZxIdmqKVJxsEVjMwKcU2vIrEG7FauTuC1LfLdguvmL2aQTmAIUtSWhFIH30cpo1Z/az53vh/YdNdejISLbl0vhXzYLuobpEhApiM992IZja5GbBmVpriHefdc8gsyAWWffqx4/H9BstQA93CSDeU7ZHCOsgsHwQfItCsZfeu4F8Sbz2rsFYnzvMb+mEacwetcPOqUKrN8GylU6YrrvA4HA3WCCsn2aZ6viEXw5khEircpdoAflMbE6bm27arkTLxAreEW9PYJRVHw2ug25mdsnCEND5TBgFQ8QJutGFSOvZIuiJ3GNytL8LQVheaFOLolqRcRWM7h2WPsCg+0AoroLpDHcqkvC/4Ql8nQTBwSpiQ8MVl97hdG0u2/+RLiP7wj2UUFpX/10QJeX2TyAOD+RBdeI2njPJP5zxD4mrF6LlolBiduZLESDxiZSX7SOOTRlxIVwyhbFls77ynwV0okQ99n7AtBHuYbHpjNXovV5sICbmTcMwaXr/W8cZw04fO6Uw8zUi5htWXxXgSXwaNvGcIS+uaCgrqkLcw0FcSnUv5CsqpTipUZOV1bTBLa3ODyghJ+NSaW/9CcXn17WbmVggIF3YkQvdEbPG2jxd89YWftBHs06Y0GnlTXc9tIKB+2VoUeh67NXOWZy0yBmnZtFq9nuLRV1DU7qwNclAgnKdgm3mqn8UYtFA1DaosXfXhbH/JLdV+xyD2U7bvXD9VbagcxdVQLxtDYL4MyCSo7LO5zzhZMkOMxzECx2RUUomSPFJhAG9gAVHGE/5gKzWfmjFN812a9hak6Y3kQE3xE77/wcpkRb7vEoqNaj7QBilW7PNk2oGjFyPxnmqyqCwhZ5XD8qlLNRtLsP9NXWh0zF6RxN37ba1l1VXxqdqabxPSQos8iMSh/TmUIo87bRoUVb6rqB3pS7iXImlAGKNbUK1F70nexol5CpDXrAKPkNPwYftzbjg8WDIw3M8vTBxY4TrWXdGPxA8TSpEGzcmV0mDVs3dc5dLVVK/SpevaB5LiUr2y6xM2A0xlU3m/6lAlHXIYDmNLZ0YAPOY05SVRbUaYsf7tsNkbWVHTDZeKAVwlJAJGwvPt6NK53iE1LUO338ODof2YJoOBSn2E7kIzbb4FNr3ZNwGLUIMLcehfyxLyzVxsf/ik8OH9BJWTdH9dMAiGoW/FmZh6eWR9rSamfE68bvu6VR7P5gsLHz7BeepguK/UojVqQRl0ZylFzrbexSDIs2xnWSGCOdJG87kWZIXGqZeTB3z16/9oIe2AF9EFdI1QC7VD23ES59nVLec+f8/mkLlSsykS0ehrHBeM4hupjUYr8+ZbpYjbi7AEk29eU38OPq3E2wJyK7p29Hpuc77fW9yn4ek+p7/xoszW7WaMwJMsvXV0xvgpeEYf3RQbMtZJvCjJnJwiI9BpS9nTfeF84UkOv6aQkxiIH2SyWeXBtWg0Q9laAIfohpeDDMX0qbYoG3gfI/ehGoEf6/nB4Ju0J3P7wPmkf54woRNPFpNfG6dql2IV+37xl5Ovivgl3H+wvd0OsKnVDKFta3tg/UiUM6IJbQRl6JdQtvQWVglbkn4i8w8IR8pE0KBb0nc293J3cppq5fBCzF8f0cfxIxAEqqahLX+KIcwqqqClx8Wej9Lvu134kEzzJce3QPzdxqJhWu2d3yHOZQTOSrj0QvNJbot5GtnfzD1Xd1JCSq2pnoos1/YjvM2/qiEzRut4D2x9eBJsR9ESWpSvZ/zkAmyHgppbBZSoCLuGLV5Z5KdPSOrUeXV0S3cTmZ4TzRjDUQ7q6WD45vH5QZ4YmsmHv3uTekdPh3TIhl1vUkTN/ryKekP1nmzXsUGLtg7EETxObCZhv+9KQyvUkJIdEEC9gqiWXMM+H6UYo2rFlNtrujJnVc9TIfAcfrN5zN+IhVA/BjFNDeXn0lpufHNUCNT1bwGsJdKskqb4potzwkjNORtIeo/d/jwcSoR+rUuLZGUteybrnGlPaMJ3XDS0dgMt7oXp6Q9GsPOpspGncZZ00qhzwryPW4OGllnCTe2eFYQSWqGli6I7BfGC7TmP9C7w6i8qLxUbY5lJW8RK0OSuJmJY/nHS7I3T8uDzU9BKqGyWgAvpu5275Z+meGEua83mdbG0bvcWrF577arvefeB7QgrprsP73Mpf1Q8mtrwNFb1U48cXfuSwZk0rEbltzMdO0BSuEviDGYIdirCUG0u4/WJKVQpePStJLhAW4zSiN7UlUDXSx4udzN1ljB8mxedtKGD9qtyp9C5anEbouxj8Ywaj9/tah/VPDUhs1D0TxMnfGOZh2bb34HmY1VDZVXrwWOJKKZjJCO1ptlKnN2PlOKvX3uze+y+jGzOyz5j98fNTfbsZQYmcJSn+Nhn0q0HMUWsvfSrLLcx3X6h+pIHyCrE7bMrO6Eo20jjBpH6DdJK2nsOYr9TM21q5y8xx3JoNYrin9vLVBWRdq9ZtPI17ZfB6EEBBx+M/b5aAU2Dsj2y5RFf8fx8H6ohVxHOnXdkFqpDOn7y48c3nnjMNZ/MyOxpqK2p0Lw3ljacgFJmvjV0M/aUyX/BHgqOe002UtdK2MIxmV1YUb5DXpxRP0xMFyWjSdt8bHXBnDAoUG/VYmzCPAiiQc6Ifx3kgzJHvsWqSubyiHDUJFDokdl9AwWnkLQP+i5ms2YIq8tE+lGGl56mVMk7E3udrs28kw2GX8MDXdnO/tD7qJuZ4k3a91jKOKECbIRG7TalY9mMLmbDbTxDoEeSb2wEXf7P/edKzcuhH7Eb3qDhlOroKzGWJ5V1UTDIQhrEx4gWbjq/8PQF1SinA9kOqtslWtJQwQmrRRTEH4fvMKlP8v/FCTEWfCXQdrDkwm1CLWaJ4EpRAYXMZBl8abaoqIh4u7CZKhP3vuDoi3QGmVTfgOUXel9kkf1UxQny4gitDZBuTzjt7M2r0gBR6C4AR2u/w7sqJgrm7NCUUfVt5qM81I01ARQQNRN/5i+zNDTztHky9ZFqpibdcT5DmgFOBQIFPYPqTwppbt/0rPsuiMkAaItPyhFys4juuE435KVb+E5j40ip9SChw6FnSppn5/fKkX3UA3HjGJgZWBmN7wGWW0Ue84BmZfZmyVjdkWhq430ptqKAeAtyMeKRnzsi6fL8s64sX26e6XZKZpCdlCNnLdblKBJ9HAW4DQnQaw++JV6j8KASgUUEL1M7KayiZtTVotDUzi4rluh0KkrBAC+qB+l3bIrorU9hgguegpJhj6Or7kxfYVt+kJ495IXpx3oONqnHr4aVpCf++C3TvSQ+aDVzDi9Du6/2wTW10fD486lgTJnNM19hs4tJ0tjzB1abnk/KhiLUhgQ0ZVh+ccfRd26nO170DGxeYyMT6kbDliuKH0Qrx0lZLqXunZhJmldBpxnofQ2vr4b3h8mLXQHeZ28QIEM8Yt22FQ+pcNtKTapuTR8BwQ9CQWKg8e8+tz/DGUoWQ+kU5FRNuwT7BRI/Q9U7DZRsmLSL3EqLtSnGcfCZ9ab9W46xu55OuCbctspWZwjPjVoQLQHAmpODp7zf/LL/3S2VXz7xoB2Pnka0cFb6GvU9oniAcsARaJDsPAIYnxicvlVuixdw3VkAVPn7jtFL9YDUuKjri1/p/bs02vP2vgfU4g/ysZ3s8fvMn6UvGxouZ526Tuo7IOKzFVdEYznaj140SD1QQ8Yi8ybPzZmHX1G4J6JXQ1Im9I4H2Zp7w7rxS+BCB5v+jkkMcVGTcMnSFFbkXNODPmkeAbajQm8ApDFwmboIzOadiR7PwUUzTuaqh1Pb0c7E1uLyAb7Pim4IiJbb34HUbn1LdfVEUFDOH6J1Z7zHGpoiwUaV78HgBzMOIsK71Ho3g6loX5lz9MfE/e8vQ2pq/w2BHun77gOP6BcmN7UYA6/kJZfiE4J5FQSV/8Jkhuym6hjJkzVM6SQSYrkPcBj8G8t1V47tkgZZcMBlnwNQhZ+QkeTlAFvqgewvFD3zst1L4C1KTF0eA2U+AXrmWwvDnr+f/ox2pumnfqKGv75Mic9AyJHgBRTvGqdPmQVgsYgF4go3+pqlWTwe/Acb519uLYEBMSszIn6+bZYflPeafOEQ9oiCVrEM1Eyk/87miuSjNIuoYY1zs/9qd8n0Bj4V0aI36Pdzx8rRlfn0h6G7dm7/Cze4X0ez+gVhkgKasY5hnQDC2Cyx8INwuTdJVEgiHZPSgQLVUUw4ogM8X1fOtujPRFsHedVOMziOdDkZ3bFLFSvkov9VFG1eig7MdEidO0u/wqfa+1qCs8aPrjtVO2dir00cS2rTG1sQFO33zjCe2yGuUhaeIxQlyB4FELLFoO5GacdUh4mpsv4KpVuIenE5Y9yYkOBVosRubvFtF6rr6DjydOnu+EiI1/KyY+A0Npj2KXG9+jogazHp09wbxO0bL4VtniCgJhjmKLPE1ET0JCYtanBNNZlk9QYXuH91PQq1bfqN3LquwjCQnFbam0XTwSyJo0ZUEiTaOWlkoG3JJWYqOoy1lrKXl04obDJmTS/ImT0cerA8+P+rLvmSjWL6tJAwYizUh75TWg2tMK7EA23HrrgTTbDRF5nc/LcOmDlgHUuBmR9CAmCvasvznjotnfaQ5YYICbunO87gnW9AxetF/9Zjuvn6blbGFBRge07g9R26OxYElLcrr9IbnkcSxbcavf3v3P1fciRrR05yeYhyrzUons2tUPKLRd9VtfB7pDBMbiVb0bQY5v84b/pAlwYJzY+LS3HlaXI7aNKvfhYuVhXJfoaalAK85quV44fuPP0XhJF83ADNxyu77yKiWZOyL0t0dYLsPvWCBc3P6b8KzpsRPKv+baQ6fFHtVLhpJBwqHDkuuOAIG2IK0ipCLejnDtJ5xsQlPbuhWgJgTOULxLAyFIRnj41z5Oq12fbta3jKQyrJ9BtHE7jU3ZcLWr0ptO/TkxRB3nkHVZGwIRBC4KBRy9az0XRUwwYMNg0PCcjaFwn7oC16xQfvLtpx9nWkmTib3GvGgfS8JdZyfYRxRDlEld5HLB2ubUOMeAwAS48Fr2h/XG/8ThxK5bvDG11mI3UlRuHtEWeR/R7GZU947HCwLJj7KvmalpGTvk3Zi2HEaKHF8AGrpehkmoKGfizdy+/7XcmuHv8euiAf1f5rRyXVZoDawW8d1LUeZIIMdru00ZtRGGvu7xjgrG+egIqc43DoOdE9VDeJgNWORD+8J1MsNEmsvxtUsxM8zMVHmzw4BUvnWMK1Z10GvDK9IxPCN0ntGnCxTRwQDM2QD1MFaejn9Tl5cb8tNIHJZT24DV2NUmHBq/ayusxxj22E7oiJXzB8Vpj+8fFSrTA9yXcA4qca79wrhdZwJzjbRlUYxg3Ti+qQIVTaSTWe4cc6o8s7qtbJHTccQR0t+Z5iC7eEiQPYzl0e3IZW5kSLQcTexrH5fHeWNkp2dsaJmm6I7XAZxcBs/NUjJKpXmvDDKj7C5/KfYByU+6HpAQzRtTb152h/3xcXwoExJFvgwLa2LiTsq94h4nDQ00YccYPzFvpr9FXikxi+1KKovyG9DeuqOFBGkpnOrONlQ56CPF28XLXFNn1s6YKYQZH1G7zuxeaCECaTN9O7tETRxjBqm3sriR06YAbzCN2zkBPpt229svyh5vmSEnxXeda2scN8iD9cKomH0/X7T30NyCV5XAR9Xy+gLCM2zMh2AwXy7hXtOfxFoNvCaWfGTMXgDVrr9Eouuk59TEkw9kVTkDSQ9cPOvBP2Zg8DCY3KybKJMLE012iaJS5g2msg6lio8C9tQV341bgWTr1nULZGzLlHfPrb6EqgHo/PLHVnxyf6M2VzluG2+fzK160fpXikEPtNyZIeuYgDN2cmtTJF7hskANyt6iwWC8IVH+YPHvMN9c+9lW7ATPYsclZ5y//5qRL9zn3S3EYuNPnmi3Le/n0d7QRR+GAKLD8QeW6knRTKBTLWqFDVJxM0rsjEJgyKDQrNbYh2QmbXdI9fBso+OzJFNsMjWF9nVI5B+CdR/nrgz2soty8XiLwVu/0YGXvFgghNTwBQbjHeuM43Kv2gn4Q1vHEP0Ar11uhu2DP1ECb4JVWo5nUJVCYdXoUFTquoi9vaQZ6ZuzEue/3U3grAMVjiFrscGSIVB3FdCJ34IgezuVnbE6wsc8Gi/pY4NjJPyoo4mGUJNxDLso2+3NbzBWVXZRHCalbuEXg0//Y5Q8DI2zidWeZo9WLVvSGgYQI08nP1TgxuwkyOy3OVkCPI29L6X2fp/ENuN06BJnBcUJ+lQjqsReyeCcsIQq72pyfOjEbTzAkS21uXe+L7eDEnnqlDACPSFWh5lItgr/dCPtGTjMN5D25Cv0vZCQ0kvopb5kVhd3ASLfAMsJGl+/PoOA251cT+OvGsSEn0wiMNO2QxT7stoSKe6cd7Pe+VkbQ8HD7Pygv8I8jMqN6xq6aZMGRSajyn7z+JriPc0HpeXudSWK/nZ/RXbx2zrz+nIU5tSoSinklwcBbZazVGg+mkuqdQYJY1nW7irV1td6PL1/QtOKZHzJ1O3CFq6e5hAXkBlRV5wjK3BfwRQWm6/CaF8wkhi+1lZWAUA6z0rWas/kEl6atu3k0+26DjUkhKRYqCaWvH+HWsQJF2JBTz8GcnOsBmR6EPhCZN5NkvLh/KiTtbwHSdRSWwPxLGO8OY6H/8GYLp1HxMMgIRb+JPxpSKg2wBk3psspI6bS7EdXeaaOJx7Uyz9NKvf385XJZFnRVSa9McQtZU4u/u16m1H0ZfNgqAMvAk8ewPyo4Ly/kxDxq7S6I1sbMj/fjmjqd6WE1UijaN2/a45PyOlG4XA7QznzpEussDyjjTOYi1aw6Z3NkMvRZo6Iq2+w7rtBt+G66Q0oljwt3bQ63nZ6S55c0PX+/HF6DDRFVJ5IaZcC4O4jVz2U1/jsCc5JrfEKjYUneheRaUX6kLClHoBiJrIpYeZhJjis5wlfVHwTacfeh1ZLkgNgpOGqWI6utsatd4mZecUFBSTs6Rj1kFFa+HhNPOy/k6HunBI0YLxYSuAa3yq4vkVk9Qnk/xupEiEBQg2B4i6FoUMdA8hoOqVowyNM4YEhy48hOShKn9MwRMj2KA4GSmVLFgnlNAFwBKx2PeALwpZjtFFoMrk8Eh5je2DCQ3T8PoTcPIxnPjW4ppE0DRzPCabM4Z1Ob0cG1t74WQLlnjAGVrhVHbHSL1O0h03zOIo9vDkioKETqtIYc7e7lu0GOUNhwVImGM43DVp7Ktrfb8eJvhl9kYxPVdbdZIFRQgbYAGIxyrC8kJjGkXlp06wXukTCHO47vIXlgdT3UX9r8k49kLFD6CcdQADnGkZEK6n6jaXGJJG+50Gw4/XITF/oNKdvPRWGqO44YoVUZvxd8RH+A6eGrUjecdZAGetxJIWNw59z/xE2px3wdQNjOjGAJtfCTEvp8duPsjyrTozErtOqTOc/LgPaGHIpvqXLO6PzXENZxBwhbQZ7OOfYOxd7DYiL2QsBtX0NtMXQmt1/zRxBdoS2brqW4s2pt1h9bitWQZddWup8J0jnyawFHDZo22SxwDY0XZzdVcMAa0RHCYmr+BdxbSKI/GULhWKCERYzyuu/od4tE4rP68JMTrFhE1sjI4huuqGEDjQQ105PooPw84SVl0Ep9t81vaNQ74CC5Fshq2/aHk+/NwHC7D8e4+b2VjI3ydkhhLDBvYGkqpfZO5fikOT83rZ7+UjJcj6ity1h/7Mn+MGOefUlg8YPh05JvStQLVrnSF1wAygu8yFrtcUdZIAJ7u1GISFLitrhntpau+UbZlbCIQcZZF2Cm9UTsiOUE4OXTNSzWlYuk/sa6gvijDe5CTXFU3i/btjNB3427MRkVoeCYGC3MKi+xDX4cwir1kgU/uguflrtQlyV12a2UCYHaZj3GoYrcAJAuOv1MXguJypO0ST/g7qBdEtEJiLdeTjbs9w5LTVdlbznSw4Y6VmliitYxQqQL6l1gXZL+PoYCJixAgrIm2KDB0xF6f+rXScSTiHthhDCQrEehE8nBk2lgGunGJmuidLxQUrFqW/ElW8QP7HQNqMILabgLQbeUROMkjlEIKRcKQTAAu1XwhLrVlst4PTE9oV9ex8o9X1iMEChe36FSUAuze3SruXNTDirZgGmApNx6jRNAQ45R2VVC4EDV776UdRKgFPLOdnoD/Qxd2hZ1i4bozw6wmpOpAndQk83e+uYDKk45sfXkg4VN5F2JFkttzRcYxKIk6IB1iDt7AgGMRsNWPgwi2ieArJ1arn20qhy1UFxq4gyx7zlOuqzoKsz0XbY4IXIgzyv/fjXsfXricIeRnCtX2kCROuh3wkW3mk+dnb31nTqt4N0WeGLP9vIjzpyQ1k4ObWmnVczoXEtlYsv8F7pNGaFoMoDC1ZBIP6kcwJ0EFFkJKEmvkdRYij7+2z/wMyMSBC6W7T/ipc3i58pbclMynYFGquz21XeS2BtjGSgW2hRUaXgVoSWlGe7A3ze5ExvmVvpWNlCZ+Kq2d6kxcOuAewOV3AnJbQziFQnB97r9rCokG1rXdCjBwDyjfO4HTaNpfiylDo0loMf2fg4XIptaZxwKW2fUo9RVNXNnm2hHt+Y4/RZ+mD/WjguSHdv8M0wgCCSEHKymP/sl2NEbWijXEWzeOM+xWyN32gKNFJaZwVPD2fEg/0W0ye5tdvbTZxUrPLu9HSs5ZPYsKNvXq7pWvcUUoYbMccB0LZdNSw9dWd5NZO0nKtbYVaNG6gUv5FnUnLzbUDqo0l6o+lJzHZuZZk0K7MbrYXBJTNZPLGUG1QciZoaWlyjF8GLHQ8Q2uGoE3F30myXyVKGoN0uUSFgCbF8C8a9OkR53vn303NQfTTrPTulN+tQEzHrLeFeG9sTx1tT9/Ww+xveFRRvQG7woP6dxPTx8pV/Niw1HehSqS1in9PO7ES0sQ6RJOuRplXrjABAgsVQ8v3ZSKjdYXW46lfdHawiNC3+/zNJsQCH/TwkYyguXZK9yZbgR+FNbQG40yLIVJoQqKWQFzQPwPLzN6USJA9qRlaqrNvacsK4h/Umrdnv6tUWTYFxQ3tiVQ8NzLwCnIfNfgq5lCloVCXrT95wUwto9aiOqCNgvS4E8hrnsovXtriCkHIvHPkVTmBqAXJ0zhL9dYKxlKbADOb6vPu/enJ8CGDFgI1yN3cCqE6ztElwaSe5VwBlIyXScCGTempvLM91DRlkikY/Z20+3eKPTjF3fR3rfBtbj/MsREPfqRsdRte6LLsZWfeZMmwQC2CUPz1z/CCfeVDkveUw5+uWRHghP9PV+VrVzNAvgVuvX6kZM/rxdS70nc8/OQ+gPL8pJAFWrlQB3CIDLjuXvwyX33PlGq1HDiOzoX1jlIxyLtR6+VICQlyyiZ9FVy4HYy91nP25sOwQxvZpBZnn5smx8n1O4Io1FD1Um46aRr4TytMWBx7ppLDRuFhI1p8zan2je35mBgt0td51MC9POa4i+c9sI7I9olME9FMABwtAnG9Pft1Ep32LJwEWJH0XikD/8N8cCLAcrT0RPVs5LR6QxbbaLYJoNiw4sMFwuy903oy9fsA5RtAdvShLxUwJ6AQvjkUJKXKQAyW7wl/sSOpKcisDp2WGS0XTMRUd8y6AMrsDU2GzVi29yKk7p1qtPhtv+tK41nDYPugr3ChS13JNZJprY+WSunzsililII+8s8fL+6LxKXRrChNATRzRZjHYN2e3m86TViF1qHNB4HlKmqg1OsUl4MpE/eRc9Vsf3x9y9pqf9yqQfB293T9+AJr3FPaGbdQN6VMlVHVp9RT2CxyHd44IkmB7DUSsnUy1fs2GXyE27ijhnjm2P+Lw0IMDtSBS4vINzIT8MbHEOOhTcTxtMCwqtJIswCZjBmNLGSBBWdaNVSgSyPprWYjQIskFSAticav6qFdGiOq57kE3UPsAfKjbB0zGABxmASb9RjmQHbbqwNZsr+vFeekUM8bOhq33iUTxRrjltrz3ZTa7+xRm+nAezqISa+wFEofsREMj7zt8h3F2BZ3s2KvEESQ7uBo5cJrWQZHBMyfIjn5ZdY9/TWi1zPxinw4Q3UOTuaAS/ypDxwutyIfuk8jR+zn87y6OLTNpZahQTHEi8qeeaGSaMoDNWoWxmZrptbwt3OYaiwE3omnty94OQdv8nX5W64NQzmTQfjkRTxcMkdrZAx/4GKrBECLEDMoPBMpwY0RHnOUWMRq/Lb6/nBP7Oh8uPYlMxOgx0VBD82ojrUsquPr158kjberataYkMU2Azx23TSFlo6omxQHTnJ9Pt20gn8qD/g1/8zfQ+z/5/M98H1BHSe1S8aB41TxfQwGD7QBtMS8iKmmiAGeBhz0AmVHvjCUlhoWgTFioomuPe7u77vtSHwW6I6kNkGhJAHQA0Q1JEJ7Fpe/rlSDv1VhWGSdiKX940jibiEHx1f7NsCooN5KvUshPxxW74v/ggU6U0v2StnvyZbZv48E4u7Hqj2qYqUQh+wjHl/Djqv7ESixAJ+h8UjdR4fxSxuppUS8c+mHXpEP9qjeKWKul3kNYLLgXyFavvT9eSCLIjY+BhftZUYfawc6KO2+DcIXS718NYaMpdEvlugfyXlOAf5zfvabOKNKYVaW1CaxxBs8DL4ZBcwhc0iVIG1Uy93uAZ0PSBpeEMOVKo8hNnnuXES1G/0fVR2bSaTN1HBnhkLEhG9FAld82mVwnMTZ2lnMFl+UwjlZLOW91khxZReQuzarB8IDCJRHVlBBesqVntEm5vfIJbp6hoAjmJ8bb+ApqcTS7NyX6Mut/c0j/dv7w12EcM8cvfgXWit35EdHxVyKVWCjx2hPUFsDO9CHAsGdjovl3Ws+WvCLprlEUEM0IUGXcHYKJS3fuJQAyH9jkVwGrSbiB7SX/sjTyCCrfEIv6y5OMWilCBUIL27fayOwxSjaSysMsNQd8opSv31WFglDk0gREUQQedfBuaD9BWgPaMwsL2NnYxDPj3bPq9S8B3USYjBto+Wrc1J6EVYeNEsMFRx5wlKg8xPdhWs7aQw3nlgtsXuHYO9T/IZ6M5rFa353uRDsAb4TDDoi8VjbPdsXKVbSTpxoGKMmn7V4FHIaeAFP6/69JnUHEM2e1H3UcKQGNsIPEQ0ZpRupmHmVuqkqUtF9GqHGbiIN6JfyX7u3RLLy+lmwn776oH3xYBYPXm9M6l/r+TM8Alsm3PRpJ/F53HqYA4MP56l5F6mxMp/snEPY8aOB0sfC9PRkIX6vU83aaO2wNv2G8+7AFTtEf8AWHJ5eZRW7JLxupSFW7X1fGMm7zl1TTIAvqs3M43BICgHJKxUAv70dwsyfWdmmxTYGos6cirSoXuXSh7yddhUAHnDj78V+judEWlNizx62jZra1gPNRZIkednE0T3z8eRWWe+HfYM8A2iIwO9gh5sx6Rm0YVSLeUsYJsa4JIOymhiuuFbF6eshNt6cS1WHoCam0ubr/oDjMmoUeEFDNrFuaPtratb8g0FxQzWnfr4ZwgSABCcWmaGCf1/30IyU6YP1LB7/1+0WVtM0sjDruJ4Ac0LBcLy/ZTeLkX4+wXYGFaTMKtH/rW9ddSft7D7sLJZdkSIdW8xDWeHBBVEzmJRmnxhdeTjowW9O8nj9I1a/C/FzVLCxc2sHzNR2tobNMFpxHLHTi6hgcVWci4rCtnwwtOMvunRZVsFVc8cavZiDm6BqkfVThFfYxmVi2dPW+rEr826bFVnWZfMuA9AO1Y9cW+0Ua+XOJiISp4745+O695+TJCsLDiAWrQV9BdhAITiMJxujOdEh22+cf9plr8zZtkR7zYyIpX5lxV6PczP/+MsVVH5w5S6JoEgcCgSO4S+s+8DZu9J4JGATLCXAy/7pWZBnraPUsr9+bhyCqdVhCGWKH4kxTnfNUHedlIjaB4CLCnsm93JZ0LpuGdTaBmxSiesrBM4WPKrOwuytMfWRLfeclynYbTV9wssR/Cvm6Dj1vZK2X5UUJJg+r7KI2PwyxHaMkBsWyqI3gGtWad176C9S97SeyA+bQPWIII2JromL5fGrTshzyZ69WpbXnDNiX+859DD6W75S6H8mBZT02SxuP1rQx+u2UJV8C9BDEtTTJTnDX7PRXkUOrD0rnqgGlsyxXfzP06fwEYH3Eurz4lltpj8zEh9QmWTs17jr0RSVCjIoWm3K3yyCeKHQh6enSkRLVxo/6vw1Af80eJhZMNgP7JVlYP85z/wNvRFeQWIhPUrUgaqA6GIBWTzUQhmcFauZn3CoHdoW/u2X+Y5WhFUJUaVY5ZKaY1hGd4Vjpnqeedv883MYJgOwHgsBDVzrvgxVOMCGJ1/ck4IA1D3IpXShNYV3iOWrs2iptkxx0LlvpsBWqLv+vSTnLQ3lKdD68LTfimD2ihjHP63B/MJgHxZRJRao5S07r0ySvRVDUkbT4MHBksnq7iHyZGNLqELaz36CcVmw4lq2orQgfwRl8Iae9x57W1ptcWleOKytGPJ58mY1FeVxF5YqY6+hSDSi2/mESGaqZcu82ZK8Y/Qj94FYqynXrCNfbFPR0il9lOlZMFZTSxiwzVIdVuGoX+w6teMzBuqhbFU9CHC1iTd1aD3XUf5UvKhWSC7xS4Ax//547CbzOGrznxEoPAHZ0BImQQ/efxltVtGRsP85UvWhLwILpcIxO8KZqhRA9DGbeYu0B3Q/FbKG4g8TfwcL+IDhkSwN67FniOHKBt2j7MaZ8Hu0fIq0Q936yldOORynmJJLfX5QcbaCFopHlaXP7qw2mfCWvRHzcjjeIcj7z8nYztWvDqUsIsxrwu0PtRfB3ATrkTykzLLjpHuKjebLPjd2qpQWAazqRvljzLokEH0vB03ouLRdjuwYtAYU6oGMHfN0ZPNtQ4CMyGLyBY5jBgIC0wv/2nsUxfGhwwG1r2ZZrg8MMmCTKL2FQ6Wg8IyboijPgVfp7Gc20XYQk7h8Prb1uWp+Bh+WdVgaceks2Sd/gfXmfqurPi+3cLEa+QioCVIiAcbjG0Z7iiZoCJx3ad/SXdEeoqD6WQZss/j86A3l2UgUQVsHhjkj3KjO2tckFfZBK17cviUx5zXmJXG7BCx0YUARns+C9SQvz0aVMaJTacx/QLLwH6lBtawrrsNy1viSQbQfenJHfgw5XjW+N6zNoqaqwv6njw57nzFmiL7vm/6eJhNNFVXYPGn6vCunnPPsHfQGuf8z42ott73Q6zMkTON1thb/1N9Bf0wjzEsQNWymQCvpkA/KySGAz2qOWBPtzHrxXUEKRzCx7W8mR3kNtJvlAjXX+LOebOiRAXDvT0PLPAEK3/Pa6WKlkSPQ7Diuc9sTCid6Mgo20kXHhzZbWv2rYHzKdEumUtiGu0VX5yQ/mpaUBcdmt/ZNnSLdc+bsk7qE86U4SwzEAKGsWZjaCcv6Sm3fXemHZ3brF926cxL1y7OGpnpqJgMgAjmzAZbyC816OBz19nKOWXgWxFfgUM2RfNu/2r7v+xct34BxrFiDShB33ffbHoe4ZBtJit5Flm6gBHsoNxHATiC9Azya3zk0Pf2m20Goztn7SuMJEg+KRBTUGG29MIS2AFSWwZzA2sKb2zlcnfcf9iPiE49vD5+aprck6KHClJhvaxy3Ga9BbsJa7hoLezrwPpNOsgbpBDfuYO8LUO+nrR7PH83L5Z7Qkpkq5TYywF44xHh0XVzcFMtZ4OT7Jdet8RGUfq0DntBfafpiGbOociTbaAfbVBWsOVkzyRBA81/cF3e0MN5nGaR+Ry4IzPQdk+ePG1RVgB7KsHsSAmJWJHeTtuyz9/ITAROTBMj1fca1hmcHuCDOtzeNR+PGtNfIbJ1AOBhQzFh8S6PfDb5x96FfBupOT724AvrFlZBznnXKq6vIZURZUKFAv31bIqhOynjVo9eEt2NKufmyGxC9jcmgw8nx06XxBU9RCwddh/jFfuuxWbnSzn1PcsrCPLRX3wnAFzHnS8L9BYcYxynDiXE7MB3UOqwfDKL8R8LpmGkq4W5K4EKjDl4sqHaq807/47ztaK35EWB1ygaJDTNmqVxC3l+lqJE6QaJ3AX8nlax1kWNARU5jmrFONlWDCTmv1to0TeL46QJy8yDbD7FW1ouaEP66RLqHUhlXlPHDc7msVM8s6y/4ci54aTHYPheqS9OFLmitd4E54+LEW0hJPQJhv/Wjo4+tabZeTJVz60jVnfiO+rYeD59VYJyOlUGnzna1XMtaJpAh5aKRWYN8qo1NB53ZkTG7Q7z/5+Kq0fU3lqtIMsFXDN+5MazXgzywXpA/rwZvQkIZ4SvFmo36WrbP/1nwF59Uo3RgubYVprKDyfT+Bkc9EiI/D+mZrkm5r6udZ/LEXkBys9+suJGyBzRLmCjCv9xkjw9Q0BDoXg8ko0KtHKlTur/me9K0T5PVnrBFBf7xKMylRXKgWQW+PIyolPN3SEzKWVSfaN+vCuwQUlYrC1s8fX0CUthcIAA/XBA72mCVdSSv6ilsLV7W0QhQMRQqVU2mgtISUrPgTjpRvZv7hQF6bSYPrnnK2d764BElpmt/jnPXxVkCysNqXuk/sYi0uFVS3ahiGuFzsTVAIFoLvQ1JYxyTo9QpIdUxcFoRNfFHDFGaaiZXbfzUOyOqbzI/mxocNYTqcqoNwdd7djSNgFEIeAnnTd3Wr5xhrGoCmMUpfxe3detW7NwKBFT2yqqpHFQhzBu85R3iGmMDw1ojgS96D4ox2rGlWUgbkJ/Pwa/t6yxvQ2OsA2VjvGvu4LuN6zpRuRz3rDxRSMuSvW9FtO03EAxMB+pEGAY/hCbyanI2Ng+EbucGym/cJOKUCvQDudHQDeEYzTHgJXNq74IseRKkPdPPqAnLmf/sqCG+0mztRdWA2Zp1Wf5dZUePMtcUxesUC6T+2aoehCF82MgAx4p3o7UNy4tmaob0isdFZMHH+0jE5mpPHJuEp95306+0Ln1yARvp6Hjd2OR5xHXsoNRK2VbdR30JXPkvC4SJW0Bulp7uWSbjGQZAu5wpcIdlC/CUExsbI5CSia/PnmMYGj2kX3wVrAwQQw5sKKaaUurIqXaHeTdQ9qpaQxtl07hLSMzK5Igs42CcjyYk456fY5W3LQFbmqr50wyVG3lIh6nYZrFQb8aETloFFblT4LquukrKRGw/NbShhBX6LLmpMM3CI/JxL1BR9nsDn+1zn31QzLNTMB1lO7hY7BjM3v1MiEm97azxKIwBDpHpdSYfC4pmwClFs/ML5KTRrgHy8TW6fTl8uv29JZQyUZuyC5xwXUk8kCKngOpVetN+FdV/9E+MvFJxInydQolPR1e+H0xtBRen6KLwAGIgeKI0pUs9FvlGU5UgMLXATOlmUDT1qXTBcuc25Mt7tCDx72/7J0aHIONP4dbDmEqvKHOyogj1FNAr9AZNYFEVPwYkn2vVSAQ2UyHyPia2XPcipkDDDMuOnpzSxR9O66o5/zeumxlNCY0X3y8lfBffhzRWUA2Ez4ejKX9HGSf1814cxpNS7jzgysWuw5ETonrrUSL5+od/fyNi1gQTIZUJe4BajvllOFgwzvZuQJI4yFasBpZHQb+CD9qpC2NP/8jtwqpyIPugujsMEmn5yYYTTI2SylMK75VBEUPH084Ma5ZY+mtVExe1NAglQ1eTKekawmq3QFEhySJrAjZ6rWTZZJhnGo4pcWuiri1WG6wqEMxAeX0c+K3MBj66x/td4+tP3kUMBaOi66wCuIEmV2tuYPdq/VY6wCPMxCjJ00+C/RVRHAd2rO6IrtzBr+bEHEf7i9/lXGH2Nvv0in4TOb0iEH8cuTuC5JV6tsjljvTKCAq1CmhP233v4KA8rh8KoRxCQTqvPnxHE9cPO5q7qmBDgsJCxyMnlB7YWJkuTrJa+A57wPWkrkd8yH/aBWevexTKMUT4rXZxKa/4rvpOrAOufC8j74SUK5lF0Hm+Jb9vNjlLCQI31nNEmBDIy0K5PaOQJ4w8kqrekoMMtfDtsMhyxaKiBrj8SJPn1lG4qAlCXLW6cXSGK63bLo6C71xzgjG78ZFZHbV4A9SeqPpaWZoDrp4HtRCi4wZ2xSSLWPmOwnqhFs/yMM5VT6RP8CXjkDSGjrlSJ9qq5/WTnWJ/zWzBQcXx1xkQG0wIFZG/If8B/BtxfFiWNWW/Bjz3A1N7QTkL5tPBwauAgE9EClVKqKUyLYUzCXWgM+bkOZP9OrvyZuOHuQ0AvwEs08nyBvAoQbsYLPT3QOLYFsXIHsTndbdsszT13rJOQhapZC8tZDS21KShduc0YB+DR0WHaGc7x8csgXHNoRxIldKcaeS5MUhcloEzf0HsQr92DA9w0whRBPDeKc45W/GLdUm4reclM8eRncSsXMfGsJPgn+PHboc8C2OwUN5KRIe16j+qt7nEebD+8YI9+X333XjaSzee5TU9Rp40Ome/O7WEewsc54hSkr6Kkj9XqHh+FYdAtDa0t3RzDzOafO4fiR0Z+DB3IU14jFbuH/puOT/WoOol9vG74o7j60176sgUcrOgrt7Cv9i5txBUuizdeQVYBRoZTtjiQpVYU2GlszHXctlDzws1eYKSvJigFKA5MFs6h1l6dsyYnnzIhIaDyRkBEgnrb17KVX+SmbYC6x0Dbm8i0Doj/5MC713kYygP1n/asbYDp6Gh3m6+jkke/1NI8iEvssJZywVT8hCMUm+BUphAe8A3gOUeU0wzWCP0dNFmBGBfMZY9eweIcWrHt4RKeOy/Xe2NxN0GChyPnJ+wePM68yiQ/AI2y+XhtF1vySPtB9bY//6TSv2JhyK8y7M4x3ObOo6qRR0C3H8OhzesUlRWs5bjoWRtKefzozbp/GPE5jcI0OCREYQAe0UO+1Wlgt7ofwVrGY1Dvm+6GT0Eap8M2Da1y9whIdybXOoCmK3G5+Hyec3Jg5eg/yZaSk+r3EB84IfN14I7X4IrVPjf6/JNtEOXS1GwhCHWZtwE0OVNCsYPebhY6s7xf5rw7+JHeomxNdtyiMJ5KM3p67G8GQ0Qc0WK5bVLytjw6F8HIsRPGtvjY3HjtmYH7bW66E3FmvDTY3B7jLd9Mpc3lF3avcbm6h3/tdlIgYIgqV5OBncCn/xWVrD1YvBkeAvN/snJKV0kfGvRgFqMD31uKofEnTmbxNPJNjcTXOrEa+3dm8tXsR4QJmKoE9uIzfcM/30mMH+lEqqxl2PvFCOda4JGeNt81fFstL768eXTL4DnCHADH+GSZQuLRI9pfA15oHmvoMhyNyTTiA1iNumZfBsqo5DEh3ztK2CrkhXHtVTluVa1yLCOxwW0gpTq5Vj5QBHnRBQCFy73IkYcBdtoFOF2jyC7l+p8QXy94x/Fb0lL+Wj84EjulzGnLH+OKXblGmUBQG2f+TKDLvc6I2wNTezswpBKS78WCY9OY5LrDTjm9gqrKWhTzf5mRFsoLLpLtHMD9oopwunFpSklMbBK82w0GKTjqChPWgFyT0+8d32rILkBBjdKaa6B2acUEXPodB7tvxrnbXWSw31upgNiF1e3mWahhfc/hSwNrGe3uyi6J7lGdELW11kN/gZBUv80SU0nmfUpWKw+GdPNKRCdMe4HWIAWPMNadVd3OkSm3EgChg1dwWTfajqA4PNnSDTjKXOZdO7hmAAMxmBbAFzQ5+jzEvvkZkBoS9jenH4qwGRmXf1xnE7ZmBERuOohRTiff5alBPBV/MX9oehTX7D0EV600wgt7xwBbwijA+9zOBIRjQzJPkGT4E3VVzmkZ59aQmv4PPRg+Z8toSTmqH/wcnXpiMLEnjeGmvnSJFN7f/QLb+f4FRNPlR472BAz0gMczzotZKqiLoCCiupUNvS+wm+MCd7cKMsftpp0IePMk9g2Y4vZ29yEdOMrkVN5NBpLyT7+j8tMGlDjdlmqHsYE/pgN+fAcCIvTwsfj7ezLn4a9o6XlIgIu0O8URke0+YcsrNUZcjI8lSQJn7jCO5abmvXnNN4wqBKHz1XcgNV+TE+LKAKQTTlOMIzjlko79OsNPZCCIN5fG+byCCTspxGEEWgLiYUpYLerU6j+weojzT4mo/Smqm6gWFZIIZzN/jXnTAIQxHbsFXWc9LQyJBrDSS0mbpGI5h1paMRdJ11LqhTgpTfeCaQP8dmfX7lbfqeIxsspZh2Xv0GUzL9xQoqg15nrirf/er5gI6o2qECwib7cxT3c4Zj7Gz6c9c8sdFfE/zzogI12W2HMVI8LkmEZMTzXWtF+3RtwK/E4kEqVKYFokY0mY5+dyZ+5m7hm1T/OeiEgS8WSO361QaDeh3SEW6QLRrCws3/4gE/pdMs7XFJvlRbAxXTT9Grq5jgXVIAueHa5+RMmHeN7rFEJv3NtSMArjaH7/sjAY2JVinvMb8s69XfUzYMYFYsnAqcgI01zjpNrYJ8+jz13Wo7jmLKRWzAQHU7Bp5ZNWnmzVPMQFrn7nI3camQjE2h0Zij1i/9YZ90zYk2wySBhnnZYMWzNaHRpm7r0NNDBAjPQEQTqY94GQ37uy/fTzRp/Qpx69Imeup7Mry2ALwOjeDXApaUHJcNNDfCyFC1sSo1bx4cRFuMlNl9/hM6FdJbolOVg+wYBKNqaNHqKTFhOaBEiLZyaEn9Z8j8/p/ifKKFPqe+lxbGmFOa1XcFvEBSIE7a26MRHoXyzInXRHF+k7BtzVQ+bR/3Yn55Mc20Xq+rMhICeQLs0HO1d+OrRvIoXAKiZfzG2i53rOrmeafa88qtszShIafdE6VNHFV1Xt5tuyMnhgWnBHrLbdWobaYygGmXcQrK+HjkHc1702jHLHk3RAuLx5CAZ9iAlnfqTDaFrvVxOV3lAL53yiO8gKPjfqZfUZKfx/qsWbkz5e6OV19qHxUg5eKK31b9LGGsdoPMwn01jCTwXAoVD8LFHv+OtP9otRC3CvqkeIxZ9HJvuE+682150mD+E87Biqgm+cACue5Rp5RqZjbycJYzgU3ifRoo9P60M9/Wi7qkshyDIh/LF9YWwLG2nSd1LmDLLYGHoKAO9K1oHt2UrUtMs9U0aXGC2KHf6u6/d8vcsltlJba+if1N7eFBJvYzW0pbuJRhdSk+FaVET6ib61RszupGhmuBlPxdLtwgNofpZDgfIvJxLpg90yW45lJLTRLGExayW25zhlXHYOu2X473/ISHk+nOjjIZxtt2US6D2VR3hRl9pO4VMcCqz6KPK6ZlbW+eeYC7Hi4RJ58jWDDjNt1+6XOKxy7wEZKQKfO5tWEebcvdi3wVcIjf8z+HoAxf0z+vFqyYvAnGXzxd/PHchJonyyX9q1yA8MGIZeMW2et/7T22UFRMoLaC8gPuTHvl6rJc81K/9D0SY0m7mtInsuLDQ7eHVxaaSDFtXQlBGafSy9okeRE0TTwohwtHvIRTjxx+ln7qTD3i2ikDoaBYRCKLM6z1WC+ILkcOyU+dYhrKKjZVuYwu2DzxgPgQt0GKbe7znWObURrmpc7jx0Z/8mA7VhrnbJDbB3ttANSixbMrY2fmCE2kcUoxQMQK3CukYjsMPO9ZEBXUim8q9vaQlkRAaW30S6FEkznMXWbAk6X9Eeh/DwOvsAopzBHAHpjKOuordppptTDiCEKPKTSxmBNkIcfRC1SL3jJhkzgT8vccLEEq4Q2HvBckH+vm3F6/P4mNr5M/xxRGvrfsE1f40Y8Oce3ZxBVNyE2sFcqPP9rAMdtICmLxtYJdXD3ItLpYH7baqgP9g14Hatp53+vGjfKBN2OOb8uteAyMNCsPvY7T+Ak6hJIz+mgA9TeFbQ3z4Uc+orW9iORc2n8Ws/AS/Rny1hNk4K5GcXnI5G7TDHyqo9GIhokEr4qL7uADHcxAQanujcMsTwFRenKpfQhmpSHXaKGi7AQAVOILBSvT+nuciYBSqKfnycwSPF0osNkGpDcIc/pXzLL+yVirvcXErPO9ooM/yXo+W52qLEja7EP8C48+cc7hPINVpIwzkHWz4FO2c+9oTNKteUERc4RerV1ZWDXVO3LhrvAc+FEW89oUDB+w3G+l6cjoLTrMbczq3NTNlcEmPwdVmXXIY1j+d5O30laQCdPba2idZFKiKNF+agRGFlxKWEOnialg2pQ8OHVHSW5XjrAXinuWXhBcPGKUpZDzTzxVn41gTFTPwHIyAUJTZvMcRvSQ23gWDsZdYg0pOGNXhDxrjjh+nAzWCOsEMgkmIu4FfL6Qqh8E3TMHmkdXvxddU4xrsd09hu+RIMWKx7nMJPFnscYRH2QKTFaEwg4RoprBeEHZV7UuqBocKEPCnJB1zEqs2q/YfaMmkPOu8WeM09ERaBq0kU/IWIMhIBs4KxGhjTuZl1NTPksvdK1cLzKiq0iIMcjh1mVFobiI2rSA8jgUdYF3mDzwZ/0I08FGeDcMQjsrv3uA67n2wtoHnnmhIPjglqgXSwcJIaSg6W29QVCVFw+HEJbVH4+OtXcO9XUs/Ki7onl0jYblCWO8ZUGLrK9mDrJTNLb+CBPbqfyqh2ARvcMy9mvBLICWNHYE1L6ZMVejZRH+Ime834jHrLdwVCQNNrveRcOS1o0daoV9ptFL5InwXIvkBaRI+peG5Vr3hsq8mSJvc9c+Sf+BPSIaRdwXddFwKUmwbpEVZsic/dYhkWmOeS15wNGde13C+35kuemtNf0747NBHV1psrq+D4nOAE8/7nkByy1slXhRU7gyu34WG6yE7Lu4rg+kZjX3d9EsMSZb3wMcHxXE3yonF+QIyjUhp2XX0q8S+wyNn0yXSjti6qKyQ3jSfLHDM68fscptgybOcYVovyooaL+Tf6yzYol1XqXpPM358zuC+u99V7PqnSLV8GiPUDPbYkro1lHszUVAW02B2IYrKR9wV1mmgjz88g/OxPED1Eut3UWjP46YCtJI0ZkAt/Y2eWeNDOaJMDmhJt0R8qD+N3j7eqmR9S9fai71wE7tqHixiaXRKIwaimJro1zqRngVlGVw2TASyrv90G79L/DWAGKkRgpX3fH8ntUvK/RXRZbLtZn5a7p4di9I9r2tjRuEEuCIAXpmyNRat/aCPbYDm2vQOM4vH9gxxF26lp/7CJqJ/4CsC+ZSlcXgodifRaaUkQRreQ91ZIbVmVGPbzqkhTh1cYRWXCr+V6p7oYaX0tEAQ5U1IFx865abcrau2kUCtO/K3Hp8BZaDsKUdOLvADA7plKRjNMVl8gux44nFtmnKWgZOfufRQeyb68NlU2fqzIb8ROCZ/wPVqkXiZmFxCzxtvSSVRhNSEOaQ3FrKUr4uhT3nOIT9SlhSS9DrBf2TjoJjs2L233n4rIUCp0IAAOGYlx5ZI0dgseAqH8g90BifWVFoxmltAh9nK7EBy+yaWihA7zsw2mOIPKrpDh0/2+RGxc0wPqXBNnh62dmZ9PcR2BCtSE5W9xP340PvtKUHHq7dO5nym7biRIORWe7DfSAJQ0dvhj42p6grAPmsEEgEyIhpTb9NFIskb4c+TKQ+7d/tjNy4m+qjxhFLe1luTuTfS7f0MIuBDHdEHtaErMZiAsYQKPurS0phY9YUx5Gx1pQNwQlm5EvINE9kUNuj+jNNMBWRC28aG4r+WQKhHyiW+3VbusC6NBW9QcSo7iJFbSHYEyheIyShLtcAmJbkC8y+KHFtW8DfB8B/9vBR4MkGTsamq2aOiIrjBMft6BjrqtR7hvogZc72qLD8kVr0bXlS44cpqnjkMPUUg75GtMzh33kkqCSx0IISgxZ2yZ/p0KWTAgUwcbk4QTrELmv3zD+3nR9wAxwgzBV7/8RgPUnmtuYyay9A04upDnfBIvWe6FXbcPeiMnElLDNbjMyxuRpvMFylNrvpTN/EZ8LmI1B+fvANPUtlqbF3BPpCKAWoWvxP/JmX7H4voBPbMSHOgSb1IKZJO4z72kaVpXlv/fZXqnE/AxKfv9MMgBF29M59r9PqioIZrnAEQw2mVEEdj7tFCbmR1wWhGK7SKBU0eyPWfK6E1LZm+39F3bUS5WbKB8h19doULgduI6mTZNNh/PUJorIhubGWz3QvH3WaMUSK10IQU/9AEFWdZz97yzIxMY2IWRDfU9773MrQspznqt7+U+IxzoIWIOpaBNROaHvj9BF58QoG49WVRSf5oqfISnubmwpN8JOA3hJIIT+5tuNNBygWTgl3Z/surzgbQGrrHPi1mtBVt9/vm85PTK3iWgFxcN6b0t/YLaWtDkzwISCdnVKKtbWBxJWvfjrkHPMoJylKbPGTeK/mLPuHw3gcQmIbLA1+rSxPW3h31/lTwSCof5EVh/iZSYWTH9zWc6P1AJUSVIjZ5RSvDLi+4C85+azFzx+NSv6KSvIoSSjHxuMcjuMSRLGkyEmXUbk6z3Ooby4gZ6qWzTD6x4UfEX35o6XNDt07TUh85j2i4GrGodwJXCtv2oFX+5tkeRev5KQ37EaDY+WbTWUcDvYBsqeOv36/2Tsi/0juGVMTI8Je2Xlu3LF4cEi6uH1VfvMj3PC2VD4mpcpiuXJCqpHa6pOF5lgc3hkWFjOkNlUH2qG5DYnhzpf7n+pCfaMn1YZHO5SFA8ZC8tLkwjKBKtZ3qAX5PRQ1iYuu6d9pNAt5vHAKUrA1fo/V5cp+holRyLN35nTV6Xuhr3yGgdbG25GPtBGVwRISzmlVPq6Utx0/3qX/ApW/FGyrlRQVn0pmLCu+TxVDYvq2wOmAHJOyzp+EVYgfv4gFMx1XMzC5J4r7GS8cBi1uFZyQ7geVZ5Zk9x5fo+uQycDZx7yqXMPp7/5uWVjYXlnilrQbi71SenYDWiWui4ZIO+RoL/6/bbJ3USv71IW8A5Js6marI27rJsvJBwZV237diuby9Cxxvv54Vpny67a00k3h4f6bXI7UyWQL6I2cm/cWdxab5cQgp97fTxUEDzVuapBn0d7t1ZVIFFxtAC/zYI38B+CONpWbGMpAOYDPBrfI4qFixnmxK9AYA+gYIvnAZt5evJBntvCzqqJDH9NpsKiJQcN45Cp/bEioBrdzN0OCqzXVyM7ohfG9m3Kh1VDO2ibW6nJUS2BNQxbCJtTHLaFcq0xs8wk7DuWPl1bSpHMdt9GgcyaNYzttrKx7So7sqiLjUDGSvxWp3TCNqKf+xf4BcKcaxGDHJMY5aH5X+pqVsS5CHNOef+ntV9iPJdKSvfsckHWEMuC7VSwHnlxgsPV1xb3WzQjdIQYYjw8Rg5JznPo3AutiYomMrAInzamIbYyAt0gy/t4j5z1gTl6qMqXHgF/t5iJdUtBy4L0xf1oglBzpQ6tXee+lSby9Q0kGUdpjMXVQECB9zCYIiQE9qzr6Vy8CEVNb54t9Pd5gti9nzjfnlx80S9hd3bSNngR+mqRVxeCLh8Syw2IG2zaHkcAFggFwwVXy1XZ41H0ShwEedTuWUUbiIz5OCLVdjUL09uGIteV99m3W51U8tBRvYZdV/+Sy281zDlDiHyasMtTdyUafICD1b4s1UqgQcuL7z4HBVHIKj6efywcX6N1Qshh5Izmx9wQtMaWNcb10NuLxUirSxkU/3c97YeCdhYwJXyIaGTiHmyBtk+6qqSH+rNd6LTt8OfFSoO5Ik2I5vfXi6T77vMDFONDvCz6lttq6y/81Rvdxd9nhv52RRFpUXJph1dZs/sRh+AVKlphoAjuFlAP/GtybasGmYHwLfi4SRlq/2XtI6TnvzXOuLMQ2Bdsqyzopvxd8Id4NoL1nyg93670Il0GgXchkI36+Uo1uXPSSEkCH4eFRx1cWx8UxjaJ5af0OpSihRtFbmH/UrnfU1PepkQTpaWhsTHaBSG/eHbk7IG5wvggY+MdYpElXjRbp26xPwhEQXr2McUq1o/sts6K5QR81Y5bQSvXTr5yOEakRnakTSoJpaf1aNyGi2Re+RjSwzqk1p10ngiEqo+qI7t4EyyZcRhmVqzVKQEeIP+qB7rWL/jI5eDZtw/6xKrEwysmDMODfdZ8nx1vwTJzSRfT86xwAsx/bKsfqYsndxtzCof+7O0atS4AudsXy2S7WsjAULij6+t9vbXbr+F54WYGQmFZbX4Oqqa/3/ry8rCEvtSwfbWC0y63+Xhj9VMnYYwZUy/1QXrhvl87H8eXfVQShV6Vh2juwte6OuSfdqFFKQRsqs5ym5Wy+VV/VYIglEZh6JM76/mNFmMzEZexsUxPQnRisybMLSIv7KyrXOPY1FQ5+1d32LL+1NUuvoyn1qEKDQCPi7aST77/dn67JOjUPrUsuzudds6ENCSezH/Bsakthw+rVXipn9CctMmbuuA1LghuPAjv8FDT30TyspRNwgH6/rGzml2Es8HEocHNuWiKOdPM7s/u5zB/uRIZo8bPm2rRmWLW8p3OnflP9k3sGoyuBKqs0Ur3mUNlkAmtuS3OPM9HPnIwdy5H4iYC4Zj/Lew2bh3CpAmRpmdUVdarhLtztsbj87a6qAhk2Msuzq3xhpJ9S4ZWCsP+JKX//hpXMBbsEjswComwi3cQKdEkQjhlYkPo40K+DkHMPSKwBBWuirGLIy7+y72EUnWzaSgsPeUR0JrWqPGATLR8hEFJGiDTEpdxqpQVQmbNg28UKMJDXJ8ehDCt/6IwhrpUcMQA5/SdSL7OQ4+f8jYqPuOKQt6jsib/hKVztnQyuPx+xO0cqbwWEU34XikpZ/+E2C/+I50xwtaR8LbfvKRmJovJBmLELB/oUa9LgVnx94dzb8e47zV6QCMtTbQ5jzpJKAmUDwiKRmuCCqIlSwE0+waVsoOJeHawOzBNuhfljW0Tl2wI7OxyH+YR1SB2pwhd83ddTRAwgI5L+PBT+ts76zSkxYJI/ddMn5gligU6Ei/nGR/Lol1MxKUoNAcyr3B6Mf1nlQKfqm1ItmBF67UD6M1dJhupesrXZG/ayLG62nO3ZLG0/L4sP7Cw0ZnXRpNgb7x38SHf7zkiMbLb2nnKet5nuPGwDb+gfyL9LYInBOn+Co6UqDLrVfL76hyuF9D1S0HJ8TkO79YXtJdnCSSRF2kRzBRBED/cwi12Fh6HQd2l6qwbcaxh/jPpuhyBE0gRA1NauX/Mhd6FAAgQQ0SfNqIaPeV6Rd8n+ocporAMlVzbElzTZEmd0ERm+HcswvefgiWQuwZIedKfLDE++yfy4mRS9f/S7HgarSEHfM2kFqX57rXGNvPruZFXpLFDh0dLGGNo5PZ5QNEF52PtGphXBiKtrwGoTazxjhqg7U8bIJeOMbzHJ6g9/QHrVFdiMn6DZJAC2mdSi+2ZSzav3iw/32O36WXcmolerBZ2jW9dSXmZlYxe3QxwGaLXblKENxl9+hX4XCCXJWXNF4Y96Wx2zza99Qq96IfpzI+8g3aHNq/+l79NEGrDODX2LkSwCsczvlPWbVCJEzjEx9PLg9NgpJUQ95rb7ctESpWpwrWBH0R58Z4mbnGU3ye8M1NseFCioRK8akf3y4xJazwj9fWkQds6bo84ImhofgiYlofu26x6DVqmFdVj03j5xVRZdjKRyIy1gjEy6W7RxfhpCQAoof+2FJBWvxKIbuv8zJO2dzYL2wdBOndeUGVrMMoRAASDAnECOE8Yl5mdAKnw8YgbILUgRocBAwvdtS5HOrO0rPE9auEIkZeaWTSugm9XdK2881iVdhQ3gHJPu+iWA2DPSRBKcVPQZLlGxiSA1zAPwk4TovCwJU+zPM1Tf097hvuZFXS0J8D7c7egKQxG0mFCCS01pVqjQAZw5nFkS/zM4HVnaBKtflecOSRTtFP0/NAMw8WTdH3/i+aiN0qW1JYCMXTnsGnNvOVL79EzT0uYTLHAaJdCWOrbJ4O/Nb8oTXOQcLE/eAxsHWyQlUovP75FDvp3gsdbG3QBqTrhrbXFLVNGi3D7+/ruqI+PJRm1OemRBQ4nMV4l+O6WcWpV70upP24t5Dg16HnDfn9KXlbBnEvUg7aBxuHWDWTgtKRhwPFKNov8nIZucQVk2TTDoikwa6ShGU8eW4RSId06JDMrB0bIC8DYsJJ9MB4+fQb3rqA/a6yceXFx1FGqR2LXqFwjww3O95YwRwfwYSYFxD9G4ttXerVEMQOaMjcsNOwi4TW5LNzGCebpSNjwVLbtYOVHwVsYlsB/ho3Y3j8ceLLMTKs1LCn4VuRRh6cGiPSLRDh/ioCCQVSBZphPpat6H4LoKxbt486YU5Ep9yMU1fn2xuZZyWObtgEbDbUmwm+vzF4Eyjz9YRa+MF3XyuaaeLJML7XwLRfgYYBDjeaYBwdOlLZbSrKtjFvFzn6y6eSTngVX9UwVHdDEEcFeU5st2/SPl3ujYzvKCZ6vq6PZ1VOv8xtAIUZAYCVfmqtF3gBRXuatPigTGUkTKlA4eBTNoVGx7M2GhSwuazoKkp8uRXp8PVWC9mduzf1MfJ1aVhL+8QdBuIteYKghNJ1xMKCofYRnMo/0ZTR5SAd/okaUm/RXgJtptEpnXbBfc4xknewwuWZ3+HwW5LWqRmmdFOuni936eBbOJ3HB1aMDfo8VSxEzSissmf8kAkj5bDGRKyyDJbm6uBJ89ThDffLXkmYq9tQbGyU9LXWhawcR6P9afCDI68KYtH9mvBDTu2dwpVNnA9OFIi/18ruK8GbUWfHp6LvnYBw/CdmacFMMg+RHkDnlo3u/lYQ6xpOTnq/0WFILTcZ/LrZlhou6AQEfPsYoCI/dOX7y75F9zSAX+7GBwuxEg/+zb68O+/lRoae6cf4q+O+g2C5Um5mcSRvtd5y3lYpNIe7jfq0AGD8E8HKUXAYaMWA5HjtwjtzWTZ5WYijkiL59GwtkImcn1xv6cnQORt+aTLnVbPNPQkRa3+1wjQj41ZvaUcuIa/HUylOY408A4sR7QjfpN5Bd8z4uzuFPSNLDg4q/kRBEh97Bi/BKv5Cb6EQhTOqnDv0Y3W9NcLgiCd0iU/tWJN4HO+GJLPvHnIJt5tzxaZEbhsZrQ1i7qloBzJzcTTt6BujAAququqetPMj4520wghpU96w7M2ypuODbfLsBy1VisTX8TOT08q52SHDQEMGqnIjZCp/xUdenoHGubYtpLgrMLvpDtdhbEf3tvJgWY1Z//ZotMAQKM4Yu9yum/VfmcbclgEmH14vtykD8QUECKnJnrirTFlxoc2J47Taawy5io5hhEpXgRzwLYkRUmaHmIODiAFURBolcBPlrE9Uw+0uW77KNhH9X16lh0V6//4G43jhfdZ6d6u/dYnApV8B1g7/9U9FUOqalpsGZ/JkrcGsBrMw0L7cEE1tY+JuybIyR0XdcopyqH+ajGcdUatDXTIyP02i5JFNZ3NG9w4drJIqhNPoAcTOi33lbKVEsuVgOW1MwOVsXu2880+8wW/xI52HMQi1hoQD524JZXYrXzfPJCU3efaVtLK313pZ1TYjA7Zxj6c1dxeXkvan4IJBOynTclRfzdZWx7ei6UMo9I/FoXkHfaWJFKmhMwt/k0NbfLYMHqZ3h5yDbF0FFlbGjqfyP7E2ZaYcQadkeLouLkMn0t6S8989IhocpVzhOZclnM5u3Nb7pkO3CkS/+uvbZzoulG4QyR/WLhxiMUrtwC06fIFEMyV3gWfSZF6PjEJFL9iOMyECB1Su3L6sn9puLGdoCfexyAJREYYTDezdLWb8QPx/iYmCn3r2dQBIWopaktbiv0zaAgn9scJxDGnRb6mHBzWnKWFa9RwOABXzhUT1XHxx9LPIF5jYu57TeLxt9NTiGjmN0rv6cgOsPzJ+xfqvaAudWwIBSVOOzYKBQz/MVaPvzuZKEUIGvG08OY3B4JQ39m8LT8bqhoXj5a+E5rPuLGIQJ+YVF7qtNlQ1LFAA4ikpGDQHMnX9liTEcFCmCQSPamXhEkm+/pTJD9wk6gf/Kun/cvE3QJZvTfEy7aPQlNTaXdhxxwBvIM30j7OLX383T5l6XcV/CW4yJJbhoC9EadsWc58FPePka88sjOKT8nMPOJWRUQ7F1yvvSIcl2JyqGD26BeI5o/lE5bDGNvwdHprt94VY66bHqjBrx1KTImoivodJhthuwonh/9rxgwUA==" title="Mekko Graphics Chart">
            <a:extLst>
              <a:ext uri="{FF2B5EF4-FFF2-40B4-BE49-F238E27FC236}">
                <a16:creationId xmlns:a16="http://schemas.microsoft.com/office/drawing/2014/main" id="{BC7ADB42-81E0-4988-84C8-45FAFE915AFB}"/>
              </a:ext>
            </a:extLst>
          </p:cNvPr>
          <p:cNvSpPr>
            <a:spLocks noChangeAspect="1"/>
          </p:cNvSpPr>
          <p:nvPr>
            <p:custDataLst>
              <p:tags r:id="rId3"/>
            </p:custDataLst>
          </p:nvPr>
        </p:nvSpPr>
        <p:spPr>
          <a:xfrm>
            <a:off x="335280" y="1275055"/>
            <a:ext cx="11521440" cy="5000343"/>
          </a:xfrm>
          <a:prstGeom prst="rect">
            <a:avLst/>
          </a:prstGeom>
          <a:blipFill>
            <a:blip r:embed="rId12"/>
            <a:stretch>
              <a:fillRect/>
            </a:stretch>
          </a:blipFill>
          <a:ln w="1905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3167" tIns="33167" rIns="33167" bIns="33167" rtlCol="0" anchor="ctr"/>
          <a:lstStyle/>
          <a:p>
            <a:pPr marL="0" indent="0" algn="ctr">
              <a:buNone/>
            </a:pPr>
            <a:endParaRPr lang="en-US" sz="1843">
              <a:solidFill>
                <a:schemeClr val="tx1"/>
              </a:solidFill>
            </a:endParaRPr>
          </a:p>
        </p:txBody>
      </p:sp>
      <p:grpSp>
        <p:nvGrpSpPr>
          <p:cNvPr id="40" name="btfpColumnIndicatorGroup2">
            <a:extLst>
              <a:ext uri="{FF2B5EF4-FFF2-40B4-BE49-F238E27FC236}">
                <a16:creationId xmlns:a16="http://schemas.microsoft.com/office/drawing/2014/main" id="{3CD0DAC7-F658-F506-5EB0-C10D5C375BB0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35" name="btfpColumnGapBlocker862954">
              <a:extLst>
                <a:ext uri="{FF2B5EF4-FFF2-40B4-BE49-F238E27FC236}">
                  <a16:creationId xmlns:a16="http://schemas.microsoft.com/office/drawing/2014/main" id="{9FD71F4B-5A7D-01EF-6789-CE7C596DD60D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26" name="btfpColumnGapBlocker325076">
              <a:extLst>
                <a:ext uri="{FF2B5EF4-FFF2-40B4-BE49-F238E27FC236}">
                  <a16:creationId xmlns:a16="http://schemas.microsoft.com/office/drawing/2014/main" id="{AE6A27B7-46F5-25F5-7CB3-E0DBA42F84DB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3" name="btfpColumnIndicator981972">
              <a:extLst>
                <a:ext uri="{FF2B5EF4-FFF2-40B4-BE49-F238E27FC236}">
                  <a16:creationId xmlns:a16="http://schemas.microsoft.com/office/drawing/2014/main" id="{DBB3DD9A-A1D4-660E-EC26-0B82BAC2A691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btfpColumnIndicator209346">
              <a:extLst>
                <a:ext uri="{FF2B5EF4-FFF2-40B4-BE49-F238E27FC236}">
                  <a16:creationId xmlns:a16="http://schemas.microsoft.com/office/drawing/2014/main" id="{C245389D-D089-1C1F-5F8D-5754D9FA22A2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9" name="btfpColumnIndicatorGroup1">
            <a:extLst>
              <a:ext uri="{FF2B5EF4-FFF2-40B4-BE49-F238E27FC236}">
                <a16:creationId xmlns:a16="http://schemas.microsoft.com/office/drawing/2014/main" id="{6EDEC9D2-980E-2D6B-6580-B51B0DF730A4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31" name="btfpColumnGapBlocker585414">
              <a:extLst>
                <a:ext uri="{FF2B5EF4-FFF2-40B4-BE49-F238E27FC236}">
                  <a16:creationId xmlns:a16="http://schemas.microsoft.com/office/drawing/2014/main" id="{3F0759EC-8D5F-5999-A72D-318C21BBC344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25" name="btfpColumnGapBlocker530421">
              <a:extLst>
                <a:ext uri="{FF2B5EF4-FFF2-40B4-BE49-F238E27FC236}">
                  <a16:creationId xmlns:a16="http://schemas.microsoft.com/office/drawing/2014/main" id="{6CEBB614-4835-A2BE-C8A3-EE2981887EFB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1" name="btfpColumnIndicator410629">
              <a:extLst>
                <a:ext uri="{FF2B5EF4-FFF2-40B4-BE49-F238E27FC236}">
                  <a16:creationId xmlns:a16="http://schemas.microsoft.com/office/drawing/2014/main" id="{5D6DBD9C-A3C7-915C-A8A2-D0E113801630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btfpColumnIndicator997224">
              <a:extLst>
                <a:ext uri="{FF2B5EF4-FFF2-40B4-BE49-F238E27FC236}">
                  <a16:creationId xmlns:a16="http://schemas.microsoft.com/office/drawing/2014/main" id="{1231CD2E-BD3E-28EA-124B-30B99B57CA78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rget witnessed relatively higher CAGR of ~15% in its workforce in the last 5 years; Most players witnessed ~5-10% CAGR during the same period</a:t>
            </a:r>
          </a:p>
        </p:txBody>
      </p:sp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870999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>
                <a:solidFill>
                  <a:srgbClr val="FFFFFF">
                    <a:alpha val="0"/>
                  </a:srgbClr>
                </a:solidFill>
              </a:rPr>
              <a:t>overall_1_132334223706527884 columns_1_132334223706527884 6_1_132334225502619957 9_1_132334225898980258 16_1_132390894981357400 </a:t>
            </a:r>
          </a:p>
        </p:txBody>
      </p:sp>
      <p:grpSp>
        <p:nvGrpSpPr>
          <p:cNvPr id="16" name="btfpStatusSticker443151"/>
          <p:cNvGrpSpPr/>
          <p:nvPr>
            <p:custDataLst>
              <p:tags r:id="rId4"/>
            </p:custDataLst>
          </p:nvPr>
        </p:nvGrpSpPr>
        <p:grpSpPr>
          <a:xfrm>
            <a:off x="10102664" y="955344"/>
            <a:ext cx="1759136" cy="235611"/>
            <a:chOff x="10102664" y="955344"/>
            <a:chExt cx="1759136" cy="235611"/>
          </a:xfrm>
        </p:grpSpPr>
        <p:sp>
          <p:nvSpPr>
            <p:cNvPr id="5" name="btfpStatusStickerText443151"/>
            <p:cNvSpPr txBox="1"/>
            <p:nvPr/>
          </p:nvSpPr>
          <p:spPr bwMode="gray">
            <a:xfrm>
              <a:off x="10102664" y="955344"/>
              <a:ext cx="1759136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ct val="0"/>
                </a:spcBef>
                <a:buNone/>
              </a:pPr>
              <a:r>
                <a:rPr lang="en-US" sz="1200" b="1" cap="all" spc="450">
                  <a:solidFill>
                    <a:srgbClr val="000000"/>
                  </a:solidFill>
                </a:rPr>
                <a:t>Directional</a:t>
              </a:r>
            </a:p>
          </p:txBody>
        </p:sp>
        <p:cxnSp>
          <p:nvCxnSpPr>
            <p:cNvPr id="15" name="btfpStatusStickerLine443151"/>
            <p:cNvCxnSpPr/>
            <p:nvPr/>
          </p:nvCxnSpPr>
          <p:spPr bwMode="gray">
            <a:xfrm rot="720000" flipH="1">
              <a:off x="10102664" y="955344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btfpNotesBox502257">
            <a:extLst>
              <a:ext uri="{FF2B5EF4-FFF2-40B4-BE49-F238E27FC236}">
                <a16:creationId xmlns:a16="http://schemas.microsoft.com/office/drawing/2014/main" id="{63E3790C-1073-1872-8031-AFB45FDB393F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gray">
          <a:xfrm>
            <a:off x="330200" y="6324442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ct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Note: Irrelevant profiles (interns, former, retired employees) have been excluded; Bars sorted basis CAGR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Source: Aura, Bain analysis</a:t>
            </a: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08BB20AE-A35E-FB51-4EC1-5F6C97DDD7A5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0646654" y="6191366"/>
            <a:ext cx="1261892" cy="353608"/>
          </a:xfrm>
          <a:prstGeom prst="rect">
            <a:avLst/>
          </a:prstGeom>
        </p:spPr>
      </p:pic>
      <p:grpSp>
        <p:nvGrpSpPr>
          <p:cNvPr id="34" name="btfpRunningAgenda2Level167877">
            <a:extLst>
              <a:ext uri="{FF2B5EF4-FFF2-40B4-BE49-F238E27FC236}">
                <a16:creationId xmlns:a16="http://schemas.microsoft.com/office/drawing/2014/main" id="{24785D0C-5B2E-B665-5DBC-DAD6E1C48505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-1" y="944429"/>
            <a:ext cx="4023788" cy="257442"/>
            <a:chOff x="-1" y="876300"/>
            <a:chExt cx="4023788" cy="257442"/>
          </a:xfrm>
        </p:grpSpPr>
        <p:sp>
          <p:nvSpPr>
            <p:cNvPr id="42" name="btfpRunningAgenda2LevelBarLeft167877">
              <a:extLst>
                <a:ext uri="{FF2B5EF4-FFF2-40B4-BE49-F238E27FC236}">
                  <a16:creationId xmlns:a16="http://schemas.microsoft.com/office/drawing/2014/main" id="{9AD17E78-87BD-2BBF-CA4A-183D3A6D3C42}"/>
                </a:ext>
              </a:extLst>
            </p:cNvPr>
            <p:cNvSpPr/>
            <p:nvPr/>
          </p:nvSpPr>
          <p:spPr bwMode="gray">
            <a:xfrm>
              <a:off x="-1" y="876300"/>
              <a:ext cx="2327781" cy="257442"/>
            </a:xfrm>
            <a:custGeom>
              <a:avLst/>
              <a:gdLst>
                <a:gd name="connsiteX0" fmla="*/ 942786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42786 w 1816204"/>
                <a:gd name="connsiteY0" fmla="*/ 0 h 257442"/>
                <a:gd name="connsiteX1" fmla="*/ 888066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42786 w 942786"/>
                <a:gd name="connsiteY0" fmla="*/ 0 h 257442"/>
                <a:gd name="connsiteX1" fmla="*/ 888066 w 942786"/>
                <a:gd name="connsiteY1" fmla="*/ 257442 h 257442"/>
                <a:gd name="connsiteX2" fmla="*/ 1 w 942786"/>
                <a:gd name="connsiteY2" fmla="*/ 257442 h 257442"/>
                <a:gd name="connsiteX3" fmla="*/ 0 w 942786"/>
                <a:gd name="connsiteY3" fmla="*/ 257442 h 257442"/>
                <a:gd name="connsiteX0" fmla="*/ 942785 w 942785"/>
                <a:gd name="connsiteY0" fmla="*/ 0 h 257442"/>
                <a:gd name="connsiteX1" fmla="*/ 888065 w 942785"/>
                <a:gd name="connsiteY1" fmla="*/ 257442 h 257442"/>
                <a:gd name="connsiteX2" fmla="*/ 0 w 942785"/>
                <a:gd name="connsiteY2" fmla="*/ 257442 h 257442"/>
                <a:gd name="connsiteX3" fmla="*/ 0 w 942785"/>
                <a:gd name="connsiteY3" fmla="*/ 0 h 257442"/>
                <a:gd name="connsiteX0" fmla="*/ 1111101 w 1111101"/>
                <a:gd name="connsiteY0" fmla="*/ 0 h 257442"/>
                <a:gd name="connsiteX1" fmla="*/ 888065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263386 w 1263386"/>
                <a:gd name="connsiteY0" fmla="*/ 0 h 257442"/>
                <a:gd name="connsiteX1" fmla="*/ 1056380 w 1263386"/>
                <a:gd name="connsiteY1" fmla="*/ 257442 h 257442"/>
                <a:gd name="connsiteX2" fmla="*/ 0 w 1263386"/>
                <a:gd name="connsiteY2" fmla="*/ 257442 h 257442"/>
                <a:gd name="connsiteX3" fmla="*/ 0 w 1263386"/>
                <a:gd name="connsiteY3" fmla="*/ 0 h 257442"/>
                <a:gd name="connsiteX0" fmla="*/ 1263386 w 1263386"/>
                <a:gd name="connsiteY0" fmla="*/ 0 h 257442"/>
                <a:gd name="connsiteX1" fmla="*/ 1208664 w 1263386"/>
                <a:gd name="connsiteY1" fmla="*/ 257442 h 257442"/>
                <a:gd name="connsiteX2" fmla="*/ 0 w 1263386"/>
                <a:gd name="connsiteY2" fmla="*/ 257442 h 257442"/>
                <a:gd name="connsiteX3" fmla="*/ 0 w 1263386"/>
                <a:gd name="connsiteY3" fmla="*/ 0 h 257442"/>
                <a:gd name="connsiteX0" fmla="*/ 1263387 w 1263387"/>
                <a:gd name="connsiteY0" fmla="*/ 0 h 257442"/>
                <a:gd name="connsiteX1" fmla="*/ 1208665 w 1263387"/>
                <a:gd name="connsiteY1" fmla="*/ 257442 h 257442"/>
                <a:gd name="connsiteX2" fmla="*/ 0 w 1263387"/>
                <a:gd name="connsiteY2" fmla="*/ 257442 h 257442"/>
                <a:gd name="connsiteX3" fmla="*/ 1 w 1263387"/>
                <a:gd name="connsiteY3" fmla="*/ 0 h 257442"/>
                <a:gd name="connsiteX0" fmla="*/ 1263387 w 1263387"/>
                <a:gd name="connsiteY0" fmla="*/ 0 h 257442"/>
                <a:gd name="connsiteX1" fmla="*/ 1208665 w 1263387"/>
                <a:gd name="connsiteY1" fmla="*/ 257442 h 257442"/>
                <a:gd name="connsiteX2" fmla="*/ 0 w 1263387"/>
                <a:gd name="connsiteY2" fmla="*/ 257442 h 257442"/>
                <a:gd name="connsiteX3" fmla="*/ 1 w 1263387"/>
                <a:gd name="connsiteY3" fmla="*/ 0 h 257442"/>
                <a:gd name="connsiteX0" fmla="*/ 1423688 w 1423688"/>
                <a:gd name="connsiteY0" fmla="*/ 0 h 257442"/>
                <a:gd name="connsiteX1" fmla="*/ 1208665 w 1423688"/>
                <a:gd name="connsiteY1" fmla="*/ 257442 h 257442"/>
                <a:gd name="connsiteX2" fmla="*/ 0 w 1423688"/>
                <a:gd name="connsiteY2" fmla="*/ 257442 h 257442"/>
                <a:gd name="connsiteX3" fmla="*/ 1 w 1423688"/>
                <a:gd name="connsiteY3" fmla="*/ 0 h 257442"/>
                <a:gd name="connsiteX0" fmla="*/ 1423688 w 1423688"/>
                <a:gd name="connsiteY0" fmla="*/ 0 h 257442"/>
                <a:gd name="connsiteX1" fmla="*/ 1368966 w 1423688"/>
                <a:gd name="connsiteY1" fmla="*/ 257442 h 257442"/>
                <a:gd name="connsiteX2" fmla="*/ 0 w 1423688"/>
                <a:gd name="connsiteY2" fmla="*/ 257442 h 257442"/>
                <a:gd name="connsiteX3" fmla="*/ 1 w 1423688"/>
                <a:gd name="connsiteY3" fmla="*/ 0 h 257442"/>
                <a:gd name="connsiteX0" fmla="*/ 1423688 w 1423688"/>
                <a:gd name="connsiteY0" fmla="*/ 0 h 257442"/>
                <a:gd name="connsiteX1" fmla="*/ 1368966 w 1423688"/>
                <a:gd name="connsiteY1" fmla="*/ 257442 h 257442"/>
                <a:gd name="connsiteX2" fmla="*/ 0 w 1423688"/>
                <a:gd name="connsiteY2" fmla="*/ 257442 h 257442"/>
                <a:gd name="connsiteX3" fmla="*/ 1 w 1423688"/>
                <a:gd name="connsiteY3" fmla="*/ 0 h 257442"/>
                <a:gd name="connsiteX0" fmla="*/ 1423688 w 1423688"/>
                <a:gd name="connsiteY0" fmla="*/ 0 h 257442"/>
                <a:gd name="connsiteX1" fmla="*/ 1368966 w 1423688"/>
                <a:gd name="connsiteY1" fmla="*/ 257442 h 257442"/>
                <a:gd name="connsiteX2" fmla="*/ 0 w 1423688"/>
                <a:gd name="connsiteY2" fmla="*/ 257442 h 257442"/>
                <a:gd name="connsiteX3" fmla="*/ 0 w 1423688"/>
                <a:gd name="connsiteY3" fmla="*/ 0 h 257442"/>
                <a:gd name="connsiteX0" fmla="*/ 1583987 w 1583987"/>
                <a:gd name="connsiteY0" fmla="*/ 0 h 257442"/>
                <a:gd name="connsiteX1" fmla="*/ 1368966 w 1583987"/>
                <a:gd name="connsiteY1" fmla="*/ 257442 h 257442"/>
                <a:gd name="connsiteX2" fmla="*/ 0 w 1583987"/>
                <a:gd name="connsiteY2" fmla="*/ 257442 h 257442"/>
                <a:gd name="connsiteX3" fmla="*/ 0 w 1583987"/>
                <a:gd name="connsiteY3" fmla="*/ 0 h 257442"/>
                <a:gd name="connsiteX0" fmla="*/ 1583987 w 1583987"/>
                <a:gd name="connsiteY0" fmla="*/ 0 h 257442"/>
                <a:gd name="connsiteX1" fmla="*/ 1529266 w 1583987"/>
                <a:gd name="connsiteY1" fmla="*/ 257442 h 257442"/>
                <a:gd name="connsiteX2" fmla="*/ 0 w 1583987"/>
                <a:gd name="connsiteY2" fmla="*/ 257442 h 257442"/>
                <a:gd name="connsiteX3" fmla="*/ 0 w 1583987"/>
                <a:gd name="connsiteY3" fmla="*/ 0 h 257442"/>
                <a:gd name="connsiteX0" fmla="*/ 1583987 w 1583987"/>
                <a:gd name="connsiteY0" fmla="*/ 0 h 257442"/>
                <a:gd name="connsiteX1" fmla="*/ 1529266 w 1583987"/>
                <a:gd name="connsiteY1" fmla="*/ 257442 h 257442"/>
                <a:gd name="connsiteX2" fmla="*/ 0 w 1583987"/>
                <a:gd name="connsiteY2" fmla="*/ 257442 h 257442"/>
                <a:gd name="connsiteX3" fmla="*/ 0 w 1583987"/>
                <a:gd name="connsiteY3" fmla="*/ 0 h 257442"/>
                <a:gd name="connsiteX0" fmla="*/ 1583987 w 1583987"/>
                <a:gd name="connsiteY0" fmla="*/ 0 h 257442"/>
                <a:gd name="connsiteX1" fmla="*/ 1529266 w 1583987"/>
                <a:gd name="connsiteY1" fmla="*/ 257442 h 257442"/>
                <a:gd name="connsiteX2" fmla="*/ 0 w 1583987"/>
                <a:gd name="connsiteY2" fmla="*/ 257442 h 257442"/>
                <a:gd name="connsiteX3" fmla="*/ 0 w 1583987"/>
                <a:gd name="connsiteY3" fmla="*/ 0 h 257442"/>
                <a:gd name="connsiteX0" fmla="*/ 1736273 w 1736273"/>
                <a:gd name="connsiteY0" fmla="*/ 0 h 257442"/>
                <a:gd name="connsiteX1" fmla="*/ 1529266 w 1736273"/>
                <a:gd name="connsiteY1" fmla="*/ 257442 h 257442"/>
                <a:gd name="connsiteX2" fmla="*/ 0 w 1736273"/>
                <a:gd name="connsiteY2" fmla="*/ 257442 h 257442"/>
                <a:gd name="connsiteX3" fmla="*/ 0 w 1736273"/>
                <a:gd name="connsiteY3" fmla="*/ 0 h 257442"/>
                <a:gd name="connsiteX0" fmla="*/ 1736273 w 1736273"/>
                <a:gd name="connsiteY0" fmla="*/ 0 h 257442"/>
                <a:gd name="connsiteX1" fmla="*/ 1681552 w 1736273"/>
                <a:gd name="connsiteY1" fmla="*/ 257442 h 257442"/>
                <a:gd name="connsiteX2" fmla="*/ 0 w 1736273"/>
                <a:gd name="connsiteY2" fmla="*/ 257442 h 257442"/>
                <a:gd name="connsiteX3" fmla="*/ 0 w 1736273"/>
                <a:gd name="connsiteY3" fmla="*/ 0 h 257442"/>
                <a:gd name="connsiteX0" fmla="*/ 1736273 w 1736273"/>
                <a:gd name="connsiteY0" fmla="*/ 0 h 257442"/>
                <a:gd name="connsiteX1" fmla="*/ 1681552 w 1736273"/>
                <a:gd name="connsiteY1" fmla="*/ 257442 h 257442"/>
                <a:gd name="connsiteX2" fmla="*/ 0 w 1736273"/>
                <a:gd name="connsiteY2" fmla="*/ 257442 h 257442"/>
                <a:gd name="connsiteX3" fmla="*/ 0 w 1736273"/>
                <a:gd name="connsiteY3" fmla="*/ 0 h 257442"/>
                <a:gd name="connsiteX0" fmla="*/ 1736273 w 1736273"/>
                <a:gd name="connsiteY0" fmla="*/ 0 h 257442"/>
                <a:gd name="connsiteX1" fmla="*/ 1681552 w 1736273"/>
                <a:gd name="connsiteY1" fmla="*/ 257442 h 257442"/>
                <a:gd name="connsiteX2" fmla="*/ 0 w 1736273"/>
                <a:gd name="connsiteY2" fmla="*/ 257442 h 257442"/>
                <a:gd name="connsiteX3" fmla="*/ 0 w 1736273"/>
                <a:gd name="connsiteY3" fmla="*/ 0 h 257442"/>
                <a:gd name="connsiteX0" fmla="*/ 1914205 w 1914205"/>
                <a:gd name="connsiteY0" fmla="*/ 0 h 257442"/>
                <a:gd name="connsiteX1" fmla="*/ 1681552 w 1914205"/>
                <a:gd name="connsiteY1" fmla="*/ 257442 h 257442"/>
                <a:gd name="connsiteX2" fmla="*/ 0 w 1914205"/>
                <a:gd name="connsiteY2" fmla="*/ 257442 h 257442"/>
                <a:gd name="connsiteX3" fmla="*/ 0 w 1914205"/>
                <a:gd name="connsiteY3" fmla="*/ 0 h 257442"/>
                <a:gd name="connsiteX0" fmla="*/ 1914205 w 1914205"/>
                <a:gd name="connsiteY0" fmla="*/ 0 h 257442"/>
                <a:gd name="connsiteX1" fmla="*/ 1859484 w 1914205"/>
                <a:gd name="connsiteY1" fmla="*/ 257442 h 257442"/>
                <a:gd name="connsiteX2" fmla="*/ 0 w 1914205"/>
                <a:gd name="connsiteY2" fmla="*/ 257442 h 257442"/>
                <a:gd name="connsiteX3" fmla="*/ 0 w 1914205"/>
                <a:gd name="connsiteY3" fmla="*/ 0 h 257442"/>
                <a:gd name="connsiteX0" fmla="*/ 1914205 w 1914205"/>
                <a:gd name="connsiteY0" fmla="*/ 0 h 257442"/>
                <a:gd name="connsiteX1" fmla="*/ 1859484 w 1914205"/>
                <a:gd name="connsiteY1" fmla="*/ 257442 h 257442"/>
                <a:gd name="connsiteX2" fmla="*/ 0 w 1914205"/>
                <a:gd name="connsiteY2" fmla="*/ 257442 h 257442"/>
                <a:gd name="connsiteX3" fmla="*/ 0 w 1914205"/>
                <a:gd name="connsiteY3" fmla="*/ 0 h 257442"/>
                <a:gd name="connsiteX0" fmla="*/ 1914205 w 1914205"/>
                <a:gd name="connsiteY0" fmla="*/ 0 h 257442"/>
                <a:gd name="connsiteX1" fmla="*/ 1859484 w 1914205"/>
                <a:gd name="connsiteY1" fmla="*/ 257442 h 257442"/>
                <a:gd name="connsiteX2" fmla="*/ 0 w 1914205"/>
                <a:gd name="connsiteY2" fmla="*/ 257442 h 257442"/>
                <a:gd name="connsiteX3" fmla="*/ 0 w 1914205"/>
                <a:gd name="connsiteY3" fmla="*/ 0 h 257442"/>
                <a:gd name="connsiteX0" fmla="*/ 2082521 w 2082521"/>
                <a:gd name="connsiteY0" fmla="*/ 0 h 257442"/>
                <a:gd name="connsiteX1" fmla="*/ 1859484 w 2082521"/>
                <a:gd name="connsiteY1" fmla="*/ 257442 h 257442"/>
                <a:gd name="connsiteX2" fmla="*/ 0 w 2082521"/>
                <a:gd name="connsiteY2" fmla="*/ 257442 h 257442"/>
                <a:gd name="connsiteX3" fmla="*/ 0 w 2082521"/>
                <a:gd name="connsiteY3" fmla="*/ 0 h 257442"/>
                <a:gd name="connsiteX0" fmla="*/ 2082521 w 2082521"/>
                <a:gd name="connsiteY0" fmla="*/ 0 h 257442"/>
                <a:gd name="connsiteX1" fmla="*/ 2027800 w 2082521"/>
                <a:gd name="connsiteY1" fmla="*/ 257442 h 257442"/>
                <a:gd name="connsiteX2" fmla="*/ 0 w 2082521"/>
                <a:gd name="connsiteY2" fmla="*/ 257442 h 257442"/>
                <a:gd name="connsiteX3" fmla="*/ 0 w 2082521"/>
                <a:gd name="connsiteY3" fmla="*/ 0 h 257442"/>
                <a:gd name="connsiteX0" fmla="*/ 2082521 w 2082521"/>
                <a:gd name="connsiteY0" fmla="*/ 0 h 257442"/>
                <a:gd name="connsiteX1" fmla="*/ 2027800 w 2082521"/>
                <a:gd name="connsiteY1" fmla="*/ 257442 h 257442"/>
                <a:gd name="connsiteX2" fmla="*/ 0 w 2082521"/>
                <a:gd name="connsiteY2" fmla="*/ 257442 h 257442"/>
                <a:gd name="connsiteX3" fmla="*/ 0 w 2082521"/>
                <a:gd name="connsiteY3" fmla="*/ 0 h 257442"/>
                <a:gd name="connsiteX0" fmla="*/ 2082521 w 2082521"/>
                <a:gd name="connsiteY0" fmla="*/ 0 h 257442"/>
                <a:gd name="connsiteX1" fmla="*/ 2027800 w 2082521"/>
                <a:gd name="connsiteY1" fmla="*/ 257442 h 257442"/>
                <a:gd name="connsiteX2" fmla="*/ 0 w 2082521"/>
                <a:gd name="connsiteY2" fmla="*/ 257442 h 257442"/>
                <a:gd name="connsiteX3" fmla="*/ 0 w 2082521"/>
                <a:gd name="connsiteY3" fmla="*/ 0 h 257442"/>
                <a:gd name="connsiteX0" fmla="*/ 2250836 w 2250836"/>
                <a:gd name="connsiteY0" fmla="*/ 0 h 257442"/>
                <a:gd name="connsiteX1" fmla="*/ 2027800 w 2250836"/>
                <a:gd name="connsiteY1" fmla="*/ 257442 h 257442"/>
                <a:gd name="connsiteX2" fmla="*/ 0 w 2250836"/>
                <a:gd name="connsiteY2" fmla="*/ 257442 h 257442"/>
                <a:gd name="connsiteX3" fmla="*/ 0 w 2250836"/>
                <a:gd name="connsiteY3" fmla="*/ 0 h 257442"/>
                <a:gd name="connsiteX0" fmla="*/ 2250836 w 2250836"/>
                <a:gd name="connsiteY0" fmla="*/ 0 h 257442"/>
                <a:gd name="connsiteX1" fmla="*/ 2196114 w 2250836"/>
                <a:gd name="connsiteY1" fmla="*/ 257442 h 257442"/>
                <a:gd name="connsiteX2" fmla="*/ 0 w 2250836"/>
                <a:gd name="connsiteY2" fmla="*/ 257442 h 257442"/>
                <a:gd name="connsiteX3" fmla="*/ 0 w 2250836"/>
                <a:gd name="connsiteY3" fmla="*/ 0 h 257442"/>
                <a:gd name="connsiteX0" fmla="*/ 2250837 w 2250837"/>
                <a:gd name="connsiteY0" fmla="*/ 0 h 257442"/>
                <a:gd name="connsiteX1" fmla="*/ 2196115 w 2250837"/>
                <a:gd name="connsiteY1" fmla="*/ 257442 h 257442"/>
                <a:gd name="connsiteX2" fmla="*/ 0 w 2250837"/>
                <a:gd name="connsiteY2" fmla="*/ 257442 h 257442"/>
                <a:gd name="connsiteX3" fmla="*/ 1 w 2250837"/>
                <a:gd name="connsiteY3" fmla="*/ 0 h 257442"/>
                <a:gd name="connsiteX0" fmla="*/ 2250837 w 2250837"/>
                <a:gd name="connsiteY0" fmla="*/ 0 h 257442"/>
                <a:gd name="connsiteX1" fmla="*/ 2196115 w 2250837"/>
                <a:gd name="connsiteY1" fmla="*/ 257442 h 257442"/>
                <a:gd name="connsiteX2" fmla="*/ 0 w 2250837"/>
                <a:gd name="connsiteY2" fmla="*/ 257442 h 257442"/>
                <a:gd name="connsiteX3" fmla="*/ 1 w 2250837"/>
                <a:gd name="connsiteY3" fmla="*/ 0 h 257442"/>
                <a:gd name="connsiteX0" fmla="*/ 2411137 w 2411137"/>
                <a:gd name="connsiteY0" fmla="*/ 0 h 257442"/>
                <a:gd name="connsiteX1" fmla="*/ 2196115 w 2411137"/>
                <a:gd name="connsiteY1" fmla="*/ 257442 h 257442"/>
                <a:gd name="connsiteX2" fmla="*/ 0 w 2411137"/>
                <a:gd name="connsiteY2" fmla="*/ 257442 h 257442"/>
                <a:gd name="connsiteX3" fmla="*/ 1 w 2411137"/>
                <a:gd name="connsiteY3" fmla="*/ 0 h 257442"/>
                <a:gd name="connsiteX0" fmla="*/ 2411137 w 2411137"/>
                <a:gd name="connsiteY0" fmla="*/ 0 h 257442"/>
                <a:gd name="connsiteX1" fmla="*/ 2356416 w 2411137"/>
                <a:gd name="connsiteY1" fmla="*/ 257442 h 257442"/>
                <a:gd name="connsiteX2" fmla="*/ 0 w 2411137"/>
                <a:gd name="connsiteY2" fmla="*/ 257442 h 257442"/>
                <a:gd name="connsiteX3" fmla="*/ 1 w 2411137"/>
                <a:gd name="connsiteY3" fmla="*/ 0 h 257442"/>
                <a:gd name="connsiteX0" fmla="*/ 2411136 w 2411136"/>
                <a:gd name="connsiteY0" fmla="*/ 0 h 257442"/>
                <a:gd name="connsiteX1" fmla="*/ 2356415 w 2411136"/>
                <a:gd name="connsiteY1" fmla="*/ 257442 h 257442"/>
                <a:gd name="connsiteX2" fmla="*/ 0 w 2411136"/>
                <a:gd name="connsiteY2" fmla="*/ 257442 h 257442"/>
                <a:gd name="connsiteX3" fmla="*/ 0 w 2411136"/>
                <a:gd name="connsiteY3" fmla="*/ 0 h 257442"/>
                <a:gd name="connsiteX0" fmla="*/ 2411137 w 2411137"/>
                <a:gd name="connsiteY0" fmla="*/ 0 h 257442"/>
                <a:gd name="connsiteX1" fmla="*/ 2356416 w 2411137"/>
                <a:gd name="connsiteY1" fmla="*/ 257442 h 257442"/>
                <a:gd name="connsiteX2" fmla="*/ 1 w 2411137"/>
                <a:gd name="connsiteY2" fmla="*/ 257442 h 257442"/>
                <a:gd name="connsiteX3" fmla="*/ 0 w 2411137"/>
                <a:gd name="connsiteY3" fmla="*/ 0 h 257442"/>
                <a:gd name="connsiteX0" fmla="*/ 2250837 w 2356416"/>
                <a:gd name="connsiteY0" fmla="*/ 0 h 257442"/>
                <a:gd name="connsiteX1" fmla="*/ 2356416 w 2356416"/>
                <a:gd name="connsiteY1" fmla="*/ 257442 h 257442"/>
                <a:gd name="connsiteX2" fmla="*/ 1 w 2356416"/>
                <a:gd name="connsiteY2" fmla="*/ 257442 h 257442"/>
                <a:gd name="connsiteX3" fmla="*/ 0 w 2356416"/>
                <a:gd name="connsiteY3" fmla="*/ 0 h 257442"/>
                <a:gd name="connsiteX0" fmla="*/ 2250837 w 2250837"/>
                <a:gd name="connsiteY0" fmla="*/ 0 h 257442"/>
                <a:gd name="connsiteX1" fmla="*/ 2196116 w 2250837"/>
                <a:gd name="connsiteY1" fmla="*/ 257442 h 257442"/>
                <a:gd name="connsiteX2" fmla="*/ 1 w 2250837"/>
                <a:gd name="connsiteY2" fmla="*/ 257442 h 257442"/>
                <a:gd name="connsiteX3" fmla="*/ 0 w 2250837"/>
                <a:gd name="connsiteY3" fmla="*/ 0 h 257442"/>
                <a:gd name="connsiteX0" fmla="*/ 2250837 w 2250837"/>
                <a:gd name="connsiteY0" fmla="*/ 0 h 257442"/>
                <a:gd name="connsiteX1" fmla="*/ 2196116 w 2250837"/>
                <a:gd name="connsiteY1" fmla="*/ 257442 h 257442"/>
                <a:gd name="connsiteX2" fmla="*/ 2 w 2250837"/>
                <a:gd name="connsiteY2" fmla="*/ 257442 h 257442"/>
                <a:gd name="connsiteX3" fmla="*/ 0 w 2250837"/>
                <a:gd name="connsiteY3" fmla="*/ 0 h 257442"/>
                <a:gd name="connsiteX0" fmla="*/ 2250835 w 2250835"/>
                <a:gd name="connsiteY0" fmla="*/ 0 h 257442"/>
                <a:gd name="connsiteX1" fmla="*/ 2196114 w 2250835"/>
                <a:gd name="connsiteY1" fmla="*/ 257442 h 257442"/>
                <a:gd name="connsiteX2" fmla="*/ 0 w 2250835"/>
                <a:gd name="connsiteY2" fmla="*/ 257442 h 257442"/>
                <a:gd name="connsiteX3" fmla="*/ 0 w 2250835"/>
                <a:gd name="connsiteY3" fmla="*/ 0 h 257442"/>
                <a:gd name="connsiteX0" fmla="*/ 2090536 w 2196114"/>
                <a:gd name="connsiteY0" fmla="*/ 0 h 257442"/>
                <a:gd name="connsiteX1" fmla="*/ 2196114 w 2196114"/>
                <a:gd name="connsiteY1" fmla="*/ 257442 h 257442"/>
                <a:gd name="connsiteX2" fmla="*/ 0 w 2196114"/>
                <a:gd name="connsiteY2" fmla="*/ 257442 h 257442"/>
                <a:gd name="connsiteX3" fmla="*/ 0 w 2196114"/>
                <a:gd name="connsiteY3" fmla="*/ 0 h 257442"/>
                <a:gd name="connsiteX0" fmla="*/ 2090536 w 2090536"/>
                <a:gd name="connsiteY0" fmla="*/ 0 h 257442"/>
                <a:gd name="connsiteX1" fmla="*/ 2035815 w 2090536"/>
                <a:gd name="connsiteY1" fmla="*/ 257442 h 257442"/>
                <a:gd name="connsiteX2" fmla="*/ 0 w 2090536"/>
                <a:gd name="connsiteY2" fmla="*/ 257442 h 257442"/>
                <a:gd name="connsiteX3" fmla="*/ 0 w 2090536"/>
                <a:gd name="connsiteY3" fmla="*/ 0 h 257442"/>
                <a:gd name="connsiteX0" fmla="*/ 2090536 w 2090536"/>
                <a:gd name="connsiteY0" fmla="*/ 0 h 257442"/>
                <a:gd name="connsiteX1" fmla="*/ 2035815 w 2090536"/>
                <a:gd name="connsiteY1" fmla="*/ 257442 h 257442"/>
                <a:gd name="connsiteX2" fmla="*/ 0 w 2090536"/>
                <a:gd name="connsiteY2" fmla="*/ 257442 h 257442"/>
                <a:gd name="connsiteX3" fmla="*/ 0 w 2090536"/>
                <a:gd name="connsiteY3" fmla="*/ 0 h 257442"/>
                <a:gd name="connsiteX0" fmla="*/ 2090536 w 2090536"/>
                <a:gd name="connsiteY0" fmla="*/ 0 h 257442"/>
                <a:gd name="connsiteX1" fmla="*/ 2035815 w 2090536"/>
                <a:gd name="connsiteY1" fmla="*/ 257442 h 257442"/>
                <a:gd name="connsiteX2" fmla="*/ 0 w 2090536"/>
                <a:gd name="connsiteY2" fmla="*/ 257442 h 257442"/>
                <a:gd name="connsiteX3" fmla="*/ 0 w 2090536"/>
                <a:gd name="connsiteY3" fmla="*/ 0 h 257442"/>
                <a:gd name="connsiteX0" fmla="*/ 1938251 w 2035815"/>
                <a:gd name="connsiteY0" fmla="*/ 0 h 257442"/>
                <a:gd name="connsiteX1" fmla="*/ 2035815 w 2035815"/>
                <a:gd name="connsiteY1" fmla="*/ 257442 h 257442"/>
                <a:gd name="connsiteX2" fmla="*/ 0 w 2035815"/>
                <a:gd name="connsiteY2" fmla="*/ 257442 h 257442"/>
                <a:gd name="connsiteX3" fmla="*/ 0 w 2035815"/>
                <a:gd name="connsiteY3" fmla="*/ 0 h 257442"/>
                <a:gd name="connsiteX0" fmla="*/ 1938251 w 1938251"/>
                <a:gd name="connsiteY0" fmla="*/ 0 h 257442"/>
                <a:gd name="connsiteX1" fmla="*/ 1883531 w 1938251"/>
                <a:gd name="connsiteY1" fmla="*/ 257442 h 257442"/>
                <a:gd name="connsiteX2" fmla="*/ 0 w 1938251"/>
                <a:gd name="connsiteY2" fmla="*/ 257442 h 257442"/>
                <a:gd name="connsiteX3" fmla="*/ 0 w 1938251"/>
                <a:gd name="connsiteY3" fmla="*/ 0 h 257442"/>
                <a:gd name="connsiteX0" fmla="*/ 1938251 w 1938251"/>
                <a:gd name="connsiteY0" fmla="*/ 0 h 257442"/>
                <a:gd name="connsiteX1" fmla="*/ 1883531 w 1938251"/>
                <a:gd name="connsiteY1" fmla="*/ 257442 h 257442"/>
                <a:gd name="connsiteX2" fmla="*/ 1 w 1938251"/>
                <a:gd name="connsiteY2" fmla="*/ 257442 h 257442"/>
                <a:gd name="connsiteX3" fmla="*/ 0 w 1938251"/>
                <a:gd name="connsiteY3" fmla="*/ 0 h 257442"/>
                <a:gd name="connsiteX0" fmla="*/ 1938250 w 1938250"/>
                <a:gd name="connsiteY0" fmla="*/ 0 h 257442"/>
                <a:gd name="connsiteX1" fmla="*/ 1883530 w 1938250"/>
                <a:gd name="connsiteY1" fmla="*/ 257442 h 257442"/>
                <a:gd name="connsiteX2" fmla="*/ 0 w 1938250"/>
                <a:gd name="connsiteY2" fmla="*/ 257442 h 257442"/>
                <a:gd name="connsiteX3" fmla="*/ 0 w 1938250"/>
                <a:gd name="connsiteY3" fmla="*/ 0 h 257442"/>
                <a:gd name="connsiteX0" fmla="*/ 1769934 w 1883530"/>
                <a:gd name="connsiteY0" fmla="*/ 0 h 257442"/>
                <a:gd name="connsiteX1" fmla="*/ 1883530 w 1883530"/>
                <a:gd name="connsiteY1" fmla="*/ 257442 h 257442"/>
                <a:gd name="connsiteX2" fmla="*/ 0 w 1883530"/>
                <a:gd name="connsiteY2" fmla="*/ 257442 h 257442"/>
                <a:gd name="connsiteX3" fmla="*/ 0 w 1883530"/>
                <a:gd name="connsiteY3" fmla="*/ 0 h 257442"/>
                <a:gd name="connsiteX0" fmla="*/ 1769934 w 1769934"/>
                <a:gd name="connsiteY0" fmla="*/ 0 h 257442"/>
                <a:gd name="connsiteX1" fmla="*/ 1715213 w 1769934"/>
                <a:gd name="connsiteY1" fmla="*/ 257442 h 257442"/>
                <a:gd name="connsiteX2" fmla="*/ 0 w 1769934"/>
                <a:gd name="connsiteY2" fmla="*/ 257442 h 257442"/>
                <a:gd name="connsiteX3" fmla="*/ 0 w 1769934"/>
                <a:gd name="connsiteY3" fmla="*/ 0 h 257442"/>
                <a:gd name="connsiteX0" fmla="*/ 1769935 w 1769935"/>
                <a:gd name="connsiteY0" fmla="*/ 0 h 257442"/>
                <a:gd name="connsiteX1" fmla="*/ 1715214 w 1769935"/>
                <a:gd name="connsiteY1" fmla="*/ 257442 h 257442"/>
                <a:gd name="connsiteX2" fmla="*/ 0 w 1769935"/>
                <a:gd name="connsiteY2" fmla="*/ 257442 h 257442"/>
                <a:gd name="connsiteX3" fmla="*/ 1 w 1769935"/>
                <a:gd name="connsiteY3" fmla="*/ 0 h 257442"/>
                <a:gd name="connsiteX0" fmla="*/ 1769935 w 1769935"/>
                <a:gd name="connsiteY0" fmla="*/ 0 h 257442"/>
                <a:gd name="connsiteX1" fmla="*/ 1715214 w 1769935"/>
                <a:gd name="connsiteY1" fmla="*/ 257442 h 257442"/>
                <a:gd name="connsiteX2" fmla="*/ 0 w 1769935"/>
                <a:gd name="connsiteY2" fmla="*/ 257442 h 257442"/>
                <a:gd name="connsiteX3" fmla="*/ 1 w 1769935"/>
                <a:gd name="connsiteY3" fmla="*/ 0 h 257442"/>
                <a:gd name="connsiteX0" fmla="*/ 1609636 w 1715214"/>
                <a:gd name="connsiteY0" fmla="*/ 0 h 257442"/>
                <a:gd name="connsiteX1" fmla="*/ 1715214 w 1715214"/>
                <a:gd name="connsiteY1" fmla="*/ 257442 h 257442"/>
                <a:gd name="connsiteX2" fmla="*/ 0 w 1715214"/>
                <a:gd name="connsiteY2" fmla="*/ 257442 h 257442"/>
                <a:gd name="connsiteX3" fmla="*/ 1 w 1715214"/>
                <a:gd name="connsiteY3" fmla="*/ 0 h 257442"/>
                <a:gd name="connsiteX0" fmla="*/ 1609636 w 1609636"/>
                <a:gd name="connsiteY0" fmla="*/ 0 h 257442"/>
                <a:gd name="connsiteX1" fmla="*/ 1554915 w 1609636"/>
                <a:gd name="connsiteY1" fmla="*/ 257442 h 257442"/>
                <a:gd name="connsiteX2" fmla="*/ 0 w 1609636"/>
                <a:gd name="connsiteY2" fmla="*/ 257442 h 257442"/>
                <a:gd name="connsiteX3" fmla="*/ 1 w 1609636"/>
                <a:gd name="connsiteY3" fmla="*/ 0 h 257442"/>
                <a:gd name="connsiteX0" fmla="*/ 1609635 w 1609635"/>
                <a:gd name="connsiteY0" fmla="*/ 0 h 257442"/>
                <a:gd name="connsiteX1" fmla="*/ 1554914 w 1609635"/>
                <a:gd name="connsiteY1" fmla="*/ 257442 h 257442"/>
                <a:gd name="connsiteX2" fmla="*/ 0 w 1609635"/>
                <a:gd name="connsiteY2" fmla="*/ 257442 h 257442"/>
                <a:gd name="connsiteX3" fmla="*/ 0 w 1609635"/>
                <a:gd name="connsiteY3" fmla="*/ 0 h 257442"/>
                <a:gd name="connsiteX0" fmla="*/ 1609635 w 1609635"/>
                <a:gd name="connsiteY0" fmla="*/ 0 h 257442"/>
                <a:gd name="connsiteX1" fmla="*/ 1554914 w 1609635"/>
                <a:gd name="connsiteY1" fmla="*/ 257442 h 257442"/>
                <a:gd name="connsiteX2" fmla="*/ 0 w 1609635"/>
                <a:gd name="connsiteY2" fmla="*/ 257442 h 257442"/>
                <a:gd name="connsiteX3" fmla="*/ 0 w 1609635"/>
                <a:gd name="connsiteY3" fmla="*/ 0 h 257442"/>
                <a:gd name="connsiteX0" fmla="*/ 1813217 w 1813217"/>
                <a:gd name="connsiteY0" fmla="*/ 0 h 257442"/>
                <a:gd name="connsiteX1" fmla="*/ 1554914 w 1813217"/>
                <a:gd name="connsiteY1" fmla="*/ 257442 h 257442"/>
                <a:gd name="connsiteX2" fmla="*/ 0 w 1813217"/>
                <a:gd name="connsiteY2" fmla="*/ 257442 h 257442"/>
                <a:gd name="connsiteX3" fmla="*/ 0 w 1813217"/>
                <a:gd name="connsiteY3" fmla="*/ 0 h 257442"/>
                <a:gd name="connsiteX0" fmla="*/ 1813217 w 1813217"/>
                <a:gd name="connsiteY0" fmla="*/ 0 h 257442"/>
                <a:gd name="connsiteX1" fmla="*/ 1758496 w 1813217"/>
                <a:gd name="connsiteY1" fmla="*/ 257442 h 257442"/>
                <a:gd name="connsiteX2" fmla="*/ 0 w 1813217"/>
                <a:gd name="connsiteY2" fmla="*/ 257442 h 257442"/>
                <a:gd name="connsiteX3" fmla="*/ 0 w 1813217"/>
                <a:gd name="connsiteY3" fmla="*/ 0 h 257442"/>
                <a:gd name="connsiteX0" fmla="*/ 1813217 w 1813217"/>
                <a:gd name="connsiteY0" fmla="*/ 0 h 257442"/>
                <a:gd name="connsiteX1" fmla="*/ 1758496 w 1813217"/>
                <a:gd name="connsiteY1" fmla="*/ 257442 h 257442"/>
                <a:gd name="connsiteX2" fmla="*/ 0 w 1813217"/>
                <a:gd name="connsiteY2" fmla="*/ 257442 h 257442"/>
                <a:gd name="connsiteX3" fmla="*/ 0 w 1813217"/>
                <a:gd name="connsiteY3" fmla="*/ 0 h 257442"/>
                <a:gd name="connsiteX0" fmla="*/ 1813217 w 1813217"/>
                <a:gd name="connsiteY0" fmla="*/ 0 h 257442"/>
                <a:gd name="connsiteX1" fmla="*/ 1758496 w 1813217"/>
                <a:gd name="connsiteY1" fmla="*/ 257442 h 257442"/>
                <a:gd name="connsiteX2" fmla="*/ 0 w 1813217"/>
                <a:gd name="connsiteY2" fmla="*/ 257442 h 257442"/>
                <a:gd name="connsiteX3" fmla="*/ 0 w 1813217"/>
                <a:gd name="connsiteY3" fmla="*/ 0 h 257442"/>
                <a:gd name="connsiteX0" fmla="*/ 1991150 w 1991150"/>
                <a:gd name="connsiteY0" fmla="*/ 0 h 257442"/>
                <a:gd name="connsiteX1" fmla="*/ 1758496 w 1991150"/>
                <a:gd name="connsiteY1" fmla="*/ 257442 h 257442"/>
                <a:gd name="connsiteX2" fmla="*/ 0 w 1991150"/>
                <a:gd name="connsiteY2" fmla="*/ 257442 h 257442"/>
                <a:gd name="connsiteX3" fmla="*/ 0 w 1991150"/>
                <a:gd name="connsiteY3" fmla="*/ 0 h 257442"/>
                <a:gd name="connsiteX0" fmla="*/ 1991150 w 1991150"/>
                <a:gd name="connsiteY0" fmla="*/ 0 h 257442"/>
                <a:gd name="connsiteX1" fmla="*/ 1936428 w 1991150"/>
                <a:gd name="connsiteY1" fmla="*/ 257442 h 257442"/>
                <a:gd name="connsiteX2" fmla="*/ 0 w 1991150"/>
                <a:gd name="connsiteY2" fmla="*/ 257442 h 257442"/>
                <a:gd name="connsiteX3" fmla="*/ 0 w 1991150"/>
                <a:gd name="connsiteY3" fmla="*/ 0 h 257442"/>
                <a:gd name="connsiteX0" fmla="*/ 1991151 w 1991151"/>
                <a:gd name="connsiteY0" fmla="*/ 0 h 257442"/>
                <a:gd name="connsiteX1" fmla="*/ 1936429 w 1991151"/>
                <a:gd name="connsiteY1" fmla="*/ 257442 h 257442"/>
                <a:gd name="connsiteX2" fmla="*/ 0 w 1991151"/>
                <a:gd name="connsiteY2" fmla="*/ 257442 h 257442"/>
                <a:gd name="connsiteX3" fmla="*/ 1 w 1991151"/>
                <a:gd name="connsiteY3" fmla="*/ 0 h 257442"/>
                <a:gd name="connsiteX0" fmla="*/ 1991151 w 1991151"/>
                <a:gd name="connsiteY0" fmla="*/ 0 h 257442"/>
                <a:gd name="connsiteX1" fmla="*/ 1936429 w 1991151"/>
                <a:gd name="connsiteY1" fmla="*/ 257442 h 257442"/>
                <a:gd name="connsiteX2" fmla="*/ 0 w 1991151"/>
                <a:gd name="connsiteY2" fmla="*/ 257442 h 257442"/>
                <a:gd name="connsiteX3" fmla="*/ 1 w 1991151"/>
                <a:gd name="connsiteY3" fmla="*/ 0 h 257442"/>
                <a:gd name="connsiteX0" fmla="*/ 2159466 w 2159466"/>
                <a:gd name="connsiteY0" fmla="*/ 0 h 257442"/>
                <a:gd name="connsiteX1" fmla="*/ 1936429 w 2159466"/>
                <a:gd name="connsiteY1" fmla="*/ 257442 h 257442"/>
                <a:gd name="connsiteX2" fmla="*/ 0 w 2159466"/>
                <a:gd name="connsiteY2" fmla="*/ 257442 h 257442"/>
                <a:gd name="connsiteX3" fmla="*/ 1 w 2159466"/>
                <a:gd name="connsiteY3" fmla="*/ 0 h 257442"/>
                <a:gd name="connsiteX0" fmla="*/ 2159466 w 2159466"/>
                <a:gd name="connsiteY0" fmla="*/ 0 h 257442"/>
                <a:gd name="connsiteX1" fmla="*/ 2104744 w 2159466"/>
                <a:gd name="connsiteY1" fmla="*/ 257442 h 257442"/>
                <a:gd name="connsiteX2" fmla="*/ 0 w 2159466"/>
                <a:gd name="connsiteY2" fmla="*/ 257442 h 257442"/>
                <a:gd name="connsiteX3" fmla="*/ 1 w 2159466"/>
                <a:gd name="connsiteY3" fmla="*/ 0 h 257442"/>
                <a:gd name="connsiteX0" fmla="*/ 2159466 w 2159466"/>
                <a:gd name="connsiteY0" fmla="*/ 0 h 257442"/>
                <a:gd name="connsiteX1" fmla="*/ 2104744 w 2159466"/>
                <a:gd name="connsiteY1" fmla="*/ 257442 h 257442"/>
                <a:gd name="connsiteX2" fmla="*/ 0 w 2159466"/>
                <a:gd name="connsiteY2" fmla="*/ 257442 h 257442"/>
                <a:gd name="connsiteX3" fmla="*/ 1 w 2159466"/>
                <a:gd name="connsiteY3" fmla="*/ 0 h 257442"/>
                <a:gd name="connsiteX0" fmla="*/ 2159466 w 2159466"/>
                <a:gd name="connsiteY0" fmla="*/ 0 h 257442"/>
                <a:gd name="connsiteX1" fmla="*/ 2104744 w 2159466"/>
                <a:gd name="connsiteY1" fmla="*/ 257442 h 257442"/>
                <a:gd name="connsiteX2" fmla="*/ 0 w 2159466"/>
                <a:gd name="connsiteY2" fmla="*/ 257442 h 257442"/>
                <a:gd name="connsiteX3" fmla="*/ 0 w 2159466"/>
                <a:gd name="connsiteY3" fmla="*/ 0 h 257442"/>
                <a:gd name="connsiteX0" fmla="*/ 2327780 w 2327780"/>
                <a:gd name="connsiteY0" fmla="*/ 0 h 257442"/>
                <a:gd name="connsiteX1" fmla="*/ 2104744 w 2327780"/>
                <a:gd name="connsiteY1" fmla="*/ 257442 h 257442"/>
                <a:gd name="connsiteX2" fmla="*/ 0 w 2327780"/>
                <a:gd name="connsiteY2" fmla="*/ 257442 h 257442"/>
                <a:gd name="connsiteX3" fmla="*/ 0 w 2327780"/>
                <a:gd name="connsiteY3" fmla="*/ 0 h 257442"/>
                <a:gd name="connsiteX0" fmla="*/ 2327780 w 2327780"/>
                <a:gd name="connsiteY0" fmla="*/ 0 h 257442"/>
                <a:gd name="connsiteX1" fmla="*/ 2273059 w 2327780"/>
                <a:gd name="connsiteY1" fmla="*/ 257442 h 257442"/>
                <a:gd name="connsiteX2" fmla="*/ 0 w 2327780"/>
                <a:gd name="connsiteY2" fmla="*/ 257442 h 257442"/>
                <a:gd name="connsiteX3" fmla="*/ 0 w 2327780"/>
                <a:gd name="connsiteY3" fmla="*/ 0 h 257442"/>
                <a:gd name="connsiteX0" fmla="*/ 2327780 w 2327780"/>
                <a:gd name="connsiteY0" fmla="*/ 0 h 257442"/>
                <a:gd name="connsiteX1" fmla="*/ 2273059 w 2327780"/>
                <a:gd name="connsiteY1" fmla="*/ 257442 h 257442"/>
                <a:gd name="connsiteX2" fmla="*/ 0 w 2327780"/>
                <a:gd name="connsiteY2" fmla="*/ 257442 h 257442"/>
                <a:gd name="connsiteX3" fmla="*/ 0 w 2327780"/>
                <a:gd name="connsiteY3" fmla="*/ 0 h 257442"/>
                <a:gd name="connsiteX0" fmla="*/ 2327780 w 2327780"/>
                <a:gd name="connsiteY0" fmla="*/ 0 h 257442"/>
                <a:gd name="connsiteX1" fmla="*/ 2273059 w 2327780"/>
                <a:gd name="connsiteY1" fmla="*/ 257442 h 257442"/>
                <a:gd name="connsiteX2" fmla="*/ 0 w 2327780"/>
                <a:gd name="connsiteY2" fmla="*/ 257442 h 257442"/>
                <a:gd name="connsiteX3" fmla="*/ 0 w 2327780"/>
                <a:gd name="connsiteY3" fmla="*/ 0 h 257442"/>
                <a:gd name="connsiteX0" fmla="*/ 942786 w 2273059"/>
                <a:gd name="connsiteY0" fmla="*/ 0 h 257442"/>
                <a:gd name="connsiteX1" fmla="*/ 2273059 w 2273059"/>
                <a:gd name="connsiteY1" fmla="*/ 257442 h 257442"/>
                <a:gd name="connsiteX2" fmla="*/ 0 w 2273059"/>
                <a:gd name="connsiteY2" fmla="*/ 257442 h 257442"/>
                <a:gd name="connsiteX3" fmla="*/ 0 w 2273059"/>
                <a:gd name="connsiteY3" fmla="*/ 0 h 257442"/>
                <a:gd name="connsiteX0" fmla="*/ 942786 w 942786"/>
                <a:gd name="connsiteY0" fmla="*/ 0 h 257442"/>
                <a:gd name="connsiteX1" fmla="*/ 888066 w 942786"/>
                <a:gd name="connsiteY1" fmla="*/ 257442 h 257442"/>
                <a:gd name="connsiteX2" fmla="*/ 0 w 942786"/>
                <a:gd name="connsiteY2" fmla="*/ 257442 h 257442"/>
                <a:gd name="connsiteX3" fmla="*/ 0 w 942786"/>
                <a:gd name="connsiteY3" fmla="*/ 0 h 257442"/>
                <a:gd name="connsiteX0" fmla="*/ 942786 w 942786"/>
                <a:gd name="connsiteY0" fmla="*/ 0 h 257442"/>
                <a:gd name="connsiteX1" fmla="*/ 888066 w 942786"/>
                <a:gd name="connsiteY1" fmla="*/ 257442 h 257442"/>
                <a:gd name="connsiteX2" fmla="*/ 1 w 942786"/>
                <a:gd name="connsiteY2" fmla="*/ 257442 h 257442"/>
                <a:gd name="connsiteX3" fmla="*/ 0 w 942786"/>
                <a:gd name="connsiteY3" fmla="*/ 0 h 257442"/>
                <a:gd name="connsiteX0" fmla="*/ 942785 w 942785"/>
                <a:gd name="connsiteY0" fmla="*/ 0 h 257442"/>
                <a:gd name="connsiteX1" fmla="*/ 888065 w 942785"/>
                <a:gd name="connsiteY1" fmla="*/ 257442 h 257442"/>
                <a:gd name="connsiteX2" fmla="*/ 0 w 942785"/>
                <a:gd name="connsiteY2" fmla="*/ 257442 h 257442"/>
                <a:gd name="connsiteX3" fmla="*/ 0 w 942785"/>
                <a:gd name="connsiteY3" fmla="*/ 0 h 257442"/>
                <a:gd name="connsiteX0" fmla="*/ 1111101 w 1111101"/>
                <a:gd name="connsiteY0" fmla="*/ 0 h 257442"/>
                <a:gd name="connsiteX1" fmla="*/ 888065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263386 w 1263386"/>
                <a:gd name="connsiteY0" fmla="*/ 0 h 257442"/>
                <a:gd name="connsiteX1" fmla="*/ 1056380 w 1263386"/>
                <a:gd name="connsiteY1" fmla="*/ 257442 h 257442"/>
                <a:gd name="connsiteX2" fmla="*/ 0 w 1263386"/>
                <a:gd name="connsiteY2" fmla="*/ 257442 h 257442"/>
                <a:gd name="connsiteX3" fmla="*/ 0 w 1263386"/>
                <a:gd name="connsiteY3" fmla="*/ 0 h 257442"/>
                <a:gd name="connsiteX0" fmla="*/ 1263386 w 1263386"/>
                <a:gd name="connsiteY0" fmla="*/ 0 h 257442"/>
                <a:gd name="connsiteX1" fmla="*/ 1208664 w 1263386"/>
                <a:gd name="connsiteY1" fmla="*/ 257442 h 257442"/>
                <a:gd name="connsiteX2" fmla="*/ 0 w 1263386"/>
                <a:gd name="connsiteY2" fmla="*/ 257442 h 257442"/>
                <a:gd name="connsiteX3" fmla="*/ 0 w 1263386"/>
                <a:gd name="connsiteY3" fmla="*/ 0 h 257442"/>
                <a:gd name="connsiteX0" fmla="*/ 1263387 w 1263387"/>
                <a:gd name="connsiteY0" fmla="*/ 0 h 257442"/>
                <a:gd name="connsiteX1" fmla="*/ 1208665 w 1263387"/>
                <a:gd name="connsiteY1" fmla="*/ 257442 h 257442"/>
                <a:gd name="connsiteX2" fmla="*/ 0 w 1263387"/>
                <a:gd name="connsiteY2" fmla="*/ 257442 h 257442"/>
                <a:gd name="connsiteX3" fmla="*/ 1 w 1263387"/>
                <a:gd name="connsiteY3" fmla="*/ 0 h 257442"/>
                <a:gd name="connsiteX0" fmla="*/ 1263387 w 1263387"/>
                <a:gd name="connsiteY0" fmla="*/ 0 h 257442"/>
                <a:gd name="connsiteX1" fmla="*/ 1208665 w 1263387"/>
                <a:gd name="connsiteY1" fmla="*/ 257442 h 257442"/>
                <a:gd name="connsiteX2" fmla="*/ 0 w 1263387"/>
                <a:gd name="connsiteY2" fmla="*/ 257442 h 257442"/>
                <a:gd name="connsiteX3" fmla="*/ 1 w 1263387"/>
                <a:gd name="connsiteY3" fmla="*/ 0 h 257442"/>
                <a:gd name="connsiteX0" fmla="*/ 1423688 w 1423688"/>
                <a:gd name="connsiteY0" fmla="*/ 0 h 257442"/>
                <a:gd name="connsiteX1" fmla="*/ 1208665 w 1423688"/>
                <a:gd name="connsiteY1" fmla="*/ 257442 h 257442"/>
                <a:gd name="connsiteX2" fmla="*/ 0 w 1423688"/>
                <a:gd name="connsiteY2" fmla="*/ 257442 h 257442"/>
                <a:gd name="connsiteX3" fmla="*/ 1 w 1423688"/>
                <a:gd name="connsiteY3" fmla="*/ 0 h 257442"/>
                <a:gd name="connsiteX0" fmla="*/ 1423688 w 1423688"/>
                <a:gd name="connsiteY0" fmla="*/ 0 h 257442"/>
                <a:gd name="connsiteX1" fmla="*/ 1368966 w 1423688"/>
                <a:gd name="connsiteY1" fmla="*/ 257442 h 257442"/>
                <a:gd name="connsiteX2" fmla="*/ 0 w 1423688"/>
                <a:gd name="connsiteY2" fmla="*/ 257442 h 257442"/>
                <a:gd name="connsiteX3" fmla="*/ 1 w 1423688"/>
                <a:gd name="connsiteY3" fmla="*/ 0 h 257442"/>
                <a:gd name="connsiteX0" fmla="*/ 1423688 w 1423688"/>
                <a:gd name="connsiteY0" fmla="*/ 0 h 257442"/>
                <a:gd name="connsiteX1" fmla="*/ 1368966 w 1423688"/>
                <a:gd name="connsiteY1" fmla="*/ 257442 h 257442"/>
                <a:gd name="connsiteX2" fmla="*/ 0 w 1423688"/>
                <a:gd name="connsiteY2" fmla="*/ 257442 h 257442"/>
                <a:gd name="connsiteX3" fmla="*/ 1 w 1423688"/>
                <a:gd name="connsiteY3" fmla="*/ 0 h 257442"/>
                <a:gd name="connsiteX0" fmla="*/ 1423688 w 1423688"/>
                <a:gd name="connsiteY0" fmla="*/ 0 h 257442"/>
                <a:gd name="connsiteX1" fmla="*/ 1368966 w 1423688"/>
                <a:gd name="connsiteY1" fmla="*/ 257442 h 257442"/>
                <a:gd name="connsiteX2" fmla="*/ 0 w 1423688"/>
                <a:gd name="connsiteY2" fmla="*/ 257442 h 257442"/>
                <a:gd name="connsiteX3" fmla="*/ 0 w 1423688"/>
                <a:gd name="connsiteY3" fmla="*/ 0 h 257442"/>
                <a:gd name="connsiteX0" fmla="*/ 1583987 w 1583987"/>
                <a:gd name="connsiteY0" fmla="*/ 0 h 257442"/>
                <a:gd name="connsiteX1" fmla="*/ 1368966 w 1583987"/>
                <a:gd name="connsiteY1" fmla="*/ 257442 h 257442"/>
                <a:gd name="connsiteX2" fmla="*/ 0 w 1583987"/>
                <a:gd name="connsiteY2" fmla="*/ 257442 h 257442"/>
                <a:gd name="connsiteX3" fmla="*/ 0 w 1583987"/>
                <a:gd name="connsiteY3" fmla="*/ 0 h 257442"/>
                <a:gd name="connsiteX0" fmla="*/ 1583987 w 1583987"/>
                <a:gd name="connsiteY0" fmla="*/ 0 h 257442"/>
                <a:gd name="connsiteX1" fmla="*/ 1529266 w 1583987"/>
                <a:gd name="connsiteY1" fmla="*/ 257442 h 257442"/>
                <a:gd name="connsiteX2" fmla="*/ 0 w 1583987"/>
                <a:gd name="connsiteY2" fmla="*/ 257442 h 257442"/>
                <a:gd name="connsiteX3" fmla="*/ 0 w 1583987"/>
                <a:gd name="connsiteY3" fmla="*/ 0 h 257442"/>
                <a:gd name="connsiteX0" fmla="*/ 1583987 w 1583987"/>
                <a:gd name="connsiteY0" fmla="*/ 0 h 257442"/>
                <a:gd name="connsiteX1" fmla="*/ 1529266 w 1583987"/>
                <a:gd name="connsiteY1" fmla="*/ 257442 h 257442"/>
                <a:gd name="connsiteX2" fmla="*/ 0 w 1583987"/>
                <a:gd name="connsiteY2" fmla="*/ 257442 h 257442"/>
                <a:gd name="connsiteX3" fmla="*/ 0 w 1583987"/>
                <a:gd name="connsiteY3" fmla="*/ 0 h 257442"/>
                <a:gd name="connsiteX0" fmla="*/ 1583987 w 1583987"/>
                <a:gd name="connsiteY0" fmla="*/ 0 h 257442"/>
                <a:gd name="connsiteX1" fmla="*/ 1529266 w 1583987"/>
                <a:gd name="connsiteY1" fmla="*/ 257442 h 257442"/>
                <a:gd name="connsiteX2" fmla="*/ 0 w 1583987"/>
                <a:gd name="connsiteY2" fmla="*/ 257442 h 257442"/>
                <a:gd name="connsiteX3" fmla="*/ 0 w 1583987"/>
                <a:gd name="connsiteY3" fmla="*/ 0 h 257442"/>
                <a:gd name="connsiteX0" fmla="*/ 1684976 w 1684976"/>
                <a:gd name="connsiteY0" fmla="*/ 0 h 257442"/>
                <a:gd name="connsiteX1" fmla="*/ 1529266 w 1684976"/>
                <a:gd name="connsiteY1" fmla="*/ 257442 h 257442"/>
                <a:gd name="connsiteX2" fmla="*/ 0 w 1684976"/>
                <a:gd name="connsiteY2" fmla="*/ 257442 h 257442"/>
                <a:gd name="connsiteX3" fmla="*/ 0 w 1684976"/>
                <a:gd name="connsiteY3" fmla="*/ 0 h 257442"/>
                <a:gd name="connsiteX0" fmla="*/ 1684976 w 1684976"/>
                <a:gd name="connsiteY0" fmla="*/ 0 h 257442"/>
                <a:gd name="connsiteX1" fmla="*/ 1630254 w 1684976"/>
                <a:gd name="connsiteY1" fmla="*/ 257442 h 257442"/>
                <a:gd name="connsiteX2" fmla="*/ 0 w 1684976"/>
                <a:gd name="connsiteY2" fmla="*/ 257442 h 257442"/>
                <a:gd name="connsiteX3" fmla="*/ 0 w 1684976"/>
                <a:gd name="connsiteY3" fmla="*/ 0 h 257442"/>
                <a:gd name="connsiteX0" fmla="*/ 1684977 w 1684977"/>
                <a:gd name="connsiteY0" fmla="*/ 0 h 257442"/>
                <a:gd name="connsiteX1" fmla="*/ 1630255 w 1684977"/>
                <a:gd name="connsiteY1" fmla="*/ 257442 h 257442"/>
                <a:gd name="connsiteX2" fmla="*/ 0 w 1684977"/>
                <a:gd name="connsiteY2" fmla="*/ 257442 h 257442"/>
                <a:gd name="connsiteX3" fmla="*/ 1 w 1684977"/>
                <a:gd name="connsiteY3" fmla="*/ 0 h 257442"/>
                <a:gd name="connsiteX0" fmla="*/ 1684977 w 1684977"/>
                <a:gd name="connsiteY0" fmla="*/ 0 h 257442"/>
                <a:gd name="connsiteX1" fmla="*/ 1630255 w 1684977"/>
                <a:gd name="connsiteY1" fmla="*/ 257442 h 257442"/>
                <a:gd name="connsiteX2" fmla="*/ 0 w 1684977"/>
                <a:gd name="connsiteY2" fmla="*/ 257442 h 257442"/>
                <a:gd name="connsiteX3" fmla="*/ 1 w 1684977"/>
                <a:gd name="connsiteY3" fmla="*/ 0 h 257442"/>
                <a:gd name="connsiteX0" fmla="*/ 1862910 w 1862910"/>
                <a:gd name="connsiteY0" fmla="*/ 0 h 257442"/>
                <a:gd name="connsiteX1" fmla="*/ 1630255 w 1862910"/>
                <a:gd name="connsiteY1" fmla="*/ 257442 h 257442"/>
                <a:gd name="connsiteX2" fmla="*/ 0 w 1862910"/>
                <a:gd name="connsiteY2" fmla="*/ 257442 h 257442"/>
                <a:gd name="connsiteX3" fmla="*/ 1 w 1862910"/>
                <a:gd name="connsiteY3" fmla="*/ 0 h 257442"/>
                <a:gd name="connsiteX0" fmla="*/ 1862910 w 1862910"/>
                <a:gd name="connsiteY0" fmla="*/ 0 h 257442"/>
                <a:gd name="connsiteX1" fmla="*/ 1808188 w 1862910"/>
                <a:gd name="connsiteY1" fmla="*/ 257442 h 257442"/>
                <a:gd name="connsiteX2" fmla="*/ 0 w 1862910"/>
                <a:gd name="connsiteY2" fmla="*/ 257442 h 257442"/>
                <a:gd name="connsiteX3" fmla="*/ 1 w 1862910"/>
                <a:gd name="connsiteY3" fmla="*/ 0 h 257442"/>
                <a:gd name="connsiteX0" fmla="*/ 1862910 w 1862910"/>
                <a:gd name="connsiteY0" fmla="*/ 0 h 257442"/>
                <a:gd name="connsiteX1" fmla="*/ 1808188 w 1862910"/>
                <a:gd name="connsiteY1" fmla="*/ 257442 h 257442"/>
                <a:gd name="connsiteX2" fmla="*/ 0 w 1862910"/>
                <a:gd name="connsiteY2" fmla="*/ 257442 h 257442"/>
                <a:gd name="connsiteX3" fmla="*/ 1 w 1862910"/>
                <a:gd name="connsiteY3" fmla="*/ 0 h 257442"/>
                <a:gd name="connsiteX0" fmla="*/ 1862910 w 1862910"/>
                <a:gd name="connsiteY0" fmla="*/ 0 h 257442"/>
                <a:gd name="connsiteX1" fmla="*/ 1808188 w 1862910"/>
                <a:gd name="connsiteY1" fmla="*/ 257442 h 257442"/>
                <a:gd name="connsiteX2" fmla="*/ 0 w 1862910"/>
                <a:gd name="connsiteY2" fmla="*/ 257442 h 257442"/>
                <a:gd name="connsiteX3" fmla="*/ 0 w 1862910"/>
                <a:gd name="connsiteY3" fmla="*/ 0 h 257442"/>
                <a:gd name="connsiteX0" fmla="*/ 1684976 w 1808188"/>
                <a:gd name="connsiteY0" fmla="*/ 0 h 257442"/>
                <a:gd name="connsiteX1" fmla="*/ 1808188 w 1808188"/>
                <a:gd name="connsiteY1" fmla="*/ 257442 h 257442"/>
                <a:gd name="connsiteX2" fmla="*/ 0 w 1808188"/>
                <a:gd name="connsiteY2" fmla="*/ 257442 h 257442"/>
                <a:gd name="connsiteX3" fmla="*/ 0 w 1808188"/>
                <a:gd name="connsiteY3" fmla="*/ 0 h 257442"/>
                <a:gd name="connsiteX0" fmla="*/ 1684976 w 1684976"/>
                <a:gd name="connsiteY0" fmla="*/ 0 h 257442"/>
                <a:gd name="connsiteX1" fmla="*/ 1630255 w 1684976"/>
                <a:gd name="connsiteY1" fmla="*/ 257442 h 257442"/>
                <a:gd name="connsiteX2" fmla="*/ 0 w 1684976"/>
                <a:gd name="connsiteY2" fmla="*/ 257442 h 257442"/>
                <a:gd name="connsiteX3" fmla="*/ 0 w 1684976"/>
                <a:gd name="connsiteY3" fmla="*/ 0 h 257442"/>
                <a:gd name="connsiteX0" fmla="*/ 1684976 w 1684976"/>
                <a:gd name="connsiteY0" fmla="*/ 0 h 257442"/>
                <a:gd name="connsiteX1" fmla="*/ 1630255 w 1684976"/>
                <a:gd name="connsiteY1" fmla="*/ 257442 h 257442"/>
                <a:gd name="connsiteX2" fmla="*/ 0 w 1684976"/>
                <a:gd name="connsiteY2" fmla="*/ 257442 h 257442"/>
                <a:gd name="connsiteX3" fmla="*/ 0 w 1684976"/>
                <a:gd name="connsiteY3" fmla="*/ 0 h 257442"/>
                <a:gd name="connsiteX0" fmla="*/ 1684976 w 1684976"/>
                <a:gd name="connsiteY0" fmla="*/ 0 h 257442"/>
                <a:gd name="connsiteX1" fmla="*/ 1630255 w 1684976"/>
                <a:gd name="connsiteY1" fmla="*/ 257442 h 257442"/>
                <a:gd name="connsiteX2" fmla="*/ 0 w 1684976"/>
                <a:gd name="connsiteY2" fmla="*/ 257442 h 257442"/>
                <a:gd name="connsiteX3" fmla="*/ 0 w 1684976"/>
                <a:gd name="connsiteY3" fmla="*/ 0 h 257442"/>
                <a:gd name="connsiteX0" fmla="*/ 1583987 w 1630255"/>
                <a:gd name="connsiteY0" fmla="*/ 0 h 257442"/>
                <a:gd name="connsiteX1" fmla="*/ 1630255 w 1630255"/>
                <a:gd name="connsiteY1" fmla="*/ 257442 h 257442"/>
                <a:gd name="connsiteX2" fmla="*/ 0 w 1630255"/>
                <a:gd name="connsiteY2" fmla="*/ 257442 h 257442"/>
                <a:gd name="connsiteX3" fmla="*/ 0 w 1630255"/>
                <a:gd name="connsiteY3" fmla="*/ 0 h 257442"/>
                <a:gd name="connsiteX0" fmla="*/ 1583987 w 1583987"/>
                <a:gd name="connsiteY0" fmla="*/ 0 h 257442"/>
                <a:gd name="connsiteX1" fmla="*/ 1529267 w 1583987"/>
                <a:gd name="connsiteY1" fmla="*/ 257442 h 257442"/>
                <a:gd name="connsiteX2" fmla="*/ 0 w 1583987"/>
                <a:gd name="connsiteY2" fmla="*/ 257442 h 257442"/>
                <a:gd name="connsiteX3" fmla="*/ 0 w 1583987"/>
                <a:gd name="connsiteY3" fmla="*/ 0 h 257442"/>
                <a:gd name="connsiteX0" fmla="*/ 1583987 w 1583987"/>
                <a:gd name="connsiteY0" fmla="*/ 0 h 257442"/>
                <a:gd name="connsiteX1" fmla="*/ 1529267 w 1583987"/>
                <a:gd name="connsiteY1" fmla="*/ 257442 h 257442"/>
                <a:gd name="connsiteX2" fmla="*/ 1 w 1583987"/>
                <a:gd name="connsiteY2" fmla="*/ 257442 h 257442"/>
                <a:gd name="connsiteX3" fmla="*/ 0 w 1583987"/>
                <a:gd name="connsiteY3" fmla="*/ 0 h 257442"/>
                <a:gd name="connsiteX0" fmla="*/ 1583986 w 1583986"/>
                <a:gd name="connsiteY0" fmla="*/ 0 h 257442"/>
                <a:gd name="connsiteX1" fmla="*/ 1529266 w 1583986"/>
                <a:gd name="connsiteY1" fmla="*/ 257442 h 257442"/>
                <a:gd name="connsiteX2" fmla="*/ 0 w 1583986"/>
                <a:gd name="connsiteY2" fmla="*/ 257442 h 257442"/>
                <a:gd name="connsiteX3" fmla="*/ 0 w 1583986"/>
                <a:gd name="connsiteY3" fmla="*/ 0 h 257442"/>
                <a:gd name="connsiteX0" fmla="*/ 1423686 w 1529266"/>
                <a:gd name="connsiteY0" fmla="*/ 0 h 257442"/>
                <a:gd name="connsiteX1" fmla="*/ 1529266 w 1529266"/>
                <a:gd name="connsiteY1" fmla="*/ 257442 h 257442"/>
                <a:gd name="connsiteX2" fmla="*/ 0 w 1529266"/>
                <a:gd name="connsiteY2" fmla="*/ 257442 h 257442"/>
                <a:gd name="connsiteX3" fmla="*/ 0 w 1529266"/>
                <a:gd name="connsiteY3" fmla="*/ 0 h 257442"/>
                <a:gd name="connsiteX0" fmla="*/ 1423686 w 1423686"/>
                <a:gd name="connsiteY0" fmla="*/ 0 h 257442"/>
                <a:gd name="connsiteX1" fmla="*/ 1368965 w 1423686"/>
                <a:gd name="connsiteY1" fmla="*/ 257442 h 257442"/>
                <a:gd name="connsiteX2" fmla="*/ 0 w 1423686"/>
                <a:gd name="connsiteY2" fmla="*/ 257442 h 257442"/>
                <a:gd name="connsiteX3" fmla="*/ 0 w 1423686"/>
                <a:gd name="connsiteY3" fmla="*/ 0 h 257442"/>
                <a:gd name="connsiteX0" fmla="*/ 1423687 w 1423687"/>
                <a:gd name="connsiteY0" fmla="*/ 0 h 257442"/>
                <a:gd name="connsiteX1" fmla="*/ 1368966 w 1423687"/>
                <a:gd name="connsiteY1" fmla="*/ 257442 h 257442"/>
                <a:gd name="connsiteX2" fmla="*/ 0 w 1423687"/>
                <a:gd name="connsiteY2" fmla="*/ 257442 h 257442"/>
                <a:gd name="connsiteX3" fmla="*/ 1 w 1423687"/>
                <a:gd name="connsiteY3" fmla="*/ 0 h 257442"/>
                <a:gd name="connsiteX0" fmla="*/ 1423687 w 1423687"/>
                <a:gd name="connsiteY0" fmla="*/ 0 h 257442"/>
                <a:gd name="connsiteX1" fmla="*/ 1368966 w 1423687"/>
                <a:gd name="connsiteY1" fmla="*/ 257442 h 257442"/>
                <a:gd name="connsiteX2" fmla="*/ 0 w 1423687"/>
                <a:gd name="connsiteY2" fmla="*/ 257442 h 257442"/>
                <a:gd name="connsiteX3" fmla="*/ 1 w 1423687"/>
                <a:gd name="connsiteY3" fmla="*/ 0 h 257442"/>
                <a:gd name="connsiteX0" fmla="*/ 1263387 w 1368966"/>
                <a:gd name="connsiteY0" fmla="*/ 0 h 257442"/>
                <a:gd name="connsiteX1" fmla="*/ 1368966 w 1368966"/>
                <a:gd name="connsiteY1" fmla="*/ 257442 h 257442"/>
                <a:gd name="connsiteX2" fmla="*/ 0 w 1368966"/>
                <a:gd name="connsiteY2" fmla="*/ 257442 h 257442"/>
                <a:gd name="connsiteX3" fmla="*/ 1 w 1368966"/>
                <a:gd name="connsiteY3" fmla="*/ 0 h 257442"/>
                <a:gd name="connsiteX0" fmla="*/ 1263387 w 1263387"/>
                <a:gd name="connsiteY0" fmla="*/ 0 h 257442"/>
                <a:gd name="connsiteX1" fmla="*/ 1208666 w 1263387"/>
                <a:gd name="connsiteY1" fmla="*/ 257442 h 257442"/>
                <a:gd name="connsiteX2" fmla="*/ 0 w 1263387"/>
                <a:gd name="connsiteY2" fmla="*/ 257442 h 257442"/>
                <a:gd name="connsiteX3" fmla="*/ 1 w 1263387"/>
                <a:gd name="connsiteY3" fmla="*/ 0 h 257442"/>
                <a:gd name="connsiteX0" fmla="*/ 1263386 w 1263386"/>
                <a:gd name="connsiteY0" fmla="*/ 0 h 257442"/>
                <a:gd name="connsiteX1" fmla="*/ 1208665 w 1263386"/>
                <a:gd name="connsiteY1" fmla="*/ 257442 h 257442"/>
                <a:gd name="connsiteX2" fmla="*/ 1 w 1263386"/>
                <a:gd name="connsiteY2" fmla="*/ 257442 h 257442"/>
                <a:gd name="connsiteX3" fmla="*/ 0 w 1263386"/>
                <a:gd name="connsiteY3" fmla="*/ 0 h 257442"/>
                <a:gd name="connsiteX0" fmla="*/ 1263386 w 1263386"/>
                <a:gd name="connsiteY0" fmla="*/ 0 h 257442"/>
                <a:gd name="connsiteX1" fmla="*/ 1208665 w 1263386"/>
                <a:gd name="connsiteY1" fmla="*/ 257442 h 257442"/>
                <a:gd name="connsiteX2" fmla="*/ 1 w 1263386"/>
                <a:gd name="connsiteY2" fmla="*/ 257442 h 257442"/>
                <a:gd name="connsiteX3" fmla="*/ 0 w 1263386"/>
                <a:gd name="connsiteY3" fmla="*/ 0 h 257442"/>
                <a:gd name="connsiteX0" fmla="*/ 1111101 w 1208665"/>
                <a:gd name="connsiteY0" fmla="*/ 0 h 257442"/>
                <a:gd name="connsiteX1" fmla="*/ 1208665 w 1208665"/>
                <a:gd name="connsiteY1" fmla="*/ 257442 h 257442"/>
                <a:gd name="connsiteX2" fmla="*/ 1 w 1208665"/>
                <a:gd name="connsiteY2" fmla="*/ 257442 h 257442"/>
                <a:gd name="connsiteX3" fmla="*/ 0 w 1208665"/>
                <a:gd name="connsiteY3" fmla="*/ 0 h 257442"/>
                <a:gd name="connsiteX0" fmla="*/ 1111101 w 1111101"/>
                <a:gd name="connsiteY0" fmla="*/ 0 h 257442"/>
                <a:gd name="connsiteX1" fmla="*/ 1056381 w 1111101"/>
                <a:gd name="connsiteY1" fmla="*/ 257442 h 257442"/>
                <a:gd name="connsiteX2" fmla="*/ 1 w 1111101"/>
                <a:gd name="connsiteY2" fmla="*/ 257442 h 257442"/>
                <a:gd name="connsiteX3" fmla="*/ 0 w 1111101"/>
                <a:gd name="connsiteY3" fmla="*/ 0 h 257442"/>
                <a:gd name="connsiteX0" fmla="*/ 1111101 w 1111101"/>
                <a:gd name="connsiteY0" fmla="*/ 0 h 257442"/>
                <a:gd name="connsiteX1" fmla="*/ 1056381 w 1111101"/>
                <a:gd name="connsiteY1" fmla="*/ 257442 h 257442"/>
                <a:gd name="connsiteX2" fmla="*/ 1 w 1111101"/>
                <a:gd name="connsiteY2" fmla="*/ 257442 h 257442"/>
                <a:gd name="connsiteX3" fmla="*/ 0 w 1111101"/>
                <a:gd name="connsiteY3" fmla="*/ 0 h 257442"/>
                <a:gd name="connsiteX0" fmla="*/ 1111100 w 1111100"/>
                <a:gd name="connsiteY0" fmla="*/ 0 h 257442"/>
                <a:gd name="connsiteX1" fmla="*/ 1056380 w 1111100"/>
                <a:gd name="connsiteY1" fmla="*/ 257442 h 257442"/>
                <a:gd name="connsiteX2" fmla="*/ 0 w 1111100"/>
                <a:gd name="connsiteY2" fmla="*/ 257442 h 257442"/>
                <a:gd name="connsiteX3" fmla="*/ 0 w 1111100"/>
                <a:gd name="connsiteY3" fmla="*/ 0 h 257442"/>
                <a:gd name="connsiteX0" fmla="*/ 942785 w 1056380"/>
                <a:gd name="connsiteY0" fmla="*/ 0 h 257442"/>
                <a:gd name="connsiteX1" fmla="*/ 1056380 w 1056380"/>
                <a:gd name="connsiteY1" fmla="*/ 257442 h 257442"/>
                <a:gd name="connsiteX2" fmla="*/ 0 w 1056380"/>
                <a:gd name="connsiteY2" fmla="*/ 257442 h 257442"/>
                <a:gd name="connsiteX3" fmla="*/ 0 w 1056380"/>
                <a:gd name="connsiteY3" fmla="*/ 0 h 257442"/>
                <a:gd name="connsiteX0" fmla="*/ 942785 w 942785"/>
                <a:gd name="connsiteY0" fmla="*/ 0 h 257442"/>
                <a:gd name="connsiteX1" fmla="*/ 888064 w 942785"/>
                <a:gd name="connsiteY1" fmla="*/ 257442 h 257442"/>
                <a:gd name="connsiteX2" fmla="*/ 0 w 942785"/>
                <a:gd name="connsiteY2" fmla="*/ 257442 h 257442"/>
                <a:gd name="connsiteX3" fmla="*/ 0 w 942785"/>
                <a:gd name="connsiteY3" fmla="*/ 0 h 257442"/>
                <a:gd name="connsiteX0" fmla="*/ 942785 w 942785"/>
                <a:gd name="connsiteY0" fmla="*/ 0 h 257442"/>
                <a:gd name="connsiteX1" fmla="*/ 888064 w 942785"/>
                <a:gd name="connsiteY1" fmla="*/ 257442 h 257442"/>
                <a:gd name="connsiteX2" fmla="*/ 0 w 942785"/>
                <a:gd name="connsiteY2" fmla="*/ 257442 h 257442"/>
                <a:gd name="connsiteX3" fmla="*/ 0 w 942785"/>
                <a:gd name="connsiteY3" fmla="*/ 0 h 257442"/>
                <a:gd name="connsiteX0" fmla="*/ 942785 w 942785"/>
                <a:gd name="connsiteY0" fmla="*/ 0 h 257442"/>
                <a:gd name="connsiteX1" fmla="*/ 888064 w 942785"/>
                <a:gd name="connsiteY1" fmla="*/ 257442 h 257442"/>
                <a:gd name="connsiteX2" fmla="*/ 0 w 942785"/>
                <a:gd name="connsiteY2" fmla="*/ 257442 h 257442"/>
                <a:gd name="connsiteX3" fmla="*/ 0 w 942785"/>
                <a:gd name="connsiteY3" fmla="*/ 0 h 257442"/>
                <a:gd name="connsiteX0" fmla="*/ 782550 w 888064"/>
                <a:gd name="connsiteY0" fmla="*/ 0 h 257442"/>
                <a:gd name="connsiteX1" fmla="*/ 888064 w 888064"/>
                <a:gd name="connsiteY1" fmla="*/ 257442 h 257442"/>
                <a:gd name="connsiteX2" fmla="*/ 0 w 888064"/>
                <a:gd name="connsiteY2" fmla="*/ 257442 h 257442"/>
                <a:gd name="connsiteX3" fmla="*/ 0 w 888064"/>
                <a:gd name="connsiteY3" fmla="*/ 0 h 257442"/>
                <a:gd name="connsiteX0" fmla="*/ 782550 w 782550"/>
                <a:gd name="connsiteY0" fmla="*/ 0 h 257442"/>
                <a:gd name="connsiteX1" fmla="*/ 727829 w 782550"/>
                <a:gd name="connsiteY1" fmla="*/ 257442 h 257442"/>
                <a:gd name="connsiteX2" fmla="*/ 0 w 782550"/>
                <a:gd name="connsiteY2" fmla="*/ 257442 h 257442"/>
                <a:gd name="connsiteX3" fmla="*/ 0 w 782550"/>
                <a:gd name="connsiteY3" fmla="*/ 0 h 257442"/>
                <a:gd name="connsiteX0" fmla="*/ 782550 w 782550"/>
                <a:gd name="connsiteY0" fmla="*/ 0 h 257442"/>
                <a:gd name="connsiteX1" fmla="*/ 727829 w 782550"/>
                <a:gd name="connsiteY1" fmla="*/ 257442 h 257442"/>
                <a:gd name="connsiteX2" fmla="*/ 0 w 782550"/>
                <a:gd name="connsiteY2" fmla="*/ 257442 h 257442"/>
                <a:gd name="connsiteX3" fmla="*/ 0 w 782550"/>
                <a:gd name="connsiteY3" fmla="*/ 0 h 257442"/>
                <a:gd name="connsiteX0" fmla="*/ 782550 w 782550"/>
                <a:gd name="connsiteY0" fmla="*/ 0 h 257442"/>
                <a:gd name="connsiteX1" fmla="*/ 727829 w 782550"/>
                <a:gd name="connsiteY1" fmla="*/ 257442 h 257442"/>
                <a:gd name="connsiteX2" fmla="*/ 0 w 782550"/>
                <a:gd name="connsiteY2" fmla="*/ 257442 h 257442"/>
                <a:gd name="connsiteX3" fmla="*/ 0 w 782550"/>
                <a:gd name="connsiteY3" fmla="*/ 0 h 257442"/>
                <a:gd name="connsiteX0" fmla="*/ 986067 w 986067"/>
                <a:gd name="connsiteY0" fmla="*/ 0 h 257442"/>
                <a:gd name="connsiteX1" fmla="*/ 727829 w 986067"/>
                <a:gd name="connsiteY1" fmla="*/ 257442 h 257442"/>
                <a:gd name="connsiteX2" fmla="*/ 0 w 986067"/>
                <a:gd name="connsiteY2" fmla="*/ 257442 h 257442"/>
                <a:gd name="connsiteX3" fmla="*/ 0 w 986067"/>
                <a:gd name="connsiteY3" fmla="*/ 0 h 257442"/>
                <a:gd name="connsiteX0" fmla="*/ 986067 w 986067"/>
                <a:gd name="connsiteY0" fmla="*/ 0 h 257442"/>
                <a:gd name="connsiteX1" fmla="*/ 931346 w 986067"/>
                <a:gd name="connsiteY1" fmla="*/ 257442 h 257442"/>
                <a:gd name="connsiteX2" fmla="*/ 0 w 986067"/>
                <a:gd name="connsiteY2" fmla="*/ 257442 h 257442"/>
                <a:gd name="connsiteX3" fmla="*/ 0 w 986067"/>
                <a:gd name="connsiteY3" fmla="*/ 0 h 257442"/>
                <a:gd name="connsiteX0" fmla="*/ 986067 w 986067"/>
                <a:gd name="connsiteY0" fmla="*/ 0 h 257442"/>
                <a:gd name="connsiteX1" fmla="*/ 931346 w 986067"/>
                <a:gd name="connsiteY1" fmla="*/ 257442 h 257442"/>
                <a:gd name="connsiteX2" fmla="*/ 0 w 986067"/>
                <a:gd name="connsiteY2" fmla="*/ 257442 h 257442"/>
                <a:gd name="connsiteX3" fmla="*/ 0 w 986067"/>
                <a:gd name="connsiteY3" fmla="*/ 0 h 257442"/>
                <a:gd name="connsiteX0" fmla="*/ 986067 w 986067"/>
                <a:gd name="connsiteY0" fmla="*/ 0 h 257442"/>
                <a:gd name="connsiteX1" fmla="*/ 931346 w 986067"/>
                <a:gd name="connsiteY1" fmla="*/ 257442 h 257442"/>
                <a:gd name="connsiteX2" fmla="*/ 0 w 986067"/>
                <a:gd name="connsiteY2" fmla="*/ 257442 h 257442"/>
                <a:gd name="connsiteX3" fmla="*/ 0 w 986067"/>
                <a:gd name="connsiteY3" fmla="*/ 0 h 257442"/>
                <a:gd name="connsiteX0" fmla="*/ 1164000 w 1164000"/>
                <a:gd name="connsiteY0" fmla="*/ 0 h 257442"/>
                <a:gd name="connsiteX1" fmla="*/ 931346 w 1164000"/>
                <a:gd name="connsiteY1" fmla="*/ 257442 h 257442"/>
                <a:gd name="connsiteX2" fmla="*/ 0 w 1164000"/>
                <a:gd name="connsiteY2" fmla="*/ 257442 h 257442"/>
                <a:gd name="connsiteX3" fmla="*/ 0 w 1164000"/>
                <a:gd name="connsiteY3" fmla="*/ 0 h 257442"/>
                <a:gd name="connsiteX0" fmla="*/ 1164000 w 1164000"/>
                <a:gd name="connsiteY0" fmla="*/ 0 h 257442"/>
                <a:gd name="connsiteX1" fmla="*/ 1109278 w 1164000"/>
                <a:gd name="connsiteY1" fmla="*/ 257442 h 257442"/>
                <a:gd name="connsiteX2" fmla="*/ 0 w 1164000"/>
                <a:gd name="connsiteY2" fmla="*/ 257442 h 257442"/>
                <a:gd name="connsiteX3" fmla="*/ 0 w 1164000"/>
                <a:gd name="connsiteY3" fmla="*/ 0 h 257442"/>
                <a:gd name="connsiteX0" fmla="*/ 1164001 w 1164001"/>
                <a:gd name="connsiteY0" fmla="*/ 0 h 257442"/>
                <a:gd name="connsiteX1" fmla="*/ 1109279 w 1164001"/>
                <a:gd name="connsiteY1" fmla="*/ 257442 h 257442"/>
                <a:gd name="connsiteX2" fmla="*/ 0 w 1164001"/>
                <a:gd name="connsiteY2" fmla="*/ 257442 h 257442"/>
                <a:gd name="connsiteX3" fmla="*/ 1 w 1164001"/>
                <a:gd name="connsiteY3" fmla="*/ 0 h 257442"/>
                <a:gd name="connsiteX0" fmla="*/ 1164001 w 1164001"/>
                <a:gd name="connsiteY0" fmla="*/ 0 h 257442"/>
                <a:gd name="connsiteX1" fmla="*/ 1109279 w 1164001"/>
                <a:gd name="connsiteY1" fmla="*/ 257442 h 257442"/>
                <a:gd name="connsiteX2" fmla="*/ 0 w 1164001"/>
                <a:gd name="connsiteY2" fmla="*/ 257442 h 257442"/>
                <a:gd name="connsiteX3" fmla="*/ 1 w 1164001"/>
                <a:gd name="connsiteY3" fmla="*/ 0 h 257442"/>
                <a:gd name="connsiteX0" fmla="*/ 1332317 w 1332317"/>
                <a:gd name="connsiteY0" fmla="*/ 0 h 257442"/>
                <a:gd name="connsiteX1" fmla="*/ 1109279 w 1332317"/>
                <a:gd name="connsiteY1" fmla="*/ 257442 h 257442"/>
                <a:gd name="connsiteX2" fmla="*/ 0 w 1332317"/>
                <a:gd name="connsiteY2" fmla="*/ 257442 h 257442"/>
                <a:gd name="connsiteX3" fmla="*/ 1 w 1332317"/>
                <a:gd name="connsiteY3" fmla="*/ 0 h 257442"/>
                <a:gd name="connsiteX0" fmla="*/ 1332317 w 1332317"/>
                <a:gd name="connsiteY0" fmla="*/ 0 h 257442"/>
                <a:gd name="connsiteX1" fmla="*/ 1277596 w 1332317"/>
                <a:gd name="connsiteY1" fmla="*/ 257442 h 257442"/>
                <a:gd name="connsiteX2" fmla="*/ 0 w 1332317"/>
                <a:gd name="connsiteY2" fmla="*/ 257442 h 257442"/>
                <a:gd name="connsiteX3" fmla="*/ 1 w 1332317"/>
                <a:gd name="connsiteY3" fmla="*/ 0 h 257442"/>
                <a:gd name="connsiteX0" fmla="*/ 1332316 w 1332316"/>
                <a:gd name="connsiteY0" fmla="*/ 0 h 257442"/>
                <a:gd name="connsiteX1" fmla="*/ 1277595 w 1332316"/>
                <a:gd name="connsiteY1" fmla="*/ 257442 h 257442"/>
                <a:gd name="connsiteX2" fmla="*/ 0 w 1332316"/>
                <a:gd name="connsiteY2" fmla="*/ 257442 h 257442"/>
                <a:gd name="connsiteX3" fmla="*/ 0 w 1332316"/>
                <a:gd name="connsiteY3" fmla="*/ 0 h 257442"/>
                <a:gd name="connsiteX0" fmla="*/ 1332317 w 1332317"/>
                <a:gd name="connsiteY0" fmla="*/ 0 h 257442"/>
                <a:gd name="connsiteX1" fmla="*/ 1277596 w 1332317"/>
                <a:gd name="connsiteY1" fmla="*/ 257442 h 257442"/>
                <a:gd name="connsiteX2" fmla="*/ 1 w 1332317"/>
                <a:gd name="connsiteY2" fmla="*/ 257442 h 257442"/>
                <a:gd name="connsiteX3" fmla="*/ 0 w 1332317"/>
                <a:gd name="connsiteY3" fmla="*/ 0 h 257442"/>
                <a:gd name="connsiteX0" fmla="*/ 1500632 w 1500632"/>
                <a:gd name="connsiteY0" fmla="*/ 0 h 257442"/>
                <a:gd name="connsiteX1" fmla="*/ 1277596 w 1500632"/>
                <a:gd name="connsiteY1" fmla="*/ 257442 h 257442"/>
                <a:gd name="connsiteX2" fmla="*/ 1 w 1500632"/>
                <a:gd name="connsiteY2" fmla="*/ 257442 h 257442"/>
                <a:gd name="connsiteX3" fmla="*/ 0 w 1500632"/>
                <a:gd name="connsiteY3" fmla="*/ 0 h 257442"/>
                <a:gd name="connsiteX0" fmla="*/ 1500632 w 1500632"/>
                <a:gd name="connsiteY0" fmla="*/ 0 h 257442"/>
                <a:gd name="connsiteX1" fmla="*/ 1445910 w 1500632"/>
                <a:gd name="connsiteY1" fmla="*/ 257442 h 257442"/>
                <a:gd name="connsiteX2" fmla="*/ 1 w 1500632"/>
                <a:gd name="connsiteY2" fmla="*/ 257442 h 257442"/>
                <a:gd name="connsiteX3" fmla="*/ 0 w 1500632"/>
                <a:gd name="connsiteY3" fmla="*/ 0 h 257442"/>
                <a:gd name="connsiteX0" fmla="*/ 1500632 w 1500632"/>
                <a:gd name="connsiteY0" fmla="*/ 0 h 257442"/>
                <a:gd name="connsiteX1" fmla="*/ 1445910 w 1500632"/>
                <a:gd name="connsiteY1" fmla="*/ 257442 h 257442"/>
                <a:gd name="connsiteX2" fmla="*/ 0 w 1500632"/>
                <a:gd name="connsiteY2" fmla="*/ 257442 h 257442"/>
                <a:gd name="connsiteX3" fmla="*/ 0 w 1500632"/>
                <a:gd name="connsiteY3" fmla="*/ 0 h 257442"/>
                <a:gd name="connsiteX0" fmla="*/ 1500632 w 1500632"/>
                <a:gd name="connsiteY0" fmla="*/ 0 h 257442"/>
                <a:gd name="connsiteX1" fmla="*/ 1445910 w 1500632"/>
                <a:gd name="connsiteY1" fmla="*/ 257442 h 257442"/>
                <a:gd name="connsiteX2" fmla="*/ 0 w 1500632"/>
                <a:gd name="connsiteY2" fmla="*/ 257442 h 257442"/>
                <a:gd name="connsiteX3" fmla="*/ 0 w 1500632"/>
                <a:gd name="connsiteY3" fmla="*/ 0 h 257442"/>
                <a:gd name="connsiteX0" fmla="*/ 1652916 w 1652916"/>
                <a:gd name="connsiteY0" fmla="*/ 0 h 257442"/>
                <a:gd name="connsiteX1" fmla="*/ 1445910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652916 w 1652916"/>
                <a:gd name="connsiteY0" fmla="*/ 0 h 257442"/>
                <a:gd name="connsiteX1" fmla="*/ 1598195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652916 w 1652916"/>
                <a:gd name="connsiteY0" fmla="*/ 0 h 257442"/>
                <a:gd name="connsiteX1" fmla="*/ 1598195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652916 w 1652916"/>
                <a:gd name="connsiteY0" fmla="*/ 0 h 257442"/>
                <a:gd name="connsiteX1" fmla="*/ 1598195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830849 w 1830849"/>
                <a:gd name="connsiteY0" fmla="*/ 0 h 257442"/>
                <a:gd name="connsiteX1" fmla="*/ 1598195 w 1830849"/>
                <a:gd name="connsiteY1" fmla="*/ 257442 h 257442"/>
                <a:gd name="connsiteX2" fmla="*/ 0 w 1830849"/>
                <a:gd name="connsiteY2" fmla="*/ 257442 h 257442"/>
                <a:gd name="connsiteX3" fmla="*/ 0 w 1830849"/>
                <a:gd name="connsiteY3" fmla="*/ 0 h 257442"/>
                <a:gd name="connsiteX0" fmla="*/ 1830849 w 1830849"/>
                <a:gd name="connsiteY0" fmla="*/ 0 h 257442"/>
                <a:gd name="connsiteX1" fmla="*/ 1776128 w 1830849"/>
                <a:gd name="connsiteY1" fmla="*/ 257442 h 257442"/>
                <a:gd name="connsiteX2" fmla="*/ 0 w 1830849"/>
                <a:gd name="connsiteY2" fmla="*/ 257442 h 257442"/>
                <a:gd name="connsiteX3" fmla="*/ 0 w 1830849"/>
                <a:gd name="connsiteY3" fmla="*/ 0 h 257442"/>
                <a:gd name="connsiteX0" fmla="*/ 1830849 w 1830849"/>
                <a:gd name="connsiteY0" fmla="*/ 0 h 257442"/>
                <a:gd name="connsiteX1" fmla="*/ 1776128 w 1830849"/>
                <a:gd name="connsiteY1" fmla="*/ 257442 h 257442"/>
                <a:gd name="connsiteX2" fmla="*/ 0 w 1830849"/>
                <a:gd name="connsiteY2" fmla="*/ 257442 h 257442"/>
                <a:gd name="connsiteX3" fmla="*/ 0 w 1830849"/>
                <a:gd name="connsiteY3" fmla="*/ 0 h 257442"/>
                <a:gd name="connsiteX0" fmla="*/ 1830849 w 1830849"/>
                <a:gd name="connsiteY0" fmla="*/ 0 h 257442"/>
                <a:gd name="connsiteX1" fmla="*/ 1776128 w 1830849"/>
                <a:gd name="connsiteY1" fmla="*/ 257442 h 257442"/>
                <a:gd name="connsiteX2" fmla="*/ 0 w 1830849"/>
                <a:gd name="connsiteY2" fmla="*/ 257442 h 257442"/>
                <a:gd name="connsiteX3" fmla="*/ 0 w 1830849"/>
                <a:gd name="connsiteY3" fmla="*/ 0 h 257442"/>
                <a:gd name="connsiteX0" fmla="*/ 1999165 w 1999165"/>
                <a:gd name="connsiteY0" fmla="*/ 0 h 257442"/>
                <a:gd name="connsiteX1" fmla="*/ 1776128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2167480 w 2167480"/>
                <a:gd name="connsiteY0" fmla="*/ 0 h 257442"/>
                <a:gd name="connsiteX1" fmla="*/ 1944444 w 2167480"/>
                <a:gd name="connsiteY1" fmla="*/ 257442 h 257442"/>
                <a:gd name="connsiteX2" fmla="*/ 0 w 2167480"/>
                <a:gd name="connsiteY2" fmla="*/ 257442 h 257442"/>
                <a:gd name="connsiteX3" fmla="*/ 0 w 2167480"/>
                <a:gd name="connsiteY3" fmla="*/ 0 h 257442"/>
                <a:gd name="connsiteX0" fmla="*/ 2167480 w 2167480"/>
                <a:gd name="connsiteY0" fmla="*/ 0 h 257442"/>
                <a:gd name="connsiteX1" fmla="*/ 2112758 w 2167480"/>
                <a:gd name="connsiteY1" fmla="*/ 257442 h 257442"/>
                <a:gd name="connsiteX2" fmla="*/ 0 w 2167480"/>
                <a:gd name="connsiteY2" fmla="*/ 257442 h 257442"/>
                <a:gd name="connsiteX3" fmla="*/ 0 w 2167480"/>
                <a:gd name="connsiteY3" fmla="*/ 0 h 257442"/>
                <a:gd name="connsiteX0" fmla="*/ 2167481 w 2167481"/>
                <a:gd name="connsiteY0" fmla="*/ 0 h 257442"/>
                <a:gd name="connsiteX1" fmla="*/ 2112759 w 2167481"/>
                <a:gd name="connsiteY1" fmla="*/ 257442 h 257442"/>
                <a:gd name="connsiteX2" fmla="*/ 0 w 2167481"/>
                <a:gd name="connsiteY2" fmla="*/ 257442 h 257442"/>
                <a:gd name="connsiteX3" fmla="*/ 1 w 2167481"/>
                <a:gd name="connsiteY3" fmla="*/ 0 h 257442"/>
                <a:gd name="connsiteX0" fmla="*/ 2167481 w 2167481"/>
                <a:gd name="connsiteY0" fmla="*/ 0 h 257442"/>
                <a:gd name="connsiteX1" fmla="*/ 2112759 w 2167481"/>
                <a:gd name="connsiteY1" fmla="*/ 257442 h 257442"/>
                <a:gd name="connsiteX2" fmla="*/ 0 w 2167481"/>
                <a:gd name="connsiteY2" fmla="*/ 257442 h 257442"/>
                <a:gd name="connsiteX3" fmla="*/ 1 w 2167481"/>
                <a:gd name="connsiteY3" fmla="*/ 0 h 257442"/>
                <a:gd name="connsiteX0" fmla="*/ 2327781 w 2327781"/>
                <a:gd name="connsiteY0" fmla="*/ 0 h 257442"/>
                <a:gd name="connsiteX1" fmla="*/ 2112759 w 2327781"/>
                <a:gd name="connsiteY1" fmla="*/ 257442 h 257442"/>
                <a:gd name="connsiteX2" fmla="*/ 0 w 2327781"/>
                <a:gd name="connsiteY2" fmla="*/ 257442 h 257442"/>
                <a:gd name="connsiteX3" fmla="*/ 1 w 2327781"/>
                <a:gd name="connsiteY3" fmla="*/ 0 h 257442"/>
                <a:gd name="connsiteX0" fmla="*/ 2327781 w 2327781"/>
                <a:gd name="connsiteY0" fmla="*/ 0 h 257442"/>
                <a:gd name="connsiteX1" fmla="*/ 2273060 w 2327781"/>
                <a:gd name="connsiteY1" fmla="*/ 257442 h 257442"/>
                <a:gd name="connsiteX2" fmla="*/ 0 w 2327781"/>
                <a:gd name="connsiteY2" fmla="*/ 257442 h 257442"/>
                <a:gd name="connsiteX3" fmla="*/ 1 w 2327781"/>
                <a:gd name="connsiteY3" fmla="*/ 0 h 257442"/>
                <a:gd name="connsiteX0" fmla="*/ 2327780 w 2327780"/>
                <a:gd name="connsiteY0" fmla="*/ 0 h 257442"/>
                <a:gd name="connsiteX1" fmla="*/ 2273059 w 2327780"/>
                <a:gd name="connsiteY1" fmla="*/ 257442 h 257442"/>
                <a:gd name="connsiteX2" fmla="*/ 0 w 2327780"/>
                <a:gd name="connsiteY2" fmla="*/ 257442 h 257442"/>
                <a:gd name="connsiteX3" fmla="*/ 0 w 2327780"/>
                <a:gd name="connsiteY3" fmla="*/ 0 h 257442"/>
                <a:gd name="connsiteX0" fmla="*/ 2327781 w 2327781"/>
                <a:gd name="connsiteY0" fmla="*/ 0 h 257442"/>
                <a:gd name="connsiteX1" fmla="*/ 2273060 w 2327781"/>
                <a:gd name="connsiteY1" fmla="*/ 257442 h 257442"/>
                <a:gd name="connsiteX2" fmla="*/ 1 w 2327781"/>
                <a:gd name="connsiteY2" fmla="*/ 257442 h 257442"/>
                <a:gd name="connsiteX3" fmla="*/ 0 w 2327781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27781" h="257442">
                  <a:moveTo>
                    <a:pt x="2327781" y="0"/>
                  </a:moveTo>
                  <a:lnTo>
                    <a:pt x="2273060" y="257442"/>
                  </a:lnTo>
                  <a:lnTo>
                    <a:pt x="1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43" name="btfpRunningAgenda2LevelTextLeft167877">
              <a:extLst>
                <a:ext uri="{FF2B5EF4-FFF2-40B4-BE49-F238E27FC236}">
                  <a16:creationId xmlns:a16="http://schemas.microsoft.com/office/drawing/2014/main" id="{816E836D-62FE-AAB8-64BE-558384887F4C}"/>
                </a:ext>
              </a:extLst>
            </p:cNvPr>
            <p:cNvSpPr txBox="1"/>
            <p:nvPr/>
          </p:nvSpPr>
          <p:spPr bwMode="gray">
            <a:xfrm>
              <a:off x="0" y="876300"/>
              <a:ext cx="2273059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IN" sz="1200" b="1" cap="all" spc="450">
                  <a:solidFill>
                    <a:srgbClr val="FFFFFF"/>
                  </a:solidFill>
                </a:rPr>
                <a:t>W</a:t>
              </a:r>
              <a:r>
                <a:rPr lang="en-US" sz="1200" b="1" cap="all" spc="450">
                  <a:solidFill>
                    <a:srgbClr val="FFFFFF"/>
                  </a:solidFill>
                </a:rPr>
                <a:t>ORKFORCE</a:t>
              </a:r>
            </a:p>
          </p:txBody>
        </p:sp>
        <p:sp>
          <p:nvSpPr>
            <p:cNvPr id="44" name="btfpRunningAgenda2LevelBarRight167877">
              <a:extLst>
                <a:ext uri="{FF2B5EF4-FFF2-40B4-BE49-F238E27FC236}">
                  <a16:creationId xmlns:a16="http://schemas.microsoft.com/office/drawing/2014/main" id="{EB0AFF73-0A08-EE49-5633-A0951C5CC933}"/>
                </a:ext>
              </a:extLst>
            </p:cNvPr>
            <p:cNvSpPr/>
            <p:nvPr/>
          </p:nvSpPr>
          <p:spPr bwMode="gray">
            <a:xfrm>
              <a:off x="2192938" y="876300"/>
              <a:ext cx="1830849" cy="257442"/>
            </a:xfrm>
            <a:custGeom>
              <a:avLst/>
              <a:gdLst>
                <a:gd name="connsiteX0" fmla="*/ 960419 w 2367856"/>
                <a:gd name="connsiteY0" fmla="*/ 0 h 257442"/>
                <a:gd name="connsiteX1" fmla="*/ 2367856 w 2367856"/>
                <a:gd name="connsiteY1" fmla="*/ 0 h 257442"/>
                <a:gd name="connsiteX2" fmla="*/ 2313135 w 2367856"/>
                <a:gd name="connsiteY2" fmla="*/ 257442 h 257442"/>
                <a:gd name="connsiteX3" fmla="*/ 0 w 2367856"/>
                <a:gd name="connsiteY3" fmla="*/ 257442 h 257442"/>
                <a:gd name="connsiteX0" fmla="*/ 960419 w 2313135"/>
                <a:gd name="connsiteY0" fmla="*/ 0 h 257442"/>
                <a:gd name="connsiteX1" fmla="*/ 905698 w 2313135"/>
                <a:gd name="connsiteY1" fmla="*/ 257442 h 257442"/>
                <a:gd name="connsiteX2" fmla="*/ 2313135 w 2313135"/>
                <a:gd name="connsiteY2" fmla="*/ 257442 h 257442"/>
                <a:gd name="connsiteX3" fmla="*/ 0 w 2313135"/>
                <a:gd name="connsiteY3" fmla="*/ 257442 h 257442"/>
                <a:gd name="connsiteX0" fmla="*/ 960419 w 960419"/>
                <a:gd name="connsiteY0" fmla="*/ 0 h 257442"/>
                <a:gd name="connsiteX1" fmla="*/ 905698 w 960419"/>
                <a:gd name="connsiteY1" fmla="*/ 257442 h 257442"/>
                <a:gd name="connsiteX2" fmla="*/ 1 w 960419"/>
                <a:gd name="connsiteY2" fmla="*/ 257442 h 257442"/>
                <a:gd name="connsiteX3" fmla="*/ 0 w 960419"/>
                <a:gd name="connsiteY3" fmla="*/ 257442 h 257442"/>
                <a:gd name="connsiteX0" fmla="*/ 960418 w 960418"/>
                <a:gd name="connsiteY0" fmla="*/ 0 h 257442"/>
                <a:gd name="connsiteX1" fmla="*/ 905697 w 960418"/>
                <a:gd name="connsiteY1" fmla="*/ 257442 h 257442"/>
                <a:gd name="connsiteX2" fmla="*/ 0 w 960418"/>
                <a:gd name="connsiteY2" fmla="*/ 257442 h 257442"/>
                <a:gd name="connsiteX3" fmla="*/ 54721 w 960418"/>
                <a:gd name="connsiteY3" fmla="*/ 0 h 257442"/>
                <a:gd name="connsiteX0" fmla="*/ 1128733 w 1128733"/>
                <a:gd name="connsiteY0" fmla="*/ 0 h 257442"/>
                <a:gd name="connsiteX1" fmla="*/ 905697 w 1128733"/>
                <a:gd name="connsiteY1" fmla="*/ 257442 h 257442"/>
                <a:gd name="connsiteX2" fmla="*/ 0 w 1128733"/>
                <a:gd name="connsiteY2" fmla="*/ 257442 h 257442"/>
                <a:gd name="connsiteX3" fmla="*/ 54721 w 1128733"/>
                <a:gd name="connsiteY3" fmla="*/ 0 h 257442"/>
                <a:gd name="connsiteX0" fmla="*/ 1128733 w 1128733"/>
                <a:gd name="connsiteY0" fmla="*/ 0 h 257442"/>
                <a:gd name="connsiteX1" fmla="*/ 1074012 w 1128733"/>
                <a:gd name="connsiteY1" fmla="*/ 257442 h 257442"/>
                <a:gd name="connsiteX2" fmla="*/ 0 w 1128733"/>
                <a:gd name="connsiteY2" fmla="*/ 257442 h 257442"/>
                <a:gd name="connsiteX3" fmla="*/ 54721 w 1128733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54722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54721 w 1128734"/>
                <a:gd name="connsiteY3" fmla="*/ 0 h 257442"/>
                <a:gd name="connsiteX0" fmla="*/ 1306668 w 1306668"/>
                <a:gd name="connsiteY0" fmla="*/ 0 h 257442"/>
                <a:gd name="connsiteX1" fmla="*/ 1074013 w 1306668"/>
                <a:gd name="connsiteY1" fmla="*/ 257442 h 257442"/>
                <a:gd name="connsiteX2" fmla="*/ 0 w 1306668"/>
                <a:gd name="connsiteY2" fmla="*/ 257442 h 257442"/>
                <a:gd name="connsiteX3" fmla="*/ 54721 w 1306668"/>
                <a:gd name="connsiteY3" fmla="*/ 0 h 257442"/>
                <a:gd name="connsiteX0" fmla="*/ 1306668 w 1306668"/>
                <a:gd name="connsiteY0" fmla="*/ 0 h 257442"/>
                <a:gd name="connsiteX1" fmla="*/ 1251947 w 1306668"/>
                <a:gd name="connsiteY1" fmla="*/ 257442 h 257442"/>
                <a:gd name="connsiteX2" fmla="*/ 0 w 1306668"/>
                <a:gd name="connsiteY2" fmla="*/ 257442 h 257442"/>
                <a:gd name="connsiteX3" fmla="*/ 54721 w 1306668"/>
                <a:gd name="connsiteY3" fmla="*/ 0 h 257442"/>
                <a:gd name="connsiteX0" fmla="*/ 1306668 w 1306668"/>
                <a:gd name="connsiteY0" fmla="*/ 0 h 257442"/>
                <a:gd name="connsiteX1" fmla="*/ 1251947 w 1306668"/>
                <a:gd name="connsiteY1" fmla="*/ 257442 h 257442"/>
                <a:gd name="connsiteX2" fmla="*/ 0 w 1306668"/>
                <a:gd name="connsiteY2" fmla="*/ 257442 h 257442"/>
                <a:gd name="connsiteX3" fmla="*/ 54721 w 1306668"/>
                <a:gd name="connsiteY3" fmla="*/ 0 h 257442"/>
                <a:gd name="connsiteX0" fmla="*/ 1306668 w 1306668"/>
                <a:gd name="connsiteY0" fmla="*/ 0 h 257442"/>
                <a:gd name="connsiteX1" fmla="*/ 1251947 w 1306668"/>
                <a:gd name="connsiteY1" fmla="*/ 257442 h 257442"/>
                <a:gd name="connsiteX2" fmla="*/ 0 w 1306668"/>
                <a:gd name="connsiteY2" fmla="*/ 257442 h 257442"/>
                <a:gd name="connsiteX3" fmla="*/ 54721 w 1306668"/>
                <a:gd name="connsiteY3" fmla="*/ 0 h 257442"/>
                <a:gd name="connsiteX0" fmla="*/ 1510249 w 1510249"/>
                <a:gd name="connsiteY0" fmla="*/ 0 h 257442"/>
                <a:gd name="connsiteX1" fmla="*/ 1251947 w 1510249"/>
                <a:gd name="connsiteY1" fmla="*/ 257442 h 257442"/>
                <a:gd name="connsiteX2" fmla="*/ 0 w 1510249"/>
                <a:gd name="connsiteY2" fmla="*/ 257442 h 257442"/>
                <a:gd name="connsiteX3" fmla="*/ 54721 w 1510249"/>
                <a:gd name="connsiteY3" fmla="*/ 0 h 257442"/>
                <a:gd name="connsiteX0" fmla="*/ 1510249 w 1510249"/>
                <a:gd name="connsiteY0" fmla="*/ 0 h 257442"/>
                <a:gd name="connsiteX1" fmla="*/ 1455528 w 1510249"/>
                <a:gd name="connsiteY1" fmla="*/ 257442 h 257442"/>
                <a:gd name="connsiteX2" fmla="*/ 0 w 1510249"/>
                <a:gd name="connsiteY2" fmla="*/ 257442 h 257442"/>
                <a:gd name="connsiteX3" fmla="*/ 54721 w 1510249"/>
                <a:gd name="connsiteY3" fmla="*/ 0 h 257442"/>
                <a:gd name="connsiteX0" fmla="*/ 1510249 w 1510249"/>
                <a:gd name="connsiteY0" fmla="*/ 0 h 257442"/>
                <a:gd name="connsiteX1" fmla="*/ 1455528 w 1510249"/>
                <a:gd name="connsiteY1" fmla="*/ 257442 h 257442"/>
                <a:gd name="connsiteX2" fmla="*/ 0 w 1510249"/>
                <a:gd name="connsiteY2" fmla="*/ 257442 h 257442"/>
                <a:gd name="connsiteX3" fmla="*/ 54721 w 1510249"/>
                <a:gd name="connsiteY3" fmla="*/ 0 h 257442"/>
                <a:gd name="connsiteX0" fmla="*/ 1510249 w 1510249"/>
                <a:gd name="connsiteY0" fmla="*/ 0 h 257442"/>
                <a:gd name="connsiteX1" fmla="*/ 1455528 w 1510249"/>
                <a:gd name="connsiteY1" fmla="*/ 257442 h 257442"/>
                <a:gd name="connsiteX2" fmla="*/ 0 w 1510249"/>
                <a:gd name="connsiteY2" fmla="*/ 257442 h 257442"/>
                <a:gd name="connsiteX3" fmla="*/ 54721 w 1510249"/>
                <a:gd name="connsiteY3" fmla="*/ 0 h 257442"/>
                <a:gd name="connsiteX0" fmla="*/ 1830849 w 1830849"/>
                <a:gd name="connsiteY0" fmla="*/ 0 h 257442"/>
                <a:gd name="connsiteX1" fmla="*/ 1455528 w 1830849"/>
                <a:gd name="connsiteY1" fmla="*/ 257442 h 257442"/>
                <a:gd name="connsiteX2" fmla="*/ 0 w 1830849"/>
                <a:gd name="connsiteY2" fmla="*/ 257442 h 257442"/>
                <a:gd name="connsiteX3" fmla="*/ 54721 w 1830849"/>
                <a:gd name="connsiteY3" fmla="*/ 0 h 257442"/>
                <a:gd name="connsiteX0" fmla="*/ 1830849 w 1830849"/>
                <a:gd name="connsiteY0" fmla="*/ 0 h 257442"/>
                <a:gd name="connsiteX1" fmla="*/ 1776128 w 1830849"/>
                <a:gd name="connsiteY1" fmla="*/ 257442 h 257442"/>
                <a:gd name="connsiteX2" fmla="*/ 0 w 1830849"/>
                <a:gd name="connsiteY2" fmla="*/ 257442 h 257442"/>
                <a:gd name="connsiteX3" fmla="*/ 54721 w 1830849"/>
                <a:gd name="connsiteY3" fmla="*/ 0 h 257442"/>
                <a:gd name="connsiteX0" fmla="*/ 1830849 w 1830849"/>
                <a:gd name="connsiteY0" fmla="*/ 0 h 257442"/>
                <a:gd name="connsiteX1" fmla="*/ 1776128 w 1830849"/>
                <a:gd name="connsiteY1" fmla="*/ 257442 h 257442"/>
                <a:gd name="connsiteX2" fmla="*/ 0 w 1830849"/>
                <a:gd name="connsiteY2" fmla="*/ 257442 h 257442"/>
                <a:gd name="connsiteX3" fmla="*/ 54721 w 1830849"/>
                <a:gd name="connsiteY3" fmla="*/ 0 h 257442"/>
                <a:gd name="connsiteX0" fmla="*/ 1830849 w 1830849"/>
                <a:gd name="connsiteY0" fmla="*/ 0 h 257442"/>
                <a:gd name="connsiteX1" fmla="*/ 1776128 w 1830849"/>
                <a:gd name="connsiteY1" fmla="*/ 257442 h 257442"/>
                <a:gd name="connsiteX2" fmla="*/ 0 w 1830849"/>
                <a:gd name="connsiteY2" fmla="*/ 257442 h 257442"/>
                <a:gd name="connsiteX3" fmla="*/ 54721 w 1830849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30849" h="257442">
                  <a:moveTo>
                    <a:pt x="1830849" y="0"/>
                  </a:moveTo>
                  <a:lnTo>
                    <a:pt x="1776128" y="257442"/>
                  </a:lnTo>
                  <a:lnTo>
                    <a:pt x="0" y="257442"/>
                  </a:lnTo>
                  <a:lnTo>
                    <a:pt x="54721" y="0"/>
                  </a:lnTo>
                  <a:close/>
                </a:path>
              </a:pathLst>
            </a:custGeom>
            <a:solidFill>
              <a:srgbClr val="B4B4B4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45" name="btfpRunningAgenda2LevelTextRight167877">
              <a:extLst>
                <a:ext uri="{FF2B5EF4-FFF2-40B4-BE49-F238E27FC236}">
                  <a16:creationId xmlns:a16="http://schemas.microsoft.com/office/drawing/2014/main" id="{93CA0D29-76BD-B501-335E-5E31D42CB928}"/>
                </a:ext>
              </a:extLst>
            </p:cNvPr>
            <p:cNvSpPr txBox="1"/>
            <p:nvPr/>
          </p:nvSpPr>
          <p:spPr bwMode="gray">
            <a:xfrm>
              <a:off x="2192938" y="876300"/>
              <a:ext cx="1776128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growth</a:t>
              </a:r>
            </a:p>
          </p:txBody>
        </p:sp>
      </p:grpSp>
      <p:sp>
        <p:nvSpPr>
          <p:cNvPr id="61" name="Rectangle 60">
            <a:extLst>
              <a:ext uri="{FF2B5EF4-FFF2-40B4-BE49-F238E27FC236}">
                <a16:creationId xmlns:a16="http://schemas.microsoft.com/office/drawing/2014/main" id="{F11DF3AF-78E4-46A8-D408-4CFB206BE1EB}"/>
              </a:ext>
            </a:extLst>
          </p:cNvPr>
          <p:cNvSpPr/>
          <p:nvPr/>
        </p:nvSpPr>
        <p:spPr bwMode="gray">
          <a:xfrm>
            <a:off x="792732" y="2089140"/>
            <a:ext cx="882319" cy="3218884"/>
          </a:xfrm>
          <a:prstGeom prst="rect">
            <a:avLst/>
          </a:prstGeom>
          <a:noFill/>
          <a:ln w="1905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chemeClr val="tx1"/>
              </a:solidFill>
            </a:endParaRPr>
          </a:p>
        </p:txBody>
      </p:sp>
      <p:grpSp>
        <p:nvGrpSpPr>
          <p:cNvPr id="51" name="btfpStatusSticker834244">
            <a:extLst>
              <a:ext uri="{FF2B5EF4-FFF2-40B4-BE49-F238E27FC236}">
                <a16:creationId xmlns:a16="http://schemas.microsoft.com/office/drawing/2014/main" id="{FA121C0B-5685-CBB5-71AE-E344E3A9EBB1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8763152" y="955344"/>
            <a:ext cx="1212512" cy="235611"/>
            <a:chOff x="-1713611" y="876300"/>
            <a:chExt cx="1212512" cy="235611"/>
          </a:xfrm>
        </p:grpSpPr>
        <p:sp>
          <p:nvSpPr>
            <p:cNvPr id="49" name="btfpStatusStickerText834244">
              <a:extLst>
                <a:ext uri="{FF2B5EF4-FFF2-40B4-BE49-F238E27FC236}">
                  <a16:creationId xmlns:a16="http://schemas.microsoft.com/office/drawing/2014/main" id="{EC0C656C-B576-8D6E-D342-D98ABB37550C}"/>
                </a:ext>
              </a:extLst>
            </p:cNvPr>
            <p:cNvSpPr txBox="1"/>
            <p:nvPr/>
          </p:nvSpPr>
          <p:spPr bwMode="gray">
            <a:xfrm>
              <a:off x="-1713611" y="876300"/>
              <a:ext cx="1212512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000000"/>
                  </a:solidFill>
                </a:rPr>
                <a:t>Overall</a:t>
              </a:r>
            </a:p>
          </p:txBody>
        </p:sp>
        <p:cxnSp>
          <p:nvCxnSpPr>
            <p:cNvPr id="50" name="btfpStatusStickerLine834244">
              <a:extLst>
                <a:ext uri="{FF2B5EF4-FFF2-40B4-BE49-F238E27FC236}">
                  <a16:creationId xmlns:a16="http://schemas.microsoft.com/office/drawing/2014/main" id="{D0C39EC8-AE12-B9A3-0120-48226B3B7CE9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1713611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C2CF896F-A8E2-ADFE-E53D-BF4E937B5158}"/>
              </a:ext>
            </a:extLst>
          </p:cNvPr>
          <p:cNvSpPr/>
          <p:nvPr/>
        </p:nvSpPr>
        <p:spPr bwMode="gray">
          <a:xfrm>
            <a:off x="10747068" y="796006"/>
            <a:ext cx="956332" cy="382533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00" dirty="0">
                <a:solidFill>
                  <a:schemeClr val="tx1"/>
                </a:solidFill>
              </a:rPr>
              <a:t>BCN updated 05/09</a:t>
            </a:r>
          </a:p>
        </p:txBody>
      </p:sp>
      <p:sp>
        <p:nvSpPr>
          <p:cNvPr id="24" name="btfpCallout901505">
            <a:extLst>
              <a:ext uri="{FF2B5EF4-FFF2-40B4-BE49-F238E27FC236}">
                <a16:creationId xmlns:a16="http://schemas.microsoft.com/office/drawing/2014/main" id="{24F59337-F4EB-28DF-93C8-E7B59EF6CE8C}"/>
              </a:ext>
            </a:extLst>
          </p:cNvPr>
          <p:cNvSpPr/>
          <p:nvPr/>
        </p:nvSpPr>
        <p:spPr bwMode="gray">
          <a:xfrm>
            <a:off x="819476" y="4110893"/>
            <a:ext cx="1084057" cy="520263"/>
          </a:xfrm>
          <a:prstGeom prst="wedgeRectCallout">
            <a:avLst>
              <a:gd name="adj1" fmla="val -17949"/>
              <a:gd name="adj2" fmla="val 73015"/>
            </a:avLst>
          </a:prstGeom>
          <a:solidFill>
            <a:srgbClr val="FFFFFF"/>
          </a:solidFill>
          <a:ln w="19050">
            <a:solidFill>
              <a:srgbClr val="5C5C5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indent="0">
              <a:spcBef>
                <a:spcPts val="0"/>
              </a:spcBef>
              <a:buNone/>
            </a:pPr>
            <a:r>
              <a:rPr lang="en-US" sz="800" dirty="0">
                <a:solidFill>
                  <a:schemeClr val="tx1"/>
                </a:solidFill>
              </a:rPr>
              <a:t>Secures $</a:t>
            </a:r>
            <a:r>
              <a:rPr lang="en-US" sz="800" dirty="0" err="1">
                <a:solidFill>
                  <a:schemeClr val="tx1"/>
                </a:solidFill>
              </a:rPr>
              <a:t>xM</a:t>
            </a:r>
            <a:r>
              <a:rPr lang="en-US" sz="800" dirty="0">
                <a:solidFill>
                  <a:schemeClr val="tx1"/>
                </a:solidFill>
              </a:rPr>
              <a:t> Strategic Investment in 2021 to accelerate growth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1653708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35CE8A49-D4F9-81AA-BC9A-243BF22C487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009182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04" imgH="405" progId="TCLayout.ActiveDocument.1">
                  <p:embed/>
                </p:oleObj>
              </mc:Choice>
              <mc:Fallback>
                <p:oleObj name="think-cell Slide" r:id="rId10" imgW="404" imgH="405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CE8A49-D4F9-81AA-BC9A-243BF22C48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btfpMGChart364573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aYhHdubK/b9WYMbiqTQFZNRdTaHJ1Coz+gznC5J29/l+uni9WCTqRMIgVGBy5FSCqTCP+Vdrf4pg20L7fH6DBFZNwM9n1LsUHI9V7RaFmsG0sNQoXSeAHwLHqm09MgcFXN66rU1JBmjj5AdPA9rH9HeMv8yYIzdszzmfS3kUAUZ84ZSOPVl7UlEjx6rw75+MLzc4SLp9Ci5F+Jp6d4/4dTxXpojeD+CY/U6NfngENab6z5pEgfCltXWTBNh+62+cZqjnspSl9gI0RDf4nHe2aTBcjnUADSnuY6Ah0E4CIiiNkboPutm8WDAWbmoouBw/ecy+rr8RxQilCUIH1y+Mmjmkh9VJMClVJT2BabAb8yh4/2Ta3fuMsDjYz3pO1A39BLNoHJ/jtY9S/OCG5qzWbAxy1OZvS7D4a4cc8WwHixz4ARzkAB2Hnj3O1YeGgbA9i+gMoruR3zfQ8hvy6H0K1D2CoLrqXqZuSRXDCA23pwFU/dshXbLycgHHzFewLqfpMdODUjz0prkqV9oCLb2RAPz9M7Gcfpe6RM7bcIc43wrTgUZHXo1sZXowwGf5/LitZMEBnjh3IziVOMi4qDBuCh9K5ihBUfEPheV0+mgOZe5EjShrYH1Nsv5b4RFO6fbZAeRjwR3pWvchua/NBIiA+yxHHxyOW03enFcBkm4cYSAvE77uo0YV0MRGUPO9Dle+UV806D4fggSIO4t1y612I5IbEgwGhCqmlX6ctsKn0WWE7NYIng21RO+eDo732QYuGC8vPPwoWwsYt2EVJVKv8F4o37E6HZB3Sx8Ah4PVrGJucc9GQK9w+NH5gfKw4uCu6a5NfS5WPfRvm+2zeVgVkvKHZZogQEzHHc0Ol+VfWMxrbz8+HEoEG4Oq+qZYxs6VV4lO62boZ1U4hbgbCM0ZGLLor6aMoKWy5O2vuZVco4jkZ+QxN/d45SAuOjZewP3SvAcJJF/hepR4o34kdQlGs3lIvsQjy5z7LHHwb319kICRToJCsp3lP6eDKodO+lTpBzNO/zYlTOeHdB3xwNRcF6kERqHw0MEa953pNKndb5b2NJtdsrPocUvB45owMNLLSqHNzFnXEd/7jVqjdb+ELXQOc3Pp7kvmx7DMgYtmczgIOALK39YQzhLPGTiqgQ3R/reex7DMF/sxJ5jvP7I5rQVXqgOsdCJoM8iJvxRJPanxhWY5y6f8pEQ7R1sKgqQQ5leRsVcSXsjY2b2F4WjVNWRH991L6ny6s5gdwwpfn/DQeIB0KEcTbYXfEf8jXiQDr9zNa7bSRuceY2Q4DbpGbtAvfZjCUjXf1+KECl3xoZrmMfz8L02C876QRSCPj5cWef3Wf69vCXpB+zAlXlyEZcE8MtHHj1WvhV3KPUXZGKjzS3w2iFiejobyQhPlgq3HP3Wx0zH0yR/rtkB50EkBM5+rloMwYtAPe/G7/IUfT+6im0na0krIbcX+Q6yjffvMEX0G8RfCoGq6DUqdoUiOiGUyBmgiHK/b2q/x9SvHgYBscafUn2p5VfTu5ExOlRQ15huziDcNSLMz86Z/i08BF2Wfg0Q+vyv5eaHbPLOxxz4rif287Z1BCNUs5mA9orRXqXwtHy/OWAZBUT7VddhH93KZhWM5FIgO7kxy4zpCtjb9uVB66DhIc1RAA/G5J0N1sTkeQDeHsrQCS2qBoru47Ov73hKQJzk96ALeom5YhEU5drjQu8c+uqoV4U2n3Lp+99qkGI5Zx90wZq90eGmMZgRa4dZGicEfBE/rmNyb5p8dGltlRPO07mUHbhlHvatn2EnP854xi31jkts6p8yB39zwdA9Y2HJ+r2gWfo3VhDhe5X9mKQ/VEcOzItT+N4IYHd5Zuoe8xN8+dUx87o6LUtJQxzBAV8Pe5ltbFFY3DH1fHgr+5KAOGMCKohlP5RGvzW+OjC0y5vIDsYt94Ml0085sqBFAk9dkFk9kXP7TSaH08TF8A++Q+UR6HR3/yPAx6d4Ua/HyQ/F1Hv9nO9Hz9k7/R36sVh997bZNaak1tDJlanluP7KwW23QvN8au24Qq9eZ0B58drh8fLuGW3S4NuR4JHKdC3fyRo9UE1kOy7Xn4jViIUUYCe0gtI2cBAGAA/VuSRvL221a4SI6FJptD8ji3KwrYrIEGD+rsx4ZwbaImX9TA7SY3neb4qIdZSUxSQzSKth2USaaOZxDp/B/cFXqij30Y7eTuBOHy4Fbvbo1L2hm6LaMvCszlrwUfubMak2iaPdjo2JINGg+KXVP+RiHi8yj54y8zceYH+4WwkbS8cMobGxJvXWWkUIPjRW93H6pB6x9ZgseKpiT1GaXouf8ibPBdZXQg3/3U8wE3TGFUGEEMmuzHH58PX4XrCu0gdjsozDBwMPAw+YSqq0vFpeIQGlvkjobu1BVClAdHsAe14eISZZ3kVTow571btB3AB2Qb4SWF/i6RVrnflGnKdOU5Ou7/lVVgCg8GYjdfbgaBLA8nOmq9mSnJIXmIeNB1Gp7O4EZQWmBYSmcG6t3IVmOD7C3ljBgQm7VsOj7egyo69ggSRvLCXydgWRIK/y8o9a5v2XuZJyqDVmFWjXKZFoLYCh1KZsaj3MyB7raEZq7ECZokEn+Ja51dNjjXi6ug+VN8PFkAVae+O2icVmqQ5bbaaocUXA74SyKcf8JtdNmzT5yLjJYPdhcM3xh4lAbOL6MwAgc4v+3aD+I4ua8uT5mntpBInXau9miauPp8lgHSz2iboQwd17kk7wo1E+Syc+rYyyrsuMpXAghBV/UdZdouUiAC6935o0ulVs+pRKwu29lHD3dqh19u/101cml2v+E8Q8Le09NQFjq1LC44q8yWhd9MRYd2HfwR2v9XBqzslDEQmg0jri1gpbtyN6TxnuOrjUbd/iAA8lhOvHM2smqLuHOi70Iy1fc+Zkn2bHA8yC3qq8Wi3mjozzA/U94kKAnCecmHDeruOVfv4rWo1IAFxNF4i3cFAN3COMJSi+xmOP3khgfewerpcW5CRo/njXbkwRy0L6wfeMhy5jGnPqp6pBEjHHQ+22fr0P2vSilzYXtQjUmNJcMSnl1nN0+eNzaxEI009l4bGONPGb84appJtVeQrkAFydTQdBkTya+hqlhEfCCWio4MkJMHm9J+phhntRn8nqCEIyI59BBtCJlyLId+5lgfsKqsNKpiQBH6EGiJDmyrC2oO0pjyrf2L2fz99tR2yIzk1+zF1WJfEJmzbp46RsAOuHVyWvIETiww3rBU87BxDMhUSf0PsrpN4AbtZptoJmZkEjKJGP0C7PUAcGMy5cKU1jHBmSnY5YoUQc33SX7OMNir17qKhz5zNsbbgFihNPB0sfiJQ1kztwrU8VzWDI61D0E7/Qsx19tzRIbBsn4CzcSK5prLSTkLJUmtEymTOs3BRS+vI/5+KCIQZsS40Aan2bM4Ks/FlRuFRx+tMq8l+UxIf7uXiqMINhIXd9/5CkA08o0QGKsVZqJEjtvVIwGX9cgUPm6szVN7JGozz6Gyduz1bNO9e29VKMR8Y6x2VW1/p5OtFP4ShVdRaw/Nw4xeSyEATTywi9yCjotMscfcqLjuZtWOsk9VLQXGZTbkg7Jl0tda0PDs2poQ09csW1lDFp9FJVXIKf9AHduPnMGgweWwvarnFF1iZSgtUZoaJ4OPXK0xOTvHlji/oWIbili0TtW2vq+i1eZngWxVP+B9Cyl+S6w34CdQqHBkiYY4l1TzIm28sQdyoWD1NrF5q/osMlGc5ObU51AO+YCo6WxYhWMVA6VRxWjXvnLdATGUGGbp6uXhfNRYOzey/r0Cp7sGXNSrDfse6UN5W4afmvotBK8dv8WsUPHwa1NTXlUGXAb+3sQb9sTTHgC1Qy45laGhOyW7EsvMQofZmf3DiUfhlJOJKzzG4subqgwK/KdrdKXc5JUG1SeS7sxzzkRZNfqCEeYx3a9w7eAggdTI6V0qKHN9W03pynIaE9W+3kgQNl6XMNkjvEDk7UVwwneZ3Ooskx/UHZOX72vURzoT0FfJdg6+dOFtezPrDCtYfPB0K5dg+ILqMIOJP49U0GCgvr2edeKbJOvBFU/nMqSo16I/e84RJ8ba03NBHT9YRXp0EWAk43NxHH85/EU9U335qUQIALD5I2OXtVOvT24vDpHt6uugNLYPjRX2lsNzqKxJeZP2eDSA83uwCS///+tMXilI5Hh9AnRE/1zVMpmQCV49fq6QJvgYZxI32CRCi1U+dsPBGc3kzg6TZ4lOBXonSk/mqwvWNa176MhvzAGckZbgwMDxeARWIFgQ/yOJXq3PzCxacSfyzOc6hu3CgXVzfmUwvm98cGS8dqQK/SkZaxOE/aPzWIZjhr794l1fCBqr7+sy/yK/ICV2oa6ywAkWFR5oILwmaZBLn8uCPBeR0eIePMI+5XzQKiAwePnMxGqxSD5cdDFT8d1kXSAiDo1kfWeycGctFkRa1gaLm3rA0Bi+RUdSqU+E0ZF1ghQxDBEHA9wA349KZts+/nG3o3M/zkk5qE6tYb+Sa4m8MerEehUveSbLu+yG57Py41O3srwOvtF89Do4JPXO85a9to+eaeSAyOMAVMsgkgNAL10TmfrJcgADRXzz7plDJjS5HRHeW3enOdTL3meFFysCPwYgby88eVoJ2+X3+s/ogIGagSJ22//DemNOgSGqdFNqueWrGRZ1RAjFQ0ibPYANuwxhgzXc3Yica05yq2oTtYUncNEJOjLpNHRPnJA+hGhYLgL4cl3HFsxUaw5jUQyRImZflspdQUnkyqwjQof+3Nc+vssLpa+i3s++qacdkHHFR+BLjjM+sK41U61JFOhFzzQbLURZBw5wY4isOcAU+jSX1piTf+r93NzU4G64NrSOM4pKjHzex4UKFaPGmG/XLTtjgknG81GMYnYbWIe6C1XdMBHpF7McBo1IHXUS9IvgdE8LTO5heM1zv4pkhplifNdxIEDr5ZqDf/t4M7mESwWARA5HrELtprBFOBf9x2tHErWfuOs9v2BQ9e97F1OHSMFMus1f0e7a049+7l2ZPrkM8EQ6z3sLcelcEaE5LcSs5+ug6VyrBQnWCRrlKRSYWvYB2M66T7/CeMbM3JY0Y47Zs7hEsbRY319kKLWfDx45YRWSQT52NceLEYPsswPBLGBQJx6v+S2HblNT2wETbMhYx9TpS01x97yToy/HxIo2Hvz5ALQvC4vTynrcYIeSsLHFOVReD9GIx17fkjJDVIrIPW73AH2o/1tUm1DrfVhio58P6DStmTnLeZEfVCu/IR97ESp8tj6FXeH28K4okJ1wMJsHEMaLrqGBNy7RbZYZ3dhHFvEHEroqltzmAnN8FFa+9wNG3R/DtchtTiaEWcq0ioaK5OiJn1R8jcxUUDdt6xi0mQXNqiGFRvZzLhQsLHfGfoGoKmsP3MveD353uIQS1oUPKY3ZXQj2J6dCZ7gDjKh5acGi2O/O4BGQK3livtaA1hUOV1ORZtZBgq0JlWYOfHpEQ0O24vj2yVGeFQ27ZV5hP0gz61bq+ayvmq+6LhF9ArdpCkauA0QuZDrf7q6w2TydCOsR/aZnPQaWHygwkL3UCSlS2eIESxyoG+kvbd0YIQ5PbrYH3opDnuV0JvMjbcclyq09ysAcxGOTGWS78SeasAcYCi28s9wmFeJ32/zWKjq2Ds3sHjfUmaBmBzRRirIiIzcWin9Tmas8gzoc7MRuvINCI+8Q7c4WL7gPQ/uNSwQNjzhqTWqIjY5m7g/jtNbkXLkBiNV6v6BiKMNvll1LGka+J6oZsoMJIf/fkrd5PWsbYdp98X8eNEHqOS9gGrom/QuzBKgIczSUNYeJfA5zJR5WVgj3bsTh51V5BhplIniTy9ePANF6jBChdJezfNIELQhaW6QJtWMPXl/SI8jnvpWwLKuwRn8wrdZS16vz/KQdfW+XJngvHTE/GTpEPyi6ztfxMay5KS1tPOJxcsnm55seUMiYzU6KjSwG0ovAgszAIFCS8JA/j5s75g1VArIrZaInnXhtRNftHKb6+JXkWlknwKubcQv+N0oL+NeFoC3h5JZNj3jeP3WxhU+CoUmqB8QrPMY44BXAE9utqNBL0xFY8ZC0167JygJpcXCrcZP2lNf61QMoXBO5Tggq8W87GdSrdmjBp2od9DKr02yESdRU7K77bwYyPixThkDfvrRNOnNkDn5UURehoJN5yDed76rLyr+X40W2YNxM1GOdjHpafvNpYOsepqypTOwGzgFY0dfqemQ1Ylv4HsFkqKv7WNsuwvMacABboo8s3ZH5/6wxsUo078khw2ovklFjsYCvGdMuVQbS90RD4+i3PBQD8VvIcal5x45/bOHHuystEUV3ECDo2t529hG4eNGJpbUtdMZzJ8naJrizoCsPZraceKoyi9YTzT/On2i/2EkN6F3UhS4U/jEBgNnH9sHLbWgjJuvjouMmQ5LQI3LuxmawtOcDUva00LT8CwnM98rfk/DbfQPse3B5dcCuvFTWr7v+V1NHtCb7JQGYcCmFTPX6vs+qpnLqLS7PLj9eM4mZ6OIyqu2pKGwl53r3Z+cSrA6bJhy13RjsNjEq79jVYYvvXS96dJw+ne+BW5elM2fmBz+KoyhluPl9xClQIeRbCMh29d7dngWeVCAXOux5IXGz8DLIBvKOzbVztgJsTiVsB/jzAZUR4XSlv07nUATdig1iNVj/u0Zj6yEZgpgTeaXXd4IxrX2uRvHZe9K8wTcwwB1Evhfy3ClT69JEcvIGCJ67RndhRCkein0uiIDB4S8n+de1UYyuJfJqpUoTNAtNNC0St7DaLKR20ujoOtPCpGe5ucUTG9KZqxd6sIREyeIYbMY9qXLKdijpbc6tR9RmDvuq5h7O7xPViRR0JcTQJgtnHBMZ8VZwP5ENiXI/Hi1z3mGWWaoc3oEV/59nx+mOxZS0iUScXInPDY45RIIZKLlNeAYHgGZ51LbE8CIcJezSwk57aaP0YaO2ZjiYl3qLnx4DA1RkbeeRrpxMfbfQA/i9Mfa7Xorms6mM6ReNIKq6vwxA4+gOi5lVkB1D2IeeD5e2exmkgPNJb2oCO5MCPtHxfa0es4cLyvHUZtgKPioY7ETbCvjPPS54dPoX9a0DS/oehxaG0QwLOMVrh9Z8p0CdlkVq7kbsRKEAy4+/hGi4Xh2MskTalNpiexrUWNw0DOpY2NHSjcLJ9p2F/8YQs2Wfgt8icsWU6hTQ3pXYH/yxfK3Wn4CXOx9MNaTsVWyFAIJNMBOPD0nc56ytCZa/q6mtj1Oj8YKtu8EqCO7YQKMw2bGwiTvLgJeONQrBas4leatoKotyF4HZijJuGNYmKMObtFhhG9HhiYMYBLiTTo/zgQbu/wvHH55TU49XJRR/xKUrF5CbM1oMtrQAX9zlYq/vRDbiplC0TPY2x4QrZhmsfudnKI5TXUQRfjWTb9/PDuJoIqw7RpwU4kWZJp5ZxvR1NzMG+iiDmFiw9A9pF8RoqyvwR6RA38FhxNzasY3BSBgGYHtGB9TK6jf1t78BfBs7vqZ7okCWTs4fd5vwCqK6N/7FZFYA646vvfOW5F6oiyq5qlcJLToGmW6wa3AFs4VNbzvfjNd+i1GmxhQbAEADx33yADJlM85jr/5pGTmmHY4haAKNNqvL52Iz2arCi1/otZLFo60XgvpWAOHrWpatHAgA8dv2yofE0SPVeniAkOIFRT9f7KSR900QCzsuCMq/W9JfOawrRmjHR4BdDi5o8SAdGdM3EmxvnKcvmm1xQJX7JekgqKGApyLMRZkBrDDK1WA/YNPguZfjICj/utfOwCGJHZgELmp0QdF3Zyx5gmi0aClagk6T+UgJA7nlwycUlX/SKI/Jigmog7eywwY/Ew5qSktVmHjq12MMkHBLd/oFSX7Yju2kzCRYqr7Q/gBtth9R91HfcGsb4drOzL8bdIk0w2vXSMItZAfTGxMAXYmmMit8aTiPzF3BHNTuHGloz6sO69YJ3BEt1hmd+AzsUyZ5BL9WH2vlbTqDt415YSepPCQQYVkJKeyH2EaCgWcJxzYflBFQqysTtbotUaCxPD9AA0TaqnCNqBZeRFBen3En7LddtQCRn6giN92xkcfUkZTPgF09hgvdZHLnpdtVITihn6jR0b/OGv1h8vj5K7icKUqakZRkzZh5udtRJ6yoWpPCW3ILvaXs7SGx65C9rzD2tmddQJrQzyscIV8sHN4MN7mXnT9OeNKKogrqJ+X/5D84ImR5ElZ208CXz/1FQCJCrCnPHRTxfGy8OViycGawk+iFuO7C613ad64/kkqrztCXMQnKYTZtDfbSb9VmMo0eYl+0CAqmULUqksDW7W79TNMaVb/LELtVIjf8Cdk6qKoWIRihYa8E9Oc3npqd+5hl71zto36dweHLQ7FQNHyDzWxK4ARPNVWTqG4Qsr3ztVqeWIS5zRsBdoobMDuKJcD5yII0OipTdCKai/VTLuaXoYKKyuYTxVZAFiltS/mWgcSf33v1uBD1yi/uqwcp6vC5zHIskcAUZr3TiPgGJstzeA4mQieXauFggp0+5zW0mF/0jI4oBkd/yTJOWKcJ9+Er/9fL+AitsP/7MJaJpWeYk17h6dn6pT2zbJX12KKXUCP+TwgkqlU9w/M9alCbBbKp6iEhjtpuMb3IKJ+XAKmvEh073XGNCc28Ai6OwELmUGpvNjHQ+yQ/BN9K7wBUOu74JLK7TqJcqsrrzHVhamxajgsl6CEw0f4bf4tEg3YldSioUHBKZ3qqUgpgUvIwL8i2UdirwBMlzDCL1QOVh2VtcJ3eiUeMnrGrykoYqYomTb4bOcXKi3L8My8IAMvudgnlSx6pwlxVqTnrgu4lQbQcepIwU20Mqcfx1EA8s7NGtfesMCERloPM4Udp8WpVwSWGU5EuzKCuS6Xix0hApSB4u066MRtMizX5vHF6uMvIfdIYyV1WzUNBAF2aucbL/lQShNbmfMNbn/1liIbXyxqY8lqt44QS1eT/5O4A9+GDtEcqVWL2D49JA8nbMo/bhn8SMM7hN6T8y1UWEz/JXorAtmYxv3W0oat9Mgl3OgMPWsdnBjxgM4udzPu7gZvRoPNkVdNBCPUYZYo0ZwLaVuvI2V9pEZ84ZXig6PBOu/NAk5w5h4SkvlMr1+jJgp4iDMh/M+wl+2AB3rTPcwVSIzJBDf1Pp/UR7/xUi97t2OlQ89zcHtpgcGJWOATUHacXFjc4j6lvjTsstSRjY+iEqeWVV4Z/gZ0btJfcZ3+1fLIJcIVXWHV9loz/8L5Pt+CN+O9dzOZUPsmuCftgzuftfZ5trzx18uEedPdnSwRGsGuduD+tOwgopZ/hO6I+DFPuDOJ46S9KxpiDITb7Q8b57WhljJfFwWPEThxRqee4n8HjmAdwXYecwx80i3bXn4bUZVLComn9t9CtsHwypsTzGlmSmUyBGFPt/Rm0lmogdpRk3t6CnPBYMJ8GzNubAajl5vr0Z7NnSyD6FUZDJs+T/z5tCcHf2kWmKidfbj7teZv7+EsHg0qCAtZhK3hM/Ee/bKLkfFYzFSYEABPISha5pVB60i0ZFPZX+BlUACwqHWQ/7oifJB522XAK2uABWKCL6HvRtljsk60VFBVOGcfAfAUiQ6vzZGbgvouCtSlYZT8LGmkdF9MB0L9qJnqkKhEJWgdz5LfxjqhwqXHbg5lQxtv9zd1i/2waQZB3zKGwXZ8occS1XsEoUNN7DQJzn4LYNiGfwOgshx86ky1037JaL44LSkbNfReQJZZFicAMCfjttRFkxvHh8yel15zYFhQ5WGQz/HpTfgsUmcYcLw58KiXffA0AtpbAlSDPpGNY7u4O3Hmy5s1gkTqu4HHf0OATD3q92k10WS8sy/W6yKeegttSxy5MuAKJfW8yrTpKn69PXcjPDh2fzJ9E9rkitS/VTsrHCl4xHIJN494ntEDBEWGkpSQToppNRGcxELK+yhQIFlQQ+sVMiHS4H5yQeYbAeHbnTgIkACq2eLix+LCbbvyjgiRiKzgx5HNOAQPyTEmNe5db9tdWypIa8YKizl6Qulc9rauWB50nVo0D9DCXHTnjQfOczBjMAo6TkhyOI/1HhI2u0na3M6gHC4BTqPdK4fydRogUaX9YzX1i3VU2B6MbUiLN2cNHPjQs+fya9HXoysrSa4Uv4sRae3usrdxXfVJPY5Bhpa240zmWfi7yCHCK97tlVPwC6e5NlzpO5EcpVoVpdAPMl0oi7kIyEL2pCXccoBJGY/eRWRq4JfDGGHVwYaSDsJqxUwqLmx+I+712KuKQBCQ2Pcvu6yjTXcADIZVZAZLHiyFvj1anGUqKBk6CftLNNX7YloiJ0/KkqdVkhS0mYyYwUHm+qQFwgairVQm6oTYmdrAG0t1XwPH/Q+Wvvb4i9nFYlz0MbxXxyceBDZ80mm9hKHcl9Vkc4hgRE1bM+D8RamqRjGrhTxOpB0ykKPpBzzNbxov/VxMpBqZ+hPwYVUYzGdIKzwCbbsJMqD1lDUED8KE4/4ywfEshEi4dRkjVJ0qWgmhXSkpj4cdBFf+HpO66JglayuoG3Psg/QG3MRq3nZ+rrNxMCLcHUcKGNFzZvNxRhb8EqybaPaCfi8Lbe7cfAPXhHhQwuQqzgEv6pzIvW+Qh6dvRx9U+38VyPoRlfq/3qo/8cx9eNjAH91pbUdMt24jjii4aw1hldDgV963FBaMaOZegCL9KcG+ONGaUL6iNnEMktfmFh3Wh8KFiN8CEpjk1RDjmhBkHaHr9Mtr7qJX40zhH6CcAP6oD+0suxisxJDUekEJcDCV6Asc3IwljjaFASVEa5ViLputKAeIsngX7/Hm13BjzDtwakFK/waFYJimCSTnOVrJKJ/Q9Ec38sk0BwvbbvpWWQu7qaIKHE4q6bCxwQk93PkAbvqQlQWNyw161Duw8kw9UBYO5/HzhGywu6C8VVFekikkilaKpbXyC7xJVEhdeo89eEpC3ccZAYWYa97fGQ9JSZSs66rXM3FkxD5iA7M2qMOb8SxAEssq/VwbJ5ZWcHbrON4YNNbMamcni9k4HoAyNpHi/iOK2vkt9Y1XC0N6Jgg1jeD3IxbOjI8HrkYXv4e4Q+Dd91cDBvGldQhcJtiuMHJsXNWXykgrUHGPkOAHj0es6DEvS39f3xMgVp1ZJxXh+/hkd4z2lZTUC7+S3zGO1DW/IfLB+/2Kx+ZK+RJWhPAu7ADVJtW/wa9tTSkqQzQvVh91jLCap/G39FlcgVRf0O5iUM8oB6O2LUSg87Y6wNuaHlQjOs9H6QibZUV4Buq4pY/5dqArvUqFjc08dyDGTO/ORnDSXJFVnJbFJIzdn6oHLQeYoZhr+gNBiHmIOLrnV/8+pq66zAStbjJ05KGcHv67RP1GGz7xDV4XSSSNn4xP8lpo0qEp8uw3XKQVH5Aoq8oj1ohv1zXEmG1Z+5BNc4U9sLCHv63/OGD1SqT5sthsLd3UPaaQrBUyYQ2UXdxX/2UT4GHgXpf8x8PEmYIDiNOdcyHcu8VtGYHMTEqz0ZTPx1erSlNfIra+9vRkleR7n58pzCPGO/GZ8zkXOOF5uNc7jBjQ2KlPhcOcztbw2niREc+te00IopNDMdA8+58uGOefaEHkYEmHBvT/eiZN1vK1mRwXESb5X2a0Vx355UIr5CqA8UwSBmYoXH7EViWcFmwrhfcJztWa3E0Yvj/76sDAtZuNaO6KzAOwLbcIsN+jLJGwibunUGmnPMtSNA0cWdUFkexMAUULAwMGbZ/LziyvV1pHNPhZFMJ/EyXcCYx0V+hFp03a5NlzYjrJTvlrlO3zF96Cp0Y4Lge1/LaoT2Edc/66Ynsby2pQTVQfRCCWg90BMjIA6OEroiF+pI2QsBKfXBRX0nS2BX6HdQYGtBKnWfGP3VGh8UpRP7535ZrDEt8B8Y2srsDA2LJFL4PURsUL0hyZj/1XXx2p60+YCwhqOf4/BVtaTK5x0WVGfgP3GpqURGl2ED382UFOfcROOxPhKqlZ2gWor/uwQYBCIpRAVVkfgK+R7+/UTbAE2muJ3K4nrwsaVJtcqNLJNzoOf/hCgf8aHBfwjsteefqt1cd7wt65ha74nFXiFrUApUnerhIKhcBvtaHJCIm/n9X9fskG400ZbqsfOEMPmL8J3inGtUW/yW4Nf7fN80yuFNSyqM2C39OOpDM2AJEYUQsq/IMo21ZtKoBN+NIMeBgjY1doJ3TXIJnWZAvqC9wmthFzZLbFNWKPnrmX9vYFBzdDAMsEoFGTv1lF17LR+/VjmYQjEMM8WbpD6U0I7KS5K+hbwUDE7VRYuojj860HjKlWDoAPhhlX87dWwNZMbvE+QmzV21uc8h6C9BK5YZoiN1LhsClmNBYDL8xXL+oLJqRxkRH8OTAkDfqG1ADemOlsV6ibKUnTPFQKtPEcA3+Il3HGHkGeGKNxfARDLSe9FIf5muk/OtEvEcXbd/MvtAlMPX/YQJRcoucmiBB0CHMYXVAWyrdegZjYDUICazKEopngKB3dyZFIU0uXnlPPFT0wkTvljsjE6UtRdCs3JldSDci68bpTq/CGLarfB2QapGrYZyWXy2IiAChGq2eqg4qy1NnXpG1aOAhmeC6lwji4KUfzkBCcpcpMYtl4eLlAMLgwKK/aQ+e/fSmuYjp01KQ7fGKvDy9kS1fd8MSwE9LT0CLGSWuG58lF3dlYNs8KtTx8qm0g7bQ8w1EW6trcwg5m3md18kAqxxVylv2ud1bkCbJ7gBiVrr5A9Z6WOQyRjEYSoTmPAUjNnp9+d+MksoSe5ZogMaTCWJ6xj5iJ3gPgzNow73X4Y7l2hckaZzoQr6ZoYTIsYcZRd5HSbK8ZeYZJbLI04O6vFpiZkqtKjr4Y23Rd9Nj85fvZaVFUu+CRv6KhG6oYYdL3xd8ZTURSDoj3o0B2GJ36A7dhbv5ecyWIvxcmlTERHwpuZfpYk+IAP/S/AeuqG2JYg9nN5dYxBwabFXES229KU1EqgzFPXV3KGn2I6EN7lOi+FfsOi6B7PGjwVeEUIwiLLA1BowxO90Cq94r1xCOvM5oT8HMmZJ3mY4u+RPtvnRZtebpK99Ld72Cvm8o4aQI9An0USST8U+oWktDaYs5nF3AQpsSoPHVuWL+LKSGNOI9exp8awxYWsa6jaHL6GHpC1RJ6WqwJc6cPIrUjgk7zoxx4oawIMFuRi0G5PvDCt9grJIMZRbw46RrzGFyZWs4UJMhdrJjH2ci2Seewy3GdNwBALcjZc5q02WhGyEY7VZTbGvxwBk11rn4PrjcG7Sf4VSuWzacOSGE99P7qY4FDQAl5J43mv45QOVrPi2K3/LmWtG+s2lgBAm65zfVa1bMh6PJNu0j+6QizRH9ubdkO5tz7DxOdt3cSTjVHRAbTh6eIYdG6HT7cHaRuXsv1OwGMwE/B6HLcyZ7wMWiZ3+Gxok8WQMAhv3d0ybQmK0JRfvhOoXX0ghcxeBTcFOda7k9UAF6yQb0hjaOR0b/f+zeyZ4bNRZZFFk/b6ofargpoPR6vT0CuJs13Kpav/cdC/hyIBo0HNpomeIPMtCvDw/pKupzfdPzL7D42Y9ZUG6lsT5Wwh8rn4mrh/a/YoKMcSa+VprKPxBu/0PDQoHGHU3rPRhEp+ahhqLvI0V760wDJiTGvmptaQ7L3v7NeB08tjMNzQpoPTMZ/QQIsGxwmFN43p+1NK7OjwCF32AZCpuGDzhb96NhHiyjVVLiqfchP1/XBunMyNgiQ+F6yYrsCpPOrI+n5KD/K3DVZxnJKBNkdaBuK81inwDj8MdsOrROMkMQaNwbOBDe2sddnNcXlt+LV0g+HA+G3UWDFw0NRg19btBTDHIYUjawok3yV/ygHaC+IkE/b3XPI72ELsuNQkEB254n4heqo5ElHP8+Q1sVldAZLsFWymNbCabMPiP4Q6jQLQahCW5rlKixNEntc7mjwRDaDEHmOnI4WkAMUophFnCCAd3Nyha2ZK3wNdTPs5M3688H9fIIU5wacOjV5uMHfx7UzstjxK/Z6nfU94FG6y6PWhURJ3rfhMspt2YnEXXvcr3nXJOfDjQTq1hGRlgOelor8SulACbEFtB41Ufpd0eRXfAQZxTQvP3ENcvcMJeRWl0NECx9U1suuOrRKqGO2d9suc2CGaggD5t7r1IcfvkNHFJ9YidG9AGRkxZarsybvch7sYXk9vlfuhXQybd+LkMsxY+rpVhE5ukyDH8fvnEiGLPVmHBPMjfc/qM7ZPZsxSLsPHBs+llxvWXVokfFQb5KcEnTSrVGmzeOkf2FuyWwe7HdwiAejWTVqclKlSHttV+b/m9eucJwtKfkurdDlqvo9qQaSYsTQvN/d1muN4qJ1A7D1OCpzaiCrO2l9aABTWO8mHTc/gAxNRwoHnffWRSn90NkloFA0234qfj/ZX58v0fV8tpBz4FRaT+uKAtKzq1PAon8wIZhCLPhUv993Qu9gD3K4hMt1zvciT8DZCyQvpIKEVriM8bQi3vrcG3XCLe/b9KOiSWQV7wsS91CMu4xXMecJes598srpqIzoDpcTKlwRS1zlUEUfsgqr4Sc4TvUjNdf+YARK+FbOlXAz5iLnfYcxivn+lZPAcizNTj7kC0t/pcDqGA18JPDzt+1MLk+7GGtVHBMHEPR4xUubzA3NLLOQSP1wrofb57AcU4f0IzPT4UBGvMCLi2vm+H7IT/RgXGac1ol/FY/Kuzn3TeeTVgiIU0wVtFzNrcIMxcqbgYsNioQ+0vqIGx+ycUptbln2fPmKww+6fFv0SjzkLRqFRl3rB4aIp+0gwJPFr8kgInZnp5R/V83BQ2pslH/xY+wrOJ/1UBg13DY4utqMQH1UjM5j7fPu0/annBLAHSR++6VZzt0oq/bll4ELmEGlO8Q1akOAiicf3Zm/rstXGlscxIocvvdH9h2F2k6G3MFxf37N3UNow0IySVVdCFyzO2bjqHwFy4QMGVV1vf6BCY1cMxqawvb5XBTlHy0HvIZN9krec+KueIkfFrnNLGvQDv3qHO4Ql3HDpVCP2Rjtf82AjRg3DbqYYseox0IfCWvdsCkQ9Mn66DX/g41Ta55p46g+cLbXIQ7yorzxc+2ncj4k1beorzjqLqWKW3Zld1aw9ne68B6psQG4IySXh5KLfQ/JrgM8/Mi58B3WSI8aSOKMOCQl/xzik5Grl2gYNlp75StGSf6TViKHUEG19202mO4geifad+HNo5/tPH6Wx6kSTqK4ZYBA1XZJIu8qEr9lVApAOpls2OsyWfIyK7BL7I9LTcKruyABDzvdI65FgEL+vam8Recco/LPyhmNn8rWjPuKHX8A10I7pfs8H31V0/1BJcs1XQY3fIq1HINVF3D0UyOGYBypksRbA8hY1qn57BuW5wKrYLI/aBxEOx24cAS/EVOcJ81HfgBjhtWcVX1l9E2TwGf6ANKaMNNxfp2J0NQ03ucnLog0r0QJHXIrmM5sEmWyuGnFm9YoejMv6IoPsKdqrwzZWdu95vGQKD/W4b4B2IksjNp2KXi/6NScy7mmqBZJVDqWlmZnnY7PUX6EfswRMt4Np7rKnTpxqC78shHkve6z5uljHlZRJ0w4hj3CRypiF10pUiOIDyqc9U4ebvI+NVwX2U4ddxtDhjFdJSGQBOmwAYzYpLDbBiGNejVUN/1fiYvELE4yK0WxBh4rVUOS4E3sJZWMsvb2OZ8+Q5nnRGO+xNffxPrtvQlsFdluP0yv7PzejAERs/r4Xw/KS14kEfZhnSpoNynxO2jYKYllUYFlx1v18p2d8PgCM6kAgiYzTLWvuf9vMsnqHYUYDkgpNwNs1Ijyix2DRhm/ucLo7FejdOpRCbT2jhgKNWj4k9TcIi2oylWkEzmxHVirhCR97L53ctk/hfQm7nTmAsGRuoLE9HhnQIfitKvq+dyahj8EkRFMrAdUiXVvOMebcNXhC/43stdFW+65ddGk0BM/ydudfjBQX6U2dyFgcPciwrUmhop6pPEhHqk9vlLj1uJMSn6hvYmow8ox14NG/huHrviQAJRP5EBO4wzvMnofUPK4FUglXzTG8m9eLSf1S+LFgRB1AdJCG2v+7SXHGyr9mJJpnkrRtHLx5rBgFrexuZ2GEFj3KD8ros8fbfpYCkVHdsuWyXEy3qRb1Oy5d2WLYdI6QP75SfbWTOfhHtJAmYLLk5hg+4KG4mnRDsqmPaqQHRAHL40pICkAEIx0cO9M5Q3qSOxsvviaTkhNJRoTZWnZ+gMWWx3+69PmyWhhzaMd2PnZuQJHPBuHJB6zssTP9hSBR3jLM6ClZkirG67trlCW6AhDNYLuAoiTdf4bz34ODVONsUI7QJXEBhABiqG2J8sMpGK9balffA8lJDia5IS633TGQrYvQMQaaAVZYVMYG2bSI985jE37iA1asMpYQHXhkMP9myfw8UX/taxqcIDAgYLIR9PC7SwofNwQoWxFCxT0l5sEUjgN5GBZ175SjE0hBV3GHSpxrM3qPyZRTiecMY1yUVynydciJIqchYBtFKfT/g/3s+/y+udTnTDPMD7DjlM6kuRUXN3x2ycorp42nsQkOLvasxeW/KhyXyMN9IVv8VVc6EXjtSFh5ICHZaB4oBgQl0+N47mv/cVZa6aOTHZTEkgycKVfq3TUk0Q5PI+62bPH2C+XMAYo6SfiilYGyhb1dViHzV52f56ie2xz3H5ZAvL1I4aRTOFGSJvUrtv8fjMjZ3/cZZ3tep08eCZ+5PF4ZHaICB+NkkeQuBiemjsu0sy7KfFw+23dEYYCgJSvSOD15DAGD8xTmErAnBPX0DqWn+33vuZlAOt40ZxwtB06lc4bsLa5V8ZopHqmMPeicqtYMMeoDY1Q0lDmL285BS9ioHrXLzjqgiwUCLUkiWkKAnk/RbLROBMeUU9Roqv+AfucAgQ/oJxJjL0ipxp+R1vFuIVVsSCbbMgvj7iwio1ChdyXxdCnCyMM+tiV3Oxx3ajVWLd0KquSfIeJGodU76jUDTPfJvOTr7hrHpoxnZdAFnzygz8gqVbSTmYPDDwATkkNZQkwiWtRz13ALYmG8ci2BnfWPjKwdqiT1q/Obim2w1tQCgS65ytA8r/Sd1dIIb48XTHq6DY5f4qdflVCj+YxL+h1it3qC73EJ8btKzYY8EBWmXM3L+GgXzbjbmk5MHaN57eNSjJVBS0bi/cWB0T9IRL8DKg7lq3AL7gCCT9YKcFYhfySYo+U4Sj+JPgmCjWDC5wwBT+Bwu50T350TQn3XrG0S1QaEM08KELQViJr1vQapBBoImJ7Ak4TnfrbTYXTYg/+u8jJaAcXENcnnmRSEXW/ej8iS1VgnjJl4aOWwyEce2RD0I9rFBfkEe3APlKGhb28rvWZUa43JT7ToE/0Ou/BqywiEI87/zWnhUV4/qOpeQ2e0FcwKIRLPY9srTQOEckYWR5OTtfP6XrtD8zycmUoii+qWqzzKxbKrRPBsl51y5OiL1/4m0DE3awbXg3SwXP79Smjmddic4lY2KV8q/3GG+cQO8SKJ7DZbwhTeASPfg5RaGT2j0DBT0ws8U9pXVuVtyuOjF093eHauPm49CuUWwIlBMaPI//1/asDDAFtaZaiL4y+5CaNfwwtBThLUQ9nIBWOFPYwPfWlagSZvxYUZQppDNA6yqAfks401WflPTv7H86qM+g59DiMaU8IUK+iahtWQU6bNJDYh9Bq4ZYJUSlq2JNul2wmfQYNYgjFVdhECNSHgLI2VqYlLQ1xFBzyA6slphPRgevKbBOY+rib/gAcbgDkA6YVZl/sNJWp7NFxBvRcMD8mSp7CU6PVqxc9r1KjZOWX66iElQ2MyGeuUgpV2qQl7+rmETt35aG2x0v3VeZ7fb8x5lKaGc6E7cJ/HBRto5DeOllo1BfXAvpHqHjwgeltjBPiQgAX82BllOPfySWTUn+O7xSYukkl1frinNub+rfLEgLg4koDX9pWDUYKUbgghXyS87cM4sYleCSmf6ARQQL/Kq4YnfI+LnWHwMvSIBKLT7vPMD8v8JZy2Ob7/ExaE1LgxRPR1C/zxkaTxBhXq0U6JmR1zVD+SpBbOOgRwyYvE9FySpt6JYZS30Foaqz0HsJJXlUj61j8BNuFkhGOuO9/gHCxvCZPbsANwrVaAm4NRPvB899Tdzpd0nMgfv+rIU47tlpNvBiXMEXMHfoU7Z9UT8SRYW0LGvDPSKB1jrb2AuH1BK3Q+SZFSyWAa6qs9NVQ95F5Isi+9oycNErrI2LxDHBgeh5QEeHawgHAHzBQrI3bj1+yG4SEkWU4Sn/OvggkaU/44KSGJz9Htvq2gTX4NfpzC/SHdnpAl5ruIPFuN7dr/W2k398AynBpmAbt337Ig/zmrkgzV1zlB0fTCKjApQwAM/fvLmHIrtRUnCXVCbQUlceXuBlMOz2OLQYmCw0/m2L8sCaFLqWjGRq8R8jvDQJiZJvztKhCRPkNofMCO50/fOnOJCtawW/ih3ojo2kT/EtnUSU7B/rffX7T/IqQeU69yFUe5nP97ZZCKz1Pie8249CcZBrN7KUStAXj1MMu0M2azW1yqjwu6RaeZeGm+CeMMkHUFX3aPF9/hF6XL4M6Apdi+JbpNNqmTedcQPGrgiUMJsESezeELo5nxa3Ig9/aBnVApIq9ZnoCt0vAM3b5IVe14z+ireOrT9eAlTXW7oOHAy+bkQWRYDuRKCVFrZC5lisNl67awqEw11PHM8/avkUv6P3znIe33ySjyKeNP5jd8JTg1QzU0f8slPkbeh3v6i6L4lkuc0x6aR8siv0MlyuJUCbklo0lkrQMuVXVW+nHDJlqftxQgfL670Fv7tu8RcXAGoeoxXIlmkfsi2MfGImtYJvBhEF5BJHoXoG6mgnk20Q0BP0VF03J0sgOv5Lbujr9e4xdGbRS0O/oPYZnLyp6dMlFFb5p7oK/Gvg+kXpkJBrlep4A/RlFHmWweyj53VBp1fb6LLtp0j3Zs1tPO09AdifMWruMi9vvEG3Q7imOe4JBfxMHt70nmyWiXexXZKjlJ4LMctBFjwTnW/vgQ9BfNryUiIehxXqtti3+RWFA5Qkvouz9dx6tSx5gnC3ArIfIFplghCvN76MuNkZENXaedJ9a5A8eawDARq+K9vtHdN/ln8NcbQc9KqyLrTRw+x8XFKK6U5UY6zYiuuRD6Xy6zybhn66asxQi0xhHOmspzwViu9KMS/F0fwJUBwWEVdefz7UCCnlbpw746xLiqulm5bG1zTOEX/WPLid/Edbu1kNV2beVax9wSWpPM8UZMVAZbRCy0AKqv8Mg+R6Go21mXkgLI3hD97Pq72ifeBa6M0fgX+6bod/jyFJ3er4LtulvPLux4a2VU3ZnmUO1N0rhDCBim0vTk24Mgo/4AIWcuQWOZPRyxAsoyJXLrvseVyMMxPMzgXelRtJtSSCW0CKdHrh99MJVkkOjNX7PNaFzw9Zu6uX3n0XK03TfUe2fbUW9BX+DZTtgMWvu07RdFB+TyCCUwE9E+46XBqy/203Ohi2g/3wsyWw0zMarA4LHsTp8fJveennjmJaRv0hivTi151PJnakPmIqITx8tUX+DHHz35OSXP2aFhBQL1oHrgUzprUguhHegVuqlhHQg2jiVnXbmH8zXIhzPAKIexTPxuV0tIfhIB42XPUozMOcsKQVcfeqhv512J52CFBrZ2qHVWvGfYBcj4hnyEAMnS9fMtY0IPr5DGFYgSPt4fvCuvKteAZVZ0+K2yzFpMejbLOLqwLt+R6CnPCAY0uPYyFdXoI8//FlP2HCwUU50F8RqX93kXNbd4dd86zN13LuU2pDX+TGZj4R1RX8HMuuNmgT8ahJvjhpk+hulCw4iV2Xe+46FT5WOAiJ5WV7tzwgmzVtUPFz7Nsx1uqa+Kim1I6zJoi3EbOB3Ww8dxTWSsSo2vKxuBUFgTr4R2UjaECctW1AHRg4vUF2w5BENDJ484nhrVCLqPQ1bBWV6z4D9AKw1laoq1uaI5E5gyXgVjcBlcI62qjtW334PXAgHrWDKiAu14nlSHNTd/2YJ2jOe+ihSCTeYAojGCQ0NYcSkHUgkH98l9LxZqvXeoGU5UO9/d6FmzuuGMPk0Q1SiJJ8IYe/QG0KBjVy5icBUqJmQk/o1RkVONiPkxshBlhpsh4LScVTw7IjfyNlNZzZdUN/hQqhEJhR7XaYGNGrBozLFpYAQyjPsOE3VtiweTbe6IqxHrHqo/ARZvHV39nhUHNeFkIOaLHU75kUlECYxzh34gU1W6nxQGiTMwkZ/ahSN6M+5Y8CqBseQn8H0QuIi8wveB2dTUdN5NFFolz8iRkw7Mw6VTBKlK9/5mNh0mJHXdIXeg0rNCBoZBPQNPCYlcjOWrYD/Yw0nAGDRivSG6XEL7t5sAKhcHHnzSDyFovMbDYRyzwPMoRhkR4RC3IZLbry276LF60QbR7us44119Pi7YPbrnvXws28yKOzCj5tLl+qgFy44R7/5eUxOpTRoNcICsMEi02LZtEPmXckCrC2PNLVRK/vy84GHIXNPJW4E7el32zEKcKSUKCbLMfUMcl0YqpRLpilrSxclz1PHRYNGcfaQ6ECa6fAPwvqPDx9Y+Tf/uwk/4bPYjo751QwKQvXwondF68hnbuth3e03eTtStedGp1dnuVfYsC3L6Z9OwPhXnbohmWABU/X/1CeUMnL+cEeLrOWvqJb+zQhA+dl9n2DLsGTUz4aiD5DKWP+TPeHA1aFZyUTYsYk6iTH2HgW31Aa9VFcleEHaQigYGnl9O9t5cShXll+nKUFFsHXBPNYQ+Yy1+5Ru2MO60lQXEnrgq5JZemzZyKkaVS9txuForiQMr21PirbgsxotHszh+NOwSmKbiJFYC9BvdqYPRYGtYPIe8J3TF+hMgUpQgCX2GIhZULnsvYqNKVBIEe1uvk5SyXo4I6vVAty8DuorHY3pauacIH/XcsIP0S5XVn8/FwsYsOaEimRWk/wNzwdHcC0z2G3EobxfzbrB8Yz0ujUl9t9WaM+wxmw//Wns+1ETCkGjWWuqnsTasAYaYELzm77fMdrGk6exZqrhbPpx/aiETJTzK7oq8WrOqNYBxMGhKzvPJGRMJrFheiumExl+3Hv2VDB6iRgJXzPdpxIRUOcULaVCJ+L2EsdUfCRmh4YrZ8LZ4GPShrQcoScn82Ru6Y2cd9AVZo7Um2cPqwDI03FInUtXHayEuoLss+gH9KOxteAuNVQCKTY/BYSziWNHPLw+ijmrV0ZqKTev2Q3fZrmzZ0TQO97adLUilmpGBgi8MqipDbSDOdSSXileHuhq1g/nzlMndmdfxvCaWL9W6cat3n4ve2QsFZZKWg/P1XOpBdHOACnWhUmXL7hyLYyH/2Q0I/nqaVKo+Q25OF6LWj1gakEsfNlq71Z5eYqrUZWAh+rkBnhM3HJaBZesh8m2rEF0goPxhR+imBjSUtu3PjuRhnKsWKd1mRCok2GENCEXnu+fC9mPO46i4eHdg9LnEPpfsHp0a1xxOIg0KV8dCKtM6d4SmyzDfCgvPldGrmz6RStR0wG2KqcZ1w8GOrvyUyrzIxJeUrF5kZlj7U2MUazTH9hcPspjZf0dywdEmqljQ1d4BnKVbKSxDh0lctfST/eyQ8xbHyEW14cSmL9y0oNwzrR/D5SX8V3pfw5Xq+w/yj3xqtGwtHVXXtq7ExosMnq3ElZFhhSjWuzgkkTXHhNlGahoZ9GqnjG6hGONV1t2yzGOOkuJLp7WP8/bdtK/0wyh/TRVKf0Z57uCz33neDOksp4/aRtNILE6e9z6CcM5qiHoRt5uKNzLlgtpzWAU+Jju2+nkV5Fsg9zrEFM/ZYhBypIW/VSLLLZCiSyO45qhJNQ1DawfnVXhmg+zovMTRgAcn8XmnsMeQ22AYI1Qvv3tmk2nwvKk0FPD4/XNPBwdb9+oANEEg95/dp1QbMeQKfcqdxZTqWu5IumlxcNeYrVzedSDnYtCHXO4LOsNuXdeHzT1tm2AsJxOuawqJiLAAPu4PdYQwvDsf9WR//Ts8bLG5/QqiQRm3qRSd1TAUCgKEP2hGVCTHaL4uoACo4ewRDfxm2rCEScp3tcEQ+LDG1WddY4d1cf6BFwwAX5rQxOvCxfqIBicQIMENDPO5hCfZbSNnWzctC5ECplgT8VHZP7ngxWThx3JPkmG91NHEKodqSyKKwQrwWI1pNovCFpgNw8/sq9+IdqjQROHBDrMOw6JpWb9gqXGpC7h/4i4vsgJbAOKjnTnIlLXz2hgg+bf4UtslDLL6XZXvcjz1twNl2nfixn4RAPyyKO1sJeqDylGpjMswIf0Di7ZXssC3Ts6txHV4kfEW49w12sx8S7+yPJnsEvDnbkslpO3pzwvJGHne9qD5S8SkQAhuHvPbyAVLrXv3k91ZyLgKNBz5NiCbGrkOti9R4hcyentw0H8mRNPIY1qkaiifKeBFyuz1MXtlpr58cGJa6MNyraCVA4yQ7VFsfWAsbvY3eCpShgIyK7W+Z0ZTPgNChyGTz59+wDSTJyOR5WemsPW8ZXk3t6lzpxDQ/ZLUTxWGwfwjenueUKhWaVayhjODYlRYhRzNy5dXBkCdPyVxaG58tQgeDaaQq3qSlNJLQNm87Fkk6HDxrOvJDQizWMkUGSoA2hh07WZjLSz7B8aCajtp0RX2+QzO8t4ikbg87v/fCsYWBxmNhYbuV3csfg2ZWuwOsKF6mDxgHJqWlzTwBCVEF3CRFIm1CYSlUeqGh5AbJ/+fmf935LQlUiXnyDKAixG/LsZGahnOG2Ti2E1yz1kjj9H5k2JFETuCdYDlywy2gM9jOGzs+OkFUb6u/c8YlEYhULq+XyFYAmOO+Kd6eVrLOHXtwI6Ndeh8pJ1lGgPqjhq5jURaUyjPAfKhVTo4iUjroldL2Zcq/IaNqRtRexLOGaaAmY5QguDTZgqDcSQG0+1pfilzyvCSPr0bjccj2IZ1pvcPYCRZ/ifiolO3i48pdhJhiZXxGlYwO9atQJECEH6xP5zboyN7cTDeTCZTeS8/+1s8KnVR1fxczfYK5IZ2gAeqdlWSG6lBHOTxY+QY8kBgRpHJTLXFyYngNcLZG2dlR78TsBnpo5N0GJO9c4HBSkxyB0kqGDlyUWTYqGTZtvVqtYmj+fuKbuUnNmHuhXuDW9WFuXIDfilYJa2reF84JZcoD2A7sIRjI9t4OQruFzuMeU6OtXeip0M/DTC3zuDIGouomTROxe6ICtBUflJiVsOZ2Wr7QYIed9oIpM4FqRpTDp2clsJR8PpeHk9vI628pJsZUB0axfA87NThKBAvIqgA+b37gbmTIIuvSl+iIoSww0NO0Xm/aDiA7PNrKvPyYPL2PkljdlIhO/n5fPNsHJDlzYfiRqqy7Eyl1zUqtL1hdI6wPs+s/6+uR0wUhD+2n3cIvqkj0wp9Da0enXwATaaK3GAibHpt8f/IY72y7gi/QUi9ZJQoCNInwdHDlET/F7mCvYGedGp17Rg1KoW1XjEuheJYDaJ1anHbb0+ls1Fq32z1GisHvU4JWyrYzA0u8yelREJNSYPiy/sX+Ls3LB0HfSeqQ3edI4M4U/5V60Q/OiTYU5aSJex1nokgu++9rqS7jOfV20NYc8kO+BoWM7+bWfWAkUD+cyATD0Vzlfa3d3B/Z/lZs7z8VrRb4hE19wIbXbAx0JP4QFcTppc3kJV3bbxhjJbI3xBwK9JxyXfg4gHukCmX6lKGV23lOTUfKk7fnj7kQ7OBsSx1YCnXXquOTwvLyoprEf/UnCGGw1nk8JZznJ6zNQej9EywiI66wttbbWKViUlOWbXp+Cm5RvIqTHqAAmQeThYV5OM5M1wxhKJhAyNZlQ+tnfvvMw2hERZ1be+AVA0MydQAXZapZ60Q0wEMi0PlxT/KIHkhGnY+7QbdgFgc7TVvla7ZEjSHqZLa4yHbmkaWMghhb/cNOXtrUv90wns0PSVS99HQGnKxxIkZwB+1gSr+OGaeeQ1EHHXvzpBuiKJUQ7CIEkE4LJu0oXVmgNw+mz0GtoflUx2i+QyLKwJeI9D09VRbrSyyxGNtSEI41mF880HfyHvjZSis4EGvtoRjqOnn8sRSyozv2ZssI+WxDP85VE1BA0Ft+VAwx+Wats93rHz7Wv006L82AHYtVfZ+8Tmih17hb/rKIJV4ej5vtYcDH9b4OEYIA75HWjyJMc2SZsVkVCPbXNpyiDrjc24Ot8T6tnJ/KscE/i2XLiDmB0ieyo/p4bB0mnVpymVUhwAm4gm/QhqXyGV+HEQ7jk5RW43T4VygfoGSp+ZgYIY7zJbRnW4PP5CPI/Uwt0kKZeMPproKPdJ0GzHm3l+YCnmdV+ZOyzkZSNJ6Yx6p0oPguH8UyVGPFDkmiYcPQqRkkJ3IqOyVHe27OrCDf5KXJTJ06fEOONUTA9NZCJQrHZfLM88MKZvE3tQ+xLdPr1MEzb3oFVKapFsgPi+N6BAs0vIUAR2Yjf7ccRR7+gTUb035ioV1uIaUJuAIj6ViKapyt+V+QpJbmSzb62tJnzjEMiGmY8b3SITPx1vHfNMjmOlrg/KpiKBSN6u5pFnjwp9goxaIkODNfxd2ws/RZooTt1zS7FYa6l7KQBaSmtL2KUCcv8a+WUBv4L6irVXYUPmPkstGoLV+WfCguf0ayh2T1jEvefhhc3gmh6Km6Iwh9Kuk0ILgrnIXWZknJFawiGXlYjEOOuL2zMR4qwh+ziQ062kuuG0R2fpckqN75CCAwGNavHvdZbLjvK3kuKq5krqbbtlKyzoJ7G3eZrGiw3T7q4TBDmWxXMffHB9kR2NoxkeUYbX6p5aMNLupy1FNG32EL6Pw4rTOhyZ7/VniJAEWZZykiDVsw3F4XPeyX/+PERAHbJdBfzYsUlKayvrZD/JpTMEJiyRBCKu9qOMyoo9jDNCFwXpT0qOWEiSP7GzbeiYMjSwyj31FEiNkBcZczRsUStyxdMM+6pg+kzxZhppd2noyQ7WzMNWMoklLMrk7kvvoGSGYBs009OiMBNoF1ArHTy9gissnF3lzhVWlqZWI3Vm7IlKoJYCjds2kXaspFcEi/2xjNs0J4vou5K5TvcJ9bdHJVdBhYnKpYafTPUZKjN9IZffyZEOWpujZvwIUMYfF3WttxvTVgmQHmCgHodMPCyj5Van+IvRDWj3c2PLJ+P+RrQAhOHfJ5QPYOxqtHEdRUW8PtkPd/VuFPb0kS8Fg1X09k3dspUwGXqbk50nnpxAIadzPPK6Sg815onDVsz4p0YL91JPKe3S5M7rmbthcM6a2UKBaWepyLiM506OMoObPn/BYhyQld7JR+E+i/+xU8+j8V5/gug6+DuaNppd4UA2gDDGs+4PcCsPjPs+mY3YG5G4t3m0THp6UXl7fXpsrj+7YnUqlBoaLvZ4Uich1g5TLo9ppqcPGbKPzzizwzIWOruQva2vLwGF7fsYk6hwTv9H1Gms+FMSO1oCGM7fNOkqnHJ/jN7oLQQUuGrz3fy5kYGQMHRWy4xNe22qUitLtoYBx/k/eYaYlQ5fatbIdwiBWCd2xxZiDD9+fMNcmLSsOdjoC2NpXoQpGSjjdHIMdJZt9CwKmVForBUWEkjMHfixPmUuwx30Q5ou7qOYSWz5qsNVYnA+al+41vKoKgTuNXW7y+0hJqZI4vNC1IRh/WHBgUYmSTcHI57HryXoz4q6ZgeiWMP1YHRiLEf1EHW/0RwgU6oSZeEgvjuuTGOxMe4frfPsPJSEjRqEPfa6ABPnPiiyCE2phpTiNzcmYKKfz6SmuVPPAm7B7yfWTeUHUkg4+tud7juXIpX8rBEQXykJxrFNyfeoQQNt++mjPBL2AUetJSY6LH9ACPDeCwnT/owI5+jH0NyDU2FB4ekRrHaAzSn8NDJVFn80oB0Ue0FjMVhD6LIeRq29ISw4IonRCgVFBdyX07wgZrIE8t5hI0vK0jo5YB2/V3CNxTwOhdDXeW4SlgcqLoZ8/y+UDrfIDAsZiUnFzuVuXYzUwtArfdIlCvk6y2JT6YctZ8IJIAggjUpRmbx3QSX9RDSxGwLVDOj5DWsG6WRB5g+zRaISlNr/2GTlZ96qlz9W6oCvi4y6O//03N9gPwUVUNr95/UVSdv0lxhvbEGsOHGEQsACPP+PKaWU3tK9nO8VCSrdxrtKCc7y8mAQPn+V3w8cx3baEwOdbeqfOqstRLlhrlfGTs6zxB+UNCCixXJKzJ34J2pJosQebwFf4qvcqI1yVFIZeQtmjU9F+qg88UBnao53Z1MGm0y0FFQgdSKwkEWmuuhKEvSLJVLkBh5kKmfS97ob2qM98MeAOgKOzwyFBUAbiArMhN3P9vw35U2Resn86dDamAyHqJunYoE3KD41oAAt/V0qlqh8CVQsXpmiJWM/nm3aEvjVEWeQu5/hLUN3omkF+pFfMcqArdbPkGJYmEufq95eGKwJ0rOGPU938PDxLIjx6zXHWK3EaPDhHjLJQVJouf6x+S9E03faVMuiV4RYksWqXZHuyssFBQEFFnU5z07n8GyeXrQERdtxYauTumXHK2ThccwgYsTKWXmNqxIgCylQrtATO2jlp26WQfThssa8Lsdi7WsawSl5F1EAIK4yyNkhwMaYqUdT9D6PcAcPwrcs1ttTwfpWhEChBDr+vCIWNy4GgjpamghVenC/ov769ej3gSjgOVizt4IiHzgvGbGn2A7DWLsBHilbV2uCTncnB7AUztan4WO/f/4PNqqf4tj6PIT6m8r9zmU5sf7HoBBSJ5VU1BS6BvWY2wGqA+KZvOycfOnRETScAoQxZY9PWFf+9/lkcSpowZ5wkJOwhkpuBkAFPy7aQ/CMY5QO3vCvUVGnSlKKiSo8Vc331VcLS0ykJ9ewsB9xlDoXRVnpBLVtBFQ7CBS4xVKnt/3CQLsWf/14jbB2GrNS05L5+rLem3JAmH60czpwMKKT1ogUaXWsZPC/aPbBYDz9+S1DhQjS7ncdR+knrJp/ROndV6+FmTubIspzi/vVCTwpio+DoUDdEuXL+ms0LHCydGTjadsNe+rLBUcnclXpDCpaF9dQNXJIOYDJ4uF79xE1JL5nZMFEeIL0aaXRsl/Ww1XcnwoByM2Ki/lqxSM7QocKtNDJP4nOU6Vv3f1lnLSxXSm9KaxyxCSfjiry1832+HxauGpp4wAJxFo22ttbrKzSasxnZr03Dj8MrBGGANoEZsjcxL5FTLJ6GSFrKbJqkjwuOlae3DZCpIR2UrUeKpIPd1b+zEydWEDEFcPmLw4RhsDpTo4jENoWsa+AOzJFaEN/XU2p9Krcadmlo2baSjNAMfbkhEddvQoPUmA0kQy3zRLvL5UsZndh/8qfWzBTW4rX/20a8jLSqaEMcdSoVofHuUBWUC3pCfnRPWxORCuy0DEuXBcriIxCuednWx7qnB1zyurlauWcb79/Jsset/8x39uUs5g5czChvckSVHkay0teDlmY27RhBboFyIW9mFv1lSuOiVF77VLGJPOJd82BKYdscWaP/jc941s4/dnDIijyPOy6Orc5fO2raxd1Ljli8xABcNKVEe2X0hCdQ5SBik2cl+9VPQvxurFcEIlzE3AlmLsvjPY9TtpiAE7aptlMHjYBttajEgwyp4WPbwL8VU6RwxddL6oypWo49nQMwMXjfaXI/ODy1cI7Z9yKMy1KkLjuzvPkySW8UTa+utCOkdWBkjayidl2eNi5TIlqpd1k/TXjmogr3dabL0w1T1zehXQ6LgvtDi4zr8ZPJz8t0NcLddl1+EikLNDMGwUFvE3/ZIn8H1/pEVW/0JsioQ5Bad0ZAf5SA0OtK1nJcaaGqmmB2kvh+9oxwX+iHFbAwbvnGdUvB+Epjo5K/Uh9Ms96nYsWCOrNVvi5Jb/YgU9JAAurkerbtNT1ZO3vigVngWlRAY3Wk5RPnHvOQWRvh6RbJq5zVg8n0ivR78k9brxq6tbyCiAs1WZFvWN9K14ft4o3O3QBlWUaX8LKTpLny6NP/9HrjEAbjvvT2YTEqorLyN3hE2vMoCGao0kNxMPRmWvo1GpSHcqrbbXbtsf/gvKUVws6tfK6WyPUIgp38NxzHzdcs0bIUv1xUfHUNMXj8XoCWdG6OR8IJDe8Sb7K+I0B0Y3uegbI2Y760BYLEJenZ+PbQECoco929RciosJoqpq7h1oFCawKfnze92P/Mshd5yj1Qh5tkF9VSRIk/r7uwIkvYkKS03l2f+QJ/JieuGAdgbSVxNqQ2o2wwZDnsfc5ICK4NJnvPPaM+hQwbSU6pdgtwJB74lZ+1joLHBbCSWrK1lJ7cIyH7Da3eAFEb/ZaCziF31K2HCSZ3mTKIcRRjpJzIYt62Wp+xJLB0VTWpvlhMdS1I9geHHhaopBfZaTzJvu913Hn3y0LMIIObOX/MAK2RpN5VNR5ab9bDIyAckAIIKsiWlwWcoxITttYfyUGlVyycARBuQFvzd7Ewsu5ld6JZP6LThMMKNCeRox7oQe0KcJg9PJ52UzjqvI1o4gZbWuSpDYnMrWVdrez7lPCP0BWTHkt/DGdJLHbVJNbTx0GyV0FUFs+AXBMP0seBwUKygGGkfyVyemJpf7mC9svRPjUJbldQ/XgMQrnOjI9uH4kTUaDGa+EWMSiIwKHAfMbWSXdySyNvH1aFju2oZrbcuKW4vtUpyNBzAM9n69yiOAutPdOoDE5Kg/hTeE64Hlv+Qhad+LxWqP+CoR817u8pdZJWUIUqRWANiXIgkCC83tGknei240YT4Q90wzBCxVjWuVRga5+D+gFb4Vsyf/1OkNxG0yqBgmcyyD1faqgw9mB3kZ3Wx0O5hDS/no+wEPFGO6AcVbryWeuaunA2Q1soGA1NjB76ceZ+LUuT2pDDcrFyaMa6ydyb0cmKikjIU7uq9LVr3lY/E8aiIlc5pPH+sxGWvU2536L+rVT5h8K/t3xitddOC432kLkpMJhRhwM9OXMATIyoXMG0XqurpaBTr1ECnfJgjDeqResEwzlQESvUJtseHr0dC0p/Mf3gceaX5UQutFsvJ5VJq2WNqIXWtmhDnKeIhgnVY4i4DlbkjmuuHxZWWYef5o46e0qIShKQIUJPMkZmTOrYJNCB1Y3mRy56S7u81+mlpDugi/o7nDniJG/8VS4fxZNQUxyEAJD59VHG0mkAU6BUN9ybJtpEGUIdGxBevUmqTPEvOe6jQcOdSXXCqOu4iHBguEXSBUhSxeLyaYaDjbvwig0Vkq46fhdVA5ww4+U37fOfaT00WvfXXMigOzXBV6mC9m22rH+z6CN7OxyQYC4r48ii6OxtD0kdqtH+tnCF9PxXpv4zYlNh2J38JW1VN7AdFIT7PjweChrcC4AL59qtAkbkR+i9+dCWFy8sogFppLViTusY3liCVmT5eYXglgkDPeB6Utle0HXaXM6dx0ssOBNRKxmvMfoidskqqJ2i115LBhAVxreAyTmEQjHyqkWQ9RRV5WgM2trJWxdPgWvb/LL/gRpYCplwqDOuW9w3Q2mIws6N8SY/g6PPrdnZhMkuPj+Fdo8Na+3wUJVW6SZVimMQtxjQ+va/3z5vLlbvk7oduo7XsNKp3eM3LD87pvPHqSUMV7OuDy1bwStn3svkMRn41mpAycwQvI2FKLE7BFJB75DtR9nDtxBKpkIHRXeNL9fpeugqyo+NvJzfY6YTP59FCrW8wu7U4HC/J2uT2d9E1dAPlnM3TFQqMRFE5o4QyiutWN4fSaZxgi1vk4xBnJeISSHsvmORNGrg+Pv5on1riCPv4778pdmv5nziIZ9el1FEoUO3z4XBek3a1yRrMkcP7nALsWhzFOPG0RSeVIV344gmdp0c//cUTCgmOT+B5he3qaYY0gMcV4qh7CAQrlzcwEjGHbVdWqXcavIx68o3u9eFs7eZPThsU/qfKPsmKAZ3SC2vGBew2DXsjnUJRfsjLRIfrCai0hnSVDZ+UsW0+fnVAu/NwUIWFVM6y1eUj0VJ/OqlseMY3Afw9oHaOgChRFA8Vo4LQ4waWmoUNEYBnGg77N8seqNLz0otxPjbbVJwOSk0uaqpUo3sXroz9dSqkkTQpA8hdw29j/fp9p4Dvjdewd2ZVxnjz9trlrOZrsr2v4JqtRaZI88s5k1Q/Z4Rt64D6ry4Wmr7gytlAMOE1pjrbmdGsDKbMLpxwtC0JAtn6GyLrgqwPJ4XJIJJ89qCfs2PBMQkyEAHtKRAkGzQmGg1gaVi7jwvrsw+ntKdoi4O5MMkHHv0BLU5PEDUBM7VImGczz+AnVYlYDqLxkZVtA4nuMn2mV1vdfI9Re7v1SLnUk6uay/57lGxUFrTkVl/8pBbygZx25AT6Au/PpuLtURpxzSDr5KdYCLjROHPujZSNewAPEkGgPzS9DJg96vqEIphlk49yvRdiSIQRpLNIqKqFQ35P18snKjIBKTa6xH8fSREGxhshd9kCH6nNuzv4i8xTWf9YNrSZ3Q5qb9TD0AzXyj8QWf2IS/nej7pUDeDkSriIOWAahs0TsSFG/nZQexiB7sPjTXY2HWyw5r0khTnddolqOPP93YAP0cXWKD/6KXiYi+XR8pIT7nkNVxAu9nSKVP7uJjEJVh360pvLpMwlbR1YjORt1twtAGqrBa8NZT1DJqI4mVc0TR/Ahh71R4zWHZPahH91qXaWtnhGpnG3Czfeo7T/5fuGHmAtbiBzn4nGug1uf/f/AdxWwXFbLZBdXSUZlz8YB8hBAFU1kCsXt853/DdbSqJ7vFuia2K2ZSarDCpneUPALqToTb9qcKOYgr6ZkFp4sWDxMAbM2JpR+O5oFOpZHCAtGNuivgREEenNxqmRCptkj3b7KlUeawBjvTtUcZ0jKkF+DSd7OVUeSMe9qez0uEtZVPQm7SGyH7g85a/lvIw9S6L8rYit1qU0xmALRcTj46abITrtr3gGQ5DX+EZrULvNX/YKgao/kIhoIw+/slvinv4SnIXXX6PL68yTledkKE4E3wbHLJJkdFuRw3dz2QE/U2gTdGX0sxGePoXr3Gjzbkgy0/Y1IKdaqhVsG2p48qrnKc6xyBG4eoQ7xIiVeX4fb+CcTXUw6FtltTipAS8Oymv/SOZmXWBVCrYmDarhcccLB9+Q0fWtrwjjMNDvPcwMYNJcZqyLmpoej7vqjWIlrZgs6Hh2DODVgkQdkjf6djkmgh4L3BrJArXXklhJdag9wACJjnuLKfA8cEbKzXWJo5KNYJn28UJq9pekN5/XUEFJVCGmAIOyEntsRM14UxAuRiLv3l65c4Gj9jnLJSqOQx9iNFR1QNQzbAjSCLleYahFKoiqII54kesTt8579hOHF3mnZjAnFAldiFJiSzvhera/Oq/R72M0VJg05eMp321XehPhHZo+JmHWoFae9V4QDQgbOf0bf8NXAB03l+Ge85TRvpv5D7EdzQArIMj3rYfCx0SZ1PCNFd1hkf1R2jGW3HndDJcd68VxfoAprw31//i2PoE34jGkZ/gHQOdgnh+mWXSCqr6eyZU9lMnf3V/hZhwbr3S+F6UXkVxF9CPLYzqun2jemryf6oFmL2PgNhH6aqoV4WkR2iGzsjdLwObmUNAyNjWyWSjRpWNTKcMeORG/umJ8L7OV5nhO5SVe/zstCtoATA0wSiGHMLmqh0ezkTUnIlZSrveYZqNN05pt4Ia7vtady90HZKU5MunyIV2vm2OL3uHIO+MWGpTPZDW07/hSi1Qhv+IVG5SY+CPkI9ipOb3KdB+sehCQl2/kzdZ+bf/4RCVIGoFD4r7Yizr/rUIFPOW5Xi/bAb1Upjcvh71Y1LQEJC53RHJ+MxmFZix0HBuMYMCsxsXnVCxaTRWF0LzZAej74De951mDZWY5Du2F5oNR7jo6n69DuwwWzFnJtVPg4D80fSoj6YJNX7K7TOVSc6EOoR4xUxqCZaldsPCsXLFxPhOcz4gj9uJ+QZRnDd5VN6AmJ4ub+3zyu/BxQdUEefEDZJ2WtyWJI6p1INvO4ijnIjeOjgHCNAfYgiTaANaPKSIihdOufPKre1cpbbhRTXK2uNWemcVDPY8VsDElpnlpT6JobgxCwV0zKZ09KwxNveR9nnhxPmnTP9xuTdHN7j/xv9fG98WuKgw+jeZ1Z0w9yoK0gUx8UJ+HVPBSmLOQU7JH7Bix7vv/AQz3HuQxm/Qq7JClCHMUqnAUyRbUzrnVtGCsHjeJ5pWjjlAAGQy6iegiw3jpCmSrovP0KAgn51JwFK7SOuWD3heVhAuJIGAoC7jHspnhiZhOtxPzudkr2LgEkEd6Hfm3WpAGKT/zXhjJ4iNMXx3AzRAc+rXAzTVPUdQFE0SjPiBLeQ/Ox+p2TbpdeeEOR/vbBgYtI62mG3A+xCzH1q/eV5mzbyzppuUcXpUWL33sTjiyI6enWGHxf2Yrbjn64hjuGTK7fS8zIxIN4KfvMpDeinZJ3lzm7B6mHkcp+Z23B/bJsdSRPNwXHTfzkz5p6aZdmMTKa9yZlOVCUSukHwwu8l5CdEM1Ge8tA/mMNoY2h3uiAHsl3GLoam2NVFKvO1U89sT5dxbnPQgcyvboT87bbw+GcLg9P6cdKcDT2fVn536/HiRe4xJMDy2DfkAouUQR8c4NcJtt3s8HB/yOHXGw4tzEc8VcgqycZCy6klAec3Y0zJ/XyIO5xze769maFePXSZMI+yiwTFnECtEFQPNc73cT/aRD8GxWmvvMhM4tS38Gm8dImwUcKMlLNKrqNXQjnRzLkMHl3lYMfJRJJmp55J0O2oLLAPH68ZMuH/8knFCEv+MJBpyXePqSbaQbf1aBU9ex/b3Uk98v+wseg/w0WvUxJCulGAb1JMD9tZrdHhGEYMEN1YFmQNo53q2iU8XYaRCG2KJUZx3R/6UKZzffpStfVtRmmB14DjYJzZp6FNqxN4lhtxf169pheqRRdBCckX+YYkRkmsG76FJBjt5szqt1oi8lsbxhE4nWTxnpdPyoCUMtlCPMDei3/hz2AyJVVBIByW33bVYrOG3F4wsS7xrbav3MVBwYdpRPNlPl/GbOWNrSM1zfG72HOWf9IdGEauvyKjEHjydczlNwlWM0kRccx7zMgJRuWKlOZz28YJ+lPlsVLKV/xQE/IB0dbeJhAT8gMopAWJ+X/zrswTBnHE8Rf42VeoSLEy5ONyiTE52zcAzyN5paGhQf1EjnCCiUdo7p8/dDDdzNOP4dEUYql5kGyzy88Y3fQBeL62lZNtFI9q+3Mq/BUAuf9Ft74soxjlS5zQlV1ZdZ/VaxUx/dfAjIUlQx++uZHhoaFdw+NuLLLHu1cJFG7NRnWTnApbTrx4Avkr/fAl3zYmbXz6Ax1q8IcODAAaO2T03eK2AJ1uV+kS98gsO0FeRkxkwdhTw2ha4PXpKO7Gc2GtXyi+KPmxYe0XP0rlilbGN+BvF+26Eb2khiHtMoLdoFystz3Lnf424gt6yHpTij1Vd2HfH7uZCKcW4SEltint6WBrzsyQXLJuk62HsX+a+bAKLiNARh3OHldDDhuKNg4oPHIrkYOdrIwE0oF/P0eHu7VqAGbJeLmuf/UtuKK1c9n1rfhscjtAJwps99El7NiYcFmqCKuthCM3dXa2ONfjcu6t8O+AjOPbLahHMP4ExBB/KiviykyhX/ZcJWv5Ek/hAhBr1clAFCXqgROj8QFz9Pb9EB+lcxfWaPCOcqE7MYeQ+Q53ymWWv9gZWivGfF3RNJd63v4MOKzlRvLzCEn5WzVX1wAUAq4iLI12gMRLrbbeqM+Mi1eztTchuFhu0fCwG42kh/Pcm9H1eXN+QIgWLCFZVOymhjwh467aQJp3S+ZefiYU8pQwo5WfDrRh3i/Xu1LJMJEmkWSbexK+DyU4EwXh2yLJ7OgN751QI98CgdX/vS4B0SpUw/pFT9pUWk67sW60aeoz0121Ri3jsGr+oecs1R3fbYnRhO8nnNvmQaVPk2P9B9eOfBUb+8hTnH9EwraEilIg6gOj/q75TPxKynPl0QmurxJHaa39f67NYXGIrNqhUyw/abhwa0WQ0rR/OIHYQE5UnjoG/0RLPw34A5d8XVO+DikSMkU1QWSTaCEl2Zrvqt5mDqG7Wd+jCCq7FUBIT6sgdi1x8NkykXs+2GRP6d+eRXtb7Siahow4OeGjROuNrO4gMSlu2SRZR5qG3CWpapqhu325pIdnt8zfc44+zUf0UWw64frdabQZJb/42VYTo9UotFvuwRySHmJ7aBBMMgqA/5L7psZ/NABSQpvZjAL/wJSoA6hg9cWOkNLJoBoqpIE+bc74S2bKhs2O88d/8l6NxKJmdTwk4u9f58wfrwDRspbil5Ptg2YEAgL44MOIuPDizuxhRjHE4Ui1Y13C2gUzMOE+ZJWf2N1OyO66QiLvTNGERMifCF41DSN3hhehDbzNFKht/w8nv7zi4eHO3VLMpE9nT96cCS4vknXnGmfOGFfqzN5oKiPTORKkg/VA7UvFmb1znkwBCQpmVkL3/JJUJQPT0td1sGKu5R/uHE73lSHvhsDkB2ZAg1A8hc6TUST/X6aPCaxVKa+5Aj9S9KrB88halJkJyeNt7rG5N4QhE2rfwLQvvsmMSoqydJOFfnoGXQatg+c5zH+g2+08UT17+MhPUbI7Fvf+vNvMtbPxEpwWcMtdBNR5ZUhiV21t0BfUXLfg3nYcbXhHtC5RZNEzYPx551VC+XL3s0HckdyCyNMVhcWBiUQeTTzoHIKljjl/q576oC9rF/UfTfmAm7pl+aVdlhYSM/dXSovdtjYa91AxbULI/tbohqNU/asVdiqb0xwNkqGWvrp0BY0kVHrH4QVsFNhskyCzGykl8u3vKSWFVwLFL/DHUHVVtyzvuD+1w+kzSxIX5boi90xZ+wd9rF1HeRReFWvx2gdhxnmLyEUzJSSSr3zA19hmVENfCBfBXcg7PCy6JoYf3oX22ypl4oUddNSwh/aFOq9/UCHrEMX201PYeCu4rKcwDR3NWTCavLcWW+HcDtxhu4lxYLyarwnzFAOARRgediiaz3sdSVX8ZXAcdxFK6l8C912tCqBHSgJ4UaJvkKMTNNgenuoH26pcN8ks1UALCVQPYcGh5JCGwgnPGezfI6TkiN4fdn7AfAn+ygDRadnCwwIbvdfcIPx2nertUCfAug+zbHMYZyniAkYzK1XCOvHleyPF6LpoRsVHeU/q8IbLcky0HdAkhTed0HSjrmN42cH4BvDnE1hE0rggk16MX+rTda/1eOg9CKCYyKIFgt4ML0hfGpW3x2cD70plL/DHukiOrcm1RfTIZkRVYh5ZZFyLDzunRC+9QcjAUy1wSOLK4olCUpeol3icKEWVWwEHcL4r50XjvFQKHnnz5+lGZno+EfBWutIs8GI4Z/xi8TXwcCJIsYiAgCo8C8849+7wYUCj6yNCtonJb5Kwcnm/do3lRk19jOKwF1UA0O8luVnwG1v1r5IztKXSkJiWWZT3PCYABP8zsso27CPfHGrXJHxxvw7Zr6orkTYRcQx3m4o07gPDA42qT6Fq3mECjSMlnN0+uyFjnRyiSpPYGAHv1yK08bgh6OnHg1uAJux3oDxqTB4yb0/uY1+sYktSQsKoxSpBYWtCI5ZntgYtFEDqaPwwVy2utABnko24wo+VVmmcjaKuD0tQJ4M8RGwnT0Lx9hRb0CJyvNQXzj3M+W9SncxBxkSHIlFL9nJf80dU46LoxkHSWbf1Tc2mNRBhlghZMjLxKUaatMaR8fudKQ7bssi8Jxv6LLZHUH89ojh0F7ey9/iljbXj2DpRIfj6UFyPZJABf3Bjyk4IMw0Li9/vMs2ZM1HtX1XzQfqEgqFuOyAap8mMpkBH//t4UTliVj/Z9YFO0PCq4s/jCjtcOTZdVixm/ObcLRMbFffkh8m5fGSkfacDNoXNVcdw4a10Tod0YFYc0DTRsjAppYhF66q+7dTIhM1N9xmfYMUCfgZU62ppML+OUIhCUkRJwfohKgFSGa+oAtgjJeoB3+exszOA3BEUPH3S/a5IdI6H60KFEnfvC5sdwttO1+Q/XfMOVkQqnDhVuom1y6f3bURBsOt3ZaFT17BxY4SipV2X0jzaE2ncK0U5mEPjYElEOud0aW4QUD68DV9VRcjFfbyomv9Xsdww/WBCGGjNQ2NMJEKEftf/TzlfWGjF7RYN83+m7WNiF74lLnn0UWCez04g6xa6FWwCmDqEHeT+to2S+zc3kY7PlMUl+w+00hEb0ZnQB71jRWRqrL7RvzMvGSMiI+GXPa2oHq3yDAVB14w1HnOsffHaS3zkumyveRFKSoyjZWfirV6rPMELtlfIAAoCY//Ab+j4WN1RXibaXlZE2+Pk0qwT1hnoLPEUHhx8PQAEDzfkMrtIl6G3uo1YXcrjr3v8BaZmnnl1CiqNbgoxQZ4wc4qpaY5Ezi6lo3A96QbwhmlWYreqK193GuZac6Xe7UMoHbAwfQXSJq0h5ZG8KXD0ZOr76SHzeYjNbWKMyZl6lbVcRtSoQxlX1EwGjWSRpme5RgUfu6iIl4JVFuEH6kWqb5Mj41YdjrhByu6oxh0mtGrltbQut8WVbqvqkJyfN7WgjngbtQxSdHEGXh9kTGi6ZSJHWUv60GFMcJs01AhsDErqTdoBDdI9mUbnFkzQoQWiURj3eHhrg7srw4koPxN4oUkShXM+ypi4bOJ/1iu1q7QFg3XIcB9G+gTIPKQZC8ThY4IZNo6VgHjuWW3Gy/8gMv8GYTlNxJSg0Cnf5Ty4SBZoZWMNjBEZmrCKRhOIhlpQged9rnn69lVcFi+myDOW+saQKpJhQTW4Wb3dpNwZ/0rqOzncuWJYHZ0Ph6NW1Cp9VlkYHuGoclCKga6wUwGz5IJ2P+Ku1Ric3WpzvaDPpQ7StKwuAFakQ18KX6+9XRJLCwk66lk7EyXLGHwUtXya2AJ0EqvdAjf8Hu6nGThkaCD1+l5RSotdFPV+EgZnOjqSdI+HsmqqI3IpiNSx/y/1ZJmo90eZZKPMS5OOJojrKeF2h1NAkMJwZ+r9GadZNHhKsyZLtZJNXzx+VdNaTgeonb8yxdo1826yZigeBqKMlCyuHwDtSH68JhrlQ9EzOogjjhGSFgzaia6dEJRZFnuQpnurblCeewntfR41PhU3mvLSL11GZbsG8uAEPlgvCgcEsBjmWJP3dkfEeRoOm73qbrg/kCn6HS5N19awR+POOgE/ePrlZ1beFlh2D/bKANJ8CQCnScsKworWXtBC/bw7CvmhScgrZjyvvrz8DenSWQI17MXmWilSHLz5T4d2h6IBZ8gEebVI2hXFSPP6qndZwXawgcf5MguH4gu64aICC2XyIBkAMjAW8drrhxp9ICsevhaMM7e8h6dA5l8rp6YMgdwRR91DzwNlbpmLJ6NDiFECYBuqQgFoLrdPEBjbttnMv0N2a4ZC3ZWBXHd5m1ENS7d02UXBEzjxMnd713eW4P1BNFPP6xlaYtveBGrTGIuU7m76cFwziuUfkbaqDXj888oER70XM081SpurouAXlDLZNZFwFxGr5WYXXI3i7chx1C6ilHvHgjGeTm8uK//CloXRRtcxwLnQ6KTtqHIFCIa2N7A+3jmZHssA9CBXNSmLbAM0qvC0gVbYaCepjUh0CwIbgOqmhiR/BeoJ6WYdca6NvM4Jyw+PPWK0/XTetW1r4mCvf3YMPYvaWWjbJtjXRE4lx7pH8uefc5BC/ZnFXEhTSilMRm9/CWVKXaRmhht52870tR4cQGWUnaKISIrUh441GOBASX9s1dggXLXB3VTI/MI1dA+++238AHBzkWL9BLtU0M96XKiJuDfRPEZUrLPec6kvfb6tPMQtXdI7aLgDR+QHXJio+7VCcKMGpAOGI5d4lQg8OknlOMdZ+BpxZbpYwCnKUHjd99QIJghtnk/b0TR+bwbk733YGSK4aCXdJ4MqA08N1qCt7OSRCqpTcpzbymDq94r1PtE1zLRn3Huyk1z7HW5ZU9dShOeWjWmBYw4RiX7e89NAQ9gBhm0M7kC5Llk0z/peT4KaXpphjCSQIzyOB6t2hHGuSJLeyqWylBKyL3xKn7fNGfS6O6COVMSYDxQUzNblcgtoIvqLiyoH/g5v4oHkysIPcxWariAYFbwZCdhZcx5FI1vBN1hO4zx33D+wsEOC2jkIx0YLOfjclWfYE8E+crnU2YlrnX5fSPFFSx1W3urPQ08IgFo80XP+Nn3xXHGrAsnpc3yBcHK8m4CSvAZQv5Euxb3ZURa1aINshoEfdiLbQD9P9hIpI5rtuN0SQZjSl8dqgDDfrw+Siz2P5ZAyIzeKFtCsKmtpg5sl2U3e6SBBpnfY4WxZ9H+6vZqvsSeLI6Tdub9dtxG2icfdphp5p4oZKKO6pWrd8C9cqe3w4XbGRjBLnFKeIFrV50YzRZ8JeR7hoHaM0/biWbGMNzzx8lNEjXddBnanUm+0AnmRKuRFWockiveyPeakph3+Z+Q2lLnQRJZ+NN9I0ZQowUwl1SMZVAsP6HnTBtFlyMRo9VeahA8QfdDlVIAiJVY/mVldInY1LUKAjYqJt/v0JW4gai+23YvUOwGIDR/3hApZGbN8aBYVQlFJ/4NCU8UK4yryec0ps5qpNS0S92lkuxSTRiiZxCTABAq6TmyJqVkjAGM18acSdN8Aqytx4OUf8hfkvUBAJEq1CJ9utsaGM+bKVsGMzDweh5SJ3R5E1ZtkgvYWHlPURYSRPj0m+h70Plm2ysYUu3loWVV2284mm9G5qHAqGnpSesBKJNLuaeLBM0PzW2gW38ASayG5/764HOYKgFOkq7Jrn+em5dHjce6wxg4neWTxc9PaWR9r+QoU0Z3CQLq+4ZeksY8Xbr96LfDzwUPEj0P6Xo3S0Y+eLqnB9PK6y4a9GeUI5+JT5/eV9h9OoJglyNVk/Lb2A89ALEePJlW9GX2UO3qxh3HbYxOcgYveG5H+GAE/a7HWOirxcgiv9QhAVwVIMPDhWt+mwlH4CxuxUpVdr5zf9bekm5OBIQFIDxVqyggR52dUO+nsvesgqR1AYSFwHpF3+LBkfb/hUVK5j68Vd4yIxADlPATxJ1n+BWYrcU/y9+ejc1jeKyKTic33RMxp/6bF2+KYtoPVjM0Id11OXOtFv0UDqSizKVsLMGzyoVwil2FjhnYRobpK0ygxHS45iFFGlRamO1QsPoVAdjczONUP3lj+DIFCynFBUh+zQl5IHPK2k2eZrRnQnjANewaS1eNFJrJ5YxEScEDTgXueH3YgHInQ1NKoAey32nuvtm+llOU/LRlgCSuFR2Fx47OIg9lJkJmOXUeQf3BtAGmhio5VG6r8sR3q4GxMfE0boDWPtsVjh/+wEt1nt8wgs1omh9MTKA/h2YEKLCNaRfigtil/y1LbyLNclglHbzfpW07W+fLfugPl3BScDoeB7YrTJp3xuA3mHR+CxR9QI3Pkxb96H95EC8SNIruFIB9LXgL6s3oQ+DKE8czE6xw9YuFmcpJp1FsKPAbwmC3Ae+TMd+J4NLOO/SD62fR37V9ZS8xUu0xd9ImZ5C9P4woV7+hndSFLUQkagLKyITjpdQDB9jnYBITQUoDm88t1TsBvjWun3Y4hzDcEF6dNS8sq3ltp/ImXRu+FWSeKbcNF9IkJMbLRZI8j4u1egyI85X3Hq6HPhLVz/nGB5pI9SSi4plakRO308A1YhjlH8j3xxsYUXE3X0jWGoxcm3xrRIY7AqrSpSdAkJb80Vw3PlFeAOqAsdznk7EZX3npGjXWu8+dO8MtZLh3rc1GyoqI7OKed32TCV3xbwFrmrwXc31/R0kWLJFLmunr43Di3IL/KM2nN+UnT+oqJ5F3OxoTZImFatKmXT8xq1rqJt4Gt+SggW9Trz7jMJxZZwARJibAFj55saNooZg6JnkRzUdL5nK2ZLeZFmjKHCku39eiuCct+A1U2YvDo+hM0mr3ctzZ5d8LbpvNjpI/BdATKy51g0t0QdK27mda+i8YOqeZIaoMZioJgzBZzDxO9cGF7xdBTZCHhMTDEDfDxPOTVg3+J2uareqgMW/32O5ynwS9S20K3UVwaMb+06pwMGZ5enXSwpI2RET/jxfGxhNIrKvA4vFdC25EVifR2vOhdKGhHaVEY3WGsVc3L8hrQdUmWD8O8EHMmF8qnZVP+0hyoSYKFX3D8wJYzJ55gM4u9Mt0L61U0O6Vm/XWcmLedVwYW5szT34cY7nOw9t+d05/dLZRW15qkhrM2DvvrAAT3xgUaXdhE4CGj2FD4mIXr8b9yEET2yp2j6kyhLh4emhfUbLAonSkUbooub2Wwt/QOP5WsWpCZM4yMDQkH8PjJlp5xjy2e5IKLSy/mpsj8BeUcqjcMMf/sFWQ6ANTamaucihWbQqyu9IPUu+yNAGdNVdH5L0OOibMztkWhsv7eg2FzuCWD1OGZ9KZphlUWhx5tLAQM7uCEZ5cOpLZgrJ99QgWLtn5kw9gYkdpELbGAHDUdQ0fiJ/1uDPV/FZ3ckcDmgFAOQRMd5ZxvWipHlJ59+lQ+tlNQ2g3IavZUvz62/U/ibyrvAIqDtLCiGS7wnfnDfe9YkDcvPh6Ppc9qTtDD7wH7OUq5JjQdkW+pHmWd3kK0wSEHAkhXy5QvTY7jo599Q1HNdvRtdehZASugtctg1jaPcfqhGa7UgkvwdA8T+BaTpfM4j/FzcwBRNabNP7OsiB4f33Lp6hGpURhTtCJpFOxyqzIxpvNd9cjcshnh5h+Pk/L0CxcpHC65uF3nLkPbYTQwwyxGdIbtDCq7r5/Aik+pO3nwvp/6tefmOtrhgapdx8ZST8+D+NQoMtXLCLaRUyVkd2WSb7eqdfkbB9Zd8BBwnsHSke3uIEUJfMuhIXyqdXtQNJDpcCQt36yy7BLwJ+HLyVj04NUPD2kNLjz5esPsgFNa99b9ztBoUSHvJh0dBrxAqaEhF+FiYmeYICCOVDf6i0jznlMFcgn9nY/n/d7WRjZi1eSgzCKrx5SUXx9Rz+xX9wFLT8IHi2nbXdO3bpDxP1SY5f1ZFHxe4Bio/WMH6K/hPHJkFFAt9qW4RkGi9eXNtoIUUEVcaYmZB70L5U3kSplo8aJVl77DqST3VG9aEzppl2WLu6DyK/0gJziRdqzcbw7/L182vFhULop9+8CDee59NrPkTnPPDn/jx/tlPTiooAdX/EboG5NFc1ubhXxMUU975POT6QZ0KU5T+cIzJCMseRvRtaGInmMTTnFGg0vfTvA7+eLV43O29VzIHcOAww2LMwoc1h3mO9Ir5GnyLFu28F92dYZmyVpM+CyiCVhM4O+uuiUh5ZxLBdRvUemZ8OlCXOu+oH2ssQ9nm3Sdv1h7LJTo4wb13PtdsCXbb4tNvEpHfSJjxo/5DnlvsIfw2qjdAsIC1oEqoggghNWK11l+E7PXBJ8ptqsW1HUmqsKs2zdtj2vlfmRTgIeqJ2sxq03nuchi/vdVWS95UKrzbrUBfrkUJz5eP5a5F2P6LO0QMHIrmtzj4SG/m0Y/AtuUKh14DhYo5bbpv+JfYMit6FD9hY6a1BM82mrn2oMpFsx5HSjVif7P9TdMQmTQbCUcRE4ZDB7qhVKmURvQaYSeVfny/SeXoTpMpMG5IzKkTVsNxVz7zyrfltWHqcc2UKCfoispf6mmfJIeI82bLiDsKkRToX1mt/UFWSEWfaeJ3exxtKCEDXL27ZVvl+EEizwB84sVVAQa78QqMN8ZUT+dpbXFUnFzg6TFB/itGXyweG4hyprcD571Q5bnc2H0hLJEY7VH7bLxcd3676xWSmdFX5ezbbfkQK81YiU8GiFsb/OftyEJ9E5tYowmyP/1jMJBDqBghaylxmeffMpgeTwEBkczTYKTFy2MVzdw8kysVBC6O2ZEgFNPnmSg/NShGbtzoUfSI/y/+aVMnnCVDjEP8K7Y75d6TMPMrwzgqhMYX+sD0LH5R9BY8C/rTJaneXfSn1pDqT5X6B72Zc1c58fIsqECcXtL0n1S8SmwO/cYt5j5HnQrilo41QAbbq/nBKGd5V4Xi+x5EgKBgAkK14Gr9HhIEc5duMGkgwdsMW6XlwY9QTq0B/pVelRqixFUhB6jrQ45NGAl1Y37uplgpScbKR15zGirgpQ2+OpZ+3J55kywjoLohphi1WT5Zpz5vax4xaAuUFi8h5ajmCbosXF6WhHTmJlrcq4ZzhA6oICUPXATEZeTJqpH6GiY5ck3+UhHbquJ1pd0ywk5SKovejq9KLRrlQZVVknsqVKHaPTgb5wKjpcaZeVJzh8IjNoPbTcCtdLqL32L4A5xflVsneA4kxrnBly3b5ATIVFOkt/I0YJAol7a5pIlS0VoSM6ggCMX2cMLKTWVpjrBhy191wcjhZgPk019PvJVafV1R6i8Ib6GMLcqCTnrfobjvvMhN3c29GRHNDSzEH2JMhpByRMEZurtyKhQ5RXVmJ3wZcSfrhdJmVo6FCnbVp0imOtiRnvVmwbhXhoQP2nu+v6gSenJEUywQnxhbRM8Rm6OeA7EoOF0CXg6MobpnVVWbzNRvk7uS9YUWLlVqK2URg8K5XXYnRnav2ShnHvlrQZ6zE58SINx/SmzZ8cA+7FQv8BUyeUfIyIP9n7vj6DFZD2OMUcjk0F2bddZnANBaEDwLSFSu/k2RYnFQf6DVYauAnXSHstAkdvD5GqhVM/p91J4Iqo2vCA9leM4KdIi5i4h+zEWKIJYPVZS/3TUHSvXxR2SwB/3teVnhMW/srV7or+0FTltAJR8S8E0ZqGe85vUOO8XYC9Ou+DN67B/HpWEoSlrD/WUP3dMXBBpY9YlhhLlk1UQailq3eaDuBzUyLzDLKo9rU2bKNA3lNEycTZTZmVyhmXzlHsFs2M+AtPqFE5TVRNwA9FjXiXifHsqwIJ6sqm3DoRYS3cHPml0mOpA0Ki/JCLIgsT5scxaJcBcE7TmliD7f2E/kH6sAjMaM4DzRCZI9pGuXJ9/WpFL5qaM/P8MgfTMfO4rClVQ6dNM8M9iAe9BXquor6mlMwn4DZxZe2Wn485NbGxu/M83JWZax9fQIPom/KW0mFQsSSj8iA9FcOrnyxXmm6ptdWzKnxQJJhjOR146QR0yEoTPOtgpqx6M40bvDrRtLO8hwdriGE6VYV3kj0JuL32FUbzIlEvGgzUk/pd33Du5JnavAvHQc7lojGi/XdGN02N8XqbjajFBgRsabh2ZnOYEVUbQDBYNwHbLCqFvxGoRYwg83eCCAa5PZeBsvJZt/EQKlhk/AxjLGfkl9Vu6gftYfBd3z8q/rInw0Ohu6BzQHvDCn1e8EYLQDNOb+wz2yAYZhJ/6ESpo0jy8z0x2jLgxuhmNB1VWX2zbVe2NMr5xhEeLkD5P1+a++QRDuNIVbHMaYSPMtV37TjlDEw+PjkN14Onnd80zsb+EtPwQcQvcx2L1JPhRlavFPcYPm9D+BH1LcI66E0v4NcJ/etfCjVw6IYuXRaGTGTo7uaz+MERV8U/1lArfVQC/rl58rN5s6kCy8HwgizQb9YHirjsMdsoQqQ73E2Qu6nIA0fqLYrkIwQnFZ30Q0Pra7muT74YF4g8hCJNzrbzxmNBnObD5VJ5ywonctNJyrakvxtterUiP0ECS5xZyLARJBWBPTN42rlHy+zLxXBtA8d4KN+YG42yU4xDKnZtZnDLbTa7CtNyzrFevoy0Sck7TLdcYpq5ZN6Ff1eFOEW31JDqvSOKaVyGMn8AYkklY6HskPYt5w9zPbnFcYjqNi4kT2hxw7l6zF5QinngW433JwgNC96JGP7HuyCNrD7opdDcRN+/HNNRGhwqCuFFVNcMecZzxKVixFFOfriwASte7oBbjCpdjZctlt2CYvroHJnltbQZzDBtIbSzLcYcFN6a2jkOKt6Q6lgXYKFEO3Raytblc4Tjar8PSXX1cDr5aGSUyiNhrWCkSUXvmdTud715JJr9DfOzNkBocyrPYucMC0CEEI/VFdTSFbD38KS7DHB3/0Z5YUUAdJXlFSXzmnPswmCN/LpPzsluMOdWBGtvQ9cIfUdjVnayn7iZS7P5n0rUGrrQ83kCUc6zHHZMrNXjxvxW3tb5/YmCOjtN4GHXFUYKFUqfHPOPAJUFcgh2Z5nl3omEy3tXKqXckXFz8Us/5EmTK/HmrJEwqLmiSCJpwAAqFeEiUy+Fzr/71TD8gGOmktveawgQkVAm9m2lw4A1lfnJXYLWWY6zRbMZ8orNOcH7WE+xjCjOh4NRqGsKQf6IARVXxeDg9UGkVOnBlvFpUKFdow/W5bHyIyaaotaRVQ3EZpnt2ECqKfAZEVJjUhARtrzMCSmsihONEtyQR6Sdtm/5PPMQsINnMXPFHfhvJwWrT99lh5++r72/UNwu88Qe3isJ95tBy9jc5Q1d71e0CJtqLTgpARw+UcG+81/WrAKb8IbhVcsG3eBCoTHeyd2ts2SCpC57HbfsvHFR4Ma/3l0ikrIh4VPgZCXRNfTeeMKnAQ6mta5eb28CVKT3EWIT51PqdYwzlr9FZqXSIFkDitjDRmpnEKVundmKZPkS1bqgUSWmDTBs5FiFxegB+azVboVw7d/Odtd92VROAopjvo6fs+J39oCnVf0FcvMr8NlzenWTKNjVdugsSkBNOQERPWufblKTqARjaW02M3WF/rM/w6ZNMCk5J/pOiZsyiE15tZUmderRhGMFWmUXKYe0hqYEAj5FVxafTWc/5Kj9wRCiO1iJYNlQjXYdJ/DLMwLJySHFr98ukpGsf+49JEkXpnXCyxEv7fZclLMS4otM3HgcZObSwmR9q6EaCDgwIXNwfzAtB+F7GuUfNaFV/4/I8nYiDIYrhSPVKLycdVbtpW8+aNyhxc5VfkoHmoqGo9jm+mmFbB0FV3+sL9R0xW/Fb0PkXiL2hinZW6J50P2J74H1SDJnfu6Qr8i3S8kzXAUcJWm11pM7DSHnsjCxlAyHx8FysVxUrImgxa2CRdzh0lpUfusBLZT3Br7M183hRvImaLws+xYOvKHkPj7yFaCqrbsA9tXNsveYXyeHRAE/7hmHbT+Dqf5QwvftTkPi1Pdh7zuEEzlNP/3HeuCz5RzCs887FCirznuwX4Bst6qoT7dTjIlIVVKOcjyiAYYUam2bvDEaaVrSOy4DDisEL+vsth1dnrW895UxI49oWtZ3DkTPpzny2GOCc98LYjIkq/d9g7++7xyPIhPMf65UEQjfn8asztM4kFk+p6a0Z0nBAux3VFEseYLiJhPbvdxB0JJSsoCmol5FAGC5MGLeXcMmmsix7wbNeZL0nK+v8gZmCYiXc+kw/Fwk+eLiaveI9vIGIIAPyM/J316aGqxaRsm/lqjVVPA+Ch0f9IR0IG23TmMQde4XM9pa3klLaWbRgzf0cM4d5FRzxI5NM7VCyqRCrkCWOhXUUXuNFLw8GgRG+u9jpQefUsQx8HwIuxLz4tqfCMhip7qbl4fipWxT3ywDMr3O8a3jlZkFLut2AyYoapltsdhzhqvcnIY6QvCGiPm8SNHqjWGIut5J4fybs0h29RD7aRHCZm+Ar3u9ySrNbNiAsTR5HkqVMFtDCggosCw4LRYgpKYMSEXdA7DVj/qemsHWzlr8VOeeQUk522pAVrzFBCJS1/Dax9eKSC9OL/S0vjpU/X6GcvVfn7ROQlTQ2T/9IvN4dQbybs4yQ3QyJ2O2yD2wmuu4N/JgWabKzaCilkWnLbj/vKk2mdin2KOl5RdOCcu4dV7CuqAec0bs77pEO6CnxgWKOUHAy2yPKbaB+LGKXktsXPsZE7IJiyq2FluFm8aLoHRJYFOA/YND18UwwHIfQUDC4IhMWX6b5HWu8qmDdI7+SU2FBx39o1VNAMRBiNvVpwURhK3Ur/s+61mCoVsyDxA1winSqFG81cBPGy+doChaiN6opWloURklHGJ5YdSvHvFwUdmylTXPgNKwSxrJ774rjA/KozDahaRRYPmJJZx8ujNujDDuXzSL4UHmI6J29uZXr5fM6NpFQuCYPp7FBMNwMCPUDIGzYrTuIwMj6gypWCm12fahDTc90/5U7Rl03bRMVWYfcaECQGamR8hEHQIgkesRVLczxJDb+rVIAd56N8D/xifKaRcqWX7KjHQKSI6Clq8BrB2HgfuDycCCpH8/fogkUk1K3iqYHTVlV77Nlg9AVqJZ0EPuK1mpMyNVewEiG2138MnAuXRbcW13+GaM4rBf+Y2K6UWT/o4SsSNfEsxoR4hvcWpEHwQEvZkBIfW7CGrCNFkJcgxXbeLWma6GSK2lEHPF5zVwkXs1L2bDPMvanXBVBMbhcX1UNdSTeU/Mn44u61CPnCdWWxkfsjyCD+Lon2ygcWYq+dVPFbjnoW7rYM+n9N47irTwP/Xy+Z3RyL/00y1mSuItulSoV2FrSq64glLZLSMIuv+iwBCHBkGf2GAURcyYDSr7O1SpffRKI/6y2mC5VddYwpiIPAt7j1G5jxL18RQCqziAqsqBVAA+5Pr8YdiGNJ/+MLvTj+g/58GUwX0qilsKZOQE+m1wPMZfNAxc4fEddFSUYMvYPTP5S/h3D6B7Jf6DO4QnRpB4ya7aUMLOa7q+9J2FaiHfcYTSP+WCzTnIGZJI9lW2fy+S9KHdof9wtcgvLFgDuXr5vbKOwdU01nxvDHFhO5vvk25rDOOoZxiou3fM0KzEIIsK4pCG+J+Xb+wCmjDxpYRuL26iEiIrFNn26lfsgPWs3UxUh/jD6uR7De2cZMlC1eozIHMpq+8ihCcODQ+annlf7QiXchABjQiGzC0Bsdb0eAL7Uf811N2H5nzqOgnRaRgxro7eK6c2OvH4fBfUfJyVatiHZ2WxlY4YPN+VABRLhz813Dk95Bk0JZbndgLNhT6o+N0ys9PCA+kXOvS621CEhujZijEslQ25HOkt6QCchULmzVrMC+hhGW2Rk9b+filIDT5X2PCB+R2dEibDoiQwdF1Q/BS4XDxqTxr01IhzoUzzBpgZH5P+S4H+rLisVQvJOwFdePAOsyH7yGa7das0h/VqW6QF9OBj+0hHu0WHwQ8EqrIPYxXOnMVuLCPKC55M9QhWD1Ii6A7uoeMBNVZWOs0/FJSNW9bVgHb4rzfl+xI71I2/RLqhroJIjhZ6uXYF9bmI/us7zsFMwJEwfm+56YZIqsqzGyKEtT0akpemdQ1EoGshPNRv9D9ZzMb/y6DBgvfs9S4wRzOmlBTpcgoaNoWHmoJAY3xcKFKuWperTMBPBgRLVHdsJVDMPn88LrnOfWRBaIWxil7Zdy9oE6t/ZhW//4w9sphV9q2CX8W2fJlFOswS38HTTfV7Tm80MP1YYNtjh2nQA5I7MwbSaGm80EDCYhEXnpdmD2JQ6qSu0EUEscJOlOGXMf8mYPpei9JCuunaQGRCsu6XF7cr/bDsGGcpAM8zO3EO+iqyDwHZ1LhSpn7RcdRcibC1ovbi3Km8ljtBzcg0POmnEHKS3slbpVM+p7U0d1z3gScl+wayB66/GlXvd5TkcjTiiaLz4LpITmiDVeiIsGwVfI6zmUEyBm9ta5BRz1lRF+U2cI4fVRGSwKC+CvywMFlQEa/d5liL3YwMvIhgGkmAfetZlJdjVYtq6622aIMlxwK3xpXxVeGdfVHWF7Db+Grck2ULN3m9p68ruIULFs4kY0Nb7gyww4xNT5ct2f3VbjH+mtwAfdntry3gEHWZjL+Qrx9TMCYQmMnSuCmKRfB4LjSwjCagm9lP/mDqXVWfzxlsrfeU0a6mpZY0Kg/5szhDumxApe7XpFCW2eQ7JJwpKH6OBG3BefRBWo2Pqh+UK6TPaJL0Q95IZCJ6bGt7eiHU5MgtMbA0EH8pYExSeeaAUz5tMvRLyxcOkCJUHpnEGnm0yalzeW9lebMylBufG50Wk2D2WSSVDLqLA1JUblUSA/RIUw66zv8wAYv3lZ+XTMkyeTSdofXEafbOi7nLqYYnmhzxJe66gdCiz1v2ZEugpiD1DSbhMJCsiAKIi5m9fikUpaLQunkYLr0XJwfg1HSiL0j0IKoRPLEGWRWGdkzZgnEYXRZhRhQHdsZfOH1MXbpY/yXHgpwhHT6qmGbDsCb5y0wktQTR/kcO+9foPlht7qCMWzjvew3nVQNI2TowAsVZIoVk8EvTK2Ym9utQOSy5rA4AyUcqVrGK9uCkgXi/Te565ateONW0YXjy1dZ8RkkxtIpcxXT6e/RmfyoPg3cAU82UheAfxVaxWNNAXoq0VboSkLqHx+XjV3tmBrFXxJ6SQAEHnD/BJe12uMAgeEQq200APUay7kTkzlJd4bcT6OW1E2wZGHqTh7wf+ojax/EDOo2b2Psofa5gUZ3eoUvAKXa7g+HteTv+s+LcHxX/2D3eRCI8BQeupbrQqeQ3Nrl+jytBTMOVVZT/zL8ihz0GybNpqz4yOETZm4ZlsV8DpTS8gBlieyhULDAzryM8nX0FCegoUjUBt5tSKVWK9jXoSgAlfG6BSy2jIl+TWvcM/axzXr0AWzq2SPRJ/t0kEFAk711oeqRf/oWK0YCl89iWFsfRFCwiAXum8KnkSITIslDEBv91wwc41t46LmofF0+TLzl2Sa34SPqyOllnwzzUi4s60q/uUKod76YCrRUvKfZPDOCENt9XavQaAb8cErafNt2CUkBIs7PLVLn3I16ezoY2J46ZY11wWugoJZt958RaH1/nHVQE2fmzWZnelPqYAimZcTzicnlFN2VKoAJs3c4DPNkdGUimMm4272zP0V3Vv0oBF3Fjo+IInR67JwFz824HPQSF0Ke5YWqVQiqXATyoR83vc7/DrF9isFvYZw4IMSC+Cx/IZKOsCmm50V3cUujW8pDzue1DHcVdWkMN5nBoa8cdOsKBTCPxxiFjzSGQv91g/VedvcpTqCWqS76IlLEEYdewxCn7h9wM1htFgPvELatLwYNcCJXqbSJ2qd7XbssnP7IkX6OOjiI2jiRIQiUEw8enE/gXEs3x7YMbCjeQ95k58wYnsFkpcKM4e+QsHiKg/NxgGfTXX7FCU2SIHxEHp9UYuFTG4hPmlIJaebhHkzMcsueUVTYddKN1+1RpzdrMLlp0o1BG1gY6aGuK29WSPKQD26FtfwvhppeHlEurauu38ZZBJ5pmqHeOuP9JXrmTRbh0YH1MEVzg+uh8xFA66cMslM6wDjZEgEkmf+CVL4t/C3EO+T/0KADO4p8YpeHzDDRnMw1nC0tyz2kWQSN6kAYUSp74iKgxz9GoS5EXVYf/PCnihqGKK3pE2qKe2jkAcPOVIxfEqJY6eFm0t//cmwqsP6q5Q96a54j++EZrow9FlOCjJE0GScTXdUpLSigkinalvO3itZVhy7aW9ZlFkcF3Tktwtyw8Q5mqKO3G/bhCjBv+esAetgXeireI75A9wZdoNoJbOsb/r9AW3mMTmmaLP5GswgoX7+xD/VpVgubzlwcKtvjDj9y4dn+xEi07FFZ7+UB2ErJmtCnwB7FyBWzlumvqjVvZtLqlZaocsRwTHVWGgZmWxED+UWwgcWTn0QdusffY6jC4XmGnTMQjvQiS9xlY1ys8m5TPyL2VMCaWB0BNmlZkw2Ow8ys0snrkq/AIQyuzDZGkeYkIgJ0Kzu+h1kGD4i1Bh7GVu3LIVswN1qNOzcJ7Qz/fB9W+9NQmdbLFEk+UTcJ7WHKjz/FYVzyMiTU3SVJT6hgkWtHSc/BaF6W1ihNJPq2Z6smQkoDqNNfU7GMyWRtwUOSKSLi4jz3IlHPK77yyY9MI2J9FEqegGLlVQQe9pJSl2um6nIm8WGbrkJ1Ml8n2ZKijajO34r/+d9so3KAC0ymXVPT/JPwAFkm3bYvQM/gLA7Ibg2CPEgch6tc1eVOWurepC0X0h6TzOr5ftApgnVrtToNDLFQidhrYmssNKp1yFICgkjMR/7TyCTz1xilK7QnQJ5IeoUWZM72fCsNq1GuY6kGmaksRJFTu/UV8BSZSIV2GMvqAtDCBYfHuzfG1nhmWHLhj2GmDg8A3tpdKklwxYjJYUuQkdCaNk8MaQIUjXPAQsodMx6V3zNrXtH7rtRzgM8fMhaP5dAWgaVx9T5YnCEgeEn+TGnL22OjA3NkdprP22pTL7Sg3bthJkQtQ0UpZjil5oMtCRkGrSS+Ntorbi1tBtMGafv+u6I9QB9rEZThWktYPcPSIlA+G8KWrnELL6Pd0CR4wNO9u3DTLOsLKfLPnqPMUJV7yam+mANUnOzokUm9erLGpFauXigWU+T+1lXOqf81RxiWaNndjb1oOc95zMfjvKqBri0K5LSyq+JANsdVOU4adHozo04DfnEAPzVqp8zviFkMG/KSwcQIPoEQL5CGrR1zbfpqw6IDjD5rtQ7hyiyX+weqRDy/f6ORgI9Gp74bc5Z4WgavlnATVE1brTTROqTD7+X8+/1oWBsTrmgeIGG5kHBprk9sV9gX1ch7gv74dgI8NBKbnYEk9CUAoxJIWy1szggEvyVdD7bWu7OzFz8tla4NDlPOcIrkMBjPcUVQt+4oPesFvrn6EiZISipWxHLeXjpv5LKUhjcFNiIoyzd5+ZIp4mE326BY0kbmO5v5pWzxOy+t3Uyg4C7vDMRA2pgHwd61BrA62sTLRjRMejmZztWXmVvE0LtQbAJtywz22JHHIhc1HjhIiFpFI2pg/ulUhhaCKYL9Q0x+Id6FJCWIoHcrZjen1sp45aIGryI1zZurmWRyKvkrmg3BSuoZJmJitiLwYO9UIpjXtxzlXsynHKyGE1aStzn9j/u9E+GgVt3x7yxrG87jesO2fxq/Xwg+Ge6o4Ymb7jh1R80OLsDArjcqEsG936qFu5IdOszt87dh4bbcJbCTtP/jMhAkWqgb+MjnMBdJ3291cCi8WY4JqIVF6zEra1SdgQNO0pQDH2lFyxtMRrklkxAWXS9AK0DTyy0dfEalDvcKhK2r+Z62QbZb6zarP/PflCyt7zbakvH/bYjpG7bcftxZQksyi0EheYypPncm757KnKeE+zx3E4tO3Py50AF/lrHyUCLrFELDNbRPMtzCeLfZrmAQrcpT3hyV5rW7G/7Nwz6KQwxo31L4oASfd4mS4KrBwg3vJRmoEsFYQNf/R9fqRxOZhEFb3jOX15CcDWuQqfC3Uqt1h4uYAL5kxcgIIbL/mWgNO+Tm4IyXnptTySm4fb2OPeb5aDUDD84EX+IcrQk/KHMeAlDHG0CnrVyda7C+TXcZfMlHJbi384Qa083wEwSQR17mkoEb9KpDoCXg2u7ZGKpJtar4TKwDKSK53WXKwne8iNpaNLSe76eMP7jFpP3YR6qi0pK8CmOREiAn5lvFnoV939c82dwZeHQM2JEzE5nadag956HjiZoNaFLGcMHCdHXRkKpPUC4JLDZiqKTTEY+0nUnytk7yqohd8zNmPMVRHWSF0gMjPyI5N2uBM8vXgXbGBi3aFEN4Ra+OqODunTlB/ADIejuviOU5rfsviytHyvDtuifFxr34zJ9Hc94Fc3QfQhnQDS5NQ+G4LlLBr8kZjRiDtvsKv83wbKyDXQYr1XrPe72Sp4EO0eC8SL8wYovwdt03knhRhtSkXqICUbQiW7LQ6BLSnY5tvVdOT8tKG/Xu+i5w6NIJJCm7GAUg6j91mqcvK3HJ60JrYV28ZGMfCDMlrO2zg/J+nsLyS4xgxOb2uT1JRTcS8yq7rxC0kRQvh4pB9fQwu7dWO+w+y/oNKLwkvhftYWsnEK8Msy3wv/jPpMGfeCn2WreVIbwITbn3hLSYaxtOWxlSh7m0IEnTiY5wOeRO0MVOc+kSl2WNQXvg5QS9xe74X2svTSuFxc6CmSSSo6G/dMYu87UQymn3mJi7XKQp8wRKeWcCbteSnwr8NxtNFWVq3udE6R/HiT9DrQlM8GZ6hDIn6OA/FyxKcxrJCS3lNbBuuulq6qzDlLx942cGX0Xe3no3N00Nb9u0ax5UQjR0jvb9DJsQExfRybddt87KkERQCmZlsMiZbLWVDh8XPACUxfxmz1C1Vpt7jTLYfzHILRXazMX2w+3WPUl0/pqUisls2VPTBhgxh6FFlYWPo5iXx8t6V47uIs8XP331hpvrm+zf6TrBHoZ65Jcn0qXI2eggOfHju+VB64VqSy9pREBBS3g8SsOEaplT3tVS3dx6Nev+pnnyHQtPiosv8ZhUBN7BFNB/l94WW9X3VLguFF/LoNfil7z8iTFXJRZodxsmo3noNv8VkfCrL4RsPpv9Fut5ZE8dA4O82r/NkUlo39V+yYu8f2lR69fUMW925ZHmijJ0bv5N8peCQes2XVgIkIis73iJqjotPuDFwK4qwzDS7xESo0o34qO2xh/R550cO8/YcRxnUnN/ooG5io/vasKQGTaTGkWrgGN9rL+6V6EPvwLB1HXap20mFnfOdNfCyhgwixexArqRcH0wLW55njS1ssn1cM+w/kdpxLJYhd4L7hAbyXTlnjruZ+/VFzAIq4BUg0BSj7aoK9rgTvP73Ve3OFgnk3RBAjqzz0uHSlbB2ZaIlgs+79+gcOWS7lh9zg/gWboN3Uc/pnp2d/DmFtiPnim/R1EvCojT5+c408LSvJtoPaAchhwxmrLn6dbEAjXAs5Z71JsipkYwO2MG3kOqBHhESlh8pOuyZf9WUVJgbpueGrB4ipgGAz62abiBgI2BMWXulmNWwC9mxzjZM4+JNrTbU3Fv+LBBYz0i1qtWsIGXSBbD/QRwJCuKcO3DbpMhyXaMJM8qlwZwPiUcO+ipac2n8GIfloiCo7roc9E9JtrN/js1Duz1Z0nariMKK5uYjFFOZMEvTu0VllckH5wLdgB4z+dPS1WoC+3ZdseTgr3RLuXUzdthkem3WA8M0YvKc75YcwQKtX4ypHEOZPTGfH/53SiKleOmqQdkXluSCMlaKnnLcXe65tXVweEXOH0DLNaF4WaOFtWwXr/2EWzW++T8OsL+Ga4aIPARdbV13AV/C89+vF6sRqXnUIZl1JOhrJBL+P/tzzb3vVDhVM9BALCsUOHC0Pm76mYB7jVY7pqGdA3PzzkduUSrphHjVYh48H1df/V8B/J7r9jDGsgrZsY9zuvDY/tM1ARmH0Fcpyeqi4C6ykRKCnSIjtTDEdX9YsI5SgOm84vxZnC8dQ3cciJWanwYDQ/GWhki5l4DbwyUFDGG5XZ0mq473dQ7uggCvQ7VFJcr1TUMfmOfDAbQtkjfhJQE75NXao2uojHSnPm4AP8vIOOoO54pP/NVAWhpHKCVMiSKzglP2YqsFQ+fVkTMv7kqzGJxaOftyWu78/ICFSUqGQRTxeAZ3RQTACg7r3AsSC8CA+nRgx5In58K5552nvoU2xVxtRRcfWgWrSDu+CoIDOBE609437V09/P+2NmJDVKu/f0yUklCLfdDE6H7xNZqtu/P6IUXtm1JYQ5n4qQXu/XXrjdbC4uxmVlTrROYGG1srnhHsIttpkhH0ZAf4BjQZfXi+Pe+Ansq8KAWPQCL/H07YBldBTv1TFqN//zS8P9bnVjbAzL4/Z/6qxIIpeeAiZTUUK1+a8cHE53+hjP44c1qlPXRN2A99Avl2jgheOdsO7IXQ5e2Za0QcL/zg8pK1RVC6WMtAD8lTfUw7rLNTbUhj2XDYB5Ch1ZAQu43kva5ubx7VOhpqA6pobXuTmNejptewQwvTWIO3bPAysTDaAPO+9qmmvQsKOmO2cBKDWFZ/ft0bcRoS9Kf5XcDWFo0ywlDkTKbmp18Us/JaIxlgwzqM2J1nBL/2tvcKdTA4uodecxM9BPwhDvXhPjk3ZpoYOPQtt+YeoTPD44gPfLB1TuLjV1lzUzRDI1cvV2uIpsw5b2awM+QP4WSQdZOhIsi3mxC31hv7frlxym+xaQZUooIrq+fPlJmmkLyYyTb/GrempBdlnRYaAyb1B4y7YWrtJVam1+AysGfmFd/Yh7H0QKJ3LDgL+o35IdXJbxXza9pZHEsEvy/xWP4yP0DvPUg4Yq1qDtu8TJGPt2qsgvl0gXYdGRpHJXBtZPpR6NVoGIV/wBWI1aX/eDQ2DH4kfuPYQ47WhnRbPD3mUxjkuHfdB2YcUrtKwRcYFf6E980tc3WZBbjlQpiU8RqQTlp7hs00JVuipplYKEckZlpAyhV9etBK18daxG/LVlQXV5sVyckw4gxW1Khr/PMJtNnw8usMSf9uWKv2bpREYI1dIZBt5bLMDKqyQew+9RGrQ5SZJjiv+dtufxmyxFXl26mhxb/YvhaKwaGCjNne3OpmGlZulS/pU30tT3Mcd2LRNDGx8FOCC1pWjxWzyljyqbGgTWzZYSFKJWCBpldNgz5pZ17yYXd9yNavx8+0vy5z/S7lWcDPvpRr+K109GOFrjDvNXTuNIVDV6zWNiyHcA7ZBLBKlCogajAkvCIvPP3oYJUImSn8WAbv9Qzc75E1zL0uxGJxUzJtTnEMJx/Jlpd0iTbGxMWFqCiR2x6u+1evy//yDs3WgoPYqbK9Gc8E9whBQrRzRvocjQTJ9HFzP5vmZAdzWMo76ljDkiMWvhcOe1hdQtHEfWwbeBXQsqCFMFDXERiM7RgUS2zGnVb5RmNOY5wAV8ItZV4v6jHqC+SDRITHFT9zn9WMRdWiYbfR5U+HkgkOIzKKsmIuzp6G1V2xcW7byDspD3LdszMZUfy95P8VbcSxIuWXl5oYYNGQU/sEyICr0aHkVZKNpCxjntAm9OrrcELcdlCXvXa6lKNvF2DGTil0rZQ3hoAxCjbDkFgItol4lTAbj4B/SEwhxoxE/SI3T3V/Dd2gI1+KiaAcpyQSFFvf92S1EktklFMFbBQlXZzyv/lXH1iUsX14JktSa3M3Ot+IgTx0vvuR1HwoeJJxBy7+PUbJoupGMIe4q8juDwcewCF4ep9aVkv4yK6ODHJKQqhTD16SEPdNICn0rBKboEi4Mtb9RBKCjzBesQ+BxHlrmuoW1FC/WKX9Ag0k8KDqV92ehzShG5d7+PRFPdAmRS8eaCg0I0ARzKle+3zZiteu74aH8p3LIqJ/VdP4YdU9y8ZuSNpvscYPR1a69GZ4y7M/ycYspLK6DKVAfotDzYjckr7h+8+5ylCAcE42HgvHOVo2zbzIAZ7DUAhA7RuEQjpcw/tug448OoRyKuNgfUrGnJlJk6Msdw1quShCuvAsuBfKk7VaeHnpYnpppHzynuKZY2R7m43q9MBUOuaeZoxo3VCkf1IBd5Q/eKUKXuK6uFkyCBHRPmD50o2Ax10tX9i5iAHKAvqU8YH31+DQqGmSDZ6jEySkjQfvskvkJrV/SovhpNrVF7TTewqoLQQRFhEhdiEGeNa1hU4ZW0uAL32CCa7zMTNMo3QgeAcUE2EJnqSlm33TuPpPFrNYLTdtbclVcAmieG36WJ+7z9wz0oivp6kifwWffsf5yJ1z5oDHHp3+PewFFIrZYS7BI92TF3cIkzzZkILBB83xvxu7Ss036i/4ftwxz0Vj39ltVFxU5JxdPPThQNtEt0FGDemgbNFtYH/HqX7NTJGhGNAqnB5I+XpUZIUayduoFVKNLckScScz1W/GUU5s0CMNflWMNGrvWqN5Ryufxmcu7RpD4iQmGM4yLj0cSeLO5B/1UCWDtDZ2uidaQd/7+oziMoNNx7kCVv0WcHxrcek2xj1yuENO14A3k6WoKass3pzB+FSP4Iyx1Q7rB4/F126BY2ilmQJ1If9pjqsU94QTVJmgZjYYtfmy/frZH49C9kaylq3JBwssvt47z2OqIpvgnxq3FI5R478AqbgspwT6jLCi/nnkbtXXMyriZ4vbT/AEqxFNfaXjXZmM9Pr6mJzmwSNv3Dz+CHOpP9IYJQNVgSnMXzYFWezZz/gtRPcbh6t8aDYIBUv67CNMMZglEmNzdEVJQXaz4lAN7B/TGjromtC1wyisUIrhArZfjppqS4M1zTpL+y1ReRbYMVIAWwGx8/T+I0ALhJ/ruF/MlRU+S3fCm4K9DioU5Ckxbh+31KN8+2wVncx3zp+H5lyqZVwlc5RxcIwDCyzdjQMKft9T6vG2MjXj2bVEgMZNrSrW9Fk8X/BVvuTg3ILLSVwppXIvxxvbt3Hi4C+4utxNK12eSq/HpiEKPFKjbdGrOaRS0bxZj37B0JbRMuZ57lwZ0jkwTekXcFCGho8+FM4pDDE1Z6BT4WRD8GgchoKjN1reu689CAZxhgllbKq1oZn+jNcH4QYZQkr+o0d3YuQ5wqd7oOjd5ASKn3FwbTfcueHI0Vyl6BwonhS0nTjKpiqxQJT3GGh5DNJOYXSF7Kf2LLdIjsdiqtRPDlNmDA09kG58CigrqjKGSZnKHKe/qGNe/SwTEjh2k8o3KvXhgzu0Ovc5l9dXGNINICpYtaXIURqZkAUuDLFzEFPynWmBQ2rUTDqArHplUVIT9KbQeP3rEqJOsRe+2g0Im2y9sqnnGTY4yfVukEZ25zxavQrPTSOpp47FN29tnushKSVkIl2iNCFhb0BEVkVymlg9eZ/QewojXjd8VgayU5W5R24pBJSZ/6pxHV5mP0xVwALbik13lWSrRk5PmFJsqz03R8kpjLYzy2kUVdkKOguuvpv784AbN381h0eUKWAu+RprjXCNK7psrOeYZ5BLODjI6THCvqcgR0J74Om6UcOZ1mp0o2PrfHtRTtpMBnt+in5v87DFJssHIrJzx79Co55yiJogbxlICBCKeEsr9LuQeAo9VtZm9UDu8zxuFZGKBo9z2W0qWkrfZqRUsgrKUoMWq8JK55UlFKSAbaHhSg/1/fYKMN4HpMpsGqLW4nUAZSX2l3O+3hMnU85sdk12MKS6hf0f+f5WghP9zzFidkVesw5/GlpRVMbPP3Qd54jlEfAL1z/VTLV0trVJTQ8NsAxz7MMA35RbBDCIt4ev7kXHEGRjnrBcYBkf0AO8asbDiY5FCni76RIw06y3obTutOvc7ohivxNsu4Gw09Mct9TvN4gY6q6R/W9bL6HJbJNYKeWKcAl4kT798eyQ9DJkpC49SSrqUoG1t8oanAZg+GRCFzdZfO7y5g4fZ97cYsRtYGp9BOAln9ui0CZEXqZlFB2k1NQdjinpPxh7z66tz3T9wN1AUztr3yOOPYvUeIMHgnUqlN0E6eUf4fo4aic4eT2/tWY70y98qL0dYuVXd8d/DsTpJP7u3j2hfElG0IqgPeA2R/Ix2+S/QEnrUFcizq6/jcBbMoYKtR5eq/Qi/VYsMl029+/UClfeQZXedg3cR2mN/eA8AMR2yGPjxN/Q3DX3U/NThUV7LC/lsu9LjB3XpPdkt4jxfIZTNHDJ/uY3VFsXmBG6skb9MhKqhAuvzj4NjIIWyEdW2AijJvI7H/nWRZqvf6XSmApUu5rH74pwqaDM6xOOKeBqA8ANNlGdI7/bY68MgXUSti0zOd/h1+g44HVIRO27T9B8N1swf86HblFJmtFEu2RddOh4xe2K9tig/Fq/F6DReFo5o++wU8oAjdQPTGJjs3W2RAm8//W/hX2h/A+xEF/wuMeFJHQ7kkt0n88Mx7fuoSBwUrkqStXok0RP0t4EK7S9CIJlUhvfz/th90oZDaT1JuxOWGlInt+ZQCVtU8FoaGdy1Z0MBS9N/w+nU3dl/8VK/PIYavvmVZ1frEEPKMlMzY4zURj4qWb+86k3atmMlWKJolC93bOaZzD5T7H/YI1NXGP/erbTGoDNbkX1+JZWvy6OCcC+vkUX8BsP+NRg1d4JeUxhuKcR87ER+Utc6rddfDvwnpLqym0UTkEsOOC7F+dypEJpIZXqGb4lj4hXT8oqMqJ/kr/zKtvTjFRkzZrlsNqV16j3orm1S1fs+C9FfVDcuGPjqFH9601LMzXoVU/dDRPy6uOiJYg0KQYL5DpZ84c2umZQMdnzX8jnpLg5BvM5hFLGaAr1hClB6bUEu1oTT8WVWA1khnbtcwdHDcZCYaPJJLhaXdDBiLolvRhU94s3ijRsjvh+NJM6Al5qFy05UoG0VTrC6mckuJSh7Oo1LcssxL73YOgA0S3p/c3H1gt5n9fAVAucMOeUu03/QA9dwZw3BascnP/GDtQ95KDiSK9ZSEciaA2rgeMBZqfkXdVViWCSrVSdUXsVa3H/xjAIZSWUWSEr3Lly8sMtBrPAc2HL82M8zOMSHYo82bkd9oQl6E7OnDIRRVnR9aabE7vW7WB7iY/gJbeCDp87sfsQT8isD57B1b1i38DCbmINWtSsB/0UE0sf5htK9Qi/kreDuaq4nJ32K15AgtRjYEuH3mgU2MWkuf+4yca+1ZuxWDXiLybNbVzBsH2Frh7Qa8wn6NstLFXk3k+RHIFkYX5bmjIqJ7zGFZMntOkRuO3fLNYbPJnVUCWrzNQrZ5FFEsl2IqCLbobWiSae8wiatNjHbhGELbpbkD+SylfJ681WDzB93MQVbbC8fPOuzpzv5ZABYK3vYjEuGv7zxARlxcLZzDsNKJ0KjbHvcUL2b0G/nemKmfxf/klXAxToeycyq3Gc8HAuZcbY/Ic5gYYKV0YLuJzzuDFoVBAsk1S5MyADzdjXDA9/1jqkT6zlMXqySXv8EBkvxhCDzpbktwRZuOvOTGXLlVzmuw+t61Ki7BxGpr2AJpuVZxc+us5oYNFhckVsaVS/FP0jxGdOkHzBPOST5yhTtE5fnzbaMxHuj8vXezBc0QCk+ykNUZ+Bwov8Ar1lLTYpC8086kEYsGeUH887pCCefweXNxRaUHHv8AcKhJdblGD0V8fR7OM/vtXF4DSFMMwsXMSfMopeoaQtfNJSUAGExPCyWB/S68F6LbMmHbL50SfNFLji7dpyRpvi4DWTEvMilKWB09OJ161455J/Bhlc0jQTeqYWaEfq9hPLgJI5t/cspt0+REHDFtJ7ELDv4r9UAuu1UvnV3nFmvxl/UJLccD46ckrMxloCPUrPE3+oOu8bw8e8LIIOTA5dyu3dXwxAee5AjQnqz1Q0a1tyzC+AU8xQjYMzP9InWa36EnlfPqMFjG1rW6sTmF6raJjBc0ok9Q8w5CqZNUHcgqM/693yRfKKV1meLtA1LVXb7CV0OmR44xKPsC7zt/pJUQfqBs0mIryQJza21/1/KdDYexFoI+9GKhDtBJcZnBxRhB/jABPQnOBCv3RwGKU5lKGh1tOwVYjeuRUEbTl4eEyebpXe5LRINfj9ZzpE41ZfFBezKv9qogh+my2Hjl19Z5+5ZQkhsYRe8CI68ajaUzpk5TWrt4S6Ei6CbuaxVAgTAlH53c/InZdv3Xg5u93BJ9oIirV0TgrQEorxNIt1lyl7eYIakZUofd1FKHo/PzCqL5mbzbgNELvxDA9aFpvcKTuYt9ob4zjkW8UuD7DbUTROAAEhMoEzHIr8Rx0aW6a6Ckp7FNXswG/KmLl6crSAWix/Lnx61VlzF4kZOgHAuC8x+3Gyw0GszAZpMsdJInYNNOXLwSb611rgM9IOr3RhisFuxO2Gky8G62VKvEWEy9Twn459DD776/aAtggbT7F7mLyMlGVW45iso+MxC/SS2R8tKwf1AvfyD38bwBxz9Fuuug2cA53ZzAKRfIeaUNSQBHxJSfp+/O0F3jt+6N5vFUPdiybjCbeQRNrxPecLdPJcA97LVQu1zI7icp5lZbr8wDU7AFe9XkCwsQ4umV1+IdUQfBUIKlz1NhfcYoE9efzP8Yf+fcw0hoHbHoUMnj9RTrTAbB+A1fIGdHuNqCDDvr5keFJu5BbHZwwJJTZg3bVs2oqJQB2hrz5w8LSn32kpQeqlMyirVxdKy/MW2XFowTWFKtE8VB8O0WARPeqham4xsd4vQyCameXkZTZox2ZMePdpPHt6kmzRLp4Rh32B9oZ6Wy9glnO9qXmIvkhG0LTptfNTfcC+RYkM0DHdEOW8rgqPSCfDZoVSmGPfsc6VDFNlkRMrG2laqQ7OUdapmNbF9Uje+1P5NlBR1OrQTycYITpmIJFT3dFad5Jswu1pJDDPArs/5P3AleKQTXn4qAZ3jfewvW9/deOm8GUlwBg6Nro9Y5j4NPvhzj+fXSIR5lP5kgjoVHMZs6fXL/7GuxQqVkRbFm0MK1TIIS+xuPMxEua+IB9eVddNANHjnT+qlZaOZtHQUpOx88rVO+0nTmEYlxUyjnyigB7LmeVn1k8WzaYFubgx4f7FPo2gfHJFjgef7zuxpz1MBIxCUsxfivojTairbHd8cuAkWU4YNVABDyZhzwS1h1ol2lDvx1A8WO9YcAA4PpYtRXe246lJLPKq1JdN1DfGvBtXiQ6Mh3kcjBErgve3i0O9d1ZP8hBWAzHlsZvAVU4/bVmoPfoUxd41UAUDh37F5AtA+ey1p4KEnLSEm119yFCNqymZtVIeAVXbQ6ygSOv+n9LGold3BWrJEkZePBh8VSRDcYacarCRLPCzrf1T2mCUoS6jwvFeYb51ivPhfUwfjpBdh5x62ZZ9n0nSmx9tHeZ3Ct35m4NGKLPisB6OZwfj0gxSlVnr9jbgGSkKBUxt41AXy1CMv67JKvIixwB3lc574Dq/+wJGpCnzBTOD1QUVmLzojgevkGtrD8bk81LU/gO+vuEKzmBv7hZM7KriQv2HuiJYMqEU2CpTYyWXmfKu2ezcJzk1MCMCgfCJ5MvdlAbcVqIKz7Bw2oVdJfURiO3/Mq50B3nN5CxMIm5Fb3vDjc9nyXwo14ZsWZjaXfZ+VXFGb6KIiuV/pOYZV3OsVwl7j8R45Czrl39nR2lhAZHKnWRiD4f29u3CChAFzH8eXfWQXaRs8gI2Bq5Hx3cnDy/V3cSPaKt3+G8Xt6zTtIaO9LC9g3lWn/4QUk18gw5Pqo258Okrj8k6Id4+q8In7IYMg9P+ogmJOaxSEWSRm9gYdcAi0w2OQeHTEZSFXa4ZyhyH0+8LnAatcEGqDbw8kiCgxZX/HERZVjgdLEMeF7EmLyuKKgZQHSyJkeLMJTNieqpxrmViLihUzgXZnm/ll4ffryh7T+YaeRXR5u2kQ7Ghd7eNvja0iCehaGaVdEEqtrOV4pUkzLiiTInwkqB8fTlol59OAYjruShfa0xnKw2s+uiWGH8Q5ZvOuLNUP7D1txHD/FUsgU1t0DXDzSAfSfIvQ2aUZpe+OvWqMdmnnlVOZbpWaQtUcIk9X075662lxavkQY+UC9YgJqLPICEK3OEOheogxPX4CGDLJNwTrWrak+SlHbrWhIzF0EuOjyVHOThPWZnEcLnu9grDiTOIFE6JiZcYB2FSRhL8Np0WkthN5Om/uF5RwM9+wbp2TAn6Kdq6CFbSj0A2uLhVFdhcxHKfvqmsVvDc9avM0GnPKDtgoBEZBoenu8fUYJx5NQ5lwGrxMAiJR80GzSrEQ2Nix7EriAbZeQOSmYgNK8eLScDQunnWNvlVmo+q5RjRBpqfuXbiZ/21jqcBmhJrnbDSwD4doFBEFBfYoo/clyTXhBfJyMBSdyaxKkT5/imjSRUTFn6FqBeEqs/ScuuBJhStew1HxmriLqvm/EzCvNv9YjP3UvKBYU45eB0e2KDAIk8wBcFrljbvv74epTqLPaODvD+6A+AcDDCwo62HtdX183c8/UXxjnye4sb6TtcsjA6wsWmaXCDN9oMDsBLKqqb6Wj9AHI68rDpL9p3LPXC9KpTPkYIzDYgmvUkTXrScm9oSIy5lBYymrQLz7Q1TD7fZ9RfV+RaFwJ5Nem5Ksfp2OWLAgLLiCC7J2zzdWuPBcx+xcpu5ewnL1CqxYsqYEBBaqJnmKffCzcfAsEYspXR6ap90oMp7jkYM7Nnc39skjNF46PRNFA/TCu+0nFp3ce1BObery58ASPqrEAE3+i87mKtJftR1Yy0UssZMc/fzrIQn/ANKTRtoV7dUJsoujMRHTMmw9gRrZ5RbeS81DYJx6zh4h4Vzl30marcMWYmT5rqBwyzw9QI5BjhySFW5Amen3JcaeNH8VOuJt905Aa1Gz0032K3QE438XiS5dTkmviMR9Rab0ZDevrpXO9lvOPaNKSHszKT575Zc1grC4YN49bRAnj/IAVfJhrsn4FhOb2bq0Rbo2WNGRYFApoc5Kr0DA1LOonEewQVk+GqmdSzIT6RXpnITyylHDUxEQUr+hePpbcT4VO+EqPkaIX9E6OFuTl8BMC42YE8MtW7FqqAsYNhMrdTCoztmcF9P2cH/KYQeaKLVVDSvuBlisZHY87rcXZzV2W9S4pMyqO8SA3izhT76c2zaDxliGz1p4FoBSxfmHxidqxwb93VKV8FVP59MOb3bfXKZYYVPzVZYHRDdzD2cJM13wjHJd4TfjeJMQBwTrhA55iJcbVCCbMuGgUOJaB+W6RCMU4KzNlQaLGL744RCM8GD51KTDJP0ukLk2yog5h9k8b86qVdrO4HECg+yaHXPhfXZHAnEjrZq3/LO1OEf0hUTTV06Lr0tEBCUn0rvU5/O9bUS0zx3sRQngdCPDgXPEJv6IgZRQH9x8rFVGzHDtPYI4QN+VNLrlsJ7jv6DuZ3T2NlZ46aBkbYriqHME1dG5qnUG9DrLXWQOmH3eDZQCgmVHruF4cSRGPcZ02VmDA86z0xCl55CkLbv/oTrlv38kMR53ixw4hMKrWfgaQdbZ6RLhhbNGyDZ7BJXPRJnwlH4JvjSIMF4zVT+UdUQgS32Lcv6w14B9F1/83axuHui9UbOAkO/iAxEwZ6RHvh7kLQlQtVhM25g7V8IoxrBK2sc4O8taRGxdxwIPrI3Imuoxh+zUPDKLq9/PpgOS9hHq9jfheW/W21WPwYZ6TG6oWhU+++LW60/nYAUxhKdkuxMT2qn7ArOSTDGaHnLqAZGfjifQUtZpf2QRDVzo/3Ym7udi6y9lFhgQvKTjaXe5WKPyOkrOeGI+ltB/yxn2/j3DIITZxHattxEvd0FeW4bd0xUDRGlpDjHu0I4y+I+D6AejnAtstoszifaehsKq+TZKh6ZSugHdzyUSp6TTvKJeEqP2swX2wrk4y6WfbyrNGWeh17EUGluVyLXc8EbmTtoM6vBlLeXhD+vYyROp3XOtqb0JE4yCjDb9QdrI5u2UDgwj93Y74txsMYnPtCQ9+4sM2d6hjDiMg/uLME4pFaj5TvTY/dHNyCh+JNnH1C+0KiDDBkiaVWuPU3Syr4y5Gdf7yMpNkerMTS0oqC1WgO7+ZQvPvsOkYW+a9KKO3VDZsWR6gh6SVtaqz/dpHi8bTGOS/vvjWQ1QHiZMAjFsfSR2ETjp+8EoqHeCEcnAtV5HXYv7jDdBQFKgchAtnkVA0OAr8Q662nYHwaiaE4ZVaRUBOFzscazuRMPgg/395tYHkSz1e9wYpzWzju62ZzPlNWVs/K4nY7zHAcK9R7Qn6Te8Ry146emNvQRwhlOQ9tolVGlHtyiDmDeEbpB+/O9Z6CuNwzlxVcNTBiZkO/Vuy+0BUh008EauouwQi6Y4NFoIHDPg0XgqW1OWs3aq91gYFQu2TK/l9TF+o5QMJW42dGQ5fbe/Z2Vgi9OCEE8HjXRNOqOmdkXGESjNsXsJhfOFzxHI2WjetTBB2hU028RrhVrjbBXeWwbptkSCAyP9IspmFgUlnLXpe+azxDCYsY4ew2WfDFuBCmzcysyGTiD+mni/mE3OuBqE+sFsWMRzIj+nQVVACxqMUNdFmjMdF+8aturfqcYvsiDwtSW9a1ceC7sbzJATsjkY33PehMwLhoLSRRsD3a3ct0cwma1aVTvuUwNe0XcR6QSbiu9PPrfg1LKDW6D5YirBUxcuK3l/v2YBQfKHtl0ivlpcsIEGA4+agL9GcoOcKzeddHm9qSfk0Nt6dDU2GIRK+hTO0JajffGSbYHe6FUN2xwWXzb8YwcqdabitVNbdqlDIIr7vG/NB+yMAVXpnNu2GaPrPu5OPSTf2aJeMhR+szqGrQy8GvEpLn8ECIit2debB3NEYgNzg2vK22/NMr2AucuZGhDbGAHBMkrqunA7ksR8BiayV0woODkYx7FUtLGW/R5gykSS7eDaepLwzeRDeYSOP+MrAqoOVOiFYR5nOs4DFZSXIHA1kVHwOzV2wES/BvwLYtrD1B8TYsBi4sI0GE2yVMpQpx+R+Oz6zGlo3ReBmZsqUwx+4t+il9zi368+AFalqZV4J0nExUmkgf2RHo0RR1XOyjaXlVVVebWSzZSY/drbavJ7qcbsoVMUYQTKaFmH4fVkkgix94ME1FlPuLwj+soZ07wEe3me+PTLXcMu5OZcNFyWmtfpKfkM2O9KVEjFj7Z6feYp3PjM36vAvqwbgoRY2ZExGNk7rNhTyfg3swL+0qsNc32BWQB9yQ008n51CoV2ef+gdL86EO3GicigdFrbIPopfvUrR79TZ7s84qgCefW77AO7utIs77dtH0jdQBb/rx3SAo8tS07RIpvivrrPe5enKwUsn5dJhy2Wv3lSm4a+DgCmnftHXLq97yJWPJ5vcd/Qi4RYgv4QLtmEnAGKv+shhyvh541qMVWXvru1/cXKvSTS9Cr1OgP3ChY4705H9qJDC2uVaTaLL8o8t5iADjbRpjJekq9I2v6fANs33gLgcsIMcRzv8yHD24dAO7rggcw4qM9nG1yz3jkyPkBV1ClX2ooSfQ3XmHaQtMQ4Oq4+v/QttCEMQ8bI16VXYUteydjUtoNbJZ4nqci+G1pJFaD2RBvlvj82mhhd7sJRHgT5gN8fE0p4rHuxsLx7M1wW2v8tEp5f8QZiaCclVH4gqnXcXeL2Q338ys6C4F64D9IBRt8TQX3jLs3Av/IAtRZ40PJD14/IUJ6Kiy3Z6OxjH3JusSuicEBfWJaCekNLppkQp7QyzC1IVaEVZEw3FnvS4Xt5Gc7K5zuc5KHKxHHaZsk5s71h8T4gYmkNwuZZrjrFVQKuJ/f6mwqnDz541TFQfxGFBMbH/57unIUgBEnjIQzLvp882EIJq5t+CFp8oRN+m+JMgSm2R1OVkjScCr3dmF1GzkjYp/7h3BI4dg72kT6CSanedagFtWeiOwdjmpzOcXhn+ycA1mEcHohj4Zhcznj6KTFfwInLNXmSKB0bfTEota2rtTyE90mOFHCQndNHAtgIFJBNTc7lQaCK9L7yaL+KtIC3Lw6gCuiremDiokOovX+mrm0nZeysGxxi0Y/1eWZs6IXjRnKj3NAPhT3q+z159NGqmDQoecKs2BISI6gOtBpCJvV5vtSnzQCoBSKk0zBK4bx0sG1/F17SvNXTeK2A71GXNzgGF4BvJ/RN60x/VIBj19P+UtLMoq6K+X2oEcBZ7C3ChhMlDIlwcdmcIayAYUmRdMlok6sMR8ytt6q7FUsMOf/JA0gZb4vLd54+vK1QE75PS0qVkgTiev2yN6JxSHPUdApwFYsfXPZ21RoKA9E89CV3LJVxAILy9I0LRkVDnpP8XYKH5S1cAKXGNaznlkTLE5+W3bLkw6oamJBqKt9csPenaZLllvjcXh0/tRHItRNWYjaQR+vMAYCc27Ncm8rnr7gjG2ZLSXf21l5E4KAaR2InECFaZIcK+cO4dPxhweRauKRpVS8YSphBp/Ls44Uuk3fj5S1RfXrDu++ZhSbix3oeyrAjS2um/lKZMDI3Gfqj2enOTx3MxGsaEyTfhllpUk8tm+MwHrcD1s+xMGWKOikLnBwo60uWu7Y+p9ZuGXDVudU8KiCzqWBE3uo5EM0T4Jsn7GZkFlu60ae2a6MWtzlquALVRR/lIZ+wQQ7Kn8/h1WKbEskK84ITynQSghG+o/wwiMQCCrg1zf+O8yue/wNWZq6JTKywYk8uFXoCZSh8KagOTWMk9p7blWQ+24PEeVbfooa/fPsK0vYnOWyMMNA9JiyV9AVBLq6hkJl2JbQrcuChpIKEJgPgN/cYH8t1T9RYXEwfsP/ntUpw/LJfctqZK2BBkkjgR+7IKOkBq9phSRYDQUqpUZeA9iGbhrd6YaUqDURbLUZm714mCGyo/San6JyUF257UFa3E80Di7Y3P8P02z3B1FT/kCMv13NBDd33d6vem+ouRngvZp4aUXueCEXg0kiR8j9irMBc55l3HzxhfR5m4cNsyy2fa3qrlpHUcOD6N9rIkYQbWsvE7SXhcr5HK3+l7XDwipi2kCBCJWi9Zv1Bq5sqSJcsxF4PQBAohA6ruzvrB8RsgllTRd2tBNooFOUrDXjM+QoK8qA5A5fl1GGWZJjjKWBDRsl1K6Eu982iFGxZkSKsRTbH6k0DheLX5PAIqre5oM2HYC8AC68E6n/vD8hrcj1+5vdJs6dB3Rh30RNedk1v8um+Obq+Mkn/H+nDNjlEpKuNravEA6iWCla6EwUH83MrmyL0sm1xjVy9A/w80rVGINTxxzdHCebHs/QPNyLX8GNksCepc6PtZu/UbhkTC+YicN3rc4B16OmO0+R5t8EcJcDicm3A8YU6tLVagamOyg1VRqCAVg0QAubzIH+Uc4Pl8+frXFSsF7Gz65b0TJZQ48Tmwz2hUmkf3lkgKrkj8Mi3K/z+OddQasZBWVFThKhCMKemJUYxuQocfqO2gBhCstsCoZrhd01BMhi6LsRCsWLdD7m57YX0Nb9ekKBPo1OntyKdxO/d16OB88m95rnGjbQIqeAL2ctQB4+1bST6z9WcYmqy7wrJHstmJkPsZCQnqYiyYeJqqVnij0XQHtliff7lvQTn6zkmoxzmRSLhY7XHMrldykIuARuH2xteZaJsugsGFJdUb+aa7b9RnslDGMmhaxVKFI1FUwGqnj2VXf1CHxcdOj6JTerzjwMRQeaeJcZgPWQmTJNI3lrKDEFfBcoOb3hy9H5qlXTuqfF65MeXEugdlzG5PMIAHyNEsb8psWv3Mf0Ax+yzyz7NHfMohQGSMU/jkrpDTWIZznDciw6keMYUrGaT+bSgV0Uj1Ru3dkwPH7M6nzNvL6l3JDaPjJs+laBV1rOl6eedY+ktqTDOrU9c/UnL955i4UiLAGfTLQLHpNHwIv+vCX1FFxwkMfzg8UX4OSK9Fsr3jMthZJFDfQlsg0MjOThF0ZqXwg9J/NfcEKdrY7yX2uf5gLBi5Cq/NVXN/rpOgHXna+k5cTtHQVtvQkVqte3rcnCxjESqOiQP2zH3zOFua8xXcMCYH1CgrLtmPhso0zqoeXmJB6hWtLn0q1vEnnNqwyLSrDPKoudOWLETMOeNMi93ugAETyRRdBa05ZTRde35d/Z+ieoM60OCO7cOdnw6y4cuvpRbd4bhjCZo9JOBqHwVbLB7FTXBjcD8UpgIaHecATa/dnvmKy4bmPjz1g5mIyPLFY0EX/y8qorkurYYDVG2IQ==" title="Mekko Graphics Chart"/>
          <p:cNvSpPr>
            <a:spLocks noChangeAspect="1"/>
          </p:cNvSpPr>
          <p:nvPr>
            <p:custDataLst>
              <p:tags r:id="rId3"/>
            </p:custDataLst>
          </p:nvPr>
        </p:nvSpPr>
        <p:spPr bwMode="gray">
          <a:xfrm>
            <a:off x="330200" y="1279624"/>
            <a:ext cx="11522075" cy="5098767"/>
          </a:xfrm>
          <a:prstGeom prst="rect">
            <a:avLst/>
          </a:prstGeom>
          <a:blipFill>
            <a:blip r:embed="rId12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>
              <a:solidFill>
                <a:schemeClr val="tx1"/>
              </a:solidFill>
            </a:endParaRPr>
          </a:p>
        </p:txBody>
      </p:sp>
      <p:grpSp>
        <p:nvGrpSpPr>
          <p:cNvPr id="34" name="btfpColumnIndicatorGroup2">
            <a:extLst>
              <a:ext uri="{FF2B5EF4-FFF2-40B4-BE49-F238E27FC236}">
                <a16:creationId xmlns:a16="http://schemas.microsoft.com/office/drawing/2014/main" id="{BE19306E-84D4-4FB1-899A-B0E60C385996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5" name="btfpColumnGapBlocker806194">
              <a:extLst>
                <a:ext uri="{FF2B5EF4-FFF2-40B4-BE49-F238E27FC236}">
                  <a16:creationId xmlns:a16="http://schemas.microsoft.com/office/drawing/2014/main" id="{981BC3E7-65E2-432C-8A79-1A705606EAED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3" name="btfpColumnGapBlocker137964">
              <a:extLst>
                <a:ext uri="{FF2B5EF4-FFF2-40B4-BE49-F238E27FC236}">
                  <a16:creationId xmlns:a16="http://schemas.microsoft.com/office/drawing/2014/main" id="{782DF870-C99D-4D4D-86B2-C7CE592202AC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1" name="btfpColumnIndicator630577">
              <a:extLst>
                <a:ext uri="{FF2B5EF4-FFF2-40B4-BE49-F238E27FC236}">
                  <a16:creationId xmlns:a16="http://schemas.microsoft.com/office/drawing/2014/main" id="{39872F58-A2E6-4A12-8084-775138988527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btfpColumnIndicator763289">
              <a:extLst>
                <a:ext uri="{FF2B5EF4-FFF2-40B4-BE49-F238E27FC236}">
                  <a16:creationId xmlns:a16="http://schemas.microsoft.com/office/drawing/2014/main" id="{B34F2168-F08D-4532-A141-8C0D9853E415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" name="btfpColumnIndicatorGroup1">
            <a:extLst>
              <a:ext uri="{FF2B5EF4-FFF2-40B4-BE49-F238E27FC236}">
                <a16:creationId xmlns:a16="http://schemas.microsoft.com/office/drawing/2014/main" id="{FFF8CE08-B043-4AF6-9195-0D50B022A3E0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4" name="btfpColumnGapBlocker930431">
              <a:extLst>
                <a:ext uri="{FF2B5EF4-FFF2-40B4-BE49-F238E27FC236}">
                  <a16:creationId xmlns:a16="http://schemas.microsoft.com/office/drawing/2014/main" id="{1263D285-5420-41B6-9CF3-59ED4D0464D7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2" name="btfpColumnGapBlocker729661">
              <a:extLst>
                <a:ext uri="{FF2B5EF4-FFF2-40B4-BE49-F238E27FC236}">
                  <a16:creationId xmlns:a16="http://schemas.microsoft.com/office/drawing/2014/main" id="{CB441BF0-BEF1-4C55-A017-125A36713C6C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0" name="btfpColumnIndicator756215">
              <a:extLst>
                <a:ext uri="{FF2B5EF4-FFF2-40B4-BE49-F238E27FC236}">
                  <a16:creationId xmlns:a16="http://schemas.microsoft.com/office/drawing/2014/main" id="{7A9A1E13-92B3-4AB1-A260-3BC7A512C8EC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251637">
              <a:extLst>
                <a:ext uri="{FF2B5EF4-FFF2-40B4-BE49-F238E27FC236}">
                  <a16:creationId xmlns:a16="http://schemas.microsoft.com/office/drawing/2014/main" id="{1094D43F-0079-4FF1-B2FE-24641E06DE9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rget noted relatively higher avg. attrition of ~20% amongst the peers during ’19-’23; Most players witnessed avg. attrition of ~10-15% during the same period</a:t>
            </a:r>
            <a:endParaRPr lang="en-US" b="1" dirty="0">
              <a:solidFill>
                <a:srgbClr val="FF0000"/>
              </a:solidFill>
              <a:highlight>
                <a:srgbClr val="FFFFFF"/>
              </a:highlight>
            </a:endParaRPr>
          </a:p>
        </p:txBody>
      </p:sp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1323045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>
                <a:solidFill>
                  <a:srgbClr val="FFFFFF">
                    <a:alpha val="0"/>
                  </a:srgbClr>
                </a:solidFill>
              </a:rPr>
              <a:t>overall_0_132369400448093052 columns_1_132369395311061635 6_1_132369395462319733 9_1_132369395678315682 16_1_132369400850514128 19_1_132369402721137072 14_1_132369642836221605 17_1_132370424181034390 </a:t>
            </a:r>
          </a:p>
        </p:txBody>
      </p:sp>
      <p:grpSp>
        <p:nvGrpSpPr>
          <p:cNvPr id="6" name="btfpStatusSticker516933"/>
          <p:cNvGrpSpPr/>
          <p:nvPr>
            <p:custDataLst>
              <p:tags r:id="rId4"/>
            </p:custDataLst>
          </p:nvPr>
        </p:nvGrpSpPr>
        <p:grpSpPr>
          <a:xfrm>
            <a:off x="10102664" y="955344"/>
            <a:ext cx="1759136" cy="235611"/>
            <a:chOff x="10102664" y="955344"/>
            <a:chExt cx="1759136" cy="235611"/>
          </a:xfrm>
        </p:grpSpPr>
        <p:sp>
          <p:nvSpPr>
            <p:cNvPr id="4" name="btfpStatusStickerText516933"/>
            <p:cNvSpPr txBox="1"/>
            <p:nvPr/>
          </p:nvSpPr>
          <p:spPr bwMode="gray">
            <a:xfrm>
              <a:off x="10102664" y="955344"/>
              <a:ext cx="1759136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ct val="0"/>
                </a:spcBef>
                <a:buNone/>
              </a:pPr>
              <a:r>
                <a:rPr lang="en-US" sz="1200" b="1" cap="all" spc="450">
                  <a:solidFill>
                    <a:srgbClr val="000000"/>
                  </a:solidFill>
                </a:rPr>
                <a:t>Directional</a:t>
              </a:r>
            </a:p>
          </p:txBody>
        </p:sp>
        <p:cxnSp>
          <p:nvCxnSpPr>
            <p:cNvPr id="5" name="btfpStatusStickerLine516933"/>
            <p:cNvCxnSpPr/>
            <p:nvPr/>
          </p:nvCxnSpPr>
          <p:spPr bwMode="gray">
            <a:xfrm rot="720000" flipH="1">
              <a:off x="10102664" y="955344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2" name="btfpNotesBox983380">
            <a:extLst>
              <a:ext uri="{FF2B5EF4-FFF2-40B4-BE49-F238E27FC236}">
                <a16:creationId xmlns:a16="http://schemas.microsoft.com/office/drawing/2014/main" id="{6BB588EB-5D4F-4A9F-8FEB-39C5BA242817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gray">
          <a:xfrm>
            <a:off x="330200" y="6315437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ct val="0"/>
              </a:spcBef>
              <a:buNone/>
            </a:pPr>
            <a:r>
              <a:rPr lang="en-US" sz="800">
                <a:solidFill>
                  <a:srgbClr val="000000"/>
                </a:solidFill>
              </a:rPr>
              <a:t>Note: Irrelevant profiles (interns, former, retired employees) have been excluded; 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ttrition rate calculated by dividing total number of exits in a year by the employee base at the start of the year </a:t>
            </a:r>
            <a:r>
              <a:rPr lang="en-GB" sz="800">
                <a:solidFill>
                  <a:srgbClr val="000000"/>
                </a:solidFill>
                <a:latin typeface="Arial"/>
              </a:rPr>
              <a:t>for the given year; Bars sorted basis</a:t>
            </a:r>
            <a:br>
              <a:rPr lang="en-GB" sz="800">
                <a:solidFill>
                  <a:srgbClr val="000000"/>
                </a:solidFill>
                <a:latin typeface="Arial"/>
              </a:rPr>
            </a:br>
            <a:r>
              <a:rPr lang="en-GB" sz="800">
                <a:solidFill>
                  <a:srgbClr val="000000"/>
                </a:solidFill>
                <a:latin typeface="Arial"/>
              </a:rPr>
              <a:t>average attrition | </a:t>
            </a:r>
            <a:r>
              <a:rPr lang="en-US" sz="800">
                <a:solidFill>
                  <a:srgbClr val="000000"/>
                </a:solidFill>
              </a:rPr>
              <a:t>Source: </a:t>
            </a:r>
            <a:r>
              <a:rPr lang="en-US" sz="800"/>
              <a:t>Aura, Bain analysis</a:t>
            </a:r>
          </a:p>
        </p:txBody>
      </p:sp>
      <p:pic>
        <p:nvPicPr>
          <p:cNvPr id="53" name="Picture 52">
            <a:extLst>
              <a:ext uri="{FF2B5EF4-FFF2-40B4-BE49-F238E27FC236}">
                <a16:creationId xmlns:a16="http://schemas.microsoft.com/office/drawing/2014/main" id="{97365FCB-7370-4B26-A0E8-B5826471765F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0646654" y="6219647"/>
            <a:ext cx="1261892" cy="353608"/>
          </a:xfrm>
          <a:prstGeom prst="rect">
            <a:avLst/>
          </a:prstGeom>
        </p:spPr>
      </p:pic>
      <p:grpSp>
        <p:nvGrpSpPr>
          <p:cNvPr id="57" name="btfpRunningAgenda2Level175785">
            <a:extLst>
              <a:ext uri="{FF2B5EF4-FFF2-40B4-BE49-F238E27FC236}">
                <a16:creationId xmlns:a16="http://schemas.microsoft.com/office/drawing/2014/main" id="{A4606E8E-1953-70E3-7940-24FE9A77284F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0" y="944429"/>
            <a:ext cx="4305724" cy="257443"/>
            <a:chOff x="0" y="876300"/>
            <a:chExt cx="4305724" cy="257443"/>
          </a:xfrm>
        </p:grpSpPr>
        <p:sp>
          <p:nvSpPr>
            <p:cNvPr id="54" name="btfpRunningAgenda2LevelBarLeft175785">
              <a:extLst>
                <a:ext uri="{FF2B5EF4-FFF2-40B4-BE49-F238E27FC236}">
                  <a16:creationId xmlns:a16="http://schemas.microsoft.com/office/drawing/2014/main" id="{D4C80DFC-66EB-6B7C-EA1A-4021A5F66E70}"/>
                </a:ext>
              </a:extLst>
            </p:cNvPr>
            <p:cNvSpPr/>
            <p:nvPr/>
          </p:nvSpPr>
          <p:spPr bwMode="gray">
            <a:xfrm>
              <a:off x="0" y="876300"/>
              <a:ext cx="2327781" cy="257443"/>
            </a:xfrm>
            <a:custGeom>
              <a:avLst/>
              <a:gdLst/>
              <a:ahLst/>
              <a:cxnLst/>
              <a:rect l="0" t="0" r="0" b="0"/>
              <a:pathLst>
                <a:path w="2327781" h="257443">
                  <a:moveTo>
                    <a:pt x="0" y="0"/>
                  </a:moveTo>
                  <a:lnTo>
                    <a:pt x="2327780" y="0"/>
                  </a:lnTo>
                  <a:lnTo>
                    <a:pt x="2273059" y="257442"/>
                  </a:lnTo>
                  <a:lnTo>
                    <a:pt x="0" y="257442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51" name="btfpRunningAgenda2LevelTextLeft175785">
              <a:extLst>
                <a:ext uri="{FF2B5EF4-FFF2-40B4-BE49-F238E27FC236}">
                  <a16:creationId xmlns:a16="http://schemas.microsoft.com/office/drawing/2014/main" id="{0B9EF0A1-97B8-BD9A-BDB1-FA0C8512E2E0}"/>
                </a:ext>
              </a:extLst>
            </p:cNvPr>
            <p:cNvSpPr txBox="1"/>
            <p:nvPr/>
          </p:nvSpPr>
          <p:spPr bwMode="gray">
            <a:xfrm>
              <a:off x="0" y="876300"/>
              <a:ext cx="2273059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Workforce</a:t>
              </a:r>
            </a:p>
          </p:txBody>
        </p:sp>
        <p:sp>
          <p:nvSpPr>
            <p:cNvPr id="56" name="btfpRunningAgenda2LevelBarRight175785">
              <a:extLst>
                <a:ext uri="{FF2B5EF4-FFF2-40B4-BE49-F238E27FC236}">
                  <a16:creationId xmlns:a16="http://schemas.microsoft.com/office/drawing/2014/main" id="{94876FE8-EEEC-5F78-A789-C68F0AE75FE4}"/>
                </a:ext>
              </a:extLst>
            </p:cNvPr>
            <p:cNvSpPr/>
            <p:nvPr/>
          </p:nvSpPr>
          <p:spPr bwMode="gray">
            <a:xfrm>
              <a:off x="2192938" y="876300"/>
              <a:ext cx="2112786" cy="257442"/>
            </a:xfrm>
            <a:custGeom>
              <a:avLst/>
              <a:gdLst>
                <a:gd name="connsiteX0" fmla="*/ 950801 w 2367856"/>
                <a:gd name="connsiteY0" fmla="*/ 0 h 257442"/>
                <a:gd name="connsiteX1" fmla="*/ 2367856 w 2367856"/>
                <a:gd name="connsiteY1" fmla="*/ 0 h 257442"/>
                <a:gd name="connsiteX2" fmla="*/ 2313135 w 2367856"/>
                <a:gd name="connsiteY2" fmla="*/ 257442 h 257442"/>
                <a:gd name="connsiteX3" fmla="*/ 0 w 2367856"/>
                <a:gd name="connsiteY3" fmla="*/ 257442 h 257442"/>
                <a:gd name="connsiteX0" fmla="*/ 950801 w 2313135"/>
                <a:gd name="connsiteY0" fmla="*/ 0 h 257442"/>
                <a:gd name="connsiteX1" fmla="*/ 896080 w 2313135"/>
                <a:gd name="connsiteY1" fmla="*/ 257442 h 257442"/>
                <a:gd name="connsiteX2" fmla="*/ 2313135 w 2313135"/>
                <a:gd name="connsiteY2" fmla="*/ 257442 h 257442"/>
                <a:gd name="connsiteX3" fmla="*/ 0 w 2313135"/>
                <a:gd name="connsiteY3" fmla="*/ 257442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54721 w 950800"/>
                <a:gd name="connsiteY3" fmla="*/ 0 h 257442"/>
                <a:gd name="connsiteX0" fmla="*/ 1243957 w 1243957"/>
                <a:gd name="connsiteY0" fmla="*/ 0 h 257442"/>
                <a:gd name="connsiteX1" fmla="*/ 896079 w 1243957"/>
                <a:gd name="connsiteY1" fmla="*/ 257442 h 257442"/>
                <a:gd name="connsiteX2" fmla="*/ 0 w 1243957"/>
                <a:gd name="connsiteY2" fmla="*/ 257442 h 257442"/>
                <a:gd name="connsiteX3" fmla="*/ 54721 w 1243957"/>
                <a:gd name="connsiteY3" fmla="*/ 0 h 257442"/>
                <a:gd name="connsiteX0" fmla="*/ 1243957 w 1243957"/>
                <a:gd name="connsiteY0" fmla="*/ 0 h 257442"/>
                <a:gd name="connsiteX1" fmla="*/ 1189236 w 1243957"/>
                <a:gd name="connsiteY1" fmla="*/ 257442 h 257442"/>
                <a:gd name="connsiteX2" fmla="*/ 0 w 1243957"/>
                <a:gd name="connsiteY2" fmla="*/ 257442 h 257442"/>
                <a:gd name="connsiteX3" fmla="*/ 54721 w 1243957"/>
                <a:gd name="connsiteY3" fmla="*/ 0 h 257442"/>
                <a:gd name="connsiteX0" fmla="*/ 1243958 w 1243958"/>
                <a:gd name="connsiteY0" fmla="*/ 0 h 257442"/>
                <a:gd name="connsiteX1" fmla="*/ 1189237 w 1243958"/>
                <a:gd name="connsiteY1" fmla="*/ 257442 h 257442"/>
                <a:gd name="connsiteX2" fmla="*/ 0 w 1243958"/>
                <a:gd name="connsiteY2" fmla="*/ 257442 h 257442"/>
                <a:gd name="connsiteX3" fmla="*/ 54722 w 1243958"/>
                <a:gd name="connsiteY3" fmla="*/ 0 h 257442"/>
                <a:gd name="connsiteX0" fmla="*/ 1243958 w 1243958"/>
                <a:gd name="connsiteY0" fmla="*/ 0 h 257442"/>
                <a:gd name="connsiteX1" fmla="*/ 1189237 w 1243958"/>
                <a:gd name="connsiteY1" fmla="*/ 257442 h 257442"/>
                <a:gd name="connsiteX2" fmla="*/ 0 w 1243958"/>
                <a:gd name="connsiteY2" fmla="*/ 257442 h 257442"/>
                <a:gd name="connsiteX3" fmla="*/ 54721 w 1243958"/>
                <a:gd name="connsiteY3" fmla="*/ 0 h 257442"/>
                <a:gd name="connsiteX0" fmla="*/ 1412273 w 1412273"/>
                <a:gd name="connsiteY0" fmla="*/ 0 h 257442"/>
                <a:gd name="connsiteX1" fmla="*/ 1189237 w 1412273"/>
                <a:gd name="connsiteY1" fmla="*/ 257442 h 257442"/>
                <a:gd name="connsiteX2" fmla="*/ 0 w 1412273"/>
                <a:gd name="connsiteY2" fmla="*/ 257442 h 257442"/>
                <a:gd name="connsiteX3" fmla="*/ 54721 w 1412273"/>
                <a:gd name="connsiteY3" fmla="*/ 0 h 257442"/>
                <a:gd name="connsiteX0" fmla="*/ 1412273 w 1412273"/>
                <a:gd name="connsiteY0" fmla="*/ 0 h 257442"/>
                <a:gd name="connsiteX1" fmla="*/ 1357552 w 1412273"/>
                <a:gd name="connsiteY1" fmla="*/ 257442 h 257442"/>
                <a:gd name="connsiteX2" fmla="*/ 0 w 1412273"/>
                <a:gd name="connsiteY2" fmla="*/ 257442 h 257442"/>
                <a:gd name="connsiteX3" fmla="*/ 54721 w 1412273"/>
                <a:gd name="connsiteY3" fmla="*/ 0 h 257442"/>
                <a:gd name="connsiteX0" fmla="*/ 1412273 w 1412273"/>
                <a:gd name="connsiteY0" fmla="*/ 0 h 257442"/>
                <a:gd name="connsiteX1" fmla="*/ 1357552 w 1412273"/>
                <a:gd name="connsiteY1" fmla="*/ 257442 h 257442"/>
                <a:gd name="connsiteX2" fmla="*/ 0 w 1412273"/>
                <a:gd name="connsiteY2" fmla="*/ 257442 h 257442"/>
                <a:gd name="connsiteX3" fmla="*/ 54721 w 1412273"/>
                <a:gd name="connsiteY3" fmla="*/ 0 h 257442"/>
                <a:gd name="connsiteX0" fmla="*/ 1412273 w 1412273"/>
                <a:gd name="connsiteY0" fmla="*/ 0 h 257442"/>
                <a:gd name="connsiteX1" fmla="*/ 1357552 w 1412273"/>
                <a:gd name="connsiteY1" fmla="*/ 257442 h 257442"/>
                <a:gd name="connsiteX2" fmla="*/ 0 w 1412273"/>
                <a:gd name="connsiteY2" fmla="*/ 257442 h 257442"/>
                <a:gd name="connsiteX3" fmla="*/ 54721 w 1412273"/>
                <a:gd name="connsiteY3" fmla="*/ 0 h 257442"/>
                <a:gd name="connsiteX0" fmla="*/ 1665548 w 1665548"/>
                <a:gd name="connsiteY0" fmla="*/ 0 h 257442"/>
                <a:gd name="connsiteX1" fmla="*/ 1357552 w 1665548"/>
                <a:gd name="connsiteY1" fmla="*/ 257442 h 257442"/>
                <a:gd name="connsiteX2" fmla="*/ 0 w 1665548"/>
                <a:gd name="connsiteY2" fmla="*/ 257442 h 257442"/>
                <a:gd name="connsiteX3" fmla="*/ 54721 w 1665548"/>
                <a:gd name="connsiteY3" fmla="*/ 0 h 257442"/>
                <a:gd name="connsiteX0" fmla="*/ 1665548 w 1665548"/>
                <a:gd name="connsiteY0" fmla="*/ 0 h 257442"/>
                <a:gd name="connsiteX1" fmla="*/ 1610826 w 1665548"/>
                <a:gd name="connsiteY1" fmla="*/ 257442 h 257442"/>
                <a:gd name="connsiteX2" fmla="*/ 0 w 1665548"/>
                <a:gd name="connsiteY2" fmla="*/ 257442 h 257442"/>
                <a:gd name="connsiteX3" fmla="*/ 54721 w 1665548"/>
                <a:gd name="connsiteY3" fmla="*/ 0 h 257442"/>
                <a:gd name="connsiteX0" fmla="*/ 1665549 w 1665549"/>
                <a:gd name="connsiteY0" fmla="*/ 0 h 257442"/>
                <a:gd name="connsiteX1" fmla="*/ 1610827 w 1665549"/>
                <a:gd name="connsiteY1" fmla="*/ 257442 h 257442"/>
                <a:gd name="connsiteX2" fmla="*/ 0 w 1665549"/>
                <a:gd name="connsiteY2" fmla="*/ 257442 h 257442"/>
                <a:gd name="connsiteX3" fmla="*/ 54722 w 1665549"/>
                <a:gd name="connsiteY3" fmla="*/ 0 h 257442"/>
                <a:gd name="connsiteX0" fmla="*/ 1665549 w 1665549"/>
                <a:gd name="connsiteY0" fmla="*/ 0 h 257442"/>
                <a:gd name="connsiteX1" fmla="*/ 1610827 w 1665549"/>
                <a:gd name="connsiteY1" fmla="*/ 257442 h 257442"/>
                <a:gd name="connsiteX2" fmla="*/ 0 w 1665549"/>
                <a:gd name="connsiteY2" fmla="*/ 257442 h 257442"/>
                <a:gd name="connsiteX3" fmla="*/ 54722 w 1665549"/>
                <a:gd name="connsiteY3" fmla="*/ 0 h 257442"/>
                <a:gd name="connsiteX0" fmla="*/ 1944471 w 1944471"/>
                <a:gd name="connsiteY0" fmla="*/ 0 h 257442"/>
                <a:gd name="connsiteX1" fmla="*/ 1610827 w 1944471"/>
                <a:gd name="connsiteY1" fmla="*/ 257442 h 257442"/>
                <a:gd name="connsiteX2" fmla="*/ 0 w 1944471"/>
                <a:gd name="connsiteY2" fmla="*/ 257442 h 257442"/>
                <a:gd name="connsiteX3" fmla="*/ 54722 w 1944471"/>
                <a:gd name="connsiteY3" fmla="*/ 0 h 257442"/>
                <a:gd name="connsiteX0" fmla="*/ 1944471 w 1944471"/>
                <a:gd name="connsiteY0" fmla="*/ 0 h 257442"/>
                <a:gd name="connsiteX1" fmla="*/ 1889750 w 1944471"/>
                <a:gd name="connsiteY1" fmla="*/ 257442 h 257442"/>
                <a:gd name="connsiteX2" fmla="*/ 0 w 1944471"/>
                <a:gd name="connsiteY2" fmla="*/ 257442 h 257442"/>
                <a:gd name="connsiteX3" fmla="*/ 54722 w 1944471"/>
                <a:gd name="connsiteY3" fmla="*/ 0 h 257442"/>
                <a:gd name="connsiteX0" fmla="*/ 1944470 w 1944470"/>
                <a:gd name="connsiteY0" fmla="*/ 0 h 257442"/>
                <a:gd name="connsiteX1" fmla="*/ 1889749 w 1944470"/>
                <a:gd name="connsiteY1" fmla="*/ 257442 h 257442"/>
                <a:gd name="connsiteX2" fmla="*/ 0 w 1944470"/>
                <a:gd name="connsiteY2" fmla="*/ 257442 h 257442"/>
                <a:gd name="connsiteX3" fmla="*/ 54721 w 1944470"/>
                <a:gd name="connsiteY3" fmla="*/ 0 h 257442"/>
                <a:gd name="connsiteX0" fmla="*/ 1944470 w 1944470"/>
                <a:gd name="connsiteY0" fmla="*/ 0 h 257442"/>
                <a:gd name="connsiteX1" fmla="*/ 1889749 w 1944470"/>
                <a:gd name="connsiteY1" fmla="*/ 257442 h 257442"/>
                <a:gd name="connsiteX2" fmla="*/ 0 w 1944470"/>
                <a:gd name="connsiteY2" fmla="*/ 257442 h 257442"/>
                <a:gd name="connsiteX3" fmla="*/ 54720 w 1944470"/>
                <a:gd name="connsiteY3" fmla="*/ 0 h 257442"/>
                <a:gd name="connsiteX0" fmla="*/ 2112785 w 2112785"/>
                <a:gd name="connsiteY0" fmla="*/ 0 h 257442"/>
                <a:gd name="connsiteX1" fmla="*/ 1889749 w 2112785"/>
                <a:gd name="connsiteY1" fmla="*/ 257442 h 257442"/>
                <a:gd name="connsiteX2" fmla="*/ 0 w 2112785"/>
                <a:gd name="connsiteY2" fmla="*/ 257442 h 257442"/>
                <a:gd name="connsiteX3" fmla="*/ 54720 w 2112785"/>
                <a:gd name="connsiteY3" fmla="*/ 0 h 257442"/>
                <a:gd name="connsiteX0" fmla="*/ 2112785 w 2112785"/>
                <a:gd name="connsiteY0" fmla="*/ 0 h 257442"/>
                <a:gd name="connsiteX1" fmla="*/ 2058064 w 2112785"/>
                <a:gd name="connsiteY1" fmla="*/ 257442 h 257442"/>
                <a:gd name="connsiteX2" fmla="*/ 0 w 2112785"/>
                <a:gd name="connsiteY2" fmla="*/ 257442 h 257442"/>
                <a:gd name="connsiteX3" fmla="*/ 54720 w 2112785"/>
                <a:gd name="connsiteY3" fmla="*/ 0 h 257442"/>
                <a:gd name="connsiteX0" fmla="*/ 2112786 w 2112786"/>
                <a:gd name="connsiteY0" fmla="*/ 0 h 257442"/>
                <a:gd name="connsiteX1" fmla="*/ 2058065 w 2112786"/>
                <a:gd name="connsiteY1" fmla="*/ 257442 h 257442"/>
                <a:gd name="connsiteX2" fmla="*/ 0 w 2112786"/>
                <a:gd name="connsiteY2" fmla="*/ 257442 h 257442"/>
                <a:gd name="connsiteX3" fmla="*/ 54721 w 2112786"/>
                <a:gd name="connsiteY3" fmla="*/ 0 h 257442"/>
                <a:gd name="connsiteX0" fmla="*/ 2112786 w 2112786"/>
                <a:gd name="connsiteY0" fmla="*/ 0 h 257442"/>
                <a:gd name="connsiteX1" fmla="*/ 2058065 w 2112786"/>
                <a:gd name="connsiteY1" fmla="*/ 257442 h 257442"/>
                <a:gd name="connsiteX2" fmla="*/ 0 w 2112786"/>
                <a:gd name="connsiteY2" fmla="*/ 257442 h 257442"/>
                <a:gd name="connsiteX3" fmla="*/ 54721 w 2112786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12786" h="257442">
                  <a:moveTo>
                    <a:pt x="2112786" y="0"/>
                  </a:moveTo>
                  <a:lnTo>
                    <a:pt x="2058065" y="257442"/>
                  </a:lnTo>
                  <a:lnTo>
                    <a:pt x="0" y="257442"/>
                  </a:lnTo>
                  <a:lnTo>
                    <a:pt x="54721" y="0"/>
                  </a:lnTo>
                  <a:close/>
                </a:path>
              </a:pathLst>
            </a:custGeom>
            <a:solidFill>
              <a:srgbClr val="B4B4B4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55" name="btfpRunningAgenda2LevelTextRight175785">
              <a:extLst>
                <a:ext uri="{FF2B5EF4-FFF2-40B4-BE49-F238E27FC236}">
                  <a16:creationId xmlns:a16="http://schemas.microsoft.com/office/drawing/2014/main" id="{F890D750-6C41-2EA7-634D-62BF9FCE8638}"/>
                </a:ext>
              </a:extLst>
            </p:cNvPr>
            <p:cNvSpPr txBox="1"/>
            <p:nvPr/>
          </p:nvSpPr>
          <p:spPr bwMode="gray">
            <a:xfrm>
              <a:off x="2192938" y="876300"/>
              <a:ext cx="2058065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Attrition</a:t>
              </a:r>
            </a:p>
          </p:txBody>
        </p:sp>
      </p:grpSp>
      <p:sp>
        <p:nvSpPr>
          <p:cNvPr id="21" name="Rectangle 20">
            <a:extLst>
              <a:ext uri="{FF2B5EF4-FFF2-40B4-BE49-F238E27FC236}">
                <a16:creationId xmlns:a16="http://schemas.microsoft.com/office/drawing/2014/main" id="{409066D6-9650-6033-2667-92443E88676B}"/>
              </a:ext>
            </a:extLst>
          </p:cNvPr>
          <p:cNvSpPr/>
          <p:nvPr/>
        </p:nvSpPr>
        <p:spPr bwMode="gray">
          <a:xfrm>
            <a:off x="9720746" y="1951220"/>
            <a:ext cx="913092" cy="3736214"/>
          </a:xfrm>
          <a:prstGeom prst="rect">
            <a:avLst/>
          </a:prstGeom>
          <a:noFill/>
          <a:ln w="12700">
            <a:solidFill>
              <a:schemeClr val="accent3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chemeClr val="tx1"/>
              </a:solidFill>
            </a:endParaRPr>
          </a:p>
        </p:txBody>
      </p:sp>
      <p:grpSp>
        <p:nvGrpSpPr>
          <p:cNvPr id="58" name="btfpStatusSticker505135">
            <a:extLst>
              <a:ext uri="{FF2B5EF4-FFF2-40B4-BE49-F238E27FC236}">
                <a16:creationId xmlns:a16="http://schemas.microsoft.com/office/drawing/2014/main" id="{22E4C670-8326-3520-CE00-028ED119DAD6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8763152" y="955344"/>
            <a:ext cx="1212512" cy="235611"/>
            <a:chOff x="-1713611" y="876300"/>
            <a:chExt cx="1212512" cy="235611"/>
          </a:xfrm>
        </p:grpSpPr>
        <p:sp>
          <p:nvSpPr>
            <p:cNvPr id="22" name="btfpStatusStickerText505135">
              <a:extLst>
                <a:ext uri="{FF2B5EF4-FFF2-40B4-BE49-F238E27FC236}">
                  <a16:creationId xmlns:a16="http://schemas.microsoft.com/office/drawing/2014/main" id="{CE325B20-28FB-9C36-A806-4B38340CA928}"/>
                </a:ext>
              </a:extLst>
            </p:cNvPr>
            <p:cNvSpPr txBox="1"/>
            <p:nvPr/>
          </p:nvSpPr>
          <p:spPr bwMode="gray">
            <a:xfrm>
              <a:off x="-1713611" y="876300"/>
              <a:ext cx="1212512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000000"/>
                  </a:solidFill>
                </a:rPr>
                <a:t>Overall</a:t>
              </a:r>
            </a:p>
          </p:txBody>
        </p:sp>
        <p:cxnSp>
          <p:nvCxnSpPr>
            <p:cNvPr id="50" name="btfpStatusStickerLine505135">
              <a:extLst>
                <a:ext uri="{FF2B5EF4-FFF2-40B4-BE49-F238E27FC236}">
                  <a16:creationId xmlns:a16="http://schemas.microsoft.com/office/drawing/2014/main" id="{6C734B57-1AFC-5146-A31F-606E439724FB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1713611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66D8A286-5389-4442-1C5D-F66369BF5B59}"/>
              </a:ext>
            </a:extLst>
          </p:cNvPr>
          <p:cNvSpPr/>
          <p:nvPr/>
        </p:nvSpPr>
        <p:spPr bwMode="gray">
          <a:xfrm>
            <a:off x="10747068" y="796006"/>
            <a:ext cx="956332" cy="382533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00" dirty="0">
                <a:solidFill>
                  <a:schemeClr val="tx1"/>
                </a:solidFill>
              </a:rPr>
              <a:t>BCN updated 05/09</a:t>
            </a:r>
          </a:p>
        </p:txBody>
      </p:sp>
      <p:sp>
        <p:nvSpPr>
          <p:cNvPr id="33" name="btfpCallout389611">
            <a:extLst>
              <a:ext uri="{FF2B5EF4-FFF2-40B4-BE49-F238E27FC236}">
                <a16:creationId xmlns:a16="http://schemas.microsoft.com/office/drawing/2014/main" id="{F1F1A6D6-ED72-B833-8404-5A62EFE5C7DB}"/>
              </a:ext>
            </a:extLst>
          </p:cNvPr>
          <p:cNvSpPr/>
          <p:nvPr/>
        </p:nvSpPr>
        <p:spPr bwMode="gray">
          <a:xfrm>
            <a:off x="10443040" y="1518160"/>
            <a:ext cx="608056" cy="276389"/>
          </a:xfrm>
          <a:prstGeom prst="wedgeRectCallout">
            <a:avLst>
              <a:gd name="adj1" fmla="val 40098"/>
              <a:gd name="adj2" fmla="val 65352"/>
            </a:avLst>
          </a:prstGeom>
          <a:solidFill>
            <a:srgbClr val="FFFFFF"/>
          </a:solidFill>
          <a:ln w="19050">
            <a:solidFill>
              <a:srgbClr val="5C5C5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5C5C5C"/>
                </a:solidFill>
              </a:rPr>
              <a:t>Low base effec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7815859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think-cell data - do not delete" hidden="1">
            <a:extLst>
              <a:ext uri="{FF2B5EF4-FFF2-40B4-BE49-F238E27FC236}">
                <a16:creationId xmlns:a16="http://schemas.microsoft.com/office/drawing/2014/main" id="{3D00A305-7C5B-D0E1-87CF-35C522687DC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32481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84" imgH="486" progId="TCLayout.ActiveDocument.1">
                  <p:embed/>
                </p:oleObj>
              </mc:Choice>
              <mc:Fallback>
                <p:oleObj name="think-cell Slide" r:id="rId9" imgW="484" imgH="486" progId="TCLayout.ActiveDocument.1">
                  <p:embed/>
                  <p:pic>
                    <p:nvPicPr>
                      <p:cNvPr id="3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D00A305-7C5B-D0E1-87CF-35C522687D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Picture 19">
            <a:extLst>
              <a:ext uri="{FF2B5EF4-FFF2-40B4-BE49-F238E27FC236}">
                <a16:creationId xmlns:a16="http://schemas.microsoft.com/office/drawing/2014/main" id="{61F66984-DD40-294C-BE59-B4AB8B2A9E0C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0646654" y="6234911"/>
            <a:ext cx="1261892" cy="353608"/>
          </a:xfrm>
          <a:prstGeom prst="rect">
            <a:avLst/>
          </a:prstGeom>
        </p:spPr>
      </p:pic>
      <p:sp>
        <p:nvSpPr>
          <p:cNvPr id="16" name="btfpMGChart516462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r0lg9IPP9y8umrse/9AoLT5R0GKq+XM9pr/aTyOTf0wptcuHbHxeyqBm9svU01qeeEM1v0hpSHUgirOnAK/wusZqSFrEd0VGZNwglwcoUtdsxjAINgPj5e6KtV9P05XUB+6W39OQ5mTDih1N442J5f9DromPfjhZ1IWWThgWHYFgkt4bBCIf0Swgs2ijVYkNl2GZX1RFVxCyvPerFOenWg2Oc2lK+JzQLikfr/RwFYzISiBYeoSTUd4IuE8gzmh3ton2lRrL0iQopsY2C6U8GdG6NXahf/3/2rUhv1q05aqX8/pFTS0cEX5sV7FRm783uEA73m1jLxt5FItx8pO8OchjEGS9GTZcLGQzFQMq7oPGIcjENu6ztowJW9n4146ePzxJurn+7wclV53OqhaKbVCtD07evPqg0egWZ/JCmzZP8nTRD09+1dCpQdg77h/YTQrcE/C1MaqCRO4R3DXENRneXZ2Or36kFxy7wDHHozgN9YR51tuSOFmPUDkw6acv5mMcXwMt4baOs5dyJt/hcSmBXkM3x1zIaKcSdt8O5XqnTXvTnI8FiacBpN/r662mz3WTaab4FP0W6+6Blt2moW4sDAcPHaOfk+TdVnu0xfMd64i5Zo/UwrL1FtdhKsgBGZlOaGChTo+ycQuE1xhUNE3PzK/QuXY0/pH3J09ZTkU5kVbj/p2UBKG6JqVrdyFK8aSqJml8jpER/ZPglWzixydluvk7KfCOmk3n1kLrKxgS1MTwkSYo9GhtjhBMDI1HOlyWFBqitadfpfWfNn8ywzlu1p8PK2p5OaSnLIBPK/Y7yDs+7lgUfkD/qrE9saQwUvjz2zRkbPXpwwKgWjO0Oj8V2zyMtqAqecMP5ha3Sb4I7Mw/KuKPHce7qotoxSXb3PQP9fivv0VgHgv8Y83Z3A1fcTMNmahvUD9L+c4loLtX0bN7xndXZWEbaG6kN+SxQ467jKvhmVUdNdLfo/xalQj+c3+kIzB3gEzZq7f8mUF58A1MiiKe6FpOAWV1s5kk51xZHBCZVzH87d0LUgZvYnD3atRYbYzKJ26TXhRzyj+i7K6B0w27HU1gC9DKnVQCnn0eawCshYOoAtJpFh6+kQvmAVUpsSj4QbTNGSImBdeEhcicH0QiXxctFeqDaaSpG3V/i12m6sZPvEWZksUKiAsWaSeqm7ixzFKBzlTZMgN5XD7fY8mynVrS7sm+97Bv3Sqw0uc4ePko5XfV8/3jV81koYRjn+cDq/dkt7Y7quQWXqv0yq5zCS4Lw6Rw2+5N0C+JnxQJBCeDO0xJD2FErhjcR73z95aBlle9vMLCzrWflMLp2crHVE/wVtqB21BBlKxKFinRvwe1+8AkAldu77nxA+1ZfMDvlrlbXw5aZ4YQrRt8sq5b6NAcO2XgZGIM1d8RTcTlpFo+M/VmIE3ESiV4L3+LB64ycNVi3+hfQD2M5mGBisqfjoCeqGACxdaHuhb2p4LMVaB5qli1SRhmJ+9T5utdIH9shU4XAt3u3xTMOlfVUiKblExnHdjxZuRHV8dWZmf3WX50Coh9D5jIjhqj9IbC1B0LVSMwiQsQ1Wdiv8lKM+QFHVWbVlV+h+STDGCxUZB8HFQKESglkiud7/kfjzX6/f2zivOYk61vbNV/xambrJI9b43eaQTkqDatvkDrmhnT26nCfD9bJOs/ekr/9h0o8a0c+ZKo/IkKWE46uNrW1xAuyyhuWtrHWnOJEqyPj8tm0pIDRo7LFr/dYsnlUkytN1qJXCKcmyFXRM3lz1ft3CxtSaV0/oAOaLJwnC2zBGnC4ojG8UD7fzTzFvn7BINdzovS/7LUYp766wvSaxIniU+w8TPqnRbLD9YVNqQiQ+jr7EHG0Q3RpX/aVwhmoVuLYiFz/tVBYMWbbhRiWQUkg61/3kocTRynEdoupw8ZO/izeQJ/wXmTGmp//v7MSS9IUt2NiW00x8eMmTTDbmP24i+Tyz+q+BA0KmVJ+zO9aOa7zw0QmpRgZDVl6a8rIdhqmTZ6zfbxatajIHs1RDK7ruCnjs3gpLH8/2w7cJb5uMUMNa13Rgp7jDJQh7quna+cpp4IA/oJGUl432aixQ9m62gP/2ooICWWt07M9AYYBygLhwvE+e6M5tootQNFAbLM0lI01JXbWmb/gDztnbI/qamVlnYwRN3H7B5uhN48ruE5k3FG4a4jEzAnUz9cy0F39RyvZXDHuqhCP4w49PREbQcvbe3wDt8ngfUE3xXq78VT2Ktf8dtyun2O63/MTWkDDHv4fWT4VxLsGiXusCo9xbbXjlpru61KhgVhXRlUfzw2yPOJdoxARXWOMPJ/EYXTKv2OCEZ6WJBnPuc5+td6bmVtGykxlFfhljC0Rj4NLAs5R+3cqw1m+UWYO71Upbtm+qjrvOSGWvAaj61+yfb6J8jbRr0K2gqrQwcT2EdIuwbdkaXfCw2lFLOFw1Fom5dECaQcOkmVreaamL1VLrronZ4Zv4LSsNEcOCb+sjfLoJhuTcFe2sa8xybmaQAmC0uCfummT5FxWYPyvhrxIYjocpH6z4zcvu3Q2nzGb5/0Vg+dy5cNurXAggROLDzD2mElZRvarPfUw4/GteWvsrzGKSSVK5Z4vu8m0VYn5BIuh9Ta7jJ807P28RU7WCcAz6/mHXrnskDqEFYiwqpBotSbQRoAnMNBgdjpEJr7MuZfHBFXefGjhBnPCQqWmvjMz+uagA0EP7wy0r7lQL8L7dVLmiZOyG4PTzaLSx2c98y0vC0MtR7KbopyhoM2ccxLcAgP3Z5gAxtIrpPsxuK5rHQNOPkSFguqVU/POcsULxKS0v1LJ4RRcgU7tFY43tRqkeRigIVPIH7J9fndtnCK4Z8SvW16YqDGftBoXCZjGyLjSXCFqnDLS52PLeaSKFpxFRjWBfhvTJBWKT33LNAQxYzpOLgqZVbGOjeflxCK0u+IGehVbcMnBU4aEHu+sNZMnveLhoUNEq0kfVAq4exeZqdOOwTLZl8bWGsaSduzHUO0pCTv9bjcYInwIne8dwkb7cbuqUiDaY3xhnTBZuLhgQ5gVeMilSqJoe3Ah8QgBzkCTUm6RQF7X4avf51kaqO4rwnM6bYaTf+dit/r8C2Qgs7CH/udVtHO8MiK5CIGThIjkTln2le8Egex04QG29Ytc/d4/QxHlDJqHZRFTo4A5PtcBBeuNUKyYsZHqmIlXagQ1FjqE/w90+ep5vaVqVw8jVDtvgbKDSoHkhR8CXoYe+9xkifGW/NVW6v3dRn3TrU2dQWBPxVLFd4v1e6l1UmZob4sajlDIfX/uc3kBnRaV19Uq40L/xJD+UT3IRxIlHCdrjzSN6A1auv7QCpGQVBed6TEpaNc8LN6a3E3cUp9fJdG+xOXGOaAxFExEiFWMbYkiCRZnW/mEwYj1J3al9BRk62YXh8lnMdu4hnSiaxGapC0FoXBtdjpozU5Ipy04BluA3OR6oNbhi1a2s4nZYGMpX8uJMmmbWhK/PTDmCt6WhZbbTXBLAcbxsL7F0lZ2H3IADdlFrfKc4SKUtM+44ez53gXvqaN2ifbki16jUn84vWUWZiZjP1ZKyngvKHO4qkC2ZN+j12AjYLaSl01+K98LrZHW1r2Bi5NyRN+Xe+JGZNn9Rc4YyePt9geJZSVZT2BPU/HIcHk1TpAsLPMs+19U3T01LgW/IarRR901VJr9NUdk1H2ia5dukQa2WoxzxA1rltxtDLZNvG+Iz6/wCw/PlVOXRo4+W9bjEsfeofCIRj4srlW+0p5UeC/fLivaePJtER/dK+8sFVigeymV8Id1TKCf6/VpxUYQSqQ5lQcejt+j6f56CYx+hopyVqbpZAtMBuBsbqJfkqDtEjzW+0Lb8cmB7S+IccVwR17hjFEEhLAvoEfdFeGZdLImjs1hQSYB1qNDOu/cZwsUDUR76/PLEvdIJuxGJJp3+QIGa+8zLiP5KMNw0fHoWoPY9O1OvCDALnEQsHarzvfQbRVYzXuhH9gWBXGxlR1wSM3krJXgak2DuEoIgsN1qe0hakU7xyP6QgqDqww0LTAaWSqYxA2LEgmyvdj2+Gge2+rsL4GRQWEiM5IxJ1CUWFkozg0M3L84kcIRuPpPccArO6VbaiNTmm6dmp2LecMwk45plvRqiKT/jI0HhxXDgE8vYmqR8NwiAPGPR2HmhquerntqHTDYOVTqT+nWjlZNLTt+MUEYNKi1V/J2jAO7SEbIXleYP+r3C/xSACuqATXhXHb2pEWEV2eu2Y+4gsRmTOeXSjZThKMH/P1XSsZBJP+fxo4l/nxqf483CKUJK7V1gK88AmGVwOOsafdTerIc4msrIcRFxYsKC61p9wJKLt4Yahycxnkt/tHe5ZEmCWFyF+9hjCVAvZWiT8FFxslIwUn/cI1CAoNg/RGJskyIiiL5kOzeSJ1aYbeUV1goBPTt57uE9y6cFZu1ilSF6ffxxVINBqhfD3/HuqBr0iSJIpwWFnjLkyB4Z0FxFjqykGPB8ZCtyYvqkmCz5fQXcYAaqgpOGTuqHCPT6j1AJFFSvykwNNsaq2ESgRarndcS02TfK/dZSTNJLgdqMkWtNm5clDU/YrmzKpYp/massShZGjYG0cxWSzApKeoXfj7DdqTYtJsGrcLN6tRBjCn+rNjhXkxoQiafCL2R/1hQp8VUBln48Hp047QpzNpVgt1U0mEHOtF0Y4Wu7dmpixqoIgDZQ/xbpgtbNe31m5M7SXekVgGfF3IqKNBB9hkHu/rUgxUKTJ5/zA0oF2Puf6ekOuJ8mTxd/uRs89vp/0jHlXkRtALavcCCNuVPfDPXxdBANrmW8vdSDA3Wdq7tfNlvjj9hxoyMnS3lghDvCsJE1XIFIWiFQ3SSz1WwR1sKxQOJ1aKChrAcb28w3zY3P/Aok8uaTuJILDKdiMtW/m7JrB1KGwsXBzVS+EFUkecHNbzk5MfWccPNIrq/UrGpO69LRclyRqm38rr5v7y/n9glmDkr3Mq9k64Zm5crkKG9Kw9R+V2XKKMz+wpSXajoG1bN28qYdipfnfkJT/vHvSVzIakH62j5nG/K7b0mMeDLCKiuOwELEyCnwUJ4UtTam4A1FpjtipkH5fa63r8L6oyI6uwr6oivOq5/NF1xnJs5mbcUE/9M/9YLrYMWmZosMyhiOFeT000zDZ+VNPDAG+Q4D0bIZ3CwTh4J+CPNlCGoB70/8zW+8Q2DTpvRwD5eh1ZU0doXsKe/UPcFael8Ms+8d+UIQce4no862iPFFiXLXcGkqsQ6TSA0FxiN6Ps1G10CPMaUHhXEcn1L0a35vVgz7v2RfVqWrEOikufnWcmostcLp7yQJ9FNoozAnVWIi6hOrC0Km+MfzLTVpSGHaY/q/AYJO2cesVTjSmU768zNQkuvNTBKUDAOFoguRiGhFmZQlcQaQeLbk4HDTVA70v9GOFlmZX5Fa0xMhcer8a/efG7DzOqB1UiJmydXtSh8BiN0m65MBRhXyR9TF+j3tytrRom+xHnbzUALldOCMFCzzYamx0nQPO02zEczZ5Az5eWModCIjrUDCaDiu/R/UxHLxCd8AckEYfUzd50+yOpnlfQP6jfkRA/hmTgOo9PGSB6UdOi4oqiPB9zjpbWN81Mmt5/noDaAYGWG0oab061B5O26f5i0xfeaAUoPw97hLuhcUbfxvQQVJHCTrXwANP3UPen8/7wR4TptrhKng9rxFJHYrbv55x7jGE76ym87JWS9QDHylc/JMTG3mDf0tSpk6uVX1YAq5XWXHXsNQYyB6DjDqaoFZZ4ivV6bfkQb9IuOrLco78Fl+o5Nk7lglXcS3iQSsZws1PX0JXS2UrEOfTLVW4C0W/5R45jrFkNY8U2YL7Ltewjn6pS43Lcx8zByaPaNTHdkj70IrIne/JXJIFynK8oq5VgQ/3coQhZog/yVYSYPS2qMg107WfdZ3AbRre0orRtL8+4vkYzZlRhVVoD8Mu/ngxX5zckEWLNjzgEsIjXP6Dx71EeQ8fIjH72loYU7ajkrsqsRnNPfTQu68UL+bX2oWmavdRiPbRq5DxacbnAtAdT+wxSfD0UnwskfQuhUO3Ylx3xW2RLk5XAOhR28tKZ35mIkKy6Nb964hUyFjXNoF2nrZG5p3d9zpo1eirCfrf9cAHfcKCdc6WVVS/FZB+g7V4hk52MmOuiW1q2Mz3HwhQn7ZLMW/X6nwXB6tbDtuyxkHcDbAucWaYDyf5iAeOnlzYQCGs3ykh6qw+omiWX2nEH1zYWKphHGwUK7LSjZE3klblpQEmnbv5iq8uzohM4nd9RxgOWD4HEYlNviZgsZRRzwzSlZrMnB2Mk+ZlXhOukF6WlK6iuxTkH7goo3wzo+DZuV1FddF8FCuBdII8Q6vYgnEV0R9HhCQFCxDNL9hVDbM9283TX8253v8+YKetI2XPPGKeJ6nAxzG7c+VZoO2eybzQdrFO2TweT1TpTCEl4bFr76vvIz+XTI/myIwcKDOLW5u1jJwujEZqPIKY2CWB/Kkfgky1OmtOpkSzj9i532xtMSLqevml66727IjamEtJ1uKTfJTIEvChevAVw028gfwyXwIOfnmjPIoV1ba57wy4FTaKQufXoRyDpuURbUrDPHo877C9k+YF9mgryZfEWf4HZvklE/ysxUg4xRwxrns6Fke7Kl6MMnUT/4mb6zJwNdPszWEbqmPN/76cNWItcEZegYZSQ7y5IQ7REdIphXK//b+jfdk9WyObBj0XaOdkrHUZ13iec5SWZAH6/enaNvrh7R5aJ5OEMEGtvFHBrrS3tDaZzSBlR5MRU+odB2+fHRYbxIbmO6ax3jMxzVOHyW/PPe0fpX7Z7pYBXbr/1SlEXOVrcs75TOf7VL034/ukszSJXOJ0zLMd+C4+aPVtUin5/JZDgGmh4K1Dfu2FwLsQPMS25dqdjNOvErZXiO6gfsQIpqKAEGEpx07Ato2DG/H0obw2q1tHE2pc8rT+MaJEqqrzO1CdhhZm0J6YHjeAmZFbVyW9WRazWvfj3oFX39hK4qduPeCWtzspZ37iydAbA2JeKMiI6y99mmIQg8jpmvbO1AHuwehgZWMvHbHdNKVT2mLum5wGVLMvzwzc2E9HrE592C2TfZPwxcOv9gaSd4/JXST21Bq00Jl8/OSxnHdwzBSDABsPhRYrcqihjOCzEqklpcODtWrW1cMtJ8OstlfVEPWx2GuPzNWrwEOOJw8+jMPJMY/9IyDlgZtn17d1TTjEnBd9lXmMTRP8M3JL2P9nJR4Af0VFq+qZzFjDFmmOubFd3PIbsYBgr5hZqTG+6ea+ZqgfMRrey5pQUWyqh2z15HoGUnW8xPiWQe3X224GpxAw/1978kphpsAv6Hktm2GrhLJ9F2v37alfsUoj4CjHUjZtGeOslYbBxmTANtgJPlG70RHzKqA4cbZLI1rkYBY+tnkh4RFRKjCadAYRc42zOri+p6iu0Yk22RRpDVtg/dkpiEXAoXKe1qThZonDg36HHiOp1hGWNiCMHuVJMoge5PD9MRiWv3wRNqjJSdnTLaC40WfCrCk93nJ+SQeV5F5WD4ck2vm/V55cFdLKXAvc3LrisX2rFMct5PW3DbHaYH5fODKRgLlHiOOtgoKSE7CadNFyS+lTLUnDSmx4fcP5YDeyamof25KxY+HLyZ4GkligYKO2WU3Kkg8zyCc5Ygx/ioPUc2kfElbDUgFSKgAPJQ9IUyN7QGxdj3v7Y5IU/jLlprykzuo6bEiCnYQLwIomFaaqktnLlgNSUALwZ94Au7+mCJRF1YCV65rz7RXkBn0rEwINKLvWa6sCCE5Gc2ZTaXG1JXnJ3RgTrn8eiu28HTDXO3pqyg694GaBBRKTifwcgStMO/X9Ck7tjkh3toLXHiRifNWvBfr5i5RTWRAn8hJ0gFWuxOFhjSGYvSFzf1BkrnhhP+Di3pXRK54ysznzsUcZ3XYW0KoXWSXlkPt2QEGbvj878CHCHCoyTcPVj8KB3WEqOXGa+lUrRylfHUjUzEwTyT+ylOV47c7CmmahQzwFrKWlYzgp5xShxioeyNECgvUIHujgEXmZ2oyhFl/zxiCPEG1JOpWlvfDxhks+G95PIJ6zBBblCmCO+NGl6hZgW4hRUchFzsZEevl2LPRhKyEvERx6MbJ1FiWGV+zRa8PT1qQZ5jQofd9kgQlqGkdJm46zsI5Fymz24LbBAfvgz04IsUfQSosugVSKoyXBphsf24B/zl2TLJ9Zg175KTD6YpCYyONTdPSI3iL5bYJDgwl6UkF2rQsxRCnbrohvv/hRiBnrou1xbqYC5fvZ8Dv/nCS+ugMvqHPRXhTE7ALgp97rGpuChqswH205aGHFwBTSLOBiJW5cqsN2+GvBQG0S1hpSQFPj00dO5Rmkpvu7+Ix2s6iFUGAQyvAS4c+7J6zKApyrg4zCmlEf95JVgVF1fCZNynGF6Rn1qm3UcjLQA9KClEA7GAJmtooUntJcbNEIpalXETNp6d9jmzuxTL9BMderRClFgL8uhOvtBOpPsYCtETQ+osBWkbfUrq3wBgBnhoaYmGs7sBLPaqqALgqHkHjbTwT1Ww1f/ds2P01H/q6f3Act5AZZoaMQdN4qKs0aGoIWCx/bLlagqjtChKLC+0FTTSA2EKeqoAQgRz8iFgstXoaVaEx2tMulPTfUzAMS4UR5DURlVo1M3WmFL6a81GFPFrdNweD9o7ssGvKnyfN85T37IpZATDF3GwihKL1BGPTatgbeRNXL8x/xHtZeXxy5SlOjxlUYwmHWJurMXx2NCT+Oo1T00TvIOyDbnYHsNzzyIAYyJOA45Yx6KUnZZjK6BsUhlUyCXS7ZTO7Xd0woEitZtb8dcrfskgaM4jlqo8P07wvJ3OXZ78znKWjrLUOucFzGyu7jb8mcROAIAYfFN/ioH5ycot/yIpmt0unB328PowcEpUXNKRZ7mRI42FK/4trgMztpSxeNBE57Sf8Vp5p5lt8drUU/5qu8PDUNg5xljFYUyKn85fkGvaqPCUQomv4o5O8dyrvjGHZQSsQmPRG7lDpvlS5loUxaG4GarimXmYt9p+/rEWBTidQTs2PUNOFfHbmLRC7u6GggIF37UkxohiwDY7ho+11iGceHsS0CRAFHPiiGyysCD39UGLLf9kc2ZAjfztspGvOTEsXIfbNUxFegbVRmLZFBBFV23Y1Vh1+99OkC21WgLpUStKGc0PFlXp8pWt5ayKpxcLsmcWVpFODQM79YWdSTJM1hAnK2+nQSGlRPhm/ChNjWjVjKyB3Q3EFHSf3iD6hjJsNcjgvtfpB9fu8CxVm+y/OcOJTV8rlemLkpVWE0AZ/yIbu2QtWXg8DpBEEAXCUi8kOC/Xs0Bs/yC3hz1SyGWEYOD1Vvm4JD9Ge9H4BHwOM6erMZknIUU3lbTO0IpTXDM2jeogvV9OvWvPD5A77qbXOP0NgOrIgUZJSj6RxO/s2oblSDzi1NVHkVK7l6Cz+aVXm0JsU6IktZztrbr1D0+hXTWV8ebT+nMgdRexzUPGB/6ElWMC1jzt7gNk4ZfyWCH2zf+rF1HO5harRrlF1wldW32ZfQqbUqM54tXoyb9e7xcu6Y4IUeFFDhup3Wd/M9QY5Fldl4qE2FUtVg6m09C8/HDAQIDsqz3fKY2l7aeLo9v8dnAWqGi8qfNxDR4Uh8f0bSecslLwG/y6gGPzXxFh+pR5VZvrEr8Ukzr/1B46yRQvqXzmmJUcQfMfU/eO6PokheC+F0IHtDjOh/vfAevpUvUoU85fu5mD9ZJgg3pqGhvCoiuyzVPzVtOsh4ToaDkxYsdmUqKosl9phoQUthaLcZj+aIpcW5J3gsuE0SoiyNUQJt0d+jFv4mYj/+RUdulb92JKvFSI/5ryREXEFHYcWr4qmEzgwPIxSz6o9zsttUvCo7stpkCFGrIBxcVgXfAM5OV8ffhWwyb5yd0GcJhN4yOWe/a/pgFaFUdHJoXpCVmNn89VLJr6HshBEQdaJwn4ycfu5lpBxCOJq1Skn2xQJQsMmrICVOwvz60CvYlLH+I2G+7wbMWEVL9OPu3RzNm+HtyumVXr0BqKRRrq5Vz64HtDDZNdFCT8JUyQVL+vxVYJA+KvuEpEqT2IVuSwxXU/KV16NdA5BOwwy5KVIUSa4wkBGucE/ROo+1cdxkPbVXdPRprUajooHoRkARv7xFNSbEQnyy9XAI6TEogCnV63DX7eqkpr1M/+uNnv4ypgNSGKT+mPn6o7ds1kSzvxwGbz0pSGRp/DpbL0q/gFyJmsXBgNELKD/OpWQHKT0Xx3AGEo2Yg+w2fSjyx+nj3XQ2UWaRmKyj0kwnzSbjrKb7mY1k/GDYS3C/po7FukRPCwdcB0JY1uNM4njlh4/LECKzxKZaXulIF2JjHx2VeTXO+q2ZMd4Vlq/hLHJBK3/C9P5k4rlIFWB6stL6JxUJRV52MyhkGDxoi9h5vHCKe8nmTpHk8YHyDkD2OI9IQCYv1OgLk93FWdc/UzLrWiPs5a5UsZuiEEF7a9IHEcYKtRJYVcloK5FVcvjqSguu77rICjuWABfniaRJXXhRXlhAmgroJO87x6yDFSNbe1QAntHSK5S0w0L/nPHEScxkutqsGCJjdQk4NExmYBLDKLDbygideA/SSkHO0lVvERPCKCMDK2tn5MfkPv0DYEtQ1YOLr9wWM7jS5D5w0qVsilqf4dLxJTVDUiQ4bXF+ciL2j6LV8VHg1ohMPHYkufc9wbHZDq1Ea9KjClrmbuKR6n0ZIjS+PjdZQEOfMuyGuGLL/WzAI9tGI5gqDVqBPHt9HvRBG/3eb2NWWslZZzqrr0oxtDMy+p5tcXz7Roa1vpzMtBIIITwpEkTYFmysYyE1DKbPB/OW6F5ir3n+Dzga4TDIfI3DejBICDUWhNKq8Q+UnfT5yEgivKG0LA9z+VgMSRgNYdr7YRcjXTIpOqLVNml3wEdo18H1QxdUvVTT0tJTsYm+iEKK2mHH5UNtFQSvmehS9Bnck0/6Do2t2yl8+Wo8xtbzZuxdsAdenC95DXa/jY1cYycYF5p+r9lynftMClNHJGACxYalT6/AsOJUh6TCvB8OjgzQ+WddB1To0wW+JfgagaPc+WKdiLnkaRbeE8AHfoai9gaSqABMRRPXw+M71dND6Us1jDXbS+zLTVYvDAiUtYwJUifKbR6bB+Wj5BFKUYqIZL+b9+boJk0bh1E4CV2Hj/j7iW6/N45PeGZf57HDfTJz/eI0bUJx15rbOcW5s6AffQ670UHv7rqvzCrCKVgF+lnF5i3uX8yrnxLU3OP25kX6EZuc4PnTtIyDm6KaOiOWzb3bgOeXA4kgF0vGwnP2800KGObQTsgA3MXKfvo8v3RjEPQ/hvCgNlesP+VpXZvSCQf1NWTfOZjA6U5KxMzwyUMsJTsueELRsjC0KiimRo4PzrDo8avrgZmMrdK8nWlxZsxvpYIX+cca4frdde15up2+uSXrUZm7lpJUKZlF0FCd5boueWjuWc2Y+qKxvwSe9HJA9Tpsb+Ku3S2DlYywvPrGi/OHiVT1muULOKN/KyXQSu2+SLd8Nr4AQfviyKV4lJNmCV6n07ENF1U7eEZJgSF9z/ow66VpUx7WijrfdNlOc6AuoSCoS5ccfxy9zVtlJC0bxWrmMuJ2CrG89D2yfpQ8WGaFijIhsj0wYup416LOsLqeVU4T6szLK9mAZmIwPzrwiOApWtI43NztL9eDzR4+LYIMSFrk4r2jgFcuTE7tY83iCZI/hCOALUXJMV/PLoYk4j9BPvEGDF1JK3ncB/FhU/OcC9jmus4KmRASC/CPlUvJIBYCVy3XM1+oE9H1geiA+fCWo2V7MOJSit6ZN/Yh76s0CS53U65Sf0T5c58OUi6FbkeE8+AttafQ3KIggmdKYSXSV6NAyQipnafP5/2/heJVucjDdIsFvwfzka/fUJNwpxBD7x/a7Dw/cWxfBgiNDbhEyz4pHjX36v7acv508Pa1mPTKGj+s8Agu74CAlOorp0Dh67bXyEPWhx5VorNcV6KKW/nYZTiq7P9U86/uYGog6N885KGZuwWTdZsM/KaH3aR8GBH3rNtbn+19QlpO5VE7HcPzHkxV+Oma69g87pcfM2oiv4gMbtbC6n1cnFLLSoxrJTkvox/sRFyHqibDmnGLKfG+2W35YdRR6KJhsMx95O88CipsQ4uMmcLUnBpDT1+YBHMDMmuaEbAkhoMlBMNZ8btprfYMv3xGMVeQ1tqbe5+kCu2W0m9NTw8U6jhbhL38js+CZWKMlrc+UsdjdXRXs3mgRkEQ4F4QDEceCeNhm3j4Bo5E2OLQMqkjhutet37RwSlHabHMWf2dtxbKdVV0lioLx4ESBbMZ+hjpisU8+3dU2et8/1n24yDUCXI7sEaMAABXY0G0+lAz/rT7xcQV1XZoiGUPd6rXZvDhtLOgnXGM1xm5ZWvn1pZKNCwKtkEp/5QAzbEQuGRtUNUSTo1tecPNGnCQn8B6Qn6xM7+4R1ihId9Fmei5XIWniKrtdhRC2TGZnhFrrIO83ehnQJNF+AnCKFBTjG8p6WjvsuA+utm1Yi7k+zOXfjt+s8zLCrLTAqNDHbxe3gYPqFWjOWXuMgCCpfO4yRr0sZQ9YyucQuNEGVso5+bUdFoaHFfJH6v5DOkVL0xoNlGJmAB2eJM8iLXZnpbBZfe+3AZ/2HprpHpsqHtvJbI6Jmarc9fYCZYVC3Q+lVCToRw0y/gkoquRdBEBty2+TkQ/ykjU87fSnTvRtJ7JfAkOmsFmRRTNXyP4kKyfk0lPKIKaKEzZg4soD0RN3upnuKY1M5DZAPL7jF+6tXr9LmlUiDX0QYAz6VZ4US+vm+hMeP3IlwtKfG4hyXgidRsFr07Alsmn271B2g4OCUIQsZ8T0OG9ITC2ml1YPJM1T5+QPYhfDMzZOWeOg6MSlQslL2EvuDzQ/YHr0WSgEiQ6f6snOEvoo7oZBquTRgok6LP07gPOp84XG09Spw+izoIhTV6PRLStnTIjf5gHGlUX15W2HuaoxuK6lY5nc12eWCWL83E6G/dOlKWwodR9EhRV42tK3BfF3vJnaQ4g8wRggclI0FoqBKc9SX0YqCY8g8XyxDDrIKTspkPv5ZpXXuLe4Nt5lfnN6xCHp4uqYrA4OyQyNixLeWMFyLMWUJ0oxHtgcuZoL+Bscb3YofYRN/4YUPszoe3MHzQYePamFhqEpgFWZD1N4HUWQzI/rR8ErlqiHyE6FgNQMOThv4MMFuooG/zXq8iVT+ga4KujJyL/PLXusMkF/u2web4sIwvkPdmJh4GmaGHMOW8rtyKMc2VVUxu8lLO0Yv0pD3B1Vu7WvcRQ2pPVEmJ4D+psjsG/hTiimDOnK/UMhC/gbk7kB4o8g1HtgzczjFNUOSeUH4OEjtmDwsPAA3FilPyk6YOpcrt1Z1yIvzKyIkR4+o9HcLmab3AXnWDtzIfl1uRsVTrpTt1bCe7jv1+0EfUmrd2mY7mhIONz+gm8g+ZdmhLI0jfUsy//zroFkqL2dlitmcpbqLZcxAu2O7+TkkT3Aha662NEsaSU2eqPdP0yXsFMHDSY59lGZDy8vhYABXyLYiUaoWXPaS1M5Ga8OVglX0D1am+ENrlkcabPTQ5vyzKJmGsUeWi6SOOKohYS/0pcnnbHE7r6yHTvxGzbHgDRN0124gQFLJ79Z5EaOipJBVxq6v6E3Fo0a8UC3k0nT+2yGfnlvu3/4aN/4REd39sgiCcwG5Jp9hpiD1QM5+4FXjYo5jdesWRt0wDoeAhQu+MFA8Z8mBGZejeuH/7C0e4tvR1c8F/CNeStDavhHOPss15jyNK29EVeuuzn5KH+U57lU9YsqfRfTSzEwncHFlObqk0VluPYTiZBINz/O1Gym5wey9uzWvQcBR9dPKL6BrBReEniCGUBye/G4ecgXuaIZqmA0ZJ8ZoMiJbA7+LBq0rR8nraiw+YRJYiqCdZyawBDL5ozoQuHolcTI19YEVZSymBd3EEyI3HNBXcQgdYW6iIVJuEqPwx+SwuBHf5dEdVLOnddso+lh9IAteUVg05+LstqvZWvnzgjIqoR99F9nFDTDgVxBo79te8EVxMwLADgytRlnMPBUjLIcnV1CDvXzO3iqF2+8nQmD92mqLlJ+3ee+QkitR/VOhezvY5EYJqNiqSqiAVV5s/PwN0epismsmA72LxRIR5tCb2r60+9vsFDz8Csi9glwlLa8d5YpKRixtXYc/h/MwdoFv1/YyVDrwI1ZDDJmbI4UImRJXzBVtDgvd4Sv4pIHzCwhhG5P+RAHAIz3DczVl9WRcBJMEgfcqLpXq6X8fefjxM0LJc5yxuI2SU9oMRwvYXzeoA0k2hPzDnEGYd6cDUB06fmZpx256MbfEXO8A/ATFdzz1OW2dc4DpmKnjZWAwQ231AIHTvra/HMeA6ejcHPh+yh7el3SY8n5NbnZBhFT3Q81FrL0iSGtbV0G+hFxrKNxZmon/n2nF1uurE2KT00/BZwop11yK/ZXcosx4mC1RYUR0JZv6oDU86B/BNWZgbUfwTAWNupDLU3tkEu7Cz6KACtYDk+6TIs4COAcYlw82sCu9N93AX4McP1xxGN0lnZE0MthkhiWSehIPo1Ps4KQN0LXj/PDuH0mPXguxCpTnvpucrZZ+N0NWNFIV4zeZ38lIzFllx+2lFrJYwjxcHTnKeJd0e/JwE6JuOVbNikt1XdT5UbnLx1iv8Tn6lswoJKvRp//LLDsQ1uAujpe8X39FsuwmnVNeW165TuhAXtiTpnt5QxjjacapxPAw5U0q2gEK03fvOZ5Sc4UQd4EYCUWOKyfoKP0C9k5y2rQ59R5JlE0WkD5Gg1mMVzmNi1McqTjWJ7nCIOkTXxyZF6MWANpMctkSWeWFrIwxWykm7LzmlLqXGZ7TVjFD6Rk0HpjS+b+CCtqaUF3DlMjpgAyZl0zcfqe+znRHKRm1NGqo6zr50ittj4GcniLWxty7gcsxJNUnNeGHReiX/3Knefbcnc5n8nN3XllUDBIa4USXh9N4gi8AQ+o+BoPBfW/4PdYnRTSihBwkDNF6C95u48PFXQ4PqFTon1cPjg5AgMWWA/e2snW9N/MkTDvZ75pQ+UQetWEocjZcN+IafYp6203jehrK3Cv2EiS4yWOvydBT3VI03yxMWR2nHZXt1RCaXtrLTDZBq5IoDgQHOjcqpg5flLdn4zTnA8nyilRgwsYDg5oDHCPv7TYstslPRWa5QCPYa3qYn49Zz0OjVZSfGZa4KRZBzwjjvkBj1PpvAUTZSu+ou9FXq2EYm9TmGrMSWSLc+N7/kiJkvBzq95ZBFvQ458side19llLQYNbBgoIJPK4/EgCWPIhqPdNX4Nw4CJ1IvXQTcChzDAfGBZqcWJuUeTOEKYsPE/I3lnB/sVTN27oHQKZHvKn8Yq0u83QIcxbHQWrk4Gn9JMJ4NOm0uvoZur6cVFCKMvOWBehOEXB1KTae/c4MAdtpZ+5Ahinj+LeQJt2w66Cx30k5q8+O03ipqnZU8usdkARVpfs8BYOPbGHWIDaGzCHomhfI15sGuZULHRVAORLlvFKlVrjG2qiKXLSlFpnFH9LVS6Ea7Z5CmON1Evlh8NlnvBKLuOWxXtavgVskY4lRq/tqRbKdkamK/sh1uFvc9SfjdgnYBcqOVmoekUcR3jnKCi9JARTlDoEiOzlXCu999Uujf7XvSPHfzoVI9Z9iyfxpl4sH84b/oSmEF2i4xtwBxrreTDO7RwJK9U9582vQUc1bvNu8T0YAWGxp/yHcN46UFo6UZ+aEwwzp3IOlhVTnP+I6WYFuV38jULkCZ8jwkC5pq7Uri8XAYxO5IN1nBxjLudzdMN+KSiNiDvXz18Y7VzL1hE9vOgWsMG8iWXnUD2AFPFEvqHT2tZXAfXIADaG13HNICH+K7t2NeOMl4gn9AVHUzz6WrcqlX4Ve9BAvfvxTyZtKf3yszjl4+V8ISGnUe++NtPgZs5EoJoW5H1siQoeFNA0JqfLWIrK73zFYZ/xapeBfXMY3KYyshnmUZDLLrpLDJR7xJbbclt3WyGec+7TixGE4aWq4myhwEoGd33KQL8acS1qLugzFHywqEE6OF9ochrGVxlT7mPPgDKZtx39Doj/qctZrO8M+kwusqELqMbrBD674wLYZxOcAP0bYolFj/JnPYdjxdiNFIlwW/e9K2iXl/S5aJQOuZXJKa5WO0dYnwQ3Mo0trKrxWT7XpFLmYEJnVF5EDMbcu/9vbgGSUdsiswxN0br38mI0ThPcIaVCKaVi8USbZ8LUMmMGypSWrctDNePvd7/1xv0Jf2r2HAzvhV3GeV7x4ifY4P7ZVzkFXx6xOq6GvrGJxORpxDzxH46JafQkWR4rCDQz42YeMI7xxS2Np1eMN4rHhjwO9XM9hM3wMLXBUc1tJBQXQrw4E9bcjwmYbgIlkhkK1nwQBGat0DGVKM5M84pvumL9mSjFsOWvtAbLmQuwv9i4X9xJz4W0hvL3mFiLVClwcjnZQt8hLatqY5F5erFsxRqH5W3fJvOAQjjHJIQf9UBY+sN2hmhvyp38a8SfoENzPNkCIJq3dZtIeV/lCMXGM/F2ZDu/LCEAi1CDm8/ZsIo++jwfd+m9kaDHplAdqgaMbNrca9Iu990DUjFEHiJPPFNLMZz+IWlOHtPS1GTgLOR6xdSwvBkT1aOx8+FvoWRaviCfny0qm8CycrL50Vi67JmOD/Zgxz+oQqMlZkRUfmcxh1yrBB9MwjRVv1P9EYfAUvDMq7Rj+rsNEDX6XEgehlfY4gA3fRqD4E9TbRSp9EKIlrIYXF/MdcHmu1nGnnq5Nf9zOIl150wIrz7aDIdLx57/NVzRmd2k3w5FZ40f6rOHmuAkmZatRaR8w/we1OUGk+sc6sedV5qW/+CFfMX5eVBAA48NCCHIag5xHuY7vcAiVxpuSppP4x5tkEjPP3rMEu1Jiioza31eRNtlpKo3yAlYCJqp9AuZCh4klSgWg8RmhOnHMK9cCHoH5tiGgbbRWb/hlp8Zl0gMC1RzsYl44Gv/e99KCSz14ZkM39GrQR4wjkoxdgBOoi0aecP8SfwmJbnjj7N53sW4gtmMumI0dNzH+xmNz84qzWYtPBc377JRlQd4hClcglNXRH4hG7lIA1ca8sVFGz0oCbUTXK0rrh76cu+AZvMjNPVPyLh4eZ1lWXFK/ZwV1kX7vW524TebOTV2DqEb9LquVRSTBGsr8cIUYaHCn4IimoFjMmd8mTlkaYuWeyl21RWg9lRMCe9MmiBdSOcMiCZeS1xHukYDumfxlBBLiOUdrJwxYBnozxpHrLU06zEye+mf06rsLIHrLFjXuKdJX9otnsW9mTc/6M28WpgABvfVERj68f+lstZ5RyC9DodM9xR11vkM29xgvC+cBrwKO4ihblcYBNClobuMzmvNcpI8Y9ipt7DmA+RY14Or7JJzDkk7eeQPIX08z/EMVhHVWmpyI5hwCauUCKA2K2QecxKeR9ODq7+u15p3MJoishXZ9K3o3PoAa0HBGHdYIHy16kvWrnTDYg6Fn1jmkIX9oxVqkwaJPZchG+TivQGt4ikknZTK9MhroeQf4aSKXUs1IjQowQeaG7IGviaPTxpwHGL6mHzQIxxEez+jYUzfcJzfQt/tSSuGNvf7dH9H9n2x92wpPe8ifzDay6D2+/qyWfDd/Bj992KsA9JlkXN+qEVs62tXmsikjCjKGVQpNiGsX6/Y/e5OL2O45u/HomuZvXe9nNU1i2TQqT8Yj8xVeqnOxEQZwXbPah9Af/BgbS/nA038a3KmRwtz6ZTuyGjfPyBbECym/JRy71MQD+UZGSIaqFjlQ2Urd7Frak9LAImHG98bANLZNabhPjgqjtMcz3jhvJoRYJCfQlgAjRBMMoNWVE29ksywnW7b5AN/tjePL2F9elPB5q1Xam+G2qV848paXCG8Ah+Qeb4GElQAg6cKyEK/mLV/fAk0sB6WVQmDPhVyOEtPMdMY/0R7VMTQLwss4YQHKSJvoP4QKiVuz0v7OYdRilmx4wrfvDFd486KBryEItV44CiFP7egtvGfHflxpaNtJZXiG+SRy5Kfa8DZtC7SvIVjtpDAG8vU/2WYgN1m5WQurDWzYf51GbF0mHZ0MFmkfvF8X4OQHqKz1bol06nockB/wbRcRFcddr49V4eIoDARWPoOEpd+iQ72BtkN9jMRXYiNn9PhSaCHFcKazZst9xNJeK6zQvnYf/ihPXo86NUk9NOEnGwz6eFNqi3cNuFRkAxEPrCuGG8H77kJFIWVW+Zf4mRNjE/ICdnWabT9HY2uyQpqhd4wW7Cn61yLeqAhiHmQreGEMSNv87lCEF3/EoAc++chpLv5Ql3KqsrkElCE79fvnSJV6GFFEFpYoyIWnnc6jvLt8UqK9OTiIRmLFvoyRvylBTN6aPGjLoeR1fYpR62Q+RrpW7NIWrXzB6E7WEEusH3ZBSkVl0z4qf2LitJ73oRA5yvPSMcDxfEeF3pZbWJenG7zI89AQpNwTKd7RzmUypNHPvbaSJ4vAykfXGlT1/ugOddaLWbTjv6L1U1FDXN77xNg4QLg9PJsWFstP56Pp6j2Akb3hgjMjVjbKHIM/Jq/1vz5WhIO206p7GM4qEMCtNiOjnKYymePJ/kzH6Dcw/AvO8qkWZCLPEB/eWL6HAxsu/kXJkmEeWHlPpCum8OuVGavkK73jBCGH6RMVsVxwl1B1ucxLhBqDnDMRuIBQNPdVxGS6aWUfQb0uiKy3qDY+Dx8Tzekb6D1/gJC+y6uku3nRzhH6xXXTGYQ1MmcFC4kNZWmPwfdw/ME+p6XmEywRrf5SCUBG6/ggVoWn6xDbUNSiQQ6olT/eu6Xlng0JDzq/DDzGICHlgDsOERSz8qvvTQcdgtUR5RGmSIYmS8NMLeHckacTWNpqd2pLjPtl9drXaro5urVE57+UE7L4b2xwMs2YtGQWxSaGSHv6Sxpd+0jtI51bP9Ok+DqPGHNWQKoRI9+q/voSB8OKOgEQL7BrKGkdfqedbQc3AAMUSIw+hZcMoHnSaueiDJ8eAXXhzF+AmQDnmSrlzFXzfXXdLx3LrWcjiiyklVZsQ1jDIhEio3SLlo8O3bqQOIOhFIUnSgfcd3TgabuobJp2pCQ75sm3QbNtYlmhqFVeJNHSYy0LbUk3/qOAwsuncs8G2/F3myDAzKbz1vEk8M1fIN/moSldJb4R30p0thG5JMi9l/Vq4mwkfzGBwtPwJOS4WBZhIS7482DxS8KHyqd2t4w8gwfXuvLh+2zC7jm9Gk2zk4KAZV9kR0yEc/NePnnvamgz0/lN5NE5D8Ah2flI2I4Q6/hAYKT3WvSTZ8uizR31MBdyD+Y9rZRiOVpaCvDcstlMdabc6CzE37tBw4bpic76T7W6Pa8+u16lj1GbBmlyPAiVfhmkfM5f36kT0I8WQZ/Yq86YZkW/bPVnbzT6FTA4uraU8800u0zHm3Zn2Du7gUFpFMIuRPsyjQIJ/n924j1VJbeydGB6JuXHhZY4ENxENlINQ4AQ83Lg7uCSp3/Bnf+UmglWmAWkLIb6Y6PWBdEjWlRNDIuW1Pqf+lWMhbpHCLhExawwTMCrjrJE7Gsuk6Nno2lmoeLZgXzrirezk/bKbvzs79+fc44O5DE/+DtLEHlJRBekkN8AjFE6PIhZgNzntnSRXA3iksOeXAz5JgOHyUrmkvPcBwSw7C+VdUhWgeFJRHWb05tzSPFf/d6M8oM1dmgc8ZXEctA3ktme50TohmfyfPbfOyf0NDG284qS/6JpEWyFVmTMY6Dw9VWixTdZXuRLGeQvW6pLhFinC8SkcH012lfts0BWsFUrE6z3zzcCJh/F2t1h397DyfeCYqrx4DBGK9y7aVBSViQhTP0GqQPk/X8XsF0zsAk9oMjEEAaGsHxNSCV3XI7ePAL42TjLrGuy8b+aJ/HfqXhOj/P+bAfj1a3MZCvHvz7w8UVaZmr5zZMJUuF/tUxp+tbbmnmK8oHUZHbNkvw28cGb2S0YqJWdRj1iYOaz4SnqYTtEXEu4hllyXoZhypeT7UGFtZLBlkUOgqz1TstKZdF3N+ifOp00gFvrXv/VFpFWjMi3wpXjK9cYFuH8SRmzOsofWJpDVwPXsWtMvD0su5NPeE92Zm3M/Q7IC6AoyaM0h9MBTRuCvT9RjRQK0iaeDXQHZEojXtfauXMkuPehmzduNMov7ttWTOgxJQs7o1dFqxgkicNzOej6X+UFYXaQtauBCtnWQXKaaww8sqkTJeCTLDqd+iYUifp6xdqmY3quN6+OYXrKUMsPFaeUWQhD4/GmhxbPUm1lBxciqMs7qLVtSIMmK833xSv/QMJJAiALzT1nBih/MQ3Zi/T7J4SiB/V9LOMIt3rdcvxYfZfnXeUU+EWBf9uXvJBCIsEdJRMHaZ+zV9TbfLZ+8Hgp8znOoikWNIR6ZtsjgbZvEgLtNJaI5QVItFxbPMmwglsiDUfiW5VynZlJ3+eOtm/e4oKqhj/g8TRcwH9wMp23x56ftHxktgrTQsfaYvpJPSXs/XK4PZYUsXwYu1HvhtYELEWvSJUmBSrod+4hW2WHT95IyQ+0Jo8rGVVJdB2ys2QdZ/sgiCw0bL7wkLuHHdZUFpmr1/XD1/0IwT3S7JCr4gRU2G7KfbsdQIP4b+FLYTvcK9wtdEChpb5ewxNyhsFIcezUrfjUjK8e5ZFFj2SgAjwIPxfebVYoB066NfBqqeXsoh8hN/qDHqHzTqC5miZufkp3o/l/z/fGGWK+N6jhY3W3tPUc1GjC0JruqgwTn8A5SqdC5jeKvAi0TE9wEczNYSui1GG1ZkSoBg334Sd8Vvn+cYrkEazqsJOR9pNtW24XxRpC2pjM3bpzkUkCtSWcA4yx5FUO5j4OixlfeA9DZgSXYeRHXX0JqFZjGuhN5VyL7CALJAmgAr+TW71N4iAUS/ovDsAuQU69hqnYsymI3GvtOeTd32F0kMfqf87O+LwU/IQDn6gUNU+NoTQkvrfYZgmIEp4fyQtnTW/ehJUhl1RnA0Vt6grPCNu29eAUuhIkpl6akn3aKqk6h5Fo7r+Hj5r2gVAPXudAzrlW/vwpZO2OmaXX/PfDu6IJPEbYVdzqrFOcaIl/Gv6ZW5NAYFU9POn4DtN3Zh+1UVzeOa/Ap5it/3y1xcTJvZ1M4EjWs9+bevCXkfi9/nsQXGHZFtvqYfTbc7Vb1bCJi+2jQg1mVtPEW8iRomWioj2aovAGw9JkEFpgfMokCkGh2O24sXGyR3tC2jmQwy/5/eXLTvmWPZPUMCl1xYuqzkgmMCMVzqjVlKtAdK5ID4Vv+qEyNoxQUnU9ZH090bfbXsAXY0wbv8gCRhwyBOPwKmnBUaPytO7BOkP27d2vs3bF6e4BaB9iMh7aayTs/W3TXOCgdticnvIuFZRg2k6S5OrWDos65OncvwEroeft+AXMtWh/6GAfMjUtdoj6tNkwjCQO+vRfAgbxKEKLWVgM120mj3FKfCMVIb2P5AL7M58lUmko0X2p3/DqcLWfK6x5GpkOMsRVL3MZZgQIZgoy/2NWGY1nHfs0GRZQd9GvKCTS4771aju/EZEoPT5mwc9DhqyZmliehYkpGXbTpT2/xgLR0jfs1prdzRLbkuxNSi6+GzhuzXpNTXBqpMAbCE8v9VqDUDhZco0CG7Ps3mDHdcWMr45wZxZAZyWPUkAhZwN20Bn/k1T0vS5TeCN4rE6GKad+Ge2X2k6CPCn0bhqc1qqjN5Q46GS6yBCWElVgJEsJfyciq/1Z8iJomjIBK00w0yFdR1SGSJIOSCdDec6zESQQ616uCCi+EGvU1cNUNCIYskGGm7+qaPcI8qXmv6u+A0NyF7iQ3TItn/VbOHhrvtWNFrO8mKgMDWyDfr3dfaR69zT3TMxs9wA215jA0H7qzDR5rA/643U5HiYQih1gHnPKqKYy0DEevpslCaKO0lpva99HV06FfARgdbQqm11f1l5OWS5tIN1BRnOP0eJp95lfgndiETmUlxBBDdBDrXB7OH32Lx/82qXV7/n87t15/r8IFWCKwuTlYcTqRJzBa/ztthTW9kyS13LPVzEyTe0llsCNhui05ddHqXnp5qRLTFnaaSSsL2TrKwyPW3MKC+H2Z5cfuM5T5DlJzzxuMpyhzBKy396IDc+i9h6811z0zrDS8dC9L2RLxZg9nj5Wss0qVnwS3jX7wK2HTn30Yo3RaSUMne20HIWbDdWCLkBeZbBhg/OgmZB9QBV3Qvfs794RgqZNphXWQNiLtc1qLhHglDg+czs3gBB0p0bMjy5AlVGPNgh5IorKA1H7fWYlXQ486hL5k/iGneW1/a0AqQYub/gL6HtV+WzAYfowJ3a3YFrwKxOKhKVBF+bcg1qO/c+vyBqqjvnH5eu8V18mpj8awYi/+jzlx6TNuK7KI/Vo3AHZfampc18mDinkPEXsttO1YYOrI0aH5tqjGI5IQZNtD9dIruQpwoNWtaOqX/sS1dLHgxbBqsuvFEY7WJ/WxfhwwxgxL1G3vDN82FtpFF9i6G6suxAGcDLK3rdE1azn44T4T8XffYDt+hXo2Sgcd/exRooXlMUGWqj9ZLSAnu+sCacqYby4E33nQ9hVRa6GDm7I1BNbEcraJRdRz+6Js2JWSYIVS2oCXMvAQ0zVP2dtJGUe9h6jIS54aswNrls7azwPlYCTDt/Re3WHHna2VfM6l3Aul+UQgIvASdwTaoqp1IJM9zdadHbwdcYmdMzjj6n61Htm+impgo3/V9OA6TF+4rMvZDQF3g9omQX30ntBdQdKHcctvsgqRdZwUm4lVDpjz96PCQ/y2ZmCczTJEPsY8ZfzFRqtrxWSNjtVWq/prAsiBevfxZd90W68+3vSogWWLtchqgyimq1B02DpjtRfWLHA0av9QhjN+Fkr94FUFV69sF8oH4qk5M+Rcuvufv3E7ROy9S4kYSI7s+26RD4tCARHcTeNUjWDFFrbUSA/h5mnNhjy4XBJLDEmlM7UknwcjZvc0bW6EaMo/sydFf2xymVXqtmI+EfljkXtRpSKuuxRKasAWz5aauOTRgJ54jRSbViL9XpTfzGEGPdhVr0vRkLiDqVmj1l2RwzYnxCUmmnO5sUGOgjA1ZBVXtfrfKdvWWR8db2Sx7fCZBCJZ2IkHFAc0OAZD1OJ7tJAWIGsBblIBIXLqf6zK2sod3W2dWx0S8msKtl32yVGW6K9ELIZPA8dGbslSDzbAJXulpPmc3/VZ7+J5E6wJMUbCSiF72zU28WP1bufd8pvVBkc8NlRCew9AlP/XXu6KOnZ38YRpZD9W6AF4OjRN3TGZfKf3Y0EdWIHeVEYeI7dw1vBvriHUFhlMWrq5JZQbvO2FTB4ijrsxwo01qghySX1cKLIrdi/+MxjgNntvCmUDlapnaDGYYPWLXRPl/Ksro0GcmwkYJxVrNtPSrljb6v/6HVX2d8Sl9t7lheO10o5Lxqfj+lnBHaBx+54ycgKsMSD5w5CKvSUVfSuLHVBGLUhufizIn1lcjIE91rIHpk/BkBnPFN8xl2yUXfcBb0jkbl80Qo9GF8OHB0dHyN04m/8n8GaHON/ksYjFtgSVE/R7OYZlL9EPiEJf/Xs+h7Hqs04lJ7ZCxipQknQAXvyCmfE3PwEzoRDw8SXn3Lm1Ptn3ewo6hZhhqVqApgZxu9oEp0kMO+BPR/opddhwFRUmX2zHSqdO25CKAcH+JtPArJNKJHPU1whlzrLVbomdj2/pkGfkYX3e9sBTLxPl5DSKfdBNQObEqFqJo5arAlYnX1PunoOuhzt7p1KcFDr71UtxUhmjnV0LParLorc5uy8yYbqQ9PekUDlugvmhQD80egqd6wuL/qlSMSB8PavapqUkIWqc1OiFOsN4dssz4QtjfyfKKfqWu7Rvm5yCfF5KxlEidQu912pRBGyyzDpm0XRTcSEA41uyMjnMYuMmbF3l6rvmffonwER4F8oc1sMyhC9Vz08din3Wt1gt3i3zX5Uf8pdIZGdKH87VfrSO14NbcMvyvsTZdJEF9YlWFSwkdTClN2rldG3ZmqHKc7wslP6QqceXOMCW53Zlh97RnZX1vgYupTFlPK+mGgoC6DydzeEHjlshJ85B1OEVkY8AL5bP2rvbN7U6AzxSuGB11wT4J4HRblXwGSlNMloPtn92KOByXlt5Ft5K4l2duulTbSNrl+YP7K5BQb0f6zRpiv2jkmmB9JYvZ5YB9hx9rWA+jJfGO6ovMn+JlEypkzk2uElfcmzvTSyAqLDq5yKt8NM33oQSqp6xhagxN8jZJwHPW1602LGH+n3g7bsGTTIlPANFZWm2MH42lzgcSqgj146naW5+7DaFsoatIC8ZJq1dAvAes7wx0JRRztCJRIJ7xEMMj/zKaegfkMsWy89njJVKimvmKAzDXO1Fsa+a4opNB4mYAXoPKMl5pdUabJo+CVISJ1OXe6ib6StyYsRtol4+0PIiejpunnAHlCLli35Ipyi4SP25Em0r84756gN0gSCcMyQnngzDKMjWd01Blbt4fLLIbxIxN5UHTZrFsNGQnSBmtT9vyQlCAxtniQpSJLVNuEINlX8AmH7jmFDIi4n2cNQJHON8lpTb7SbQIEV9j8dorlhe9i6BpP1eEnwYHj+Dw8qA4gr9NO1jk6cP1xr+0+/sVz3nPn++fJrTd+u2zNqImiwFCa7u91CCkQ1dZNl08tnZRHQdfCKF2nvzIvqYW1QffGJrAULXPhZvKLOK7nmaZ3Okqx1zVnz3tHR73BTU979gNDD47zcAleDNVx5aJL0Hm79wZ99J/aumqbA6SuW6ali16Q9GhQiqzBBn1/wT/cJMUy6Or7t7mn3Zn6c3D5QAZM3bR/zdva57/4ji2B+Oc/JV/2WJrppP+MO9OYqfpIbgeZeGlhDdluZnadZn7y3kmF0ypUR/QA7jLC5/NhzSkIPCtYmXxMsL13pWwogQ31WDeg5Zapo5viwL7o5cyS/aK6wMtWgMSOoG3vGHS3k7zeyHXgJhwdqxCeyhAsSmYxWwFQe6Xe8OiffjR3V4RD/7y8x37bmC2jGt2PbbCXJGRRbfWd6ygGMX9/hmAPM1dxrG3iow/fy2TL3wrcK82MSlTZBlf1iVnVsxs0Sq4W9ljCyxGBmN4Z3tKUoO+HGFS8HzNaPDLrhWAH/y6Dv8YESIbFs1crZhTP4weXOm0mw0i45doIpWyVkHahtJv19Y8KwubzK1BDDzdn+AeUMGDsIn0Ueyq+p1BZMP0hZnKfr1E8bJGIcDCAdkB7xSoolVTKZ24PMxlcu0MJZQSRMuHItlr86X1PHzMYM+27QAVvs4NHdRWsLzkB7JznOE22ai0GGTaW+Q+bG8gqJS+tFOcFn3yyCoOf73nQY0VeUPE12dZLTarYyJ77QiLX/caAAeXkU4MGDWFN8Uvi0K13WiTTbug8IrTtWbW8iyA41S+GYk8GvsU3CSakW+0ltX1kYO6zFg0HKnCZU0hK6EpopCq+IQa1YmBY7wPKy4wmjvTwSqt/CvjxC8xY5jH6wjAUGhabCDQtSeE6mOV5UlKetUnfHSc2MDamWJ1cyNe6ZuFaOakfnB2k4S7kRf+LAzWEfYp3l8WWwZ7O8/lkMyXBs4TptdA0ompXXF8d7CZnT47Lt3M/odm6h4fo+fSy0CXhEXW2dqlMIYVCZVALF8dW4sIfxqKzOTPxevteoH/atkNQNF3YIwWIq2psJ54QRGSRBmqKHElOWGA72ZMtULNWmsJnGyCyYqRhankYNaVaz2G2XnVIPMkww8/umt3D/T77z0bfCEXGIlXfyuorfJfHmg06ulyxBRY2cYFVMmedRxrcPiW8arBoH+V0BIr/VEoBPl6y9TrXLiAv3EITdjgVv9k7k/7OPxLBU/W+kqjc/m/Ypj6Mv0hBNU47LhtBnkWeBQ5ZPg092F6c09+hsf+e5/kITwZR5j/zUhrfewVF6ZkFNDuW8Zk0HhPXM143GIJ+vKAk1l6QC/9gzzIWmj6//Bpt+klTpxbdUGhmcAnGatPtl5+U+MBjhUatxu37mfdYYRq1k59d+eTQxTFc1qrgO/KOiEbb20ger8+ki8D2o/HSs5XQ807C6+x+N9UQGyWv1N6E868sbX+9LxkO0xh8O8e5wEKqR2wZANcQ+pUEX00CCZUQ5bNooUvC8YglMXYjVTlL7GAu2INyWW3641BkGfeBMAafWE5BX8FBthCjbDeUO3fdroVoLFvJ7NSB5BZpFcFl6LHMP+SPcJaUepZXYW5IrYWvlb/8mKUbNgcY4vNKWxwfzMX0Jx5LYQKH+Or/n3IXMMLyDYFc+oz+LlRa3ThLDSlTmKZ92qoSAS8uyDWQAjAjb5VBuIuanS0r4x772ZqbQrCshLLthwbcg471seaDi7ecW1Ofl/8gmTM7T64X8A+T/Pu+xbXhTChhRCfX1PvHr69A7aYSLUHbhbPwT3lSbP0xZHaqP69x7x3l63sNZOKhZf5YtyGvvQ2UQtbrg9NWkNy7XOI2ktnWuAbW9Wj2cYSSCOoCt6tned9tMMWVtvUJ7pXfXp9c+dHjuhcMXFe/kkrozWgWuHjO5Ooz90A96O0ftQmGwDxDf2GGb4VJi3BgOuLKz/UQ5x2rxk/LxD6pIksBb/3h40tBnDJKdkppWZs7+7sKu+ySZ0GZBRr/HQsIHeIRNBVEvl9d1w8gnXajHyzGkwN5zduY6gAOWtwf7RrNHH5l0FJZtoiGeLV0StejHTvh9Jk5D3Rp5jbVvxcR7U9fcpY5pooppZjeMwDuJkohhH1YzwrGtX/KFuz7kd8LjpHei25E1F6Epf9id0of48iU5Aan1n7FW4m4q8tehEQ0B1YYNrzeZg5n4ct5s2+p9NkL9a+JykR1YtT2kzj6hVxRVK9kpHIu450e7FqSzWssuJFgq/1h4lKEe0Y1QzzhwF6lSXLMmH/SeAmjjLSQ/QfQbLcSAJm+SOryEseHRiSP6Co6wqe1B/j5fWMPRmxIzW9P3D9oNnwA4J7sKIcG9yPV1GTLiCI7lHd/CdfPz0SDDvATIGzcgjX9qTM5hL4zzT9xRTb4ejJM+DSEJkx3rG9Jqw7QXnC4pgKzu0nqGiM786w72p/WqdajvtBuTnC8awnA04DiE7f4+3H6gx/GhjV7PDVZZVHOXB4aFmD3ZXKfbU0n3/jsIc5v3vPQyefig3A9nQPXwCtb2rOjW+/lDkZ5jnD4aqb07dMs3DELWz5r8lLfjPn9b/KCnO3h8QIwDffzSYK6UhzMX+Ijkt7Kxpwd2Ddm9hMOFRzpnruvEJnbu8fyc89YRyj5tzBm3RhZaB702R6gyQ1otPB3RpvPNntXM9WDVE8nglV1obBaw+o3P7Mla/+w4puRuLIRINgbtX2HlocPfwoJ6tI6CTeasRFCtx12D8puu5FHlWEzjzbmbBCAuTbZyiJPkf9If2yuUKvcc0UtwVYhhdOlG+If0XgdmdY2NGWBfKciP/+ZXgJQxRqFryNevTqIuK7wOICfusP0FbYZ3GufF8zuR2GucqnIBvTLkwLomA7AOHNIiL7W3DYzU931m3b5/KtchZJSk9b4X1pDjrd+k/X8DOwCNhj9Ekotb06fkdRs+4nQWjaMZwat62LBvQMO5vjZlaoMJ2ScLxeDbJQD/u5mNU6O8jckHDL+HB5b362UVZMXmjQxYhY0fb2BndaJXJNoN8WBPCRpju1htDWE4ZExCuXLBibBDYHr/rPTCiy+X4OUhDf0mf/gU6DC5xJTMZxabdchJp0NGDU6mukjAcEO8mdFin8ch6WlGku4jOEuP1qiufFwkXP+Y9csVEjwDQJ8K+btzr7tTA0QBdF2kfzlstoG1Mw2gOHSX6hSJMvlLvyrGZSmYUXx4LSoDcMMPMGDljrPzU8W9jdlqnsWBQ0xXA4ztiq+UcTPXObmDa5VuGjQrticR6mNGOhf+I73ej0mvAspwdvS3u7eCtGa7zOhstgR089Bs5PEaorOBl3u4PekR3pdPPASkbfV1gqqFGHwXWGRtihtwj8pylqsKWosyl3Cuh2bRifHkxtkjZ3IECEzQT4o+2RSvpdw4niHY13nBqIJJ4D0sDPm6ZfZkIlZTlRFeHhukrH56KaqejHyLp8E9VQmu5+5hUIYGwKa/8IDOBEeFMQ4h16tqWLz/wuMoNXgm+hkTLVrZyKFMoK6L/gY6aG6oYvNths9xEbTI3NrISHhTSmiu0FVbPAcTmd2/6HPqYbHtxsZbGcoizx6+3eMNusw7HVPTLN+MAMIL/228GO29xPUK7e3n9HdZEJek9PrHnJGkTbMQs2NeH8ZT5qawAnP1HWl7xRW1JsUreXx1MzaUhbODzBF1StdLmVkL/Va7GrjD1CDU9CNIA566B5WW2TWVn8Fsm6DKHbSbz6w3B/XVub+LO1k3GUh3b0rIRXvNvz96JkNPm2y776lsaZ1hb4eXnNpk4Hxu+GtnvefsuUSzChHFhn7MeY9xSkY9MlQoBABmQhjZXnj+0TqyP91wjkhrIvzIsATN7amDWbXgOf/mVe9TIjXXTu3e/+EkVDWmh7uBrRPgSLlinnhMfaaYiZqbxrefCc/YsyA2rbSHxTDqypCE0ZN4N2D5SBVQk4vslbMTjKt09LezHFtnRj77M5m+N7cWupyaPqd4fC4ON30SLvB8NwPfs6HxlJgPWYGwOcsiVmwRHlWqFyIVLSW9dzq05ZMs8Xa30ekgbK8sQgKUWZn21j7wXiUCBWq8VaXQBk8T1nXk5PyCdxwfEW3EGm+o4aa6l0WZYGtwVPEWPK61Df5TZvYCxjgbO9rNEsYqpLw5U70tu0/m9zwAOg8b/fiG8dxgXjOFwEBFHSNk8LhIq08iV9ZaBiqg75dkqNs3SQsOWGXQcczwNArs2cjRtvv5+G2m3blxznjGiLBhOqIopIY9MSuIWfoVXSWocA7qLCX5Si9b5mILWrGoeN3v/X0+ZPD3yoCuR+7uqhtdlJ2Ip2cvsI/YJ3YZxq7sHaVBa+RRNTR7JsVvPAmGty2XnvRMSfIUEFqsGbJiYNIv/ZDrKlRii9OC3K0Pq0FFYlGhZpKey8siZ3ZCmQ1cJJcuBHsvSyHMTJJX2zjNVCcTXxbFysB8LOddc6j4AL/w6d80dps2NQ4U31B0Fc33Is5Z2kMl462Dlr+LaYEZFyg1kxDS969IsoDtYBEGixkgQU9dMjWwoABa8AK4yQvhsLrKZA8BVWAD6jbJ09YTe5OtHEsyrFd0F85eJ66eM4LZAMC3fMWbUJ36+PRYrJAxt0u2spOrecYVAhMB/i/xOQ2qy8X+9QYBgypt9btgHrQR4/qb9zslhRs6eynJycMQW4y0Fh4LryflEGAs+f8K8xgNdmxr4L0Hj2mCjlCy/Eegb8BIus5GQVFu+/I5qi3UVKwGbojo2buxa2IDwap64YYSeCFyvPZ4IaYcMmzBEjlp6HhgXk5S+tsPsJmoBb/yAKrJoPsItW3+1+jqCUHHoR2qQuIK5aKPWgucFP+e3oT8cAIDBEO02LXRvSob5q6s0pBEYAcDU2MvgHBw8lHqDPDT3ubCFiQ+XtO6+A5NwKBq22f4s4Zvh7HfF/PIZChWLw4u4bPhpHROop1epBTnUFM7S3cNUDZZivfByWgtF+vnfJJGmlMXScf7Z1/dXA++Po/wU/wxd4w59gHp06Eufnv0EdCjv+D0XeUm1xLxjLZy07N65pkUxfpIExLgvONsd6tLX/EYHt6mIw15snjylsLJHi1xe6Ceyo3NWe+UO+CbVEL2Fq/G1L8yrm9H+oSZ9iQPO/xT+rnCy9Ou0DWHAXr8rKNKEqvhEsmnAvwYfpM+3pnqNg6n2x8E2PbCNHDSMWCBJs8h9buaeX5/nSRzw0BaUSiGF8MbNbJNC9CwlUZbdHoDBeWiqFVKnyruGfwFs6/nNUuS9+/lYChnNU9FaamPL9XR273XJuR9rgIsWwK271QsuueFrFRVETTI0Z3DvqSenigwZ6nxyNbIg2JLzdaOmnslNOYnW4HP8/01Fo9ZDgSF1naZy1B3hkAnAUsuRgwmcNLbZZo+9rj2mexIKtrUiAZPbWLAwVwKTCahs+f3/kpID+czWeARzb6ibglw1kkBfyAn52ymMDfauKNXQpKwKc3qHwRuVns81pb5/O0B+0spT99/Spjr0Vq6CJ6kDdX3WBP/Gg7YugYKsjD7kZN75lh6HfYtAEAZZBSehF1f05/8piyUreEKnohPHpdsis7hcWWGt4+SBx0dfISSovE29Se3FOWN2J7bBjyKbYxoKA1qjN5Nh4IoC5ZO5BTODz5Nt99rjRcYaWP/ccQ0r9NVX+Xt2E3cKkPKfiCbvfTHelloQJdJOqG3+ODJtZOugoGhYUM7VeEGqtAR4OWucEayhZgbleyJZ/8oFLWIo1ATzs9J8OD6wpvbZQl3gRyT9ctHpzVh37XSMobtKmVpYQcBUt0BM1js1Kplgwcz7OH+54Cc0gpgZHAe4ZnNUCRq+SUWPza0KT7OIkg8lFsjvqXvBaVD3v2q3sBwSf9fdbvLzVy6zgMqdXT85A5S7nruckYmIRaA50s/avQEISiAZsTf3sxCZ/NVX3Y/tBoL/qYOCJ74FYAFDXQMgicLaUt9WDjGjCYOk9o+/q0hNiB7tuZoTFaCMBzRjQ1+DdqMhkTsrxpLxWqrphB+XJY3atAeZwQR997e1jZ2tffTuVz9kc6S9+SoHuJzWO/bLit5LmmqH/8efHHN5jaTfVi9gtIWFq2Ns/4jVr99ZhhxKjgNfpjYHtskz0/UI/aXcFqnfOSzbrKscdjIchSK0KVhCsyIyMWvT9N0DXsb3LetPy4ZaHe6dMjv7WXeF3ZRb4U7Ucy+1fcQGUji+VYc82S5ZiiMC6TI99oRws9fwv1BAlAYNuuYHP8WeHF5wPmuEZuiCEAUKtKcCWp6ODRfZTIPEpuVXJh3blr9lLcygGoFjDs2UyEatQo+V/dmNUcYzlBJNuv+H1wiylkXaSVohmk5tkYlhFSnusTCPoMiS929V5Zt8EynQnwHeVSuxNfrUGeeifXXk2flViS/FYi3omjiXfnxq3r7+YSEeHMadCIP6arsJrykY+e9oMIJDaYCldPYdMAGZ5EoI5p2VWmKv80Ainso3H6X91Q2GkRKx2BMRS82L1UhJhs+701N7Zf3/j31JiPhyE07L8NuA0zb54dvKqK1oHiwn7KQPyN+Hmu8pkAzzw+Ge04lLtA8f5/jKQ1qG77CdCMpVTt4mg4agZDj6w/yYB/KqtGZXYciCQa0v7W1tMKiznWzR9B93jby5XlQq4gyEIz/s7iO9/N5kH51iYNFsflXx61u9R6n5FCSCtt27JvawRni7Af+eVnG1n0QR1xk60vSF4KZs+0Dxwcd6FhoCu60jYCNlh1cTtzTP+5KSVPFZShCURKS/iEcoIYgc4i9ksaxtwFnH6/q01+H9JSWTvueH2J1UZgEKWFVXLRkcDYQvGoybfxxKb7uTifoTR09c3ghmMtunGuz1E9lmS9kd+wI3wDfTEw78067ulF7FD2zp4+CycwnZ9K/GDU/UY2PhIsFt8xUExIqQf1Db99Rk95NYPYozPizlIqI1Sb1rfpltHvonFp3aOzIUsX+MDiOLoIneHwxFWw07vVqHlLoI8YGU7xjCrt3ob584+FqGvFQxcQx5SK72slV9u+NcCRe4T/C/E6aJDAD6S2nK8ZwwCpEXl3PCt25AjgtwzLEs11JyK06JxqbwtyJZ+q2Bgx+CMPFMPBudP6YGawD0Zg7F4bhhmIX36FHzeDGQ5K07W52I4NrTXzRSquFiqNRKGBnHlKc7jgm5Uhh+m7nfnGhyytsSOzPjfFKnAiS/etB0TFw7X1JMeXvbaqo7/f43TXftF4WD7c8bZexZT99y6bSLv/jX/Qf3l7gX941ys7Pbgh1o7+/SxnajQbyLlDUyLux6AXSllvnOboMHWe8eJBsiJK8RaYBSp/Z3fKEYNjeV1eQbAPinumw89DoOEUoUhzTMAgr9sDuCKdOrJW+HgiYl0Qd26jLMhhg64S4SD8tKT/tF2EAVQSalbgakL2zo80ZorXYHP0kC+Bb882e6qqFYkOR7chk9xNwVGk5auo+gPgkjQQ+6hX6FJ9Su3HNwvwc+zueLl2jTy1B3yUOL1GAn+GkzwCtgrzx4vR1VRsT8dUZPypFcl5cN4jX0MnTUmvAkVsjbiPNA0oVE2mV8X2zcv36aX1vxTRAQcEd0b5rcsKQjgXX5W3icJKjm5izjCdoKe4db4MhW3VTBCSWgDLbuYY0R14Egh1Z7OJEzykme0EUI9nXckL0JT8/3stBoj9KqvEu3VCIEkLz41x2HVbaWt8zJsmBPQ4MhoxEgeUvqUyEmymnZfW5t8XOrc9clG1Onypla4eyzccoIs2nLKr3Mq3HXQB7yOmihu5Bv6ZYLwvSRRD/OkmJYHdecGG6RTDg4fUN3IAJacd0EbgkmqP56EHLI47aGdqxf4O94dNS6FojWJVqEP3MEqsmoAaMMePbXkDvsB59J/Jegn0nxJYlX5iToMWaAKJJttO9XC/vxxHgdJAnMDqbIi0832Ak8XyNknZVJx/GlMAeoxiYxtQUEfVE4b91CQXKRL4PleAcXBOIAWtrJ+FeVCYsr5U903VBoNh0Dnahsjc4ey318owoeRhEBeSuo7pQft8xC5olYsgTHvqXiACnKeawtvSauGt+z+/h2VTy1Gh94hpqYVEoiHnpCcRo5VkivRBcXoxhcbb4LajXkX+HIJhm9MXV654IOAkm/n4EtIU/SVVfwJICiw+YI2TdmvTlplK3hG8T4CQa1ogOVkNYB1qy3kjGV7rdMqUuzaC/oFqZbHtk646Ewffu8nJtIkKRv4/3JxMGoITiIVs3/ieAeMfw4ZoiSFmhDtWTjTLqs3TdAQRIZMmeroF8QApQ8FGaDZ82EnT3COdnjfOWqRR2Sj8owPHuZ8/3zBjjPADWhgQpQdiQ2jq8YeqvmDvPy9Bg2VHZ5CIHkMSDjlRK3/id9A7m5bEU/6SzaTtoEgN7bp5jpwlTduVIRNGKpFY3WnYdTolex+6Omr00LSo8XlU4NsbO9SYy+4S+rUK0C7ij9rLHLCruGO53SDWrVRovllPw8uA0YvcLN6EKSpaeVLjEyxAmRDa/FqR7OzA4neJM1Du1S6VbeR8UAStXEi/z5mzlwW5+3k+M5lDC4Ms+kFbn0mqB7zKTI6/ZruS4duoCZxhp0KTg2xeVbE98kEzNyRL9PGv3nUMFfyr/LkQh+RNswP6CAiMikSGW+VpNk+Zbqxjxy04YSQ1HiIhQtdUTv8vLm8XkUbGqLlGqBDXUyHfrrEOYz7fx0mRiB/bIVUwvfeA6FmLh+dZpx3zQdinUzlYYt4OD4dd9TiRo2l8uJlPNb/Enqa1qaRNGIGi/wmgiSH/6VhLMYIf9QPNg6hO61vueLKubpWY+e/iYlp4pUV5343jsmSpU2ukgJ6jurYelQolPa/51Sph67b0Fgt2qQxkt9zGkNwJUi4G0ngNL3obrZfRURXftDRzLTmCHVgs3E2rOjlz00gaSV/d+IK795bZty7w7glxs4q8CPPE4V/bL2hdlcgySxLFlxaEMKUqTyWLOxKBAVzzr1a1M4j33wqvTzM3hWA5xUMrIisAnYhxkvmtKHGf2JnkkHBhs02txoH+k8pY6ilshaMVUxioVzO3cFV9RskJRob+byRvo6fv+PcirTDYj2aI8BxwYLsuoD9dlZ1YfHNU9ZTRH8CmlmLCC/Zm43K1NlcIS7LTRnultTvp1YPIyKBV8ZYWu26QZu31HN3V109QvjPjNQda+bmcIw5Wydw5cmFkLp2ptp65gfAHFLX2MVrUxfjYJ/3izdqb48xRM5KR4JLSviK9qh9Syik/KYLOMK1MTKt8awGv8QHa22zBHwfOr7SrWsh0UFpx25Ql00OnaFd7wLOF4JZWg0PawoWGaTLAJlHXz0gXmwz1nKRo+uri0hkzJb7pjCKmjYbCGE2RxRHh0U6ynrhf1ZCIrCdWcgqmHuYQHDq+IGm4eqLtqm+7dQROvEYCPIGryfkc3VGJTPwsLb9ln9zVCWYAKiRbixBDuxyjCCWSMI8NKqVH1pfx9PqQMxl+JrpuMn5W8VGhDxKbSaq5WFTb4AfAXrbL01OoFRKnzyOVPLnRrWtMuYYqREM9cKYPd2lN5EnBRa+gZJwhmGx/i1Zsdh9a4ySYK4CPpNBaYuFGjWd8B2OPR5dv7f0afaCaXJRhTU+RwU5HBX4h85mMBP1Bo8NbIAATF8Vl2EQTQM6U1+JpvJf0pM8i+H9eSCeD62CiCXXY3gEvK44uxVngnI87c63rczu6JPKfF7I6L4oYFKbf3VHBjrHFtpqayvq3zv+uuR8xUaJT30VzKEnIZVniHALUBs8PHIUGyrmB5OuycvuMt+xsgcxSdr/Ky2Qpwhffaun5OCAofAmM1ysBADtu0JwdP/J4wWswDD7bui7MCh88KcAqLYPXgwMKgV//zohTo/7ktQ8K+z9Enjo4NrCNUYNTFdSCwHVeqkvuTlEV0CEeA2/UngAmq+j2HaOd8x17qAkSGOubU1KU1sYJQHWRILmdqAq+vsso/MiwWl2gAEjeB8JaX0Ote0CJbS4RQi7eO3brvmFbuDJWDflBX15NuGY9NY1x2bFv+6YcfWzzeTWAM/ES4MZJCJWofeFJsUwJ5eVqMiyG+TmP2AkMp4yV+za19jq448RuLjCgfFC0fDuJ2yntCbx3t7tC4qUN6bHEHGMYHnYIelrqZ65TXH28Xlpqw83o+px7DfcPaOk7ZbRhX4ozBuWmPZHnl5wRxCBSAyB6rwtAXBO8OHuQDYksR+l661G6cW9XuLHpNUeURCaBLcuoxLirRkgLKwBszsKs5HMNvTU34h+bCpVYo745hxtjpL3dUcgiPTHVd8xWwqiO6Xr+blwpae3wtw4pmrjGBW1O2p11Txfoz6JcuaiC5pZY4p8Z93laWoxpYdGuFZUYssp3fnZyi3bkPHRh0wrZFGKHGfbTV2B8XMlibQ2Tok6yJUtyUzzBe9pIKE0FG9AV+UK1OewsSw3djDYqA3kIxjz6XZ32GJsQpxC8BG4pZ4yX31I/tjLejebg7NGL6SuQBEqmDQ8C+xN8QewKiaYQlCD3YA1hz3BkIVFcbhdnQqoY8np3nn4UeGDCJbT8mIBcdM0Bb88cMLawfE6zhq1295I+ZJe/O6b7X9mrNgRgyFllQzwDmYjVKLGChiAX67jlN1MDUj801ITMWiVdq59V3ZiJ5kRkmUjThqrozsk1wNuiJ8utqsd4PgacdJPX+AKcpnz8SOgCM6CoNQ5rS7bsOwUZHuF7DD+yamAnO4COZQhuYRw2zUHrptmrhOaV0e/iGvwVRKYgI75WlhZenWLBDaHo45vYs1/pDq5f2UHzcP2ylN5DhN9hyGyQeptK4g2eTd0uB3eIpDt9gU/x/0wYDksBOECcy43nwngdDinlFVTjlg78S+CvEQ7+wrjWwdArPG99ar6KMn+23T7G2BenHjBEk7D+VJohfuskLB0iCJFoXdK7WDQ+a1Ki6D5AcHp+8GgdFvUUN+HjSC/HlV1+nBYN0k654JKXYTofsbtwotI7qb7gtLobzavxhhnSQON2thvlnIe0Ep/UI9+zFgntPaHLJ1DyaTCe06lPbKKi+bkZhKsrhcP75nt9kjW7QH3kmFdnYr3ju7VXgA2xD2XETzxb5+GZSPEyde+zKdw1PzJs141D7ePea+RGR1bymHD9GzVe9WfE3C6zyHRvahpwDgcJxWLFxhUKw0fTSXcZ9EKBLhIxkMb4vZ7n+jZmq6BEuVqdvET2XgucsQRjGyBEmvtaZhXRl041WELAr3tRPpp8tj2xsCAxlXdwTApLUbBWszciPQJAUvAbKVObGmQCbL1ue/sv9bg/n55AIXvjPxOSsUQ2zDpo+UMqKR7GtBUypRtdMxGQXmQbd4GYip1uHnrF5YJ3J87izIt6lNVFSI63pWRtm6fjjCSnijzsx4sixVjFaYRYFq8WSebk1jMezg1ZHYLWPJ6G7DRjdmUgU4XqNvca8uVwZTqtKDkeSVeTgp7gS4qqoUyHc8n7cicOr6HiFwJnC9qnHtC5dRY6HslR2IlpDQXlKCQ8ZgxyyZJtkxye1DCAPZsakn+//wRXY2/y5VgdAaKATK681L/JM3Yg5LJqQ8S3hAbN0M1177n6ACmP7YVS7en7EYLpFD+i4O2fTC4YpVOoGun3ZS4kwMv1KXT8U0STrtYrTYQUiOQiHGXXOsiOaporg9xgnSWBkuR8RTNossRvQqDQTRGhU3VvwEcSRy29p47/vp0OtGq6iTyMBZn770FMT4e3TlVvqpSlz5AWaQXu2uSYpmzFzF2L1JlqAMPY6NWoy32mqK6t+unuP9f4mmL2BIb2tdVjLQv1+ADrG5xPKTELxZ/plW9oRvU53HueDQSMx74iVxkMnze2fx+busqkvEQLzzTMCg59HkdYT67BjUH33dlwcyRQFa6UwMXDjU54xavYvfUtriGL0Miqcwoe4grOgbfbqTJSZv+FMbJofKIRLqlzUbBbBLzCAYn2M8C2ihSoB2KoW568f7Y1UD8+T0jZv8WqkAq538d9YplCTEWOJGHozBa4uKGRpBNNjRdt+hWV6ADlW4gfdpoxYRFYyduP8fJe1sjWuPU82r2Q/Gzslljj3Xrjtl6ViYd1y8MZRygTdD4+9j2DbaZBtwrwAxdQQvN+7xFh0TbkOvCc5iRgYIQIKx3qOCWnlj17MzLEQNaXv6a+RB/C3eYaTprSopr7rBUm1P5dry7I7NVzBuAPfBsVumd8pAHVoKtVtzST5+0AkEs38DdgkBkN7x/6M3jJTKTbZQPntAjE2Jizj6MvY50o/CFUHnOBiIKkamffX6/Ve57plV9+jdqUgmyn6mJznNC829B/P+YdVC9WMrTG5OvsQo/lJYa018z24dNjk1XgubSRPlF7F6goQk/sftsQnWrgUkjs7Yyi2UHoOAnv8aNuTgpunT98++HyPDsz4x//4rZIput7MUWWchuX5TzgnOb+zII3+6EBrn5ilLmVb3Ems7Qxu7xwaTfDDLgxUBGDTNuzRBB3+w9SxBadsPp0C8PGARfm+SEs4mPwJJp3E00BmdfPh2r+in1s+51fXpmWhomTBOW2Th5kVT1YFAJqH5YEJG7hwKFNUETna5WJW5rB2g7z1S6HDAui923qBU1zMi77LmbvO5gGTQv3ObqPuLxAsqDgRK3Pr12kj2TwU55nXa6fMN6ahaoz9UKLUtz5bCsaEyfv9c60Xf0MgCErMpPQ43cPiJ/Weiimlmw6YrD/LWNN6mwgU4E5bU8Gghjo87aRRl4OKuq87rigrgXCu2HconwgkWOeCqZQSZIyZismn+tgZjL0EDGtXWQX3Mk2AdHpwqUC5ebRHHiT8wmqCS/ZGObuHnnjxKKLHsWv5rrEtQ8HbDM/4fGKUnU/dyfou9kXdGTmCBoUpKLqC93HjfDz5CsY7Mxm/e5FzyWNRdmkxYsS+DmG6/bmTl5/ivBRppCZpfI13u1gD3tUAHHULCoOYSvqi6JGB0AfqRCvy0pMF8Aqalwaq2KVcQXx5BK23Z4nnVs9ip7BL8fS07dpBcV/Q80GDVyEsfaAdvKmIN0AWOpCfBSrqO7gXx1OB2jmtdkC1Nbgk0BuBPMHBwSNCZu7eNxnNjOf8/KqZOoApSAie7eVRiplfoYZSd0HP5P2DrSppN07GLuV4kqLvO/rvcKkRs7mkE193y7SuBN5+/XdzZWiBBh4qKabIPd0b2xEQNwAQdHoNPw68ODZnrapxAAqR1ypqk6ktdKL+GSzRnwW7unlZUu8iBEJsWBhk9Qu7lNeuQsFK0Sl3/14tD7FytDRGKs9yOq2SSEbRaLIJ9sqTUdLlobvMM/y/9iEBT4iZjtRWWw7o6eubj/j+LPqIo2A81TyPC4i8jg9UDtpRV9FpLQokgmSFt0525XYaeXX8eWtC/a5U5MLZp05Y4pYVP9yctpY/oWYvUkpZRbBRoG8DjcwCosRnzQkHPn5m4uSO96eQHZqO32iVm+//8J9EcvgeOUKIGN2jqgpMhT1njK/Sj082Wo+sw/X6VbTejTON54hNmcH8jAEDIzJ0LdyuSp35lEcTD/TNqaCTs0BA29Gxz8hkSNgmPM/wvBlS8o22j+Xvg/GRS2zGOdKEGeib4Hdgh9D6cKD2yvjV2Pb/sP30MWRoglt5+u8rfGLJPYa9xvzraojPTQYnunk6rnNrfXgiHB93XGiDs0D+vbccyUM3iYA2mmQrzFy/zyPX/nUcDkoB8kc7h8Um62KoOX0PhJ4XD8iawHtofemuU+aipDEXmpHOIipkOTSK6GYAtt30jr08RZIJ775JUccoAHlwqPThKZ2MQchzXNUs2zqFGdir+tqWRHLNJk4yaOTRqt76JTO0Oh/pQw43JETUHrSjw5w7FiuuWsTtZXuJXonRhMOOy5PhOGCPuV4ShEgvSU1Ez5xcNZ/9rmNeHCWz21xqpsyvwM37FdaGwu4YSsoiCBYCrQ9dr786cdPKkAKhjo16zDd6moIxUNKxdj3KuxiBuhEhtIQMTOjnsW6N4qjwyV10yZdVsOR0YH9lkn9evMUSUjxJAS80clBSHywqOHgh0p6KNawlNNM9+K4VhDvfaWo+SBjWzNJt3q3XbTypK/EIZq7HXuv+LX1q7+7lPuM+P5V9fSb+6KV3XVlQPtXSUbfASYIs5o7qbYtkLAkcsGzsXSNRPD8bYCWSSTWEhRj247qfUNNOEAtmstKx6b7ef2ylcOIGHL9Wt/68e3JwDRLhxapod6j7HCYUXs+jFoGmxWeBx9lU595utY0+HOZbPr6sHZrpIk2TfSxxjP2hTSLZOtttt63Bq8S7GQGPJi+O/M9nlj/0EV8XiyILyD/vrssH13vZYj8la7YMlIZTavmiou3t7m17pdyLvVehKLLLgrK+j28DmYIKdB3vjG4cBQz6n4ohI3TTvq5PM47dn4xXPg5/eZsOswWHxmZi2wwAHpYQrhiYN6eGVRXIDGKsYNstHj5KpDId241EsSGtNiuoa3O1wOnic5wmghIBWaJh26jHVr8bjIckrt3IuxgZAffbyVRAJWFCm2v/cV0+dRU4hGZgwy9u6KxJ97umpV1eH6H1L0nSo0iYCmB/ufk3mQogvXcmr/NuycftpZ6B+hnl9PwSggktQgpHZNmnFrUAUmt7z0BPAo2qj/dLgCSTmO9ecE5iAv4mVJtJynAyBIS3XHeFQ4ZFw9GAh46YDjxbGmlX5/DawlRKQXPQGKvlpoRKM426t22m/7cts9UsWFMAsAFkIBIXhozRDfQDt8+SOAWdZ5sZTDFlvZESyO8PPy3NzA7wFDKqUU0CY+uEHNOhQqMijHIe6qbgkDrJGqn+WWPw1w5n9KhW6pMHjqN5qM0DzeaLWXjsn/ffytvLJO2ioWgJI9mIbkRb4h05gd6su2l0/2CAVd/1vtNpK+EYRjW5/jvzlvtOyzpEq9wdndemJBTyepekSdgKfVtuwWcrBryhS3OpwyRqL5KR24UUc1lNIRPSVqXCI3DxPUjo4WqjlphcvL/bVoko8Y5wYeP3D7zTLiItvp8/mlf16QDWQ4+D5HTpd0MZqHnLETru9n+apZJ7mhlLu+XrVUWVOHvLcdwVy9HA8cRIWQs4aVOV7xSY35DEVm1uNSVsZiqb31yDrnup1PcJyWIf2Wcyb5xWcQmP6/1CGHQ/SE06yErbV0NVEwNKbCzN4NB0QGh647iNPtb9grfxnntSAjILh0GO9WbBBH32wiIRq9S2eZpnWlF0vGSG27fMnpWniHb1wsZEbUx06dfSzsm3Eg1e0l3EbQPh/9jn/ccDBE9OQ/AVsEOtR/Pnhd6sBobc2F9JaCo718lFg5LINbgVU0LPVBm/vqYkThMWCq7Vl5AJPGYlFhzx5Eb0kc8Gh9YDA2Ff7e9EPrlL3x/MEjE5nFMjg+mpEpfy723wbhbbqflYI0Y8eZsmZWrCUstBiuGErnwdECCrUazt0Hc+fo9zb0KtfSZP18AuIa2x3fLYMJnqdAPCEfkFsG34l9c07KFTVmHlcLvyTWMmNJQuJV8eeAjtt9FyE26/OBQbbN4ii/bzb8eh2WlUaepUNqns8GYnKg+V68mH7/963cyuJv8O/fL6vNkCMURn+Gte1Bhdagho+S+eOsRHM3H6WkFCNqRjcSf9zpOvBk+QHXSq5nO85ToBfcU8Vfb4rfdv6+FTRPRzE1eUJet+L64i+zNW3wWjFNXXdCcDGSA30xLkjaF0apewmzN6vZETh9Mis29xSyAhJNwRiBxuvUVL4IcGZB2F9GXka3yAA4xsSoXIsMDaDnwEFD4dqs0ALFiDZfNC0HtQ9dhsrz4ThTG/BNQszHo1SjFJrNOUTe94pgJeVkWrus5s815JBlCLd1CQR55Z9DYq8RdCIBkxrtuKf3UHQ4Q8hfKjNPqHICfkHE3zfXBkPnVrrbP7oRRmuvB5gaZsI4uKKr+LWXbxKTAKCVqR0nGRalckD3xMhqBO9xgEKVcpY/uujv/sHfH7nUOYs02lxBBTc0xqab7bF10nROJj7eY0f1osuWltZTSYiassCdEf2mJkgfQBAPIlRZabAiUoEtWbggAtuSmaen+Vm52zxAUhc3bY1yzRFV5ZPE+awFHs7Pjck7AWuDXJG8M+eg3Pn6cHraK3B7xaVDCYwMpOSidpI9RDNVAqgonSPw+QunBX6+P9tOL8Kf9XCvs/hb3TtvtLQjY7IYxXId17ABcX3BPvTCPj1qnJS8r+0Yokk6IXxb+8pxPYEYh5yk0SHhr4nK3y1eGr0atVRettU2WdGWndxMd0vqxl4T8coo0L01zjpxg6IaE3yEODutztXUTmlZzLW05EPzxjBMXtxz/dIoL5wm7Ao/AD3dDNZk5fGEHxiiQLMZKMRbYNns6b3JzaE1HY40euj+JeLdCShHVnLvqt7lPG8/C8TL+acmWTwHGMAIwqsOCHoYC8ubSglltuI9vbjy/kRJVy5aBvF34aax9LAPEYxHUrNNgn/FOIghwAgRgAPFiiSmoPpUsWvwNbdFcUKcHq0dXwTyNvNjo34bIWiOO6rJejXi1iaYIHNUW2pX/ZnE4JG+3y4H7lSZfG6goJiGUuj5JcKZBbGLqKhi3655WoKc91WoOp2E/xaZJFSEOZlzAJzewcLxFWnJ2gj+7Ke2VV0PGsi/6as+V4Y4le6XQ8Ryn9VYpOQ48mwwVD38vekzkOLyjowzUI0SObSP0COMa0HFqdNwSbVTDSvEQ59Eni9N4oq2lM5bDb2j54UnQyG9GIsN9wGaPlk74/yu679E9QRYmQAuYf3WKboJirRDKIbIpWDEhJj8nneGOsoWr89oazQS4BVMbgHgrDeqdz+k9DpRQvxl+ytS7waLhYO0by2ypHS5j1LNw+kf8W1jLuha5EhO2m+pLXrwWDv9zVlnY/hKexajtlG2jdS81gHzwcEKyksUeMUykiV8GRhEGr3RmJYj+Wt7BndnBp0hX6R4iM9yKL7On/TPmkA5LIltBhZCw9tYeh4jswuBp/xJOx727DI93gUF07JP0eu+H8iKCJHUu+7M86Mc4bpRnlETiRq8B5f1iGu183xeV7g8bUBLqqgnQZ8UVXeQRB6TU7HLLVnG8SDRR/uA7ffDV4lcRcQSgiXFaJkxu0INs1BF16y08iAFweVm/g9U7OAPOPUeVD/l2fbktAiGm+hJSavLlzNyep2cvku7LwitXmFbZokRzqwmAgUfj7nDukwrr7tLcAzmABELcAerE5W5C4mxFGg3ZRpv9yMuU3yw7Qt/plLg1ORuyHWovmd7Pmd8iB5Sd1cVKUVXV0AUht/5ykMirgaJuoq9FQ4P44vqMd2bbBW07nbjYoWCq2d9SuGfJnX/CZ8a5JZbTeSlJjSL52OgqdZPXCwb0hnybJlOxc5rYuvHgcKGBqOIYZVM7D1EFGjFP4WMIZRifAoJHRHyPP87GGu+LhaZc5YZoraNp9NJ+n70mCXxPAAoLimr2XXlVq2DxXRX/g4hMiY8GKv3BzlIqhQlZJCvzfFvMrIf75qrpgSvjS81olWWG2r6P57Xe8DmWPFprCtZWObF4ZRk9/uhzMHm3pUm3GoKnAunn02wfFoXqFYMYOx4zD/O/XocNjIDDsmFvPjYItlg04ePcAopqyr74bmr504QznnRs3El5CabgpbAgC4Ax4tP4eGHQjczzLFbhcndwQZ1x/nf+YethECGrlzLHfZWgLKU2jW9Q8BvBQow3ZeQnsteXUKAFyrc1VljY+DvWPfWnf652IN7+ijdF19DjxvZc1abc2kLZF1LgP3tJIghSAEB9tykF2AO7ilJSlzoNcClIgr7i7mxZYFM3pJaH9Q4srqsThRThhOrzF55S/wnPs1OZ9s+C8+XXRN9X5jxGbEWyxC5zFL9vhdk7X+es6XHOPayv43SyFAwKx2/ZHxsDZ7LP9YB4TQPQN9d2qa2Qeu7643xSz0iqGlw0ueh375AnTmBGkXc+gGdk/u71btL0RIsO57ntb4bT4DYaCrCCCJXCv6Yo9IN/a3iZTH/wfdXNHtZIl7tOgOf9RdqX7huyupwOiSIG6XsD6w2dIHCg9YV1QIVOUosn58wJTjASMa61uPG8a5T39NyxOiOcj29EzKX0qKbMAAkOm9KtPTQhX98u3ZS7wMrOoTQadLvkBE/olmHlnm5lWXd78kcNI7SIvo9RWHSMFitcShyH1hvEVVz3HuLc5ehyDfBjmyjpxBKfpVuFI20CjY98SSElxnY68nexptrQU8o9rGda8WWq6Y5JYoSbf7mmtHzaaZlorgrwzLkZFHcKf+JEOzt5T/dbc0p1ImmXoRrNELMFsWtM5guR1VA0EzHmkelNBIPK+o5emTOapUdio74dzJvMOp/ECJzBHJkjrHZ0EvpOo5w6+xk1H6prJLS3N4Ys8X4BSFEtKSwTK+obld2zVMObwaW4Fgj/gbN+ez64Lf/W775UsVLdKgyinHmCiM7QfPJhmzf4+KFDJopjj58qTGetIrOOs/WbII6nU09053BRcaMfnrCfsM8NqjaaoFCbPJLfRObr9ujT8xp9Ft4bLjOdpdKop1PXHgUFCHTTRcds4rnJzKgUFooFM4l1fCyZWORKgFFQ9LqMRqNIaOIutEzLp3owir4DyorPtA4/FQ0AYFq/Uhebd3qqrQJAVHZYj7SqBd1haWRE0IYsQngrbSiYO5BLJlrvksmWGob6ZI6zqckA3VCaayI+AWMCHIi2djKYVHhrnmX8LRlwzfU0L420j86UYrFxhsZB3CyugGzq6FNzQ4Wy+9LDPfPBd6VYC6X1WDWiVUsSabnKP3ZXUOEYGD3XZSlzAODv5GpnanRt0Tcgy69/Sgnhpgg0uzMwZhqYeFNMyZyaHOu4RtB92dWe7tm5J+lYuSbybXMoK/Wt87KJKHirfRic4URenZ5DQs1tOzjLKEWk8rBmTi13ISVeHeICnUq6RVaJToQY0X1ewKvAQPDKFLasNPOGnzh/sUFF73Mvj+Rw+g2zCHihRQW4KvX59XjjE/bfNM3ACJqinhx/P7FCbenWDFvl4Y0hcLH09EJJ0PyPd7NYRVvKB+tcm9Wbeh81s8+Em7vgRiQImEkpMJXSJzesTzu1vPttJONwn7WQ6hDtWeiIBCcxWIdR6YTzxlkfJRGw76HXofvZqvCVDQzn1wmICmj7Bn8AZvX6BgpySOcgQxSrodMvo/S5E72c8fp4G5+c4z0eTL1BomNFR6IEyH+aKcPE7wO0IidXljUDxyVE7Ee3qLqW0a3+fbL7fWk7NyIFJyqBzuJll1b8nPhzTLFeFyGkamznanhwFc6zrImnd9xuKXDbgxPIOVsvPV2f5Jk0XtD6tZw4GcYG7Zztb9yXmfdQRLv8pjI5JlWjNlA95UUS79gJXZWDzDNPLzyuEVjX8BqpjChpknyUjvIu9S7c2GZM0yOj+znVpfkBUUdmtJux3BCDTzMWv2wKV9RrgzewQKyUgiki+9FeuR9ZpJvpENM8cMXpArIgM7NL5O96q4Vm+pA50LXWrrOMpEAuGlw0tkkz0VKaMCB0CfOuqSpSS1FtGgszp7vRVu0ziQcAt7i3VwOBI9HyHRv+Vm1ptejS8JVfD1ydBv7mt4zo1ItrHTRfDU46dPBMUc7mT3aLqfZd/mSCy4bRZnuGZ5Xu5WWOx8Ra0HEt9zkICMTKjq1jg/u/O9+RH/Fs6hjrd7NGvAcj+IBXnkVQrfnwogtN24OUQ0hg6xK+cLmc3owe2sl1KkYDOGyKdkkTiiXmMGn0h1DDKbSXSKBkSfpelixvIiMFTuV1Ff6oyfyLn8GVe4ZV/kmQdYmwQOhf3cNXH00WdrJoi/OMSQOheY61vjrtyIAl3ntpG4XsiGH5PPfQbqG5tHAJ8WiHyOtuOg3B5eyw+igHWpnzpe8h/6XXogM6Yyut+NyFU9QqiH0IU2ijVij9cqZbC9DOYibSCLerMZB+KAbhpi0aV93+TaVt3CBXHsRqNtVjYd042hlzPjtzpSNwsROz0256YoveGkfHvlG5j3WeZEPa8dD8UeZ/uxMAB56ohdGdsXzXzJ7cqpxONR5imhUQZGvOodtXQZf04ufKCAr8EwwsbljS8LnognRYSic/1R41TcSgpWjGQbTztYKkLzGif5ZyPjik88TCcn6jkNtJ92z6J3twgCubbTE+YFY8sp/guDczOyNZs4gLzo3EHyDlFZRM+MrTwYL00tX9GrhAg5qJotfTuLmEi9ckbYmm/HZw6trzw5Eq+I/zlzVEAW/1pr4OEz3+yYJklrin0Yui/fvXwyTLri1P9Bo/3M+bi2HWXDo6iJ62cHiuWa83fHrOs3sq5BJrvA6zU7e3Xb2F3APCJEzJtA7yHf7M67ifQ47iO+ZRouuQetC+Z7DAu+B4ae8KO/mi/TCr2jkIMAcxQglw1fhApnSTlk/O2/2rAFuzausLxj36j6nhQYtiMjjr98wPX1Lb/mgbfFx9hux6V5ZlDMzxmIB4G0pwUkKb/tQZK1NVT78KRtNgCitFfOeSvoAJ4GjVtV+RP8bbrijfKEeSDBnt0RCITZdcOfDUtgJZH1XxBTqlkRBtjbwO4Lc3UfZOzvWzrnUUI8ZGNqvZFVTYy+WT6nENIwn6I/p0JawurTj+6y0zEJmETNlZMRJEWVNQNgUv80uVPGz6Az0Dsomh9pDj4vsxBHulJRYfOaEJyqeeSLwmZVDBOsDk1Z367sd1hIVCOBcDbxnEoblpG538tJHYj4d0FXpCptfnJKqyjEWPV6wuL6Y3MHyuqgijGNqUQmMZ9oGlIJp+Vh9O4fUOsCOSUj5+SVacUCAX5bBm9crYTUu1Rr33kheNv448gBCMSDbYjT2Fg5YO9IPAFbjA79NxjajU/8mzDc34JrLNLofGlHUz1UNzbJxJ4iI06HfX32XHnDZM/1ZpDl2SzjGlJEtR+zyl5lWRA5VIAevpwlZ+QRUxEKbth38ZdyGiciVoETRLyw9JT9ZVTi72Vz25fHK86HqHxb1OFkQUD3+0AugOUoZvBGxPE2FuzjtcVX5IzalcQKrUYBb+uV8eDJ1mEzOQsvyQ0ItVBOTiFqOXNZt+hOHi5qs8eHCa+zjm+3jXHNl1AjqSA6jKdpsbzZA7015N//RxLz2XnnYxKycq1xhjQHB35ZwEc3WFMETNTb28OFFu4kLu0lBkM1obmsLHxZqfNbwnWPeIwousqanR6In9K4hX1tOhl9l4pSWtAZ9nUCgqJ+FHnoez+y7wvxTqyFpMdPrhN3y+7aEhyTqyTTp/fM/xUKDUElsm6UoXomjTFf1Svu7G2vMEjv1BbDdUd5R+OE+5MWd8Z7pC3/ejIp683U4eF/eBaWcH08fSVVGYSdGd8IyQqA1ESpGr4I3psH9ORZbMKuytJIrM9Ual51UlnTCbO+W5BBjOedgwr6jC7n5GM57J5iOPTMLoG5/7cC9AeIpSjHNphBs/1YanFrAiLzv3xJZvsI7B5HGxrDLdK34OOID6SSayGK9TZnhoRdmFpL7hQcwH1RoQO5l1wU8VoI10kLdFBMB1gwdGyCs13/jwb46A3afkg7QRljSdx46yWerSB/d6lh147i9k8aGJBNTYfSnCxspe1EcRlF4YKJw191vWkluMTBwHK+JuNEJulGNc36h+EkgV62e5fsF00Wpc2rqhttVAAOokFt/rDSxVUHJFMXORLkOEduZWRk6+WTfsyaacAkKZkbsYmAilcxAL1TdeFOBwU1pUadIp1wPrMRVz+ldWgHRVRX0Wy7cBw5Wd37rUpBf1FhW4NuiVaR/i0DROz5wHlW7qVVvjF40lXRdX6bTPLh5aZTbS7f16xtAfSNKQK4AMsNI+17NXjGaZm8lH0YjwziaONaca/vKL27oP6a+Q8MTElhk8JLAW6IWXwOiDfG+JY8voxOg4CXcRQy1TztqJVQDG4RNHSnJnMQ3EFGOcF3F/w2EiI+9UoE8NLpxq+yvVcxAag8uUc+pqmC2cS9SQMQT2qKO89P5QoN6buGVxT/jD/P8XwEgWPeJgr3T/TNqVBauHODaZHFplbskNIIRiIf+EShBOj1lABKvrLc5ESqrz+m/QarKzqXEGAENpKkGOwBV80gwKTs1GCQMRaLomfvyCgCm0E0cWTH/QvNSwfY6dFqrTI2GOmZEMV17jBkRBHK1RveIt0mbsmePfu7ZuCQKlpAOAPoP4sSbLUtsgKb1eFE6JVH0S6fsBqdMC5fv8fFXK8qqET82EuFQCN7zU0c062JnisSIV+d+tcsi2tLrbE0nN7TbuUXPQ59dQ78N9czYUY1mmW+8bMsXcqB0FXH70VcTQnAxw7wV2VvC84n/eZTfCzawV9xR5b6kvZa6rRS5C1UkPfJmDlJzDYUsaAouQ8+/Zrw634QrX8P8ouhmlSpo6q/gcvlG6IusPEZs5hRjaQjlI0olIZDFLBSp0Y0aNBwrEmzgv9o60UmG61NeY7Tbiqr7RuWCjpK/X6GeMtt9bo0iZsFuJjpSx80pssEFFOEkXezs2hlTXrKh40EOcswc39cXvlD15hn/A2mWyDxTiL9GD5JxzZDeTvAjN7598nAFAt8wa67HoKJjh4k31fyK8GWEAEnoG2jAfpYsInqlHAnqeGxSl35uTCFmHE9iPafCikZIDgFA1hB9ZMZ372Pnu8Auq8UQaAKRdTQQchhg5qENrTYL080eA+2+ZN22lk68okSWjJX7BR+PdIelBNzg+CU/jAbk7/a+7PqLhXwd/VHQDLcJAPDgBKWmC5pQJ3f4E7hTBzpDabO3bD/PFtJEPKYQhpwfuSIjUdDLv/l8rOxnUe+9A1yG3kR86vc6897WifhjHdak1wgu/jVv9HfPDWIcYjwyOKvsYD9Eid991JpwHKmedVnf5PVOVrRCbCRu6GEl4EwsO+y46DnRgSEVarWDv5zr5W9wjvquPAIODX/4b0Id8PKLpe/8s8oxFZpRTpyBa+u0vKhbCo0hkpibXMb4efVr1hEE+1GLflUS4TD2xP5QjGXSAIXbPolIBi7syXZSv+zAAtz1cbmd/b0hwuagu3yyAmk/yTdEogJvRKv3M+MPctV7U4zHDiqLD9vAK7JwmLrSmp5JxujfTtQk7P3MayJNJqvb0QvGBQhl2qgPdmihN9DBlsVDzP+CnjkE6lUENYP7lrQnt+SEnJoGmeX5Agqz/X+HscYw0iJe0YhPyWTgznHp4VUJZqquJxfEeXcJcTzvqqLevIsq5hPNYc2sQNOSviFGuV4W8/0r9k388OQgYCmMblW4J7hiOaPdVy9Wc1Myq8KrEqvJIlhB9MSucMrUPYrTQvcWMFlZyOtEzTsGHzcc4qkpMg+H/rJAuAkI0JavpuZxCJ+MrB9Bt0nLfGLMF69v161T/VQqRp0FvrbuAOT/KU4dmnyDTGF6lBJlTxpEpVpYpCF9eyv/xjI0g+Oq3QvX+6PbEKiHVDYH1hLFp1EBGcsHgw6H0Rmjv9cWHqFim2yfY5ckSRxmZzzXMXt7Avbos7Z58jbL6XSQ7BF7kZI9w2q2R2KIPx0snS+NYoRu9dtr/F/3ptJW7a5OdBZvVFdAe5H2fuNKdLcZXLQRPu+PFn8HqdffueNZJ5sWMeEDmPU/ZO3BBFETscNbsjMZU+tPUZ5Xq+sgIi8sINiunZiHAasQ4gVnp9i+Nxx1IytnxjBQiRirPQaZfC9d6hqwIDzf2jyVT3vls9pikfSWOFGKzVoWiNRWwXbNPxxtuOAR7uX0jek7fRP0cCXKBIw3ftL8r2PDyG7GgdLxCoXA1daKuSuAFHg1eVqRF/rlMqm84Ufb2bUc0JPwL3DtRC0bDgG+N2vT0aRegSUmgH3rWVWQ30jE/B1yLeOvBnSV5PS+MgokCIPH/+rVay80aKisf+r37ktW0SQtBqy/8lclsQWvcnWy4zvvCS234R7NA8r8p4BuodhwdUMg9hiDAZ5JpMZvuNL4J4Rksb7fHSbn4JQljrHq+gxj3Xf2aa5K78mmNZ+eR+3BHmR0gvrueB8V/h29X//4DvM6OGRklh0RHSvTKpxiI7sVlbUw6mSXUb3NwJU1T68/KnelctNeOqM92GHbLJcvai9hOua2VkUfFSQPWo249c6dKXDQnryB8L8MTqAKZPKof0XKFko2JxJ6PW1kvnL1iywj+FG+UB1Wmy073tYIOSSrCxfBUKgJyrxa5qyGoRFnhuGlwSC1Vn4MdE7cPGjL6wDKaDXLTLa2kHgBMq9XFS99LgwLA1sVYrxCOLSil4bvfKfJjgv8lEpqBjoT5eCY9A4DQG58AsjJ6keHUfTQvH7UN64Hbi9sajlKCPilROsCKWHl9+FeGvm84j+yk5I6mu+EIf9brmsv8ZXa3xGkzf5lt+vIRv/fjSZVltana/kCuaz8jIiUjuD1pxDuqClHcxktFic2Fak1CHtrKZaczXSbayE6WSnU5ZuDEOElEEOkedoqvzblBQ2hTqcpMXKwDNqXf/3m2hfDGX6C+sDuENjzBZqrCIGQrJeQo9WP7/rChnIp5LXv67gDq2NrgrEDztw7rYy59IG0B5xtpz9UspJn7DVBML4vVql7AuC8kFbiS3nRc8HILP5oKcdcnIgHCXoW8gIYAAFqO0QcppWw6JZa3VNY8BiGi6ywRTgSlE6L6JEXFFrOtWWfrgwggPDw0+GvWnmWSYbfB9iP7Wbzxw2gyGn08YTBWoMrSUxB0tovZJnfb/3GRFddOLyTrJzR/AM92N/1PQzM4XNM4SJ/khIp/5wAp5FVeSYnazR7EMeZ3yZtwdVDavxRE9Rr945khnEHqFei48YH15IWSH9nBRdcy89Edp5FlBjNyD4Q0nkx9XPPMpxvG15x6SiqDakOEbhnPE1Z0/XQgfIavwpTYD+bETUxALNgo0jvQbfF1kDWx2i7SXLbBPKjZ6RklIOiF8hD4/frrtWmC1pxmzi45xET/oOdDt/8MvNIclaI+z0aWkT5GuBoBGb9tCV62vg5ePFObd+sZZZ/n1eNTLb63Jqi1Gk4ggcNMF+2X5mzq8h1dkBVS/SHyqgMKV9imVnIDWflHU0gg7AsuLCe93SqNOzrPRHWFn0CA23oN95lzc3miaryoybflv60sKcZBzJdW0Z1j9X1faOyOSHZWWfneL12wsRW8YG1Rqb191f/ZfAxQhnOs0zzy2m7yunjp4ifHikYfxiGC2WKHuaSKr/s2g1UsyGNjN/5X4p/5ahMgPKhp1oZMo6V9e4hh7Yac1FYLlfxSoWtX6Ym1tzk6t/8SiSVV4Ar4PRDgPxjVDm+VhRFsi+OM9IWFc0q5OwHDBbEAv4avGi4Xbdui6qJBCWNtm2j1A1C47PcsdoMYkO7xfrCy4tfYaNt22AIwIknZlUQ4D8G2hamTN3tXubtMtPyx/cyx23aT8Th+K15TvRfCEWa3+TBKx1EvTP57afWXnR2V7DWXidKxLMkmTAhgG3kkaRW9rNDAC55CJhYCE6cvxZVB8eNSiKY1pbWLYfujWhcvcljcwjrTXQY2C8ls0BIj3+4D1LinFfWVAJrtkuRC5EafR0smXjA+iI9E4ctRvrlU7FEuQ2GOXrQZtxsIvfm1xWyS2wjbu6bT3wm0QH74RvEWuKy1qelYsAx2+DNWEuQuwJhEbpWVnTt0kotg0qiZ9xMvXmMucMPyJn4uLT55FFLAbY/JGw3Qkus2G/75UgEDv4HB3bQ8JT1u8K50XMtHrPFKoTKBK/i3/1FtkogtFBfdwhFxGF6NJYfzboqkGJiLpCiwsKVsRpro4010pX43bEHXg4glW4ik6FlvIiRH7L4LcpOvrRZAyaS2nMzvWiWFlhB7cfBrKZ06stIvgPCIdASQTnAn+zk3zDD4a/c2r4oEsKFbrQ6MIpBn3PzOOJd1on7bryKuEilZvCpsKM5tpNkJPxALCxI1ElI2sGfEd9XlBCTtHmTc/Cs1IWYFAOR0rzc2gWk92jvGg0aMLXIKeEmrGx1ABRsZtxL1R5oHpTR0JZNGHlSUGq8bQpCiTmbIr4d1Hl80xOrSg+PZrui7zI8DlJ/Gzt6uCqK6gBpIegeS7qjhNYwhSohgeYpUsqyWIX1fMS78CiQ7yJsJIARjWucWUp6BszEMZNQNLlEEr1LjXU5TL7y6izjA1ZZabkh7WXZjtCePqVP8MfAVsRMyTqZ9ruinxV3uiYqL1RRsDBU8HwdGXejOr+beU3cZcnDY7LwLj13bQynxE12Cx5zCJEX5LA9INDQ0tXo3NDgYTDNtblvy19xFglXsPAo32jEVkz9JdiNDQxxowgz8ruTsmIcOfEY/mN4TYc+kHENZ75sfVoXJF/3wCg//jy13Q/BfwaCckLedtONV9odf/ODrE3PUbkRjpOZCpMBBO4WkFB8AjAPmkckNh+O0MAXgb05eNv+/bOiqzIdmWdQdR98cwr1VAdNWgKImLTBWmiCG6YbuROqFCQYCQ9+nPCk7jIYtFX9HpzxDoT5KWKpLzKYtDPcU+VEt7iIig0Ex0AmV4YBS8AP3JYbE0aCnjMtCFxBNzDrImyD/3cmSnbgIHx8n6Y2epcDM+mL0PmrOHSsmCjMjNuXIgkpta01AGNYn0Rowl7lQcXnUqvKtrPmufpeTQvvJe+w+EMLG+aRswn4XSoR7qUU0m9/9RMnz9TlaUPRaDlXrAYtwzFQOWQS4ziVK4Ng8/je+h3CQMvLLapXsqJ9nGN1wsC2kJn1Zm7nNkBhpt6FczuWH0X9RW475LIlfwYefNS2Tv1nq3ZHnVCFXG/eSa2TetEDQPSTE1NsnLOf19+wZ+GaJPkBFCRamzbBdnC+rUPA310ATxK1gnUEHprfQpHHI3mcDGPgtXm0YR6jAYWFjo5CuPSV6b1I9xfbcXdw4HL6OssoZkna8Zho4jTtKhPgjNdeJsKMDXmTy5Mrs2v69MNDOD0J7GlZmn9gMpgiy+xmuODkTwMbXSmh9QZ2gu5Fmqfdl9aMjgIZY55JfMVMMXQ5O3krwJdpwi11Wcx+e2KaAajgvZ2YoZTaK7mmOVctn5y3/r+Nn4Ckk6EDEnzLmHtTNiL+Co+zfI+Lc/emHzwvf84Q8JB5fyFl7LApDaKfxBSxZ7RBQCVolb4m4TGQS/jnzYZDEDmNvZRQIIAQnDuBxuUSHLFiJb14lGxeuwYX/SkH9+JgXNx1j0uyDMTM2COqLuWNaV2KLjjvifGau6iI+sIASIBBb6vOeQDkTPcL4I+ymbnCMg2senAHXAO/isDmri97WIyaYwcOzJEWjlHOWyTI+UbwASDXjufqG5oXHKQpKqqeZhQZXljx4z2bo2BgxJLs1NnSg7eA7eYCnWd3JQu4zhsoij1tcxxPQ8rcVKf+6pJjEUDvb556255922l4CIQhsCrWJYbiTPhAIWBJZQzNGHTHeV8r6FWSDuIEqqCVszjxzjvm6IR18Z+cwQylulqhTxlwnHz5jzCRk1J6mVn3XA3i9luMzESIyXcAdCFygLHyEItNmKGpZ2QM9g6gNmyWZ7euWA5FFop/dfqgi+EZNFjkUlBkLoOfUM66d8weoe1cn1wL43pRaKiw9gbo5/8QKSF6PN1KvSZjjGM3BQPXT3JTNaiLqfRcsbB91Y81pZKvbuttwJEFndZTFFa3NGsIHx/uwIWeAHYyTxjAjiRw1FHzWB/rXPxfsZ6JUXIDT69o8Upr2BshmjJAkI/mrg7jJMZrBggB91+8hR73pVFqORWw7by4FSdBdrARQfgTUyYzp52OhJh6AKIQYX6FRZNt9pOxPm1AZIikJByPyOtkJ1Be6u0NDbjlQByXZiftE4ARye1x9sPZf9PrxeqWD4xsg8gDQwljMa0IpEvs295Lax4V3K6aOq+1rvushkMdbQnPW91VqDJXo2QiTJBssUOuzZ8LleWIn/s2Y6lrh9G3Ri3OQPGrut0ICVBqKgLcRQPH4EizEzvdNbNAoYSwt/tpSvNg75SS0IeWzHz/KL27k5U7XCqkTxwH1BBPec1gmzAM1w4gx4vy7iSGHPewToM+dH6Zk5erZS4AUg4LlUmsLm7KCht9Q5EI6iLus46QS/oZFJmVIi9aSZWgcos036a2LvML7aLRtsjBojJMQMJ2+fh15+if9eI+M7eKHLyB6AqtPaKpWDNbh9HLAEtG6G28U5CeiuhT9zjcYH9kFXpeAcNQgV4JN2s1v3mhmo1KdzwQLg1vkHYfVqtRnzt9lT9GWPVET1X+LxMgcSLU2BzUUHhDC1wJs4l1y9nIYNn1wYv8FuyS3E7tD7DcRBcm9IX+nP6OVYnPmjFKndADlEt4WpDK/LxfH24uCB0qFjJCXMcB5lRxI/tLglRQgx4cXspWqmVvql4FRN0MOPlSALFJS7H9Pnfo4SEcpny9mAaIIyn8lTFgWLd24LxOxej7DruIAFhQK8lvHWS6TVgD4WvQPVU3gnzGpw0pQjjr9hWcXdmuHJH+gZiVP3KIwg15DB4TjguRrBi0PcqweV564yUVB4DKFsduwnZQatHg+Vg1w6f0RAUIJgwovFJfPAGVR669gL2mCId0JlbA1ZuKQAoBrYWN6HtUQ9z6W7HjkvXuTV3NnVFonpMRWve1dL9zPG6wGkkE3LU0L7JqEkn9GqDo9AzymlfkYAphU2q4YcLqylACG9uLu7uAZPHvgEvQv8OhCShL5wRXCMNrqdsBYGJRPG6Tr3Osyys7uzjhkxOkE01aN0jL0iw4vYN8mCWhTmpeWm9jGwnxOrrSiib4D0MHneCAp+b9dstUp7sZfhBZCUwSwd3QXS2I+6f4aafJHn9sQ3w0lng8CgWlM2fxsGamUgvhMJ9W/KO4HeNTI4fNxtxJGzkTU+NWH33qjn3n7EuKKYLajkgACeqeqN5Pqbsx5djECkGC+QimdTh4o+oKiNyHFWsNXHzgpz7F/DRF6lS/WRU4dl1u8WKoOkxIOePyLg5YAWJktyC82t/IC8T6aEDdp4esktrzmdQZjCkg4VPPQMniNUAJCnWPyKKLoZjFIm8GF9/6PulscQvbe0ymSVruR5q37j2X5xOfXyioMBl3wKZJg6Ynef4wNFVgVIPh6WmTlALrhBWxNojjzp5a+SjUfM3QNWyJYYyq1GREAxxcZEtU6r2+nbtCyFIdMwFtoL6ZTJZexjg9GjsLeO8PfCXfTYpkboI57k3OAZOlGe8fgTQIVoWkrwOzGnjrDn/arPO4rBnaQI5M0xKQe+ykTPBkOjJA3NYgzbg2j2x6W7N/VmtGcHhzJblL4T2CLl2o1MbGaZgJLtnJv8a9oTTB9CtGNHjPuKfsAfuUUwa8EX15Awp7ibtKSnGt5UjxIfyyxBAud0YMo9NScoz4WPT2P1uDSV/eN94tWyhOQo9ABn5Ub54Ej3sd5T1toX+c+Esy4wKk9NCXnXC7aV2MVd7k9nKVSGCaiPvsTHwQOHOi+scOs3FBmHIDvy03M5mV3AzpABDJ4dp0m/6HztdmRU1Hvv9yF+XaP397ilNkDV3s5Gz4IrRcTgNzMNnc8O5csKlydohpSyaAUFfWXMimvVKpsYoQtdgjyU9+qa/W5pGld0/Osk3bV6zN/d87DOzrdYj41eg1KMPZwE7wEvEO/oNIyqewQYuMjeSqZNj6YV7tbCn28yQhZeR/2rk0FKZitHGYxfRDlwVzSKoMYS3GAI42WcubcZHUCBV68QAyUdx7KqFZDKBXLYV7WmE92jK8/2VreKjnwa7rFlgL+J5bnFX50GF0GBGEFvbIzoIXzvnMUK0QUDILYDQt+aZ0io3oTBcuwqIz+BKqNMZnTjOIzWRMD0WUIdFL9efFKPC6VHOD+UZvOhjmiZDa7tJhz8r2UOuzB5KieZThj+Tfo++VHVbRdUfI2ssGeixpFNsQaoaJtOCwBFgCMSLfpHXo2rL+/WuPuJ9RakC/Hs5doHSllO/Pg/ut8nQLtYCB8MTxqYbC3Qry/Tshmipsw/pJJ9QLeVZzNjWR49Q+qWgkCHDYNyjvVeW4Nvs6fUjtHdtj55bkHkY6LgXlEr+MCMmpuBG5JOf4ZEBhIBzpimxyecSeZdZ+O+6xcI9QGa/GlvJZbcpaG5KWilG4VvoyEVWm/zhAkTUp8ZwzruDuvcR3NTxRHZo7bOe0z5xVLHZeJddwD93DpaK/sym0jMXZLoa7iWfrBUU3/QIneU9hX05X2zTvGA/+l+aer3UYDTSpxbonqMig32XgqJS+TJegjPRCBJm63IOo75KgvE4wJy0ZvJUdHXS4VVYGTwLcHSyXL+yf4FMWejeYPrgvqJ/ENuF5v5VaAQJbCTnqf3+eDv4Hzcia56B1H/dRFhkLst3v+S6b/FX5z11b3WHz9b9eXL5B01YZFkv/Vy86ujHhP18uoOImUS6gi030sCkO6g0WTxdVhum7yTqDfE/PlxYum8Gs2syKYNeBanEdWI4F+F6jZXZqCUigT/RlXmbXq0sckNrhDMbFdbllUe+ZhUNOFmbYhePPMNjYYlkYFEbGri8RutwzMlfosWaotPB965vGelXrcGOWz2pcfmOs75k5iYa1qD2M5UMbj5d0wyRZdD5nbd0rcLNctVupNkC1E0giYoUCHVFEG7EoT8yDbbS4F/aJ/iErWDFsjox2bsSvasg3d5GZBEzCzSag15oDUe5y5JS0fIRmYgGhr8iAooIBI9Z0ViKbIlKDixRGaxurDPshfudFWt7NaF18S9H1pg/x4A8XfEUwzJnSMoDC3DGnpbimFGLC97EQqV9i4zTvd4XogWH/IPH8RjFGTXU1379dIjWmNhVz2LpAvPrDcImRw7jAev1/Vwa0Bhfp68XPmVpl0Tv4ZUEdXtbuCz+pVCSXz4I1bGTyWZu8JNBfeUp4L0DLjlDKGKy/Neme+YMJ7k4ay1lPUuJG3D0ymcpcyLzf+dQ6jspOqv96l3Pnp+Q1hjsCHE/1GgCDjIeDAg8REn3ZFY2PGybEed+Eg6/rUOpkFrmobT/gdyaadmqo/L/+J4r6Sy+BEGBlfuyD7MdkOzZLkZhyYcX0Q1FC6gWeP/5a1d8VfQEi13JF5xnijK1E2rc2SZbFHxfUKyIatxYMcug3LcBEaD1TFWKWUCg+vPhqGk2/D0prKSU2scuhUTdtF/xGrZCE5irS272aPhYItJVXqgFgA1vnQCJB6PyzJ+vAaoqsnPyyB46zLZUWXKrYPT7NKFNnfiwlXHK4c9FfshJLzbP6Xgqs9dH3KQbC6dsQVIFY2zI2IBw+FwayWCezF4sfXQebZYYB15OEzYsfPu+uH6EX5aLbehoZkMtacM1wURPrJCzgzXHFADOxYWBTa6nNNcou+GErfJKNLx0bdGy7cOxZgM0bQgDOXV9n66OU2Sjx4iAfnmAkYbIsFyWLXe5qngOSKBUD7/BXfdJIG65BFFq9UO+/FQmuFAZ6luZ/Z/YUk1sxKdOwicGjy3c6gyL7XgHODGlLhqDM2CxC1CNagvl8YUdlqgYVa8c9oiOyDTpNJZR2whZKwe94qIJeXV6e1xohxLqn3zDpPu1Xha2eUXReFd3502FFfJXPmtqV9Dac8o57OTXDh17FgM8SlOo0x1ZMnRRv5NhAmIq8sA81mqhKq87c2htoEF29V5Dnne0XcEunrZuuJMi96l8zKk2g74wN+nWbXDJCIQ4qdivJFrkUkowTZ2C4oIlAV0aUn5+ZfKIyKKC+sjGI5Bql4DjVFlE9oRf6WEpzLxyBdt3pRkOLxd0AF3Tsb5hMNR0++2JQyfMJ3WktM5qzA8ZTSY/8fQ6BTi69MtPzkchtGl4823B9fh0DC4OtCSeA0X8bNLHblByBc7aCLPFaRFVzuAtZQF8PMLdxF33o6kPJwQFb2zddf3Ak/Gp5Gfo+hBlRvFEIEuXhX7KUFJ8ecjHDW4XssvtPDY1qchd7FbvdJJ6j9s9xq0cVpHge5f1uXEgbGDqu2RWSLceb5ReDnHB2th6/oImjuPSfuj8mI9W3ujTRayryXt7SdjO7wK8P78NT/vJsey6avSyxsviIel8KM9SiflZF9Y1Du6Vjkw/TFREAlqoqNny7EZjd8QFMQ1ysQPrb7LyarCeUr52ygrk6xRuxHT5P2xbCR1mORfUELS2FdTgoUVbss2c4ObWgAU3atzaEG5MGLEBHIUfq4vuNLbatVn0h/xDwUvAx4foL6rpSBVK+tA/UzzjGtZ2V6/x/l0VriikoqeOzo3TWW9LFmollNDbwQgUyifZDzeHT+kvofeB8hjq3DefXFEvymhH4I6iALE5nKn0fizSWILB4Ejv84/1YH+Fq6xM5E/9bqX5hsMzQnR1zkSbJUi7kj7eZZBP3VLYfEjy+JK0Rpsn1TnaPAEzJGYhYMjKUCWbZkNpJkC1r9vHbbB/gobvaqD56yLAzKkx28PI9/RiV0hbkPx9Ap7y51Jw7hWizDFHnPiMHFI8xNc/uD9g+u5xUzBjnIOWoYed94tMp4Up0EO4tfpi68A/AIT8OHvmw/AtgX1CU1Uk+g8Jfw5JiN6KL9U+UpoNW26Iop7omDoC9qM1dzIB4VpjkZqZzoVzrLMWLTK2Y1fOxDJP9qgU3ISBYp35CFNHgiHrldOXunklwAKyIkIK4TAlFjaxW4vUleZRO+NkemIgv6bH8/hIZfChcKCLVI/pHIV6FAIwrIjzxnq9FkYVVst1oL4QKKEblEuxb/71TvFfgOSf8EGb2vg97bXUFXj5wZtSTvDENSP5Cs7s02C31zJQHNmGuMggyr1bAg30AsrxMoJFot91T9DeOhqlhJGQH2aFoF2ueZzDgsgiWs8TR+QUr2ESqF6crKTke3hiu1PAlolJNbnUHBqUQK0tZPVGPOSLU5epk1R/l1qmfV3IyDkdqr5QdZPkaaetwJRU+AS89yXDNNQXFoZmXVsA1/2NiFkzMHBaFDO9a+nIv6cvMZ+LrP08+X77x8XP3ZuM8Tvy4C0EVo7FB7ywu1hZl+fwKfq1qQNpurEXnttfSOoYBrsickWSCwm6riiJhTQ5F4K/EoN5S1xNytuVxVjyVM0q9P+RtkCfcw/rpxAHYhuLkYEULtFmfVvVEY7XNUnViCxyIkVXZ3goXDaaetFdtyg4egJjj+P5zeC0rfUjiY8eJzA++xy6mC7y+GUMf4njlVsugOggsVBRwfS5a7yxOpPe78rj+P0lf2K2Dwnm5R9kpyURFoY2JsRaUTnNoSC9lgauaaSjlg5NnaXc/qzndjau/uHEa0R3TltXFFRJnoZLwthv0S8Jg3Dh2+uy+lLwH/n4kTuGAVvqrHVwHIrqpUBN+CKda0RxGLsXl2IXC1CAP9DTZPrtuzsIjAnF5bdjz8OStKd94dkXfdztzLkj3B2lOTkRIbX6rSwVsCIM395MDi3lKpN6cXURauGA3CyrsEjPtbqsMkJjNxcPNcFjoM8GId4vl6kckOkcO+efsgmqQQMuZW7BNdzQdKIxqsf+OxWFktHyQ39ZU0L6c8LeDOy7UDc5rtkfXJ9SkBufkevw9JP99MCxQMVslK97y9fDoD/H7szwYQRbUIi1Fq0Gja0UgEQKTLgL8uhm7k5+cR8VLVF5SRdDsLvhIKMAj9TfcNR7EkRRnlxlPdCBHw3M1IQyq+iIS0wq0qhCcuogJB9L5ZIg+aeDJ2KVH3vNa5stNtJ7ZR93AFKl3gbMMTAliwnlTViUzRil37/zjX/HbLqTZzQF2LQqv2y0Y7T65rQ5z44+mXRjYjRqhRiEzxN92BlQuEFMQmkAvyCmpvpyUAAQL1uNug3Oc24Og7Dq1RO2J1bIsGqFcF1fzAXKZUieRCMiBIueZCvY7jfD5pXBz8MtSHg8ikUWCrK1X6X18SsLuEcfi0EaSUULujLo32gIURDYu7DCGi2BvtPQuRONmkoVARmM6M7Qgi3KSmL5M5JQqgJLqLgrxxeGpJ16qstsFWghWTCOgYal11OK3mC+C+QJ4LzVjEKlHW5WcS7x+uuOKiArkw1DTiKlDoIMW9kTq3ZUZSs9ClNTp1hSNVWEeiTNYE5pcD7Y6x7+KPeDGLQv58FmRPiW//RAtOwlawbF2kapMFeEd3IJ7hXf3IvW9UsXqcRQT9kyPkG8MBzxER8R59R67yeEmvENNw+jJYB82mGz9zHX7M4GfMrItW45rLcgFfL0KOvnzex+MKkidIvNu/4VRoGCiPjajomBiiDmDzTmaKZHftNvRQoDlilPJEZ8WuzqMeu6x7NeqhpI8uydqO+aisnX8C0DBN8bmS+1FClyNTi7KSi79uaOKPN7Vb+6e/xjDQ9GX5rvgsmQX+PY7zi3/5Zw54EQ7kWHQlU4PNLN5V4p6Sp8jhGqn3r5s97H5i+juiPDDp/Og9Nt8NGqZk/gA16rv5c80T2TqnAmnVXWvIVdKMUmykrEKe8tQCDMy4vIvQk31qiCtjMR8AUW0TGXaAGdwQjD8/0bZyLv/buYmH3YrfRxsOXTULxCSmTgNW0JmGEKqloH9gcR47ztN5O+RXFCQMt0yY8x72Ek/8oMbwgsebTMLBwj7WSFM3cm7ZFxBfqCcTiO1kVs6m1P0a5yformtV3Dst2GXYK+Ply9GW4OAWciWtB/guXGBkVpnmx5rVRhHn8Ueg3tZn88zpnuICZFjLCNojMvpPmBb7UZaYRTfs8z6Y6nSSB+Fgtr1huMdBzJKMbL8etrwPoOI/ajhmKhFm7IQKPXU4WUBrFHCWGbhkVXQN+d/v0667mIl2Sks5B7Mx3ru8avKOkzqNSbNNog8bvmu+NlduBzc40s63YUocvqobwaCDwBSqhribPhcg7oPgaKdSmKH4DoV3V9gAR9VhKsOiVIN4esNMN6WAmArDUtvgP2irGwdIMSfZHoaS+D/DWgZz/gIs1rZQVL7bQzwLN0x6m6P1+ZjMKtBZdobLgsaw/+YZU3nMbsqnt+jr0pf7Yhd9oG9J8s7PdXZvPxWEqBPiv5qI/pZ3qMXDoaPg1IP7/jMPHcLW836ie7QcA1pEwoNSQ4i70bgbIO8aN6UWEQzK+1Xz1jFDILC0+R5gc6mDGtZ5s6wtTS8xw2qlp0QY84Ox48cr38cIJMWuZxW3havLZHvVrjkTtl/QSwkjzypLUWHqjp4RT1R9yisn++UXI4/eGA/0Zl1wD9eYhN7lfTbmupU64TSC6DfVCwQPpylT+x4MwNrwksZTsGDGaP6Jarj1e5q8cnNNj0gvRjf3Y34+YBq4/oo+kvmEQ9bMP0OV4WzmIbXn6/tH9mL691uoP465OzGRTu2eyRvo2qPRMgTBBiBDCNGPU+mVU2oeYO4mxCML89PKxJRfF8ge3wFZpPpiiB3Ta4vhsfkq08z2bkQWrONU9prXjKD24K+HNlMURNfwar05ul/fPRvGhH6ZfwH6t8N5x3gy/EHOiBHMgtG2URm9diT3yuQPe1PYMRLxDBjm+Yc8qhH/W9E1uz7r/zQT/mL7K6SeqcY0clAtnC6Gr/jY93lg98k96FOpUcjQ6Y5k5Wz5p+XfrDvNYs1omcUxm1P8dVbfBcxRWlq3iIt+cSGJZsi7XJLaIPQk2ynufS2ALHmKEARbqW88fPwmH6vRijtCZn+Kl9QJ5INCar8WvTywnnfiJ/ZsjJ6WzUqgtl48oqsvI01pKOE/jA6AuI07M/36kTvI01hZYPVBg2wmmjGm9eX8UG6QROKd+wtPoWNc1fBRIfRch3Hu6HbNJzfpciFjdiyX8FS7G2B4P5BbEfKpMgr16MyQ7EL8rBqMbrcRkrk3N8SFKRMd+Usw0Kj22158QmBfnkewz94+54BWBGwSHQW+XdxYralLL/ydaBQH/gQ/6v9WdBU4gP3vReeFE7JAwBMTM2hdtzYqN/Psc942dW+gIW+pJ4d71e0ue5nrFsZvIxQNj0Ts0PLdvWsD3sUAx8+xfqyP+ZmPs1m3Ihrn0gM2r2VX91UmopSJDOpr2dWJXzDQJRmErrk6GNKewPcPo9aLkFJr5gtRrTXvMbVMZ93PZqncyTaTOyy8UkcbyHHN5d+OMeDCt+V5avrh0RGLdjxlSU7YoxsUDFh884fll6zfXNXvf+KGedBBi+eynbwr/rtl0Kw+aG/TL4UsGNtMfiouCGGxjzYRD3/qdvvHu4pZOr2SLDTPRtNV7I1HtCuMoENNwsDF0FYPJkVItjrJzfmJTlJ+xFKAicmIN5/8J/8L4LX14iUm9S4nFO3Vei1uyZapuynuJUmQuYr5WxWfSa7n6cLsoLZJeWz0uJ7dqfNQ4kV/0bpTQHwR2SslFxO6BvDIkBnqc/kWa8vCtXrjJBhDK5emhUlWEUu+ULDoasUwwARolcLaLto6ZsjVUkpm5tu12g+N4RGemc7fPXj0xmcRiwrXynLfewkXeXX+eC/nEAqm0JKXP/FA+IPTTGHdinh5NmtADFhImG69aD6KTmEdcqsTPIKqH5/HlOxIRhBV4n/lwix1KtPB3PTdi7a0jEiYhG2p2RzcRX299CdQ+zIHoU0zcvng8szil/kJHCIfWknvi5qigL0Lae2mfEO+EFOEKV1ZDr1k6/BNMqJWF4ib8q35eYZAN/o5UCUqlBcNcP2DLg1nAAwX2ZsTNXhLB7T+YkkQeOi7OR+mLc2QiD7hGk8m0Db4OrkuzwnbkPPRKo2J/D18A/nLL/4ajqLG6moUis+eQJ3kAbKyeAh/cPsGIqh1lCXZF6SAcRsxNpQXo8/0ZScgJUYiq6kByYVygVXcTkdRa2F8Kltoomsafj4uXShng9bmKMSTjmXM8zBjnfUEA042K15Zy/+X4g6H5OO+eEOWH5IRg0z0lA6dT7vFkH63C6zWwWVCQAY9SQQcoGuQ0nJLU62tlWvu2HzYkpVcDPry+CBkr57dHZ+aU/4Lpfo9bAhrIq6+RBn7hhfRVqabFoQ0jY197Pnf/mGuSAVQ+wRmYgHWohphjQl7i8OivjrWb2Tr/QR24XGRQC4bo8TbBCN2BaXt71HWS1MK3c3Sy07Qnbja2t8+TozUCrUi17MOhbJ0lhQG+hZq8jYa4FSL3o19vYG2OtwB6QRZd5yKiCgC7wpXw7O43UN1lCea6J6OjIelxTVXmFzdzrY8TYF1pbEL7E4/l2cDdIFTgYbysTg8mhkCTap/QryMVxUMawF+OvGTMQoTywelMHWwAQvFpiqwFxNbQBSXT8lZTnGkLpYHVbQk/EbM2yn0sFqFEVXRmPgLegMvQjFCfQ7tC494xSvBBcHtZo59R50OiCql0416zSsPQShCTn7qU+jkV4Ju+thce+pXCZuMF4HBPkIjVbJS7+1CgpfTXadQiSL0kTM93wwfKCt68lvr8dDEiJGWfbEb78V0IgN+SBuVcDb9zkzHeoeRQ8aXftFxC5eR4lpm5yymd8MHnbrXkEEUIoF3EvLAV7uKLQyxenUDH7i8GrbQ6RMU2+FoXuTWBd6BulbTOe9O52Cpd+CG8MjL3kO0M9A4RJVH0tP9TNBfHQmztms8nVpBGueZ4hPlD0tcUwmMZCp481eK1yI37dgso7yLJcxUvxP613ymiu4ru+TWdRce55lMRE1s48bJpGOBpsz5yghw8zKCddChVpxRUQhFq3jzaM+cFtvs4IlTQlUE1MgXdKUUib7KhB9Lp5biHIS33zxD9hSRRLwm36s+q5moVNzwZQ+InPPdgdr2kgifAmMKu7aMds2dD0nL/B8jOERuNxjAMNaWXsdMvAquELE8nO/9Xxr1NDw1KgF44qvXJIJqN9MbaoAMcl000VB6oFlEEgKrEf7XlZS3QUu2x0juMAF5QnqHAGoNd+up10ekhcmGSdAHqaSlZj1Krnvho57GlQHJME5hu7D8rnk4UunjtVBLngeOdKmgjLhj/jGpT/LEc+A5mFDIoigRs/mg4bJ+GlydJO+1QUWY7NhdpcYc62ILU1AcHtviaJkbDUjCOfx5MRQOEaE94I4NSrm3VTFLsAn+pn+dMa35OUEpAcN2GScEHsB8LrARfiSS1AaV9596Gw463oZhA8aSc+zJOPx/8v8clr4YnenIJhi8m9PNr7MR/enCsyuKZ9C9uVnQ38dLrJMXbvMBX9RAp1xOzxGRNTmT/yFTM81PSx5bGFnAtTItf0Ii/81xf8/XhyOhSpSL/L1cFLxgHAGVsQ7qt+WKi4ZOyiwteE9Y6aQbZhNCyhCzZXzK5Q0TlGO8Lr5Prz7hLc0YGj4Ht81HCwaQ88uymQDrubn9miWyOcy9nvo1fU7214y1zkitw2Twxo3i7Ptnrg5BU+wozEPOgayqxLyjowoyq4kBtnGXYP6G1DL8y3vVpIJZzZfMxjHxTlMgQnS06t5691hak5MNmkYBYExs7GrdkG0AyR3+hAx5Xc6mVAVyTDa3lG4ruvmAsdiiSrDZ8A/Iw7hzhWHNH5ZoDTPhfMWGu8z3NkRz2bFWGJh/M7rtQKG1JRGClP8k+RqRRjzLaHnnUbCimEBbcHRzKbq2Y42N58Zs3viUEMwaas9mCqWcwMTx/yZOFAqbxNEXUS8ZrQzXlj+UiSEq0TpBXKWnnIIkqxzToVPhJIIFsUQ4Sxl41RTr+ujITzmlDYrBF+e5h65c3axBsy7VDRfraKmznrUh47hG7OxkShD88M6+ADRn2TDiStKRFaegVtFpGJJ2YQEyJoVyij96ALsBexfx+e2wzU7D1g15E8wBS2d61FEEkvaszdSFWvvq70Ehd42N9+oiONSr/IdEcBI3myIXfQELQotNLlAIX2PCBUnZVvr+cD5qLSypp0Jo4poIMs1EdMcSKA6Zr+v0oOuFexgqxdABYs/1oHxzBFlq5ZDaVa7fhqvwhSPFjxsCTGeQ5mRSAc/BOzaOhPSLFN7dFhVyuRG0efl5Lnc5lxmJkIXoJp9HX6CXUBk0zgF2FDqTsV6+q7bFF+YZO1Pd4LufD8EihhyDLUo0GptEYC5me91HRqhWGMLXmSesd8cw+UC3UJefp1tI/9wG4e2YIJKqhX0UHnAfAOJZJ2aUp6kwzrKR/mIzQqCLATS4r+2CbEL+yiyvsamthEUa3Bcctkv7X4x2UwCQYW9hsOZmiQQvHP8Z2OsyGSOd9FcUnMFM9/ahGjaCmpQTpQAcs9Dah+29WV+oJjkTr+GgOGp1jYIfNK0RDCW+ylTDVDD+o6hcgZQ7960LrJJ2vyJW5lw4WJzneInllan3YU0PMI5biesB01r7qd//q11F0GXOnbu057tk6fngh3QLOLCWaie3j5r3AKWhj6p8WGWPSbGL5l6IdV+2zKZAA1ERW5pkicdQZNKrxZtr7M7VXm6av4/cJDk0oHx02E1g7WqNUMBQWjH2jalLL6o6mMFMxmpNMncPALXuuMkGnWm/m9JiMDln2YpJyrUD2edrRiOvjAWsanCTYagrvCsC8q7WXfweMyr6ZQv5S7XVnHWQwsCbQravj3Bt7yCcgto1KesOkH3LQe88X7Cw2UnHLkvsw4rdZjd+z8qiTWc/siEeohRcPMkIMVy6VdIvLgCwtNLWXLC/13qkEQN9oWgiAdhxVoW4ILdwslQqLAnsqjxLIIGUuStzPPSe/TIhvayUWtKLpDTpsJ5/LB0yVzpQdDiQQixK2dONnE5r33oxgJwty5W22h+m8pRXvLAc46sZqNrhB9bHvrN/E0Q4ypuQB8d3uhw6q8fBySTDsqYkPqj8tsjHB4ZQO0gtWQRXgQ7lmSG2wgWAVA/AmSgd2+h2pJREsr6oBqmWwpQ6oTWQoTVe7zd/+BJdst53NRYqr+Qi9win70ngtQEEWVtX61didArOF8VSVN7HPrT1DD+FHSw7doAZ2nVUK4fOIiIYlCg86aMnuN9umPhL+vnBYt1xmC7rP9xtmpuJLV0sCJKvedidNgmJv5r5LWgjPrQfUl+lN6j2tgi49/a14UvqM32K3pPS7GGYZbsJKhn+Di2sDCl0GtVNRBcfCdQLi05Osf32aJVi9jBSAxTgPWT5agKIqd6ocqZLEn5+G3K/DuTyLzbF1QxdBzijX3rEUSe0aVxTx/lW3xLk8PQbdo84xJbIGzQ4R/U79hfOQYEQ/QEgJouDk1UH1paITjA65dCvm4qzj+V/OxKJ2/VPQQO2TOnTnNkwA6ydG9jjA+l2UUpi7PqTCWDyhjxEVSy51mrTuKx8eQexRcDdCQ1bJfSKgS4cJGIwo1NU7s0YnMCOoBXz5HZ+5dEWA2XQj5qdUruPSbO09EBHMSBgruVGWqZ3RqrNBUOHXU1shyIMa2y7zKOlYfbLkAlkGSldCGkQcGtSlCEzmik0Zrdz/a8B/zRxzXIb4OpDjWWOS7BKZjKEZKLKCkPJOf69JkQz/HyH4lDNXHBuqXsKPrcf4CdJLxhUhuhQqFOsgfOwnsiIawlqSGoMuNY/U1wAENh+FagjI6tjCr6+oGyC7e48NHDx+ldYhXhLuPTX+WJewXW8vlFbE31y3oAYgD83lIUFXd3C/BuVUwGw4teoHSqLLi3s0u9Y8iPsJd3dqQeUuqenQrlxp0k7yskgdK7luWwtG8g3K+Duo0FAmR4tOWzRaUKUv3XhCgud4Rym2UL+sVW1JhweD4o2mqzUiw8NMpIojRf23X3cpmPuuKvGAaPKcNuML7uy6JF7uPuKCc4ArNySU+a9iWiZbANZHY6obt9vj4wgRwgIGTqAVXW2/TkMEpkzpWR0kJPkuOkakq5P0BYdRUOTrh+5vlZUVAV2qNj72zcBomVXZbWBABnBFbl4XjOd6d/Aj3qPM+tzCfOliQoWOG+7ZYpe4J4awe1hSWwQ55P0gM+XfSZc9vE+Y7G3T2AJWm1336ZvrrJMpLP5EYKPEsaZlRza/xGdy6KLFIMbFTi/lPuJKiWPcreRgTh4+Gs4NpcP8R25MmJQTkw7pBMRiz57NSR5JeU/YEt8AiBOMHXXPkEPpnLiehwkVN5avmogQafjed33F1MD4hv3aKsXyPm5Pe4Xjqdsd5+XWGyv/inWDWp59wlXe7uCityIsTR65VvtFY+UKCfZmjGzywqWbyFJJia/kNB1pQw7IMkCOOsQ+z0kZqOuEkr3bMQYgljJUEytjBScH1DjNy3ccQdrstN93UO9lP7/BcxiyiIUhvaQ2iwbKdmIfKEDK2lzHnDDyD/FrUhvrTEcSgLENsOrk5ExJhUVOGdYLe3g7X0znm4+G9QjMJdQjZesEMeFvxejlWHmNnN8hng2BAzLqmqNX32+mSOV3zmK3yhGeh5tY66kWR1E4z3Wl1AxHc38TehHLhX4rlNxvsrDOyhuBjLAvJ0ickYuf1bF6TSlrz3CCUTrYLqFq2yRglmytTGOmvZiEcU95QHargbvwt1dKDCokFBxJXulg3NqQ7gmRFKtb5boJrnzmoW+EizKSh+VCbBCkTANmc+oILN7EoAnGgul/BpgNcAs3P5/IIq+0Hi/Bjl7Bo9pX0Ab8r51EN/T88Yz0KE0AuLhNp9+6eeiQ14JG1JrieCCFcN9Id3D1xyFrIndTAIP0WvMgHnHNnnJ68/sIrCtggoBZmjeXujvv87N0cgF79l1xcKx2kHoZjtkPa3p8yTcE41hE4erkGyesNSFDNXZy150n+9xoQRhdRSJj9ukh9IWI6IX6pTrtR/Z/UsliOjvMt0D4CPxXWsa1UwDNdEnB1c6IJVb3Q88SeY7aoGyHjcdhz6nyaYwGqlztU7Ru5o6/d5y+lacoubzN3/+NIACtmHWIeyRsN3nkC/0XXbRXyaR8wCwGmdbjZr1+UhXXuM4B5+DzAyUPTJLVyrc59X7D5vyVMkMBn5xz6zRI6ZxYp+snkd18o1GwN8VUzeX3+19M8n2XjUoPWEfYymBwCl6OOqB78GWXKbktUaZNYutyEvieAePTDCHVC1V70Wpa6vjzJEgjgBVCnLk+6Dl+4bLWUmNZ+GJopnIl2g8z2fED5N4rs7dwHdkK1nrxp2Z2+6o4ZsAKPma81i8Qw2Vcyoj9rXSBFf1q9ajSseLBrpzncysGgm31HZuprZmodBhockfC41pPlOleGemgVADHc7xj5ezFt5Tomx9Q55Uyr5+qnr2e7MX7DnKxF9xt+BOyUOThbO9vaevDyXkCQbffVZwRhpvhJUvkauEi6SvW+nHt0P+WvDpcpDZRbWeUH5g5jHSxYsosNbWvcdDRhuATbcKWD2F7IuWAsTRfUYunI7GxUiYYMKDsiNRWw8pPRmVPTpCEF7dn+9DB7PnSZB3ILaQ4GpRDDIyLhALM3B4N84Y6+hS/UFyp5Y5LvIymjjdpPP3NACzFB1/MdxRWAzlxbdzbC7WPxH83ylTIpEdvPkIr3EmKks6/Of0TO3AaU1m3IPPCw6IaH+lGioVxg606SAS/UDToCc7zcQpE201Y/k6gLE6eW5RvptJdp4OaGAXOF+n5KQwHeFGQ6QXVkFH0Awr9HlyjOJiY8cubmlr+wBxBkaISOoLA4eV9Kty/pwZ4SKzabbjrpkZyd+EDRKWoba4OdCGWUJqmF29tQgP3uJ+/X6HUrAyV6p2Rd+PASSVuyEZm6Wb5vij50iFL2vnmsW8qyT3tTXppNRbS/w7IlMG8FlzpzssTPJPkxM+Y/h3/A6p+7AA0OkS15to1snDrfzhH3V5grdvKx5EIJgojbKJvRVAPWa6PNTWfugu5jXhIXwbqlCMVsaOaTIxAghDhuGnxuAUQgELbrJJ7/ZI8Kf+owujKHGtYGVpQpTi5orOeeJdRbMrC8DbuP96BfULw8AlGlkB3SFgufvd77Gj/s7Ky6BuuFCV28A5WMIUHg3TCL/CYBsiunEozQtNMDIGCeLCAToD+xwf3hTF2PgSvRS/DL0X/wHocCLnGRis+FjaOHW5ECB0coR8deeGTmBWQ8d67FJtn5S8pwtbNSpSlWKVTX+ylCvlcDTgX/6+WxIiZnZnafeqGg5gvzpvrpuLmXL83iQAlf3iz+twAwg7P+33QSBq+CK/dM2X+s03TVvZ7Q3xWNBAIXDjuK4J558RbhWpU+e0fcUBfPKjfEyGvQxNiTsXMIZwDESmV2QUDFtdswlxv6K9v2w518wOon6UoHBINlkm/qlQOJTgrE2WrLn8WHsPZlzmIjrYjMQCuP5Halhiv7AN8CSERUU4dP3EANlfqTtm043/PNML2iNc7d7dPYwE99Tybe+J4iSryk8HX9OQys5m5WcF5tmSxsJ2QXG8wU9d6YoBYkavSNPEI0V42njPnTDpDRVktr8hMuFVrdCmkpkIrOKENGQM5p+lCloYvyIG3rgrXydRbhmENxrVoB2NmN+g6U5eHu2U2RGT4Zsk24/7CjZXsiiuDHf8soMN9FOmBrpKmpKDEj9oYF1INWoMcqfDEVrcufFdVtRtKxr42f4FBn+8oCSaTSLVWcCMyqml+zAK2m4lxG/Prh2RXR4jj97pdoYxBThggH4dBRBA5GUi1ye2jQVEPAZfY19hZhnGKzQC/mmkl8DXCALg2lPpfxaZP3BtpEG2WG8GxK2ArFHwfNiZsVG6dYVXYqP7hOpM5O9Ja4u3B/4+w5eIpc3ACglC/IrBFHwF4yYQiRzzcxoVUPOOP74cpQc21V/ZSg3jFDrwWq/ACqjDah9Fr8Ca8krFdNRqJRL9ZhL3UIzWBAgEkc7uMFudVnJ8JGVmjV6rqpwPEI4CNU3gVSJb7A/+DV9xTvWKS5v+Xllu8gYvZSFIRXFsL4+dT24ckm5+H8xUWo0frqAaOhl639VilEc3/7KH+tvi5NiOcMF3m0bIT72rbJW3ZqOS2TxPpQO/GvIl3YOEaa8xlIXZAhCWUAC7mnVV7eF0jHm4t6Ww99+58UuuPzw0bXrgDicWRgfurCS6z5/GisP6Ar28jdBrn9q5mKQvfNQhFmLzilYnas7lvlr+1NjECg7Wrms5Qxqw9EecegULVuPWH/T7dzuEoj/GaIz+OjNttWoSkHcH9/C1EuJtsP2rkgeoGzuN6ReqZygkR0qyeORJ69jSeWZxj0C3zJ8SIcBCyluUuwFp+qD1XdoQRrLGdwlRGrfEX1nJswPkUyqi4lHOn2Vk3CGHyk0jP9928bZy9aH1Q2F31n7HEn46s0m/qr/Gi5GHMJKDVOVmO6Zq0Dl24fDIfdqlY0fQUsnhz6VRSCixan8yNTht1stDWzybT4acXTjYWzb9BRWfYVy6uEYlSQPug9f9UnUd+ktNwJTd4onGI+pIq8pyrMNC2UdZVsJ/um7OPKgnUoQfPeJyOtrz9bGl33kcm5ZToGg5a+BwrevwK5ZvzXPuVTbkT+HbdGt/cg8qDX9cw950JreLcNym4lTFbDS0lpa7bcH3V0Ay2N4bKkIQ9hZgzBETY5HAKqilY0uLTnPCvO3oU0NvBiKYtDvHi2qZMUkzdP3r1qAGuxpnPevYUAteZQDvCKHXl4sapp+O1pFwauLH25FxE8zMOOb8pbS3yrktwseoacnJK2zpSGVQTgfOnJ8Z+oAFqsIeHQs8optkvRVn9s13JaINJab/s4NzTiHBuqnaVnf3Ye34bF2sfJTf10eJENO9Lku0OvsHe3hbpLT8H2zcTaOvvd2meA8AvnZXVnfVATpx6ASQ58aIeiXj5HME164NAdpEWEkPf8RoqpgstfLvHui+IFYVcWuJD56RnmJbU0HG2prX7IEvdaojVZZpnLUWbsOrtmVhrHncy7N1vsG3ElXuHc/DvvZciJ5mmdHSuvAWCJLpBbgVKZPOvZdwNh8A7g2xLK8hKWeNQq9ef7A5GnrW8wK53lmPsk7hVLK+ioKztSfMuuHrixO9+Cv0gLDXOCMV4gvK+XxK9NmfbqdDwnWfw+1sFh2QNKOOc5Q5r2roCs6xePZ5GarGV79ioCUvM371e2Bl0QaSL3BQoZeBsy7yqwXpomJrC9Onfq+C86aGdD18C8whBSK6xqu7TXeHc93dgz1JlZ6tw1IEKivcHmCm3KjYvz2XoLYCoMyxJ17JpHMRbIgOHW50pW4lW7sMRaI8zdvMk8TCNuI2SO7zqT/iGHLmkrNy+szDVxDuFRt8I8b4kT7cfgXl7wEyPzncMG1y84jZ1/RvFlzlke3SSlm5ldgPgoco/BKB1u9ZsfcNzibjP+wlwL22ll1hXXlrqkkRhTzeGMA1B6xU5FmiAnRQNUHwZV3SMklLYzv9WZEIVGreX3LUTf/U1Gt/xpPSozFguXABFgh3MzMhMNr2c425DspwNcLy23Vx/zkCVRMpCMnQmYIKRH2HRU+QApSR/4/I6SOfev51ENZhsK9jncWBw7Debz2ju5bX1/O4hhmpCXAStLKWSPSEnsu4tkaEBP3KLD6KiyZ19Ua8WzFHC0AP7cABEVNiinQEd5Q2IS1Lw0xwcNTnvGLxLa2/HtbYu3HueUEVzgp4QYp0z2uchM885UlA1enSEtzaK9TFBmDrlabr0hI5DniPjIz4shVBZf6GMZSg4RTszgoMMRcGz6kdILLm0OvcmfSguzS0CKCq65NUfT+YSWuBB7I6tIkTtwpPOlDzAAEIlMi7+Ba2malYDuGx13nES813vAXoMJmmQU+J1c+he9g4zHHaXBDpvtOyZvt1rJ9mf5OlWVnUnQzrvjCbpqu2nDoDm6Ls2XpjTtL7bwTqFAKRWTwImLsok0amZl1cdUgdWuIy80+WfHjfuSmbrUaDs6ZbSz7kUhWssLB2rjCQIq65mcNfxP0Q9A04DEJjADq1iZ9vPcW/nEKjQ6Va85wIq7p99i/n71b5L8nBU9n6z69TIelGNm+dnYX7mk0uyg1FminjY4Z7MAqqhcR8nv8lsROQ16E9Sgz/qpn8sXkWaSCCD2sz5orjagi/OXQIAI5FF4sJGi6GB+2eAG+Np1ZnevfXc7fCcj2UN0GP9zVwYtS9FMiKTmDqyNS4MONhdJie3jmITFQaIng19hVI4x38BIjtA/bkUrCij5wfvFJm6KMzKoI3LfxMXXyXJt917JDDaIGhTXejPRwiSgarrqx5pLhLWOnbMTUzWB+QDa7Jo3lMWJXMQP6i1xdXhF0HONulNSHE+/N48vR1N0eUV6SwsdDnILBEx1FW63BDqSmfQxPoTR53v6agEKoooWG8JjxwDX6fkEMzxmKhag/a+Ozv/zJHpgz0jxF7v4IRf3PTbqrdBS9SxGXQjLUmH+rrV+Y7zXeLKKKlxXQ3DgaGbS6ioi3zZGWDC3uDLWEHjiyWFnQKQpzVNkPI7FBdYO1Gy+PHTYgllB/Eq8nJ5rZKxkcVpK7KwvjB9KycqDc6U2ORewOtXMPipxlg+RYL5DiZKPShPmf4EUDFo89QYcJToWPR7dtavNfKhNtGjTfwf4hmkHWiHWJplANsWINArcqGln709ffs6AkVcYujNiBw7/3X1PLuUyGOKDaUlKbkvEcElzgftS6OVt/N0QGSvt2JL/sk3MNq0755g/RDMlenAX+50m2jJzfL0D431eBggZfdG5QFQkU6ullXCpmcAvacLRO7BNDd8MGCuTH2uHCB0VyPF44x82YNVll5wvwjqEuKhYp0npgqMPXivaPMPveGak71A9fqu9tr3hTJ8AlgOQHwoSmCGHNltgFCHFmChVzvU8ygrwd0WvVwrfcBaghO53H7jSxuZKV6a8/BSWKRmH0nOPLZzgWqYNu60Zr3V8cIZOKscPokyHqPtvVfpCSKFsUnDsr8xWwOHA150cLv3D5t6Weka1z3mqHQIsbW2zPmjIgVJaf5IICmJ9YHfqslyaaCVyh3Bl6PqJIKq6oQhbhDBt4xfj3Wr7fTbinQALc3Q6KQ49AnKRu35Pg3XnIFoHbh2QWWLPqZTdFNjosCAfYvWk3ot6uaxKiHlBtGDQDpPswxY7pzdFVWdaJ/WK5lYe2/vfIw3QP8smLUwbJqMn6qTzoBDvStC17LlhCLqYVrpSnVezwkZ0ep+K41DnwV0uk5Igsq1FUj3S/JLuXrGmPEFl88AB2qO2S7WJfURARAQJfgmlCtPKFmZZxQV42nKT4AHmGTQkk0aWI7t+c1Uh+1jG+/RE3eVn92+v/vL7UV57Gk1NPLISHmV0ylAAFB6bcY6T7AkhQhLKJjkIUkaz4EOqQV6qtb8SS0n7O2E3R+6WBbkxIAu+/6DnPuAPHaxM5sYdFliJEFu5hl2AG0nnPFyLDggbCGwn3zWnkkAeDc+mAEl2SRW7hpxAU2P1NDK28+XLrTmNrDQNnhVcbZ7ogv+Z6R7UBb+BcZEZETXWXqJkcZrQ3jIEw9ogddJGB41UNsGJqeaBwrv39bBL/e+wz8rzP1nHPNlEBgltuaXs9EsdzHH8P1pPQ5tqDhaN+6NN/buc+K1RwhBznZ3NSqasVCde0zkA+utcFAJuVKUxxMTXfKpwp6NZeDJeyDUF4zn6fsVpK+S17P5hJo5/C85lAkfUZALD3KvXUt/D3RJGYB433Wv27y+/B8b4h/isMm0bz3z57gRcfrHlZRJUAJmZeK57BKV4dIX2BXt9jY9QLCHi6ysSC8Fuaxa/h1Jf8JJv0/HPYv+R9SqxfH56VjkfMr7LCf2I8yHnb9XcTi1rSkfLulrCOLWpH+J0Ut6BCzhrDR+HgvhV+e7LxkBueNAG8zs8q1+fwotvoz9xxTT9m6FxZLJMjKOTvNA+1X5DgqBOofD9fd89LMV2qc8txnXkMhJ6rC8eFNidWi10QoYfa7P8konSYJjiihqPvkVm2R2ILqhm1yfM0xfRJe/jAMQro7zk1UQsjR9znyvHWYKjnQ4xS3PaN1c/nWclYeWjrxB8PxBbE2s20G2njfUbw7oLfuMH5eRDSXc1MkqMhpoIK4LSuYhD+I6iIoXYk/00pF2WJ+pmgWD6PE/LN+sapWf9Ou/frQFXi51oNBsyFrQWubhtm1XSYb+8vCpSLoqEFj+R/rZ9jXWFy/xkhH679VYdKfpJr1yn03P/LOXAT8K56lSmFHZs/WK1XWZdZS4mk+fAcmzrLS41W4YUev/kWhoih2mxgXe/JTT2i6P+9w8hnq9H5nn6rfO8nmcFKZKYrjJcxwz7K1cL/iDc99MoEFeAbHd9jeS6GPo8iA+HIts7UVAxxcpP8iM7ZmnRZbjUwTQoARlng3YdbQhCtqZCOAwWe5yDB3ky9Euk9gX3lVvOYf9HUqkj61k9QtwM9huw4isWYtkUBZwTDbTTcDOJVSIOZmWPGwcTo4WDwoi1IIvgNZvDOOZyE70oeFAx6pBVyi+Fj1P7U6Lp8KFg1d+8f0No/on1xecavo8mqCUnbXjL5WGte7bYhawsuSTe/OxMUO+hcVGGOOk7las4zbfs0g71KRdO8DPci0tuY4oKmjF9n7jsLT6Y9jvNFydeu9QNb/6JpzSjxZzooruPvASP2K64v6mw7M69bqwjLMVDu8eC3Og+Pk3zeBACNsz+dP9zn3gxEC19987OPPSZc4iO065UcpuWvF+z0YGVNpWTI5g0uXZLHN6Xj5/KkBN8rSuitASdefSHjl3gV7imQ1QlRsGqT9tTuhHt4zjcyemA2eqEZ0fcwm9XLmYbkeXwfB6YoeaMqn74/wgAm5zHlbDUrVXkfMkb9bccSujODHCy4VbR7GtbIM3WkXjfci4f68lAC0+DiVkHF8abn70rp/KBYs3JlZbBubBHWKwymhnGC8UoHUX7KhqKwSQd4hIopHo7RcWptFFtqSRg7teI6XEOdwENJVouaXsDXkHcvrqqRsOYp09KUzDTbRz1h+mKLuPEc9ILdC/so/plAc6riMBnyZ7pk2OLMQ2CUN5xBHpz3EWYqP4BxkHfA5dFhyw4iGh47q1iIvIrlcjWwPvE0kJk31DZA4n5QZUWfUBF0csIIkSsEYC/mAbhtTqIGOb1Q6y6gRi+h9/W1qwia39pPUQQSmomsFEte+jBddPCvdrGV7G3ZP2+qXe2pSWg+2tWWCXOHLQCOSfxqIYfdSmUiBCLE2R2xP0z0iqtRFOoCfDkGxRJ5KzGy+mGBYFSjDBaMGF7mSDJfTmvbOnEVNC8hPdEh8O91BZGDq0CXT6n7ENcRRmq54iiJGEUWSVRwl9FPJdYhaxai0DaqaHbEdEE+PTZ/GCOoRXljHKcJxUSTOFjCH7ImLybYXCLkk/7IkeZx7M7fUyoLiA6We81SzcX8kMSJq/szVjX3UfcRv56PSz58QmA9wSUtkA0pIo01915x3D5qHUoXc+1YN8TnYW0tclT/q4UG5dX18i0vn8YQM1hMvOlQo6xKqv99+ifVAOWLB5h8nW7i3AflRCcETh/z77QjWdidMNmseQRnIq8r06Ia3Ts2wBCNP+59e8TgqJelGGWVupiazgC/+4UmiKhrIhsTJxrRuzYiMl/kgUJET381VvhjwRKdszqsPGLc3hit31rEL/QqMzqh3p8rsWRqJ0OCnUkql34XvQeheyJkNzOOyctfFSbi53JUv+9xA6HDknsimYNHgIKuE9CHYahWu+PswtCo1NxzvVXz8LJxLIOPMhHgYUQ3aV5iCRnjxGPBwVD+3Z4u5ufku551wCyLpsg3HA5txy18HkG6dYng+j5+LpPDK5BrPpVBM/ZjnLSD+wEUN2AtRThiSVn/NUaFJPtrAU/iWq1cCwmKeB6m3AwXgODJ9CB0GnkhB/OwppVbMfBBPey5+tBpSHESakN58RJ3evk7UG3uILbTlMEa7Dtzy3QuCXn4NTRZCsg7F4jE+rNnJCh9tGnmFjtne5xKl5pPBCtUe0lTGLZipgGrj0ouXBCuK5ZY0uV1w2WVJ1Q1UZIYKthlAQprp4db9AYXZG9pcmp2FXDD89k8SiZvEJKS2XMHX8sV6tR9OQ2Bc3tAU1Ess+vEvOX3jNBd9WoM/1J06ZxEvK0NCasIwPeXzGLYuWUEuSekAA6/uIP/ss5Q+KL/LcV68e4a37J5meu56oeEg+iWC8BGZxmrS/NsHcbvhchGorQPiWfnPEYUDU2MWZ/CCz2ur2Y1e+bE5mfYcTRMrETAe33Y0SyIzw7nhldYIG0x9T1mNYlUNB1HPt5eIq0kAtwtJEZRX/88fjXXFfHehDbzr60KnxWl/HoQi9ARt9LJ4I/6tWuam9WHNI4jMD66CRYJ163Z+0tgSW6rT3J50xU4m7g8640hkjXGsgB88Hk+HJE67k8PDkZp1DDmXZgc5ls4rCUCVcWaJZKdWMroV7k2+xlfQ3FE+c0n9FcjB2QQHc48bAVDoGRTiJ05qgwNVNH7EC9YahBhm9FxMkOzB0x/P6dW6HvLuwt0NUh3qPRkW+NsbgqwR6LnGJm/9B1snh6KzoDMhNmpNRO0BVulTtk3AqSY16Tuuy6fvi7VYxX3ev1TY/StvwAa8ZCgjui7ywyC5JJzr56TL1lTWDZdKaaPe8kWCZ4QRAXno17SXSTaaQp6hkzuC1/SOfg15Tt51e2MQR+scjO668evHtMBasDA9RlwhcQWAc3PvG1zgAez+tb/dLnm4UMAmVsHHmSm5ztz6WR49g+NxMsuvy5bN3CNqdvfO9HGdTGFhrukESnZOcGU35Rn2wu8ICZQlwm9JIgw9BkpuAsXdg/3j6R4AmBBmwPO1d+rpJpZ3k2V1j2qRQG38tT/g2mywCCK7PItVE+aJYhL5m2taACvxEhIkLx43PHCCMo/uvB8Fog3D0PQNEL1e88FivSs1KSlKNLDbWCNiAsMp5nrtBR0obDHON1P7rcImMdJ6hLHNvTEsSR1HvZva5p3eG0eHFQx7juu0kdBV/VJM1N8az/gxrDEFrkvCgJKYdj3rtr2z0vmvkl0zGXECEPnr3S3L8x4Tpi8x5nz5TCEAN2csLJkPfMPIodl3I+ZtdLebXGb79nzZDlj4clpyt0oO9pxdY4KX08076BJuSO1zj0tXJx8zvqI4wYNq6UU2S4M64zrOhI9lb8k5cCH56OlNCnWWB7IUaMkA4qhHKSmDmzPQYd6cvsEeTkJljCfg6zUbvtZwN3vkea/LZQq/1LUm0WpqzND+aHnKIElJdyJ7Owkix44Bt1gnF38uhHG7/ojmVpmLhrVZspBXEjbGhfLQ4bXVFOTGMESdQQKex9MI9ML7MIcl/iE9jD++XQJAAvDhQSeWRT6Y5mpvqBnyAFQ18rhZLQcNE4tB6OYS+haDIc7cPKBf1pZD1hyWO6Y7cyc0L6ppA0zUA0tKUii6FNObDqzFfjFBid2rMKHTnSi5HWO0M8/KoCsLTC92WpfmNWV45U7STP/ZUmeSzNh3FRHvrxDnjG89aPRK9oRuQ+YCnI2Xl0i/FcikJKwYBEwa7WEsy4b33+d91u7sFnk8pQr2qTwi6ArDvjmGwhWRcvK01500wEsqTqnCEqVesKvc4Jw6svo000UC6N/w4XkciNEH/aaycn0cX0A4w0Y7ddK38zPt/QNuKfhXKOyVv+Qq4VLxVh56KhgF3p3TZ5dLlvoAmeL6zLy4+b0B/jmT3a4+zLZyP1fexLjxgJCiYwj3zodUuXQSJqd4GKW9dYMO9SRAus407RCljFqbaOXtr4lLBQlJJOmMV4PWEo0B2XbCGlgaDaswZHepe8b/ERg/o/4MZGicRR5hG9yOVoOL/yPtFM71yLbCKJLQ05Bn5j9dG7I5fMrD7hwf12sFFYDiN6MxsICzu+LRd/nM+8wRtnr35HJSeN3KmAar7MmdzJgi5HFPmJbAzCck0DDVSyxmCGxOY3aIsql0IU59cIG9J8DvC3oTVq2uM4q2yfULSjwJ1EB1+xDwL2ROu5oq67pj5vFTe+OEnkfnfr+EQ40xTo8W5zzQq11lDMc6WbTZ/4QU5bboMiG+mToV4NIJDP8dbWS58UpXVGBuA6SNZId0aQuYytJbDBORbfETvEm2MDkb34cVYHsaNg6vCE8GvpRn9EA8rDdRogaFa9WxK8zXzLufFwnuwYUl3+3JWdkZkZAqA/oBHomoKqpIjoAttL+GngNpGknOeyy1Rm1G7QUVgMICvNM3nL0qXpjTAKdGNoPlq2yHFjY7YOpdOmgIhq5mVghNa9SJefVtih1OIzUNqGwUF0bfi4YKQ3S858LoEN/45BgT2us95BpS0SuShr9GDIfS4CjOUZHql7EuUtCGBf9YSFqL0n7kaY0MxXfFjjpdznxZ4lWvSW/V3SQAWw6sFrTCZvzS9ewMh/0nnU+YN7aAY7g4iuaJFn+2KuwQ9NZ3sq6yrx2/degNndecea2su4aivExxwplWRMT8LtkhtKaXBe1SCpxDzSOeU4CcShtDZZ+OYli1zrHyRShFXzyoJXwFCo846Zy5snqw5WqNLgW6urQ0kjv5TQTww8gNmnPOtFUVZYu6iSRUJTNTNKTm+vahjZ4VczHbhIAJ2coJHaWddBhn6dn7S1WyHUm+hlogwnoRIWdnLFH2rEs9p87Qgm6PzyrAMbVB3ygk8UUbmd8IJ4m5MGbOaikt7kreAmvR02AnWjjOP2zaBlvziqwuAfeNR352YV+ZYQ9/s1zoq3eA87waZv6bPSRftWulb1mMOGMK5vUgmDL/MpsJlXSm8ZDWQMSI3/JTzwa90XsCrhiehHPesFyGUZVG10aDNwItr/gEYZbZKRbvzd+6QpA5l0znN8wdbH9ytcad1UupxcDk0iACeKsNG1YLlS3ZmsdQzGGC+UFLzC0hPIaKaj8szN4pLsZsa5xGaRp7lhsmfCwuAebV0o0orXVe05zgxHOlL/rhpEJswyxLPIYJaaolf1W5EZtFkoRdJoUKVs/iEbmnLmsUu2pHGGjiY+gFEh9VsUuT8RDmC26E0KAesBE7IRC7pRjIy/WC132R/Pwpa0Kb6OjGxGCkoGMQK/mbwd9rxB0e6aVmkq6DOSzg3X9qSjf/oMF1LczrD9VtZTS4FA0xwj6l93QskfPOKyZcnEkZyS5IDLFn9j7CxGA+B6LWEZy89r2FN4pCjSXigetsZJx5TPrpDC5K6tokGcf0rMp48ROw8mIKaYF0o9Bj1VJUMmwNAHguVFpBHuKZV0Tn1sGCtMRXZQ1xd17uRJ78UzV6ASwkpvVmC65EKO5RUhe5ytSQcj+vH7HXswtZ3QqTZVW8RZsdKYuS/K55pDFOjNQqHYs6G4A601F/iNUrdFcg8JtGjqgZY9I9U2p49PiReHmn3C+Sy81z1k/AKgw5f7aiSts1UqLP0XSrPkUY9paRe7jsNzG5KGQLPmTUrD6OB1czD11TZpYsVAS4pyPWT4cyKHy6e2XND2K2KIpXu4fseq0iy4Q4y1JIsKQQYxMkruP+LSWbXDNyIBBc4Pkv8WmPxBKNAmHpssb4s6wQeP5HG0ESAxwqnwjZTYtTZqoXt4MoxelWbCUloqqoc89mFqlmb+QNadK00JPG+JfA4k8rx5Ch2zcIC9IKjgCXZmA5U6ZdIDA+jFjtfGibnUZOGKwqLXdUTP33JGqE0Zolh6V4Vmn2b5O5JWR3wAlSLEw40Mn2ZhoX0z/cJHl5AkAxR7XkjT+mSp7GJUkVveGlC8BPHrtkd78tEsWEyEeOj5yrwqZClvlo8u1nYfwM4V/5tZimhsJfXgTetZ/JK+/4LO6Oh5kW7BH9h3H0XvabB0S+QlqUdr0Hw1U2d4CEQ004WhyeG2LJBGhKxsoTkf59O6HIoy5uJqjI6SE37LuJ/JcE02EPwntCPbD9qkT7JM+3v3G7CmjzqFlujRUF74eEbJvrUdW+ZCv+HHch4vYesZ0zufjro0TeAVPECQs0nUoTCOxikFf3Rd5l06zH75bzJvI6PoVCiqJHaiAU0/mBmBZ0X+zfSrk8yqjWdla+1GPvSi3yMtJ2x+ehhSBiNsr/ofmb438uSExEt0ACUWhXaCesC2nyV4suxRwYtjShBprDRf16lzcsAbI+/tApHNfm/xT4ZWaxNHXdGgMlrpBW8wio7JaMje2zFe28m0r0CasmI6SUXfoZeHVM2WLkEmArSZJyHblqPxokjkx+RyysNbbs1jAUg6kZl1U48v/XZuauuB0EjPPmj1WfZ4C46Ks0Rla1SpvSl/xfbpBwjEXxwIHckM9qUmborQIGanEZl4p6cKOa3ZFaHa9vQ4VHxr/tQL4zdmEt/cS4IHCRG79mMiBRAWLYM8ci1FaJ3S5eRL/PVdTiLLGtA4YH/LdcTwJXf8WDrOnVL6T9nPSxA3eB4fQy3QSbG6x6Zrk31rPnONp3lJPQD2td7EiI4vnS7uX+5UwHNFGM1u01nvhBEWrkEy4JVDdPEIkrvbiJ6alygB5/LxgCGK4Km6D98VOf+KMyXnAGLtCThzpf1ekxZVwtS8gBDouTp4GSejBxCoToP4fOQ7n8wuSu/MrScdPP9kR9Up0CpsTgXKsEecldeU6C2D/50EXICEfY2SZt0BXM7K4ohhc2BKQIXR58rznWWDxy6Cw8pL0G8zn901179N2frC0IPmYdiwDOFD7++ndb2kNCuHomJGRAIxIJWseKhGjazgC+zEmw78OfiQC+S/ug8Qty0J/VbXaCaFPDt7pcnoAFikA7YjBp5PPb+MrAZd6cNtHSUu5cnTNmLRpMuRj6y3TqKCmoqPkhsP2cCJp6VjXKg6QX6Hs4bVpOTEtN1XmlTBw7Mmbn0oNTu19/NpM1oPsuQpCYmypzdJpg489TMeYsIBEvjZvFG/c5S4d3zZPo/wJAg9bBjucFpD/olpEMBv1FbgqIjoxyz+htamWuNDcE72JlCs/gueSEVOR/jnCo7ncQIyxJps23Ra5YgLLoJYe5Q0Mru82w5927J6SBpXuAd8UB/6YN28B1ysqI0nV+WDvgj7eO53E9UAiKytRhwsPrPF9dyRAsVlj6BeWdDlR4U9UttSCK0Nbn6GtItJ/ijASscr6FyBFM88C+pndIzvW1DNZy1nl07t89CFMYGdp10tPEQFIn3nZxxVpGFwoKGwIFwSDL6aRZtwv8Aaso023Sfr9EJ9f/Qdndbccy8YembjprEEJqqQ5BKA2WK5nJjdKigK2hsyUU7/x10D9nYTUsVw++70QvuSNqWdhFtBNsRs8IazGnF70VwT5XHWf1vDPj/XtGfJrOnKdo0LfK+3OMkZ24cdl1zqmqfWA9IxROeHtTp1bfGpnyje9gojlDXo8LMHQ4M6pbvsbNHxDCCnur2p9/BhmK36zi5d7zXHrpVgDgJaZv/6UCHFmDZwXkWZc3i4ZtHd3im23AjFqj684LRs8e1MevIz8DyA1m0o6GXBFCqGW139wyPubNKIKoMmLqPB0y98CpOSS0z568Y/BEXd1jrxlRyT9WOk5/9LtO27X4aoKZe55BVRsbXMs0HXYCrhdxWMofJPv2FYiHpWk8cOVbg0Awsukqi+P+rH8a4mkTsCMHytddq2RcCqA0gZyR+DEig8MhfWYcPISNhF/AQfSUzJ35p5VyYV9/8jekwTcBOpLbF10YWIuWWCAm7iezzVrk1gt1KLO8nX2MNkyNSNxeM6F34idyC3/IYnmB0RlEYJIRUwynEEqmR1dErQEyGpvV0crpo6at48skmsU53aqI75NbimH9AOiB/YBmpHSfOXoO5NyUZM3lQQLde/2oECcIbM242xkjuYeqUQLeBHfy0+3u7LJ+4vlRgmZMMOoM5yHKQ9t1pIOTrm0n179pFf0BX4qUAyyq3DkvN2inkSysJTzXnn5ri7KSmMWdgg5LtwrwkPJlPdQeEB1I6c6cwcXn/5YZdi6F5CafjT5DJgo8z1bAvWqQxRr5MDph1rjmTMwnYIKQzpSghwhEuVEMy0sh5WxSEAmQ7tjeSFPEpynO8C7PBAx8WwPNQYciwMxhQGTnP9N/XBs2nCMi9XGN4xZilycJxmX12tDbP1/Qf/rTvDxFoMrOauHqcPTSV6cpVFjW5zf/BqAfoXtyD03prYy2T0IMZM8Y6mw7QWoOsDRtQ9GKFuclq5Yxlyrc0ZJxUAbP9vBhwdAtr4abSJVqy+ReqEAIY6INUrKjferZGfGtfuOadzYqXTDt5aLInPefWApBzIlFJKSSpUfKZs1L8RTBJZ5ekEQP5m2cR0o0L3fSTOmODKg1LHYaBxnO1MgKGvGyKTfQ0hL4WfC/iw7ylgsPUQ5u0RbUQDT5Wxm2pAf9d8DGBobLK2MW1+wEdvuTT0ZxioosleBPwTlg3kby9Owiv6ms8kfAhXaH25gzhHD8m7wPVk3jz3+juQCfB+aqREywKaCsNikqtK5gZBjpy7MJmxjD/0nuBhNJlc1I/TgTSNbZXD8xN9VQYKekNx07MSXNhS8TabIV7PmyaV4xw+l5R0lNNMK9QSdoXrP0ZcMo4bqQiixbprq1DjqJ1j1beQEZeFYd2aeHCP28xOTuV/tiU5SPxI7Jo4H8niEpDV5mMp0vvMFnwmCZBBdygDVySDl47jdUuqpfPikpBjTqXGrwOtgic/mPr/rafglpIvlB+U6Og+Mvh+FWBePm/vr5sJx8w/SYWOgBfLFjB8B3oRTkFFU2DG46efmILonlkax6d/VJhthb3J04dliuWCMzftzIhlBnWkaSoMAUYpFL3QJ8du4AZpeXdvGSdDOKtA+UPFv4FgxeYYJOqwoyaCrrdojXuVXAjZENy1KBzFzlr8+/MADsiesAEUPA/sn1aedgaZsGJ6FUGeCBroirfMzFkA910RgfhnALYw4uyFE88Kyg0+oywHIEJlh5a7cHD6OuPDuHcL9MTCbApfUP/C3KMTQt5oP9JTO/jeV5iSUz3IPlZ1uGVfYzpxJMxiGkKjjjMHShsOtiVNSbi6FDRkZVB0qK2tJhRBYTzv+enkl7vGwnzJwb5u9A3gfHYRzgUEK/8vNPimAVMLLNY5UAshhBXwNwtXzvf9xoZr4BNRN9hG6HEVuePLLaVvBOc+vBB+poEe1mqufPU1ll2UCgDC6q/cRr3j39tsN7U8sMZuZAy84jLAGzfQlU/1bjjrcmMDnxyqjwgJYIsCcwabOtccJ/iwgBRyZcJgh/Ltno4UX3jGYM1yBbDuMsMS3WlAziTkXfGikP+D2o9am8g/tTvAYUSYAC7ZlZIkBVw7fBN1uR0zxZVPPaT37CdnC9mUxhm6sbe5Dx0E9X9282S1uwd1r64iOskx941krM3j5Ch0ioFAX6iQ7XdqQ/3Kw2esEoW0T6Y+svHsFXmeWStyXKL10+fZqklnWOEtzPNx3ZxAuze0fmEi/FW60VY04l1qvXKT/8PUlicr9sSXVYnesWsAOKUiLcZMAh0A2Cym/9YlkNhZ5bSUUnS0exykwJWVAUOls2GvwlFkWwx+sKJBRPeHPflY4+8GbrlHjEjctsi6b4asovQBG+XiODNk17lOjotL/1p63fxgHNB6JMLtWuNXg/j2hHB69KYADeNpN+RUi3zSg37xt9Atpjkq4F2SbMKCMrYIbwY+ulMstjtAdtIn/x1kKsukHOjyKonyVr3X5LUaRwQ8R2xAdp2PQ0kNJeO+1U4vBetGJWAjfb4pTpiWxFF/c/O5yzywJbyFT9KvE/Mpl5A+T7x6ceD3G2e5FBh/DZlxxi48lRer5MoRSKPK5fo1/2Mtag5MRSlvAb/lHDKfb7R3s4R0MB3w0Ork+ARuhV+4k/4ZjOHGUhlu9D0b1FAddaXlQJ+qUxhE6QbuIeBPGFQo2zj/RbZQZkWrRyTSt7+o4FRg475kkLO/7N+MDyLyjRlO0F6nzn26Mdcc4MMg8R+c3/JjCpBsdOlDtPkT2b46IdFZgd6zFCffqSUow8da7Zdp6zqpHqso4Ksmkj/dzhO8IxyBk2RRVI+k0Y1UvtMXNPya5w+QFWTQ7i4uz2rO4HqgAsWVvFGdmX/mkoxYPbow+RYI+eaG5bhwP1w5A93BBmXfg3KQKEccoOjS95jxad2PeJLucsk5XWYHA1XdV/vMJbfx9gLQYhJzOY57Tuw3qhotDGbvaaFPaJ7ww0SsrwoZ+6ifz0NKFpQy3fgKKRpH2ed+uoLy0VVbDGEUrRiLdvIMy2HD6XpGc1kOYFz6Y5vyr9/IlEYdEEd+sXCOYf++dTUEHH11nNEXljhsvi1kegFc2Lua7PV0l8zW9KDTHi/uopwjMlYIh0BUOosUxSfPFXoRtOcJtD5pFRk7f6e2V/uHy3KwBT5ZmWrHud59OSwihU/gFsnEK5OehDMubvlqGtnUiujav1c/pG1E/OZt2hFJKIKkTwAmDzdKDMbYqd5wBr05NSyNX1xt+MKUsKXGs83Xz8HOduo4G2dILD3ta00iIFuMa517azB6xIUr3iFEHI/LLW39rXZOiZFwFhS9G019ESL1P/vxfO2G9NOW4OirRECT6dMtUgKyUafj182rSEfMWsrhiPNnGdpmvEh6khJubY5SWQY4WSn8+SVl08dp9u3jNLR95pdlwyFrJzmZSim1L//5i7tjOFvUXWNeS5L6X3JFr2FORAAoP5K69zcvw7kGsVDuhU0CUZoDn1tlLXXHFciL5E1lCI3m6MCA9noaxAM2aSiq9rAiDWOIY8+9pztiEGlFgxbISkYlgNX93dr6/+uqEcNSubVzfuZ/Ela7oBf5Yf4tp8WgakTNmGq4Kh8yiSASmRFEV708+EXhpqysypfcfzMDX04G0sjfUakOiAcqk9P9G5HG2xhiTImYqt9AvlW7g9rIeh98NtHrTmqFbqoN7TG05lJT4JXsRpSBfW9vMORafAoHn80CuvAgxyUDrciQ804lZH67cFXQf5sIF8aNgjtPvJjypU/1K2VTMb62L7as0gKQX5nTfwWmcXc764McJhnJpJTTht7LYoWIP7bD8/5thBN6nPz/cTSfbJH0+SX+rPs79RGMuuPv5r6i9bl/kgnuTOWFrwjAkIXG+LbrvvET5mKxBUkcnY3vqYfhmW3v57dPjJl1kPXe9XmFVIZ4KVKfOAOWC2MylQK7rLVfmV9Fb5d0iw5MBtHrC9mAuwVdy/11uM5L+BPemUh2b0L59tyZd18b+QOn3XA9MveS6ifsrcoI2K8BpnaLuPzvxGXAfBHH5fwWuIFSxfO0oI3AHeMOzFeeMOvbf2mJ0PUB9Au4U5OanzLqyjKm2tNqh+XeHpaSEO5JSwOG45RH96YmyoZP/FRGZ+60VmgIVUzT078V/deiU0ZOUXtVCiZ2baCUo4h1+X1IZFiy/nBzJWaKtc6wh/2gZQ37Lppjhqk0C6ZVhmmfYxQRTvTOi4GTGs+Y5DUU4srXtLGtNx5vKntqlsR72iA60LZ/n5D6A0UiN9bbnoA8FQi0glZmC13+liF9XdxabWZDKWDTqeACxrBR5Kk2JV51j8wEC/4rezW4nnvbHWgCS23F7WmSDt+Cjx3TZgdnX8lP3wyJ0URaEG2ON1rk9uIEsAx4zk+hC8ePcVIMY6ihxtEkaktUYA2mARsrkaIRHKv28y0etCpl/XEYQGQas1+pFVabMwr8AEMt+d5eyQEpqMVr6ZQkNd+3/f4m1zt+RtXK18ZowoOaknz7WenR6ZalRLKu2lYR1yWbH5A1tO2epjU1gqG5ZMEsS+K/DsAVab6fGeTvRiH1g1NI955nzSTYQ2PKlxHfbbeP3GggKc4w4mdLWG7fYhFhkjESvBhO5feFMgT+0fZQv5xFT+/j0YRqcJ6gBK6XZComegEcTS/D2hirJnoYyy4sT5SuIIC+v+KRpQSs9PcdXJt/XfswIw/64+rCB5aadisXxvwek1ZwU0xf9o6oaDRAiShCjy+126+R6+cXcnReGbpiXFsMOu651M3a0V3QwbbACv8WC8kyPpn+mFSKWLLDY6Rke55oh3n93NUDyMo2v/KQf1xFN3GY3fKTY2AC5wqizCsMdckljR2yAhCWxyCc3S97eLGB+55hQLv5L+gVrkXZnKchKvJsvkzJWUk9/Ry9cSzrOcAaaFg2FaP/LaJru6avnkbMLpvuRjhQzrtPsLIabCu3YLXdUbP6w/BAAAgreamhrUU87Bbw5qr67A+fTfUt7g0gsYDYES4oB5cUznhSFg5jsArp3C48dQ0ALo2t5QF35yLDl2ul2OpwKARt1+stxmNHS/1VX6zQaKjSyDKWBrYrvLPl/Lk6sPSgsA6B2NHaiHi/SQuLxh1D6jxrr3YH+Wpms9LV+t+G6mro5Pq1Grz7rG61QVDLLrQABu8SrvWp2O885gxq3ffYAuLqh0WktBVnarCNIL+xljysya6EwB15OKwRNdz+Tb0CsMaSs0Wt69cKjsQRRs2dgHhlou5aO5x1W5qWwO6b2i11VzMcGkUhg29bXtydhQj8/VfBvpOP9EuTGgTVIsA59u8uaufU7c4VoGOgSZITV4ra/Q910fzyXWU22W0nrYoV3W5+sKMBMzmcq9lv6mpPkqXbEQE9infuqPacUS+18sybUxWM/EHlaB7gDmJiIsp2Pdx3zVJqg8kLf+N0XNt5v29jPJyxJlvMlW+ji+8lrjwKfzuNSGnLwPe7IfuRpzKPTF5y9YN8Yb1zNPQKkV5EJClsU9Jp3TBfH8jEuu4haRP7cetLgCyF/+GzwH4kRVcIGC4YB/0JbnXbFLCidfgzJBCR/dNGY77i0dhOYR5NyafRQh4oQHyAgaZjOGWwQtuqxZw4duklinZ4d3ufyMLJ7ODkMolzzqKiCEHEtC/aAMmL8Y6zwj6+qxpYMKOhJwTzrEyd3o5qQwC6UcRobkLozDd475Be83LvOBZ2TgWUBZpM4MZ4zViHPaiCeAIzkGO/N88r7vLhzrT3JJG4wq7kjAV2ZH0I1xI5hR+SWsFtGkxp5GlKrEiQH7PWaA405iucFuzk13BCoBqz3aBv+0P5Macwh8BilyS+SezjYir4N++Yiz0xz5WpCe6YTlVMkB9QmcpjQT4zZlAztW+cFog7xhcf8IV0KR6ffrOUMMJwpvTqBdQ3cvRFGzUshJGh7b8qNClnvGFMV4M6SGGp4+QmWGlqG446f40ikSMsnVNDR1+MGiGddqZhb54gcBdIJuQNkieX0Eten3KrHNtvMKYdV8KzMe4NKnm/3EK2rgm+n6ImF6Mytlh9XDzzQpmV/TQ8tl66SOl6kQWMoiD/bCAktrMx3Fqm5fIwc0lvvizRFwu6qKCsHtQtuVk++k1YvjqQOUQf0kORvrp9b5AUlgTOTsl60llE1/aCX4hHBN5yHLxlVG49ZE8y8j4UvIPBDf7ZPULJoZH9D7LdmE7PuDZhkxfQ9a0iBrNwkD/ptQKdQm8I45AseyV1nlGfGvj5Sypf4Rgjgl+sWn+RbPdXK+HvmLqgk3q1JXH3rw2tZ5q0J0SPGGJz/PVw34k1s2qtKzmBZjzBTA5APjCTsYv1uOrW0mWFsAUSJpLYAQUfvzWwZpp3u0o/4UMlHits8VWm23h/d69kAVy9oKd1l8psGdEAPbrxjHkDpqMgd1rQHdSZnjQ/lP+sDtBJn2H0GaPfsUWl3ojs8JR7WqovaS6bbzYMF3oHQ6GuVueSuixO0aJj+ishiEoa5RfzXe4bq48hIqKaMZ265uXA+DQmJQ1qCOFd+PWhPSJXD7G/nipC4W6+Do4nsRHL6qpffnpaB4Bco2XS1h84qhyJiNBry4vMrUEt4QwOlVI6Re2P01U3DUVRitXuac3NpbFLcZfz8Th8ajY+LH+5FBdpzL9XIUQ5gFdh7jcWOUONMpzmFVaEG2oh/VthJ0PyxUso3f+XZ84FNad6xePMv1LczrUGuf0LcCxVId6VMjq3iAOHoas+pg1awfeyBYQTRvC8Nz9kXvFG4aMF94jBeLLpV5WE39oVv4IzNsJZ5kL75qro49US99kweLLgqctOuuuEqZFJxQ4VpjmhPTciWznNTLMw/4k5G0cJd/tFT44nPJJStnk4umqNj5NIYydRtweA3sIvG2FzCO7nJ/oEF7nQvbcBI4xhkq5SZBWNSLy581veiVfarR5W78mijkJUL/nNr4MyqPRRhgiUuXeCK7hlB6WMqCs7vrjNkIyBd9LpLppAhQM1nBo4nJnG6iThVpH/bwWjtgNbzB8QisO9PBlLBRr3U1fIUIJxg+1Rwd9PR7H/Qo7zlrYFjvW56WeY8bBZCPHj2LJSQUQTrlt0STNXgqvFx8rUY+0xyA5NebX3m/HsSnkb+ySMQSgwawPGtJrkJlfE71iHvjuQ18AxaO0jADUtDTjbvXdGu5C95jrXkrHYJksNY4AA1vB9s7XY5X8BViu9pAWmTgSv5l9TojfADOIf6U+/8Ici0Ar08SeEAl4BSmgdf0jxGvbIBPA8cN1VnERd6PAdlxA3za1Ec1+kZX8QKXm374lc24OSor7Nl/k0+tmERDycEfc3vI/Dt2kXpMfXH/ANFWkXCRHp7R7NfVCthxfRFSy6iqewHNOaHLFBe19gUkbOcjA7433B4axiEf4X2Lc375pZIEd3x1U21q6KCl0zKptWZ3Cl1RW4aDa8unW75NbF2kyc3CG0f3r/wTkLLCT+Ebq5UsnLZwUKLyqksZURyGYFxcJs5hq4cnHXt2xGtNiDmaG/W5x0dk50HT0e3LkUr0V8AJgt6g6HHlovfN3dxNh/tLp0cloxpt0cPsI1N1KKjc0KgeN3Q73DtUU65OZapQy/irZRBs834nhPx4JxVh9cZur9F/xNSEF/6ZpewSJ4bpQrqiqS//6c/u5w/PUrj/pibghnTvXQtM4WBkdcw0K56d+z627Fzigc5r8WNJgMQ14kW5BHYboA9Em2JJn37HOtY8I9AVAcdeZDD+NW0CKpTkIpUgJsKrXENvBaPk1OtAw93U2WOznKhrTW3Cgs+oiGSmQWttOGVRoy7NE7d3z/++A+IG/lb09i+eMDTlQa/4CbxbCbmYklqSpEWdMMW7uuRteCm6Gl4/2txz3JBP9+GiCUxgSQzItbPmMHUAdaCqojGX4vvph2g6CLkTnGgdkgNL3BBoOtBFr6Wdnn0LcUwoOBMVYBFJGCTJWXZeIeKOi55TmuFlK3lvooyOiHlRLtYZPHc1n5t2x5msYSF/hI50OIfvrU4zA80Xn+Ifyc9at9Yv+8FVA8D9BprKM3IilyE0qAGHNPb6iW+wrSppfB0NXa6uyw7qv3iOKH0gxBBAt5l+LUrENcG+gIepG5YTjOTI/qQW5TvPJzDCdxy0wIPOtvEcXRZ/ZsBzgc6Fpkw21srovTjVG0GK5+pxQZsOKI4iAtcQ1QebOGnuRwIHvMqRYg24nMk7vLHOdBhpTVMMRE66O7GISt5DOgNb0wkmcevs1Q7nayjm0Pr29Kdx+7yekMpqczAd+HodYM57ys8g8XIPoYutAjChkayHItdZEyeF3MP0dwODQSYGm4Woz+sLC57nPF3H2yh1zthpfvA2xHi2My8Rx/u3zxM+ttoCCbpbQKz1TxfKpHcaue2E4nv3kLUTG/AGX+1uYREWV7Mo0sttUfDa63+XLYehm/qomP2jV09VA/GEDcyeNjVw1Pca5ZwS5aQZiqr03efkpo8fCClPpwe3ShRu3GcaH7gDYKKTBJzHpZGpEZ/rx/bbSh9NWnOD0v2wgTsz1riVz4uCh1SoTkEuRJJRcgFYAAHx4Qm5c4pDVxOu9yrUtiYn+xw+4McVb53Uq8SH9NU3b1/wpsx0zJxrEwaDlLpzZMoPDvIjFkL51ZWOHY+HIrzos/ft3pI1LpA6zqAKoUFjZwiprAxzbrRpJEsJ+5P/omOqGFUXh3gNY4ED16dbrCOjtwde0bLNFy3DCFkc8LOHeFJtAwpgY4O8649kyq6v56QAR5H+hvItF2umag6zlWdJ99b44U3HqfH5bvA5X+Uu/FzPfssJJ6vcSFcnWiI9v0R0r0BmMRp8qMgn5cwW65NrDeIzZwAYINi/YFNCR/VZu9VdVERzIaWsX+9y6FgyT/Y8O634HS+D0Rl7mmYHJHRkzK3XxJXn+993131ugUUl4u2eKkGP3RVwqHbJDtIBC72rKvClUV/04dMMR3RbOP4bT3wr3frVEMZhAELygcVWeHPoczxDZaimxiNh8un1UJs8l4r5J/C/iY9SRwJtAUue/Kpi0HPw54oTtLVBl4gnajzXZUX8XGsCG0ugff2l2lF47wdLtElGN/mEkz7HEGkuIXxC2necCvvCY8H/BCo55gD3uTn+WGJ5iml8+xxfub8q39gftHDgXilAUILjmrXSqX59sGyXv8Gg/qu9THxaSrDdsB2WSoptAbZzTap29aF2+slzTyOAxAzknD9WuGJHaReT7gs9gkJgM6Hs0zYRCG+TfsGCKkly13y62+gDKpGhfnkAg+d2OYvyXrqQJyKD3kgjba1FWW63MTzUgtkPbZVaZuy4U48xekKW0jq65EoElJX4PBLG7BR0SJiYBs3mN0WFugW48QOIGPQTbnKhovDBomaEeZ0if7C3ghNegvG7a0oRRKiWoCNbW6FN5lCjwVKuKMCccseaU8fpSqn7AW6UYaVhqBGw1V3DPNGCeGD1bF+yzOB4XMtkk08ybBMGURS3UTc8I1DErQrc4PaZ1bZ9CgfUS5UoNrObTpfALJb6EqG6/ZjlyA46pzXtyopOs4xaCEUNlndukqCqUqycgU1AWYypazwMS/F5IA2Bw5uy3NMGF6lPryzkM650eCvuTmFBG7E7FiMiNslHy8qOZR7gMIDRrCuOjR2Zdot7Jms1qperQ1cGsVKiyo+DQfYBGEEVz7kgt7qD26A2Y8qwgbupSCBLvj+hIrvTsH0m831LAOaOrz9+MrVSrGuzNV0RKO8g1p1hDMZBFzPsPxeYntgRibYnEIGYM3cyWEr+T1BlZSaDmgdcvfg5RioA44IQDjsIrQNt5zft7rZzJs7NErwGNkyo9bIUvfAz02vBoFksY5HBwT+fa8OInZ41g26AxBBUIkWhpFZW8lF5v8qWzQBAhyO7ajwg/ugWkNOqQ1uJJb83vlrG3ayZWySOyj9Xb1VZUVLCu3dUuIEddfXd0drWD0bZl8QvlGxJZvqmVUj4kYhJBRgRq9ojjk2U6eEy2OTLlCSZgl9rDd0R95uaijwm9RFn8M+hwRKU47SsEezDgTBz81JDji9SuxecOPQzTfBfGkDb1robSaTwauOrA/CAsv1HQOzAAXEfYDdzl6Nsp1ga1NRIM/409eekMQAsWYqfdu/PoGrSDaR/Eq1y2QRGOcg17Ca8NjEG/BE45gq4SJH79vYA+qXv8Ijasla4TuDm29sEVf0Wm0oFuTSET0f6VrE8So7YXOfLJlG2F80R548q7GmAk5Z8NbQ0yxBAAYt7bBhq/cr0TT3yWVIvyoyUySeskoTNxAmfWYFYoPnOxTbeeznLM1hdUlFRArcnC7vlZl6yzGOMCMCxyX2P5Mmj7AKyH2TQX00l+beI076N+7K7yD5Mq/SuzWRTl7C627TMatXUaHCoplYopwXfdG+rabxPJ1U0ap5IlJO9KYC8N1aQPB7isVAUY0tsCobWpL7v2/kgc5lXnm6iPnyFvPXSXKXnCG4TuS1sYPad8pMG9SLbvA36zxLcjPj4zgi/NRisqs6j9ptALeRAlrAFxunFA6e4oj+VIg0bTRJlrw3i9aFeqNm2ab2PmdUQn9vaf6Yt9nUaOf6+J1d7BHEwvYR+/zs6xdGtCznlaVU7+b92tWfqfSSHRex1SSWlFT4CQytbMaGjbQnnWDbgh13Qhw0D85WHvI+JZNgfRFad1zso6LRt4M0Pl4GRF7+2ZB/T6P5uXsa7DtYd8eczbGuzStr89PILnkxbqhccxYKT/PmmMWIgkEUeZ8xaMVkGvD6cRylycLXin/xXjnvUoe09NM0xC4VsNefeW5Ts+Mz/R+uXxTmF/fPveRg1T7iJDKtEYCAh1PP453Ep8y8KHJcy3gbVGIIHbyKJg0e0WE7Nu7GPMGzwXIvUtS0Ir52T4D5vCz+dfXzYIB2D+zCDDM/6KzR+B/7fHe/+ucv/HvonNln4s4diDkMNOBkVWCNAKZOuV/aIXILGTxWF8bDmjFOpcvGg2nAZ9iMT489A/EPEygxSSkooD2yXpd2RVw+ADzXBc/TZsqZRcTYHRLFUW1vKMaJzfAcf354aH6MVt3wIvsD74cwT2EVWtcO+KrLtuKDbIFJeLcJQ04P+fPecOXqztyQUv9+Kl1IiBGFYg6aWOr7QkVxnS/Nbi4TluJZhKQOkkr11mQQhG2BjyW9Y7JIcLkTHNVynsC08OzKBcU7E78Jdv02rasMESCoACBQ2GsB4mEFklV2T7GGwciyoN/J+NoSoeWb5NPceFvRLSJE50gOdVPO0SqK+5urByq+fY3P8Oof+BtTtCph1XzvLEo8NRr3msiD4iGvsf5Swt8WTTI8Rsadm1FsbeKR90vlU9b5BGG8RUpC364PcY/ZBvpN0WaZFEozUitCl78wOcGRPY4JTgv0L2paL4ryEeqPL8fxkBbLmjriJ48u70AieekOZOrMcAlYl0H1OVgsYKeiCSn7DFq1ep1OX4J0kmsCqR6WKivhEiib8S1lhBSxbGPdSsfJl7t/yuPiqWQiHDijNCxO7E08xxy77hvwxuRnGP9NbMJg6jpzD1Yf4Cj9lq3HKKqHLPhFNvbX+dQvmeuP7BJEGyifVZnaacOjaDmxn6nhPpj0DPGWgbKSzfDuUUBgqEWa2sbp6jyNLbqVoeizlgMLxmZFrZQCKMyT/pwlkzCkyRoBldTJKrj72AuGVas8uhr4HGmlPWJIdGib+F9CmT+RROgSP/JlZdqzWQ9C9tGAcA1DV2LRiCpprETDJYR12eWcG46ngmnt4o2OtpION9HhZW6UduIBV2+UxR2dB/q8EnYR85nA2O2B7dYjRaHhGt90tLenIvtN6l7BRgSWcETKsnxEOkqE687o9GB8NS2lAUhNdVxw78HAoaANJuC9pSvAOjhsNAv+rLjNgP9Fjfy33X+SllhhGwho6u5FBWIcitGxSMwIHcBYkGuR3nJCOEw11nO75EGyELnAwHHCfVpsg6fU2zyM3V8LHHDzrqC2FGtmnHVzQyihoriCcawyXSfg9tfx2h+zR8COCzA9uWQ6NgsadEDL1Xy3tF47A2EVkRUPqtcNgQzX0wX/S3a59UIKjfHwqwBkvaYUV5bZQSilNr0HfB0guZ96Ee+yEmUP9ZRmj9PZCIvF/UMDk2DtCABUBXsxcE80I/MX3tfLSCHGoUvB37nj4+mve9vXO/q5b7m3mmZMoXodA0RsjdHY/7yhUnZiK7aPHoHqhsv2OLtgbv6lt2vL7Chdf/1zSTxS28o/SEoSAAla9SB+XALLg+iAlFWUSAP+VQ+DFCMwx5ypFLOxPj00PmAEalvA2PW+glBeoqXBWW9216UePs9YcWwJHLfFdkLce6SdPNFASlsGn9MB+cHMyd0eVuuPqm3g4lYFfC8dXErxhsKav5Ti0J2zFAop5GGOg9cQsV+gEBHGh0qT2pXPcZozbH7+NdgYpVmwkO+s9Xq3cpCcKcmhTFuuo7AjxoH1KUKH16MobyYhsrfMlUAS7ez4AHS4QDk1PSXa/MDNUlzTA+Q+f7VF7GoPA7wh1Q62NAc8auW1Zc3IrBMOTnVzKP0Fwk/Xa1Rupgt2hmMskUbGSxh6AHSl1MFdIJlIInhwsa7AZJauOhZcDDeBv6gO7P2CgpkHSmtx/U7KAk/FOX3EZdzEX9dnnu9A36qaTQn9YM2CdCv83mjDarwcaxHZ7w2BSWk7M9gttAM28+3oAltl5SXwPtdCDDHDebkDJB9vQJ7GpjdCxWfLCXmxdxHYVf2WNjUHOjrUwwVW4zxE/ntiEN0CZBHpbnvzMECxaSd10eX2uvfKuri7IOb3vHEnodeyYWSygn7uoJHkHjjtrqesP9zZ/RtXXhX/B6gRakpw8jHsFMCZoI+8CqBk9r/R4cdq2ysxaImBaHh0qISTzis6xG9hF20bT2gwboVJSTGih//pFoLEpSBTtj0Ecw+vSiWWYqQhRE82LL4D0Dkxod2AA7YJcf32h21jk1cDYeLkkkAQqZxRJeThf4CTPa36fkWdRb5nR+E13n0BwwdUonSSJd0i8jzjZFF9lzQDrv9lvSjdqAuxg8jYSLg+DgaCEvEoF4uudIyk6Niw+i4wAhhpgd2Ff36bVkvuEvXeGrwMKZJdaSBpTfEftZ2Jd8+DYWhz2POrP3ngc1l4a9KivUdCbNq/Cr47OUR75k8ABl0iEf9DowsJBsleLI+JoGzdFe8v0yytGTWUGk3PaS7G8J38yUGhcD5jqTCzsu2eblg8LIrLqQ1cYGPkKx6lraF2k3bioozpRITJvMUGBY2NEOn3JMQNnpP6lZy3arYeHzWO9m5Na0Qgb0c6BP+CzpSphwcpsf8zrK+BfI+8lCUcfM37uR0BI31FGXcQbqgzNxcyibvQAaXjE/0lrF7P/bmfOMDuDAFg4B8XlvN+1shRChCGbu6G+pf/i8bGo3u7YVZ4nIxlVKHK+tJSUFM73Ke6MeI5sTLJ3D/hLwvCaceEhIXwfqaNyLY3CB2GztTrN8CZFRj6NYjunmPCqiS3fMGrtHw8z5K37Z5yhBNmA+cJ7tJ8rZZ/IiCRqr7moDjPD2H7R3lyCi0z/w5U1cf9bJV571YlI2jq8+FVDzXd58PgXeMy9y6RlkwTlbl40uq7kFW3Ia5avao75FKi9+3BZVIDlg1NLbxQDEQQmdjicwgAjE696QU61MgiRmDe9yl/9Ej1tY1P6DU+Et1yL9COYrhFZd/BoCko+xny01sgoYdvSKC77KC+vls38MVbd7HutHde9/4aSyVE/oLmzw/I8qwdbTO7Di4zV9bNFauMLohMr5lEJaF3oCEM4F4l22JXJ/GR9yfksT1AJAtCA6hDefRgxtMbk98jQRSUbIpI9Xay5+hkSxRYaJSn3g9nLeFCPVnVDKYYXUNd00ujKxz5h5Z4Y2z9S37cCkG58LcZ/R5XOnqLDSD6NtzQXt9yxTund3cvVilNNKPIWYUN8NREcy1QAN4UIaiSlyeQFOqtSStTi0VxrgU0NxrZobl1uBoviuvOnoOEAb5/qv3HuO75CRIpcr5JGQyNOaxFG+NuHHfqiGgeWhd4PIP0aKWzfc90Ffsy3g+56RxeqGgCsjnAGZ9mfjFbEEmb+cNi374I0ipMGJkw06nE8m2v28hVInWXAoIZI5zR+anPok0XBunTCGGbZpRXRAaK92WwWQGmfHQUVy81YpJLSu6pff3Vz0ZQ4QqjHZ/2uzqahizkRwOunmYWSANzdd8RDx7OaN0bPZObBWQWFfDFRgTMIUvfSQNc0io/zjBaSHfLLtUqcYo4CTnBuYBtP360yEVIfXJWf8tyeNntg/XaQIXvpUvCDna2G8B8XSUCFPzcv866hguVazyC9sCMlsPX/Hm9TByL5ENngeH+ty2XZmJ8ySjR1s5vAcqY8U4Sr6O0CBcjpLRBjKg7AAZn9WJSAk0Fo8hI7M99+jMuH0lcyMvzoW/bLAU9cIgyY84qLO0Ab+9QtO43Voq2e5BKJnkfHsBW4EPGvrT4CichfXvHLVngD2MMndFBrUOpRq8gAhGosKlsvndPhkNQWLLClOFRzJIJPMdlGdCsw5nzUIw3OEuIyRrp0it5XDcf/cmcIUyU4wk3vUtZPCtP0C9XhCz3+/6RySDHJnOCCRLwg3gHDZZ+CeOq8VMN8He7yTl96bijuxKUcBgT33QmqNpH2gYeWBf1Ic62dzZo6DO9h6g59/GQANqCdWpuhAu3K36rLHElr+89KwwCDJlXWB1pgV/qUvim8uUYzE07EFXMdbpKHq82CfhihG/5duzOc0H37Siwk9gInaFnKezxwvN4GXDsetcOWfsyl9c1jUgf65lszFCQq/YM/BYG6HohHFT70pHLzxc/VL95jyeriIUxzprUu+Ts6nCEUEReFgH204tox9WGVgcyA32gMAxzqXnPpZjv89dwuuDLr8nYZNrFvFfFFFjwEkkrRrDhRpm2y0GERoSiOBBXW9TTDCuoAeDKZ/dP+WCye6wsiFF87tcyVG7HTKEvn3FD6oOkF1mZ14USxS++5ZVeWW2hPC7D30SsNfg/q697Knih8K6DdpcyfVAPLqmqSjuywUC2/pES0I8N9+0VicoGiVS1xtNjikiQzsB4ZpOtw8jl+Sm4r/2WDU8cJYQfcytD0b+yGtUGOiCJuRxuM8IgnPB7zzK7sEuJ1UtyYAZ6/+m6dWqNKHMhE3XhURGM+VcymZLYkZ/DRLsTFQQh9IqsczVVExQoSZMogLd/wE08KzH6ygWtPvlICTI7jlBy/wUicn/x2d68pOOhU3yCY2wJR8py3aghNP5EYpFD0//06qV2PCt62e6tm0z3MWZkyxSWwLIFQQI17KZk4W8tVMXjg7YBscOuGuQZotTKDbQZEU8aP/bwsFJbkAZKzjSM9nzj9QvBVAhodOdUu0KieJ21iYifYowhb+UMJbNiEZTq37YZMsyVxXYgNUHIwl2AyuW+ibIrJjwcxoKSKFs5XFhOuecnQ0yL5IamSxT/J7ShSAg2t0hdHLgx3diU6Z38awcBoIX3Md8HeJGKpYZqQp4b9c2lqRhVKT76tulTJlE0s7b6VXTRDCtfKou7kdLL9XDNiRsmqV1UvKNSU9fFr1f776w297gM1eoOq4bhFLYKmPIQd1bLfBRzbVfW3kkKb8I74bQgqd7pKfZuVf20eEGwXmU1iK/tC0Q/svz/HTgE2QC+A0Pdjk2ls56ViL+Nva2EtfsbcbhvZDdMiMFa9bGeyEnLmYr3b7hWh6apBuwA4kKR1bYjb1pinyvEB9+Fki7MHVHFW/TtqpEcemYjd2Okq+ywxwxpWpqiIDFqa68lv4yooOFPGDC3IGSW4tWxD5EAloM5js9i663dAJ6AxDJXDYt3SEbyrgZf+sWyMtmWbnFoZ6uG4h+PCqDZcxXh6MT5pNPSFgfPobFDvhEJwUqiUPnOrA+MWwH04v5S9tkhXn4WfXODxB83aIIhdJSgE/KVsisuksEaYWSdd/qGhVZ9CrqKu6Qxremhb0yrzcIms5KE8Qz+qOJLXM9GitJdWo7sdG+znIJPeJu6jSlNvC8ccORacAXW9XVF+oEG6qUfUsYcvz6WWuGdqJjPluiGflKPRX9Oq5vXuWZ3NxnViaf8nrlorSQTj8mKYJSSovGQ90tmyzi8g9xCuIwOhEK5dTPiC0KKD54k7dimSL7aPN31GXK3IQZlWhCBYPv6QrCk8h0PlZweHvxZRMw27B5R+SAkpjTnELo+7cOfKkaMEv32JOelx5ligH2NLMOj8VibZrsDjBNnIWy4nEX8rGuFr1/2xA+ZFT5jYenPB4Fk0kadetrg2Bo3mWgv/fffqdXiMMy5RghzoIqWW6uFw27h0updl+mRXOCVEEKlZy0dgFzZM/RdRSLTm9Qo8DpjCpIHoLxjvHTOkTuOfiElqNaePCgP4tNC6IuYf9EMHY0nQKOgJWX34VuGt7G8nmGgrLdN1z1FFaiZlse36sWe2jdFuqeBcrLozuQkmInpFRJPNsKsAy/lntxGrp/mBFmBqMBq2YdbfUW8vky9TxaMGQEUgGuexSQaKKpf1ZKJ9Kv4IS4PRTZZBdtZrRyyaZach7dKcObOx/DCVmJYCGCpL57fmyuZKGmcvG+5IStxB5fnKTfinhI0jO2MQj8OBzBKpi7nPZDi6bC6bVrXueptQOdtvyGQjiE2R+7VOHvdTACqmFKmX89EhTxt9hU15zEEnbdEelHiGESYKbC65rY8NFwAxyBgn3KXP/7Kt9aKBu7JETwgs/tY5icGNYPY6j8G4nUSPrWiAkYZmGahsuSG4I8rsYQsE6WaAw+xWVlB1UEnXhgYTibdvSAIRS3CYtPmeyw4CDV7YmPFT64/BVMby6EtPK6Wtmg1THVVlocFMtN3ZLMy2rsN+5eHQ4Dlw8zMTSHvko/daS+sE9qa6wghBH1gOZ6rePo1HXWpqK++idpR74LJvMXJ1GtKyfodn8mo1B9odb3edg3dDiRoK2ZtxCJCWHEyQTmUQziutayxtON2SM2Ed6zj38iuZuBdEcrsdu4oYkJ/xp8a1TSC1gjIl3SL3ZoD3aNyRtMgCxxIa869J4gX54PT9FHo8ojfXXKKsEa39IvnKEWXz+wxFOlc4DDoNwhMR/8gRUmcfVOdbi12HM1dEAYPdcPDMjQXkzb5YchSEm0b7QPTv/2+5yjRWbG9bN/NqYmkRUJJeg0iEgP165qaZUYVkON8q6HDGv8E/fGliXPQ3FHU8pyY2JKl1sw8ZiFCDli2wS6os9p0LIqce7bPkPMbawvWUovMMmLciF1ZJz6tYU7yuB9nwIhRVIplo9IWfWziucHGuDSfps+DiKRxfJMgQISE8bSpD30HOLB6BopBqlNa7AOajZEGyEHTzh2RPo7RqKPnKId73qsz0PoiyXThqB8eXG9EGomXelTLXlHKp2zhDDsQMYk3Z0LCIpOPILJiBIH291cITg3klTuUuYDfx7tb5/l12yCDNlSxUmbqEc64ZpW/IQe2Bv9/vRqpmexPBvKyAToTWFq90yUM1ZP7Wj5dQKzE3Vt8OF6qLa4gkC2DS0GJwaL0mqf8fmkka3oTXb7UDq8fWRzPuM/nwAcUMd1M5sqTQ+ipu7/j4n+LkRaueCbqBmsSFBjqJCwXmc+JXFfYRdwZwtreqE4n+U45ewLsnIz7AoglRT1OeC7m+8Y+vY9uSVgB31RoK9RKonDeO38mzaeUnyddDtzgYAKFSV7XHXBwJtCwbx0aSqufp0CwFoS6VnMHjNn1YF6G39DOrnoM8HUfw8gayM/oprgKwRxPYAEYe4/KjSu+kA9p42RHnWpLF4eaHPYJWA37IbDY2/aom0qzsSRfUNYNpZO24tCCqfRxIzbnCWiqMRN4HQYjEixkZD96+y3nDu3UCxGQiyR0K/f91rAL5ZMzXhAg8zTSCcbxqxY9UqWVtjsnLro00TYNp6mYyuEXCvEaqQn/bECM4vTZmvBF+e48V2xXtA298Pmk+/1MIsamuimormMk/D41V+ufAFWAj1mDOSaI3ob1xSJivj0fdy5vEuKUPegK/eJgp4GeS2nc4XBhSB+q/ak7dmD63NDq6Pe86cQhL/Qc0yb56vwb3xYqG2XPsVt1TRr9d78NaTLiIAfWxbPwNQmUb8J/38b0ymTuoOAaVpmqUBBH5AOKcCKXSAeLRy6npzns89Ev/VIICBSnz9cVgy3Sl6CxwTXpaZvyM5DAg7URVC+++H7M5Z5haMg/5yOkV0106FKZmXM3pS3oGjih+jgWHSbozGLfytS73XldLKFdsPDPH1UtULNnX3iXhk8wAtU07Q5+B7/mhwjwvOSyXh+s4rrQfMTaU+07B1zvsiJsWziJJizGWwEqc00RN8JJ8R3pzc8e5hzuCuA2NJUW7eWbuYU6cBC/BM8ee3OD9G7JoK5IldGO6gUMzY9wgwwCFsC7Trkhl1bChEP+ftXM80lrQCXzDastim7X6NF7m5MVC1YahOhOjeYBlK4ixofMs4qwmaC8mY1GSPUljEI1MsxNt8HeEiLud0coefaGCf2OVpJntIvIhbB8k028rD4PadmC47ZHUeA36p26qKczryQdgvzjdZxRTpQdFFjaYGrZIhc6lPQPImigzGp0EK8aCxQmRecvhf4NArxZgbIN3YTZtCprLHxD5AvUxk1HYksPDlwZez88esO2u8PBsb14PFBTqpaHaMfpTQVhbHa+Ck+46y2dk+emiWKynrcfHY0SHUDphl6q4wD2ywfrcS63Mfera/bkwEPkFa7fYY3sq1oY4rB+1ztWooBvAXjCm2YbssIdCY0j4rdMKmvLsTbSXGYjD3EO1GUxWCAlrjvSFmfR/UMpDrTeNRI1ri3NFCug/woLD2g2ufWRlO3ERilh6fGqOzJTtyxLJ5yY1usp1rBFNRk1YTceLXGuTn2XubFvWz4dAIaWmFyI07UB4oQzcwzi/te5lXTpBFgJdQWdRfjIQiM+n5uPXmDn/6n8UArIxow2ngkZ3alx+Z++fxRjEjuRa8yN5LpEW6pdNzp7aNf/rW9NF5ycfzFOvJNS3k0ydlHNHG5wndS5t0Zu1iYohRHKYel2CjN8ASvbkZ6Dob7lJ6/O89bbMHfSqGRN0vSMcgOdXWDWyuq3UMehbwy0zzbCjMoO5+BZmv1RTJrVpG+EinSeOIHmTrz6PKE4crV/Yqz0n8YCXPx7nCtim/CsbRFxCx5izFSu3AAgQRokfHKQAW2BXtQ2JxjqSER2GcsyeQuwJChVshyBgUL6xRHXgg3Lvck4hPFhQJEKaO2m/oLf87wc9Qx2tv55Ytzalc1ot1I2C3uLTRix/ymr9R2XYddKNuN3s4uKnN1XNtjoNkBA0VZEvhoKJASMBxvCpHIVO3CX7u8PKiRAwXkRg8Xfus9CVti4tfuIn4E5pvjHimdDZ2iQFp7DR1+V6NeCJ2+uYmhrTpY/XOJPKihHoWQiOnusPH0lgTmPiO9trEw28MkJADtxQum6GuJBf/wYAk15e3/RbxtGxwNZV50bi5eSSrZb9OJ0YgAw5WwFmgC4O1QjYbXZrOLDa5ZLnOtyXJqWT7QIKA1SLuIKjT+Esb/T2KKOKDt5atBxNqo7dsAy7OV4XYes6J6MusPiWfAoZ0TXOVI5dbTP0J8brO/pELovzM4Zv3tWdlxH2fd/DmdutLFkZ3GwyOxV93FWEiOIYX9kRJFwuFAgAyJpNPQxlxcFiR5Wf1khaKS3RWyEl+ux7imse2ialkH07PAOIBXnDn2NI25sx5hP91QlpXLunmFQPHVifasd4qz5plMTE3WllXKd+MlkMVAlD0C6VA1t9gszlj8OccHd2pmXkUXbxY0+ejA7HppQ5WWqxGbsRhmfLnACOnI2hTGjTefUlAB+prz+fEXqan0U+llc2EpgT9Ni+npbh6p+a2kP7sXRl4MBC8J9JFPO7TEU3w394ylstAFdOf+tCWV7kQ/DHpL33ZeDNo+W7EXBub2fgVElRKVKVbS6siVxetq4ynT9NWcvlcnYIM4dr1RBISAalgw8ceAo7ByssJdqluiZfaM73aTaJN4qkjkqpxyderUuUlKooakz5skA0M9/0nJQlkG1O1cCInJGuE84smVXZam0EfvACtlgUczT/Dgkl4A8RpVv+vN3NQr5UhY/WmQnReYvHby9bOKetyLjE/qBCO9FSlBMWZJ2XVOKoAN5+bhyPj5+V0B+es3C09hHBHLvWiPMGg77Gv/efPiTd2mm4dwzeyG/2lRJlzQj7nzyrTBItFDNFKm/63fpXN9wLDdBGx1dwxKSSTuJaydkfUB/H/+EJHL4YM9l66w6y42vQBN2UFNEgTWJkWyu4ZoQ8UP4FQha7iQB6uM0DZ8FO7iDCd28Fv/1td3aqknloJDiWC4PVn1Q0WSK2B5zs/4skThSZgtLfd+UmbqZhGZOoJy6LMkrLkD+v39FBB15yTYnQlqf5UM4eqbGDZ4emiQoVzOopR7w//Ey4Kf/rX2P9K0GjpfQ3UEqpI1nbcEyTFnQZ0f+tMxptfQLLuAcQ6S3z/mygdiOCJL2XDq5hWULKu+6posnzNgeO3vvZ/StRLEAzAG2ZdCaTmoIkOTGRH773n/eCeLHQnxhz/aN1pccUYjeFsC2ol8UynbwnD7UZR4k6lv3DS3D/uomt+XKUc3W8BPZAelWzlY96tzQ1APsv60vUQZkIUB3wQVYiqVIo5P+3fkuVA08hPkCz9l4tTB6B7RLJcV39ck2EKAiBVpKR8lLU6FQ+e9FV6X/Qd3qnOR2qtr6ze2yB6fU5ZkavQ2XBphTzHCI7FIUaYHAr5v1vD8ZNy3MlgJMxu2OyPIcESmLlXElhLw7+DXxQDvuMlcTvmfCC6d0K0cM63bZm0vdjmwUbFalTJrAjs4z0j81TBXDE8zKAYxQ2ZdPkVGaSW2YIoCPDeU+hCczwmiOd8ocyHLm6LK3ifUc1kLIeKq0G43GABYkoMebCW2EDxRJ39X1HypDmnDgHROKJEUy9zk/3l7OHSRfsUL92EzbGGW0xKFZRbCpr3U8U4vMLUWM3AmTO7fFaH6eRClrrxFf7FMmSTnNmTPDmaSd8D78Iow1AW++LXl0Lc0MF/q+Ar9RcX0XuMetNyls/LVFOjeMeWH1oi9ppb+TGlfdcl4AVGIQdghrfZvPYR00qc7eYbvjTjWmfjNa8QAGsnSX4/V4nC/ZqxHtlAtcqphFc20MkfbgjQC/M0Lo+ysssR1p9DXrWM0TH0uF9DwenfkKX8OG1VA1LFMy7ZesO3tHMxYypBxrqzslF6FkhQ/aXDpYGBPY0aZv3gqOQXxfwcTM27H8J65lfVl/0XlIXJqGv1BM0am3Yy7Pmmec4dbkXC76gywR1pmxxa1OlDcLQw6Ia++VqD0yKEIIzOhg82znoJyrUCGuqaenhS7+kVlTOoTFyC/3Q8a6iWj8qY4NYJ/IkZK8Yx9Brwh24SBJiAAzIdnOl4hzr9jGd7cF22o36mGT0xWlhQeQQJUYEWGQNhMaV7PoFGadhoUPDqBkfLjaVfHeS5JNI9yIlotKfO7+ERNUKcOErsfjn3UeIBMGFLxr1srrgMqEHPbtSXQj28zITESJ8nOLKQgu3GFCnbAW/W+0Ac/5OvzSLL3aHiZegmQq3T1iGBZND/7mnULJSDMW7V5fuzqXD8BkyxULKNqim28CsGE47d1Sr626N6v6Ezy28noqv50NtKGDKFBOgHaf9l3BX+QHHE6M1T/YRCtyoxr3tBnflOQjxx25L/vfYJkO7GTnvVBrp0GgBk4trGBA3B7TkuEmCaH6pjN3+rTl3uIpXK4yDVrGo0fHvEdre0McsmIeDKj6CcMnkK0EjbDo1pyth5tDcMzxmwfyGVMXJHbGcsop5FPOhdXnvlcArTof7bxuaHOIi5NWtkLfXN4Xq/ro6QiikgD2eAWJEy3nniZdLpSxK1FMmg0MVdIa4s7EYewiI+57o6yZuzEyXATa459WuvhjaUd3n1sKLFte8m2w2sxUzHlXAFDqDMJcRiIpI5tEw1pLqZyBKgnAjQeDx5BQfG35IbWog7rucNq+4pKrQFLQq9HOlm5CBmkz8Un/GCsPO9H53RExXnr8vHsPBlvBIiFRnCUFDZh9XcM4eFqm5GI3uORo5iv32sqmSt+XkEKmRqkAw/jpnmSjQDDMge/6Dne0uIfMNDhdP6YklgdUk6OHc7OYB7MhI4Psr1LhrhKSj5aYgOyDYu8NBmaaBiip4kViZaxmkasy2kpMQwcTKvf+vxJuHZSIsM5IEOY3lr7+OO3OwEyDJNvx1qFkryodBAKwJxfKA41fZgo9cEVX6zm8vW1taUO+HoFOTfJmgg7cudGUSE0a1IFroSb41MCsc1mKZefl+AlpGiCaa1/cSvxHA+Ot85UPmhiDRATWCVZW6osQmXq5RcPPJ0/nXPFV7HsBLsGciRoMxPj2EcqO8OWESfkuIRxG74u8cNvk8lKIEJF0dPDA5VdZYZDGEnM2zGflM6bHPCWDJCdWqmsn9dOqa6tWBfwSe4rcVKpPP2kSAGvM1MYvcy0zMuKCKv16IglCbyZgFoZLeBOziVBUJMQy0Q5UvyrOR+2E6j1UmTSCHGr3vP+NhRPj/jk4/P4yugtjm82ODP3XzbND5u7md8CRUYkecOW+q+W2li3UOPPtkcXiBMgVfVf8phZdngxkPJ3er0KXtPl4h8MYZCJby7Mn4WhGBa8ZQ0kbAA4r0kxkB/6NppbqtDExdbpss9VBXOgG7rJxc6397W+pYaXQEYh9P7SN1vVoTAQUl4pbWMtV1Ubk0qglK6JbPcMHlBWq/Vj7pDuNgydVveR40O4zbruW5WUACeXtLmWysF6+IZkQKM3ncxpClEdkrdrYsY3xVsGkxFodtr7NUSHRPW/wN9aox3CoceoRjlTSUpugM5gqatlTxEyuYpUzedDx/DRy/+g+uMsv7rmueJrQnLYRFHn5JEXgPev+Idz5GmEvbCUS8L6nrUbASzGtqTtY58tC+3EUc8jt45EykPU5M4pDDnFQnKg+6Y/+B5ePhfHdI7pSAXIpVqRUdTS7Au+qpZ8+nRyZhi/vcR4LwU8v7M4RnTAt1XLu0sTg4Bq2bSgmtQTccWukwBMwQtImvY202Q3pgXS3oYTPlewZvA8NMbFmV/cKLHBGjJbS1pEFyQsLz1JzzXg4VmnJWlxgfHYUcvwaBh3lrMAxj4oFTCYQrjtoBx034ywKiYDxoEgEDQDoPmMexXI9PxGjtE1khvI3f/1G0X51+bh/FYwp6qfMht1AExHvwGQh2Dqp1mOrilgEjV0MdrqfkMsEuk/+s3YNyTtxqgLAggGPhkw4oAjiJ2eg0y1CLdT/WG3ssV+lUCKP3gpRnwdWVpVMYavXurpgUn2B1kPKwpPlcQXXWgMJEsORdUKuPAL1qvumLHzX9Z0xSqi76GNagoacDfQDw8vj0Q5mw+gll2YctcFG98k5wi5j+I0tw5Kw0rsbFLu/Lf7xqoPAUkqMahHON2d39QeFrmoMdXzBkmfcknTAb/a4ZRENp92p2MYGBph/AUzRJYEmp0o5jf5obb+KRWOwyvpP/E9WKwt4hcJY6WvUj8SDtgxCGXoGDZqIhYXGKPqRy2/oNCdZST9u9SfhBXXCTkcxbejgZVr7hUdGaUXMrljg05Pm2Gy64fYC8NesAIhRVXb6BIGDtMo9lsT47Z5n4bDmvUQrFIS56jqFg2CFx8VpcilaN6gCGVY1G7X6ESZ3nir8YX87hAMbJ15Sb7rnff549RBc7PL+0zRi1mRpugzdjZuxbHzEyMOeONfrCvhgTlpc+eAlrZa7bKsxzv6NIWpSL/4g+YB3h+GginzbtwitSYE4LEpug7mrq5skXc3DlsZLeCUDo00e83epunKzh8CLnLWtFCei+temjGhiRmGAacsEklLoBKhCK/OYw5KDcTKOGxQd72Hma62bpi6umdGRGiAEQ+3MENkH4wQm4yNXGGFgWJ067iMzDGBGPZnjJJ6WEsQLvX8F66swLVKTMq7TA4ZXqRR3qv+2ifzm0G00a5fOjr7EuPHQbPeiHzbznoMWiRbb+iEfrYTix8bR+pPOiV3OXeXNzAHni7TT+1wwsKA5CnvLPmVD+qsd+xwzfz3VdF/YZVUcL2ql9rCS//4KovQaB941J2A4hWALKyqnK+m+S5hHnNXgkwMqfmnT8goqh21cA2cuWoMdBcjytiq8+5aGews5+8HJfkOrIOnFQfeYxuDhPHwGPt1jm/KM9mStOTn+Z3jS78T76PJQxtcVggFiX6t/nLsYWektHFSge5eWNc/+AtgHDlcY2Mipi7ZajrM+F8OwoD56nwH3VxQRwo62BU7W33u21ryJVvldBsTRl5Vyq/v7sfGOvbK8ws5Or2aZ0+Z4v/XgbkN5yLW/MaS+14RtkoAP0UVbGyO3jksj8Eh5DoWwWOP5tbnIRv129d18ds4gdTLpfXNtYaVL0t2opXZGd/Wvk1M8Q4wCP/NQ830Y1yhkj7wflA4qJARs28bgHQ1/FdmOX5gWFxuxuhsoJ5JZqyC+ucdpTIhNo3vt1Dhq5gPdRuSVpOINGGa/ezeLVpCPWlQEOTrDCQJq2jJoh8dEr17lm7NklhAeRlE+fpxCuJcIGu5k8un+HFLt3vbPqYYFm2ojPJwk5yKochdw1BYO6F9AJlCWzk7tBbsU7bDahmNl2Wy2JIespCckb49XEfkCHA828qKylB6NvDpJMTGy7KoH6wco6lA8i2Z0L01CDRDrJNlYILec7cctLn0DYE04fDssZSWtfphF7fql6obuV7CnM0FVKHbpcpfEY4BMpLusCZg67XPDkfNsV6UEgoKEn1HJfuvoMg5L9G0QfLTdIwMKaxHZucgUkCCSB01GLpFus9WFQ0V7Ns5s9kPGElVQ1bULhtK6IJqIjpN/zrDdlByRwNuvPTebNe5W//WfyVNhlKBvh+HixePm5at57qgr0jMVVa6BsotUYOHCcTQkotdnhWawOcQXUdGPu04Cd2gXFRcsZqJ8Sd8quPHypzlnvrtTxCHqBp/ry+FzRFU3/vCrRooe85OnRgBS2lAT7rgtXj/8xej8Oa+Sr/j/nzwHAosdmCXyrLicJu6SiQwgouGEKnnXY8NAJsw4MHrL6NA4282s5jp1FpfADsFBxeCzXr3wvYqLUG06+ZrJbbwJN4HcUZHXsB0i6aOFt7W5zkMy46f/2n0V37ytCSfRlJplBocbHROkWYYBzIEWCJiwG0ZwasjpdE7+YOdWWStUFzne2l7IKoWHpdORdxvGbIfQ1UdX9EYPlW2q80oQ2874az6ZCI0Vg6IzqzwvDpKknCHhoe2oAbEDx0hD7d+yVaaT0GECKrYBrWndSxNpKLT+gHF1pu76q2ipMsm68zmDz88aOYA9dWLrRWgjR+zu+73Wxmsr1ngai3HpM7zLBg/Og69Zox7gEpk0csXIjUmIayL9F6PsAKvT6vrI4/AVlBkluVZR+Fz6PkHHubryuY5zJYbYMRm9IWk0d/19lRGsczF6fmLMb+lndwal3hN5LbC4w4LqbnLHPkd8YydnZIPa3pII45xnrZzJNQC+mbdI0hLzMevuAlclLOgbOloeb5Ni7bozTJH0MhXsT/cjUVfPGJlKj+lBtztRG/2ptN76RxNj/tutkTpNuAWJG+aN9PPwg24w85W1DTVbBWRxGIEcOhp34BZ0CBhjsSecCylRuKm+j54fcDi3aabeZPvdgrvBP8Ya0QUfpUfXLJ43Buf3jwsLdY5YP+yJsju+wTzeOCbqI0bW77Aa9Ds1Sqx2sPTJIvWjRv+fIOXk4ckH/yFrhFqUh4TKthEPsoXYfVZLYa/Nm8rdF4HxzEHs/eA/koI0nLazq7mFME0s2x4d+YmWjelhx4rtW+iLklkrs7FjbsVyfaE9y7XeSibKJ85YAgYtBykOGLiDa2FacKJVKlYI8Wgz0J0KyADdtoQZKX6OTZH87Yxx0Y1gpvfK9oiNrJkXcBcu6MlJkEp1rme9oQGGv+u8PeWPK20VvfZsO64+b4/bYA1thHqE3I7kLoWw4ZS/YvyubF082PRK5rAxBLXij7xR6+CgNbLCe+tE890gyAXL+IBZzjaFYuL0rbJ2tRjsw44t2IaaISCcdFwDIXDjGGNxE5VlCnCtmwyXDaI4MsuREU9/Vr88YXC/R52ju0tcgeXqlmcK5c7AHc93BWawvETsnAkh7IdfStjOb5uoDYZaZd5P3Sjt12JoziKxi/u1n/edyNqUt32t/MoR1YLfjp9fSnJTs5ta8H26Eu0IZ5UWHSOC30XoZ5xqM2FbHHbI5jnr0L6ORakSpdzADWhGYQmnLc3+evWqfJ/Noh1VBsgL4q5hAZ4IIxO18VPLhfXQXBGAJf3nx9KJ/Z4YkzkT2qSpI2QJDZBfwSI3hJkoTsfiv/tqrTrF+jlJC+wOuTUk/I+RM9e3C+IpcvjYM9b0/rmiPqhkO7/T7L2YjQYxRPCQN4chC/zbuyQpxLf6DY4pYKTM2AuPNyqwpclqDXUa447nuBASZntKWnQ0538iZYRWa5VNDhmEW6YWyYjHGrLTp2bV/XzML+MOc7SoS3VuEhVfQDO9w+udZN4VzOv377UNDNaYEhd+IY3wJr7q6l6qYG+ggdM22G8+8SOwBHKwyvn2YqUgZJ6TcjyRB3yZ98F0XHQUzG70jLlS8u4Eetg+b3yq9mnLyoHi7JwSmH93di2HqnxMbiksjfexFk5KMqOOnB+iN04kQYIpW3PMU7g5xQgJHZPjJAXKmLwZ2p8xQsM9w0e461iTxXbSd35VU4eUvRojJpIHbdOhuku7xzfE3B/h5Db+mVPSA9OkxR8Q670WDDeJFnwPBymr4JXELNjRaDxqixVIWvPIuVEKuzPkeyaYOvuCuPGJPFwmOR5SM8QPjafbDi6Nxtal9AgAxHtj153gcQPPajSjo6POdD1dge2jA3yBtloTRZ5LbXGK76rI5M/mdkV88okMW8Zfl8MZFVFoY7yMFv93Eo6ASqnofe202CiYYJ1dYBWSt9DP/YDvj2+NvCFOxWPtsrb2PHlRjQht6KnaMofCH5XeQZNmclPOanufTOtNKWUK1gk0m82WFLwT4WoxtRU9L8P/c6Bn48+nHJ6zNXuLQV902WYlHWtd3qeT4ZtVlLG9QFdoDj25sADWkuBqeZYCuUxgQSaUYdsQgalQdgPe6xmKNMaUHVeC5y7Ay17KYJGlxWEhcSj7tRG7Ru2i2Md3APAhH2OhiUxTYB/xBE24ZCYUYW6LnLabpr601ALZ2zZU7/Wg2QjEcAdHjN23lVQH4kdwWsNsCvVoHxTbQV063WqpUxLNkhuyZ/2eD8z3th9nW8jhVE9AvZ4J3suDvlKX05VPzVwxVwVVYJyJIMZY0eowZYf0AXuRoRe4sgqTSkgeMsAVuVKNCEXND/LdS8t3u/V5tiAAh8LUo1dLLCks45oU89TlQMc3gni8culpoaBp+MI7oUqcMV2TZgg9z8fjsNVFTAac/3nOW5O659VK15oEFz4aN+ATG34K4/5+jF0cHknM3ATAM/6T3lJ+EPYF+ujceRxNY4gefHQ3iy7NUfvNNBSgdngyFDpSmCzKcHkDaEsYXBsoT3Xam2ZL+QCilB1lrLeduISyht5siysDyEjFtyVoAQX0BBaj6OE1ngFFeMTlGQodf48jf+/rBcqMbNPH9x0HjEJoNOrqNm1gyXhe/PPwvcql0eFbOQeregq0gFqRlPGCgV5v2O2zpqlXGbMLmJBPI1gOl9qpflnlhXCVnuRsWSHtx7p/xOproPxGb/9BI5lBVBXMiJnjH5yOW+mTX+h60TFnwTUtMXlrxQpDXbz8cVBaB0PXZ/bjVpAjfnP5xbTYDUwzHEX4md3P/oc/nPbSCLyAVHCPuVsYqFH250wHeT6vRDka4ymW6b9KmQVivfyvtrbQZC14ssWSjYxvhoeOVXVPaL2aEpHiVyV8VM1JD/WY0eJ6QOwjAZrkp+axcyedgYhsuZ6r2L4byEPYwZcrBbseEeZ8+OWWXMmRnOceiYQgdFH0ELax07z2+9buVbR4PUgaIpWshKtg//4c009RBxrBOx3HAlKiJkP0DW3or9X7N5vHexCTmCzwtshDg9uqK+I3fl46iVW2xK+Imn23nXrQdg0408jQApPRLpNZiJ+7FFvey1Sr8t7H4vuFIJ2etruUXT7PWXHlpioP8tcGsvUP9pQhzmFutjWGXR5sdcNjXBwQhua8BeEAoMG3H21HUr0zXD/RlW1pdVBQO4v6+3TcW8k9BeM3uz5VEt2afB7JdB8De3NJ7PeFD/HoWs6V2+bVj32DRefm1gVGM1JCs6tDxiV8XYZK42c5B9dTYnkxgkRRu9dDgVXbE7vm9bVvx5srH9lOATCt+mPjOk/8Zj4qJrA/XETPCt9mRZG6dK3F9WRUGL4Qg1fY5zgMd9+sWyQ3he0S1raNmbZ8PBrK7GidzbDbdZLfObraUYboIFVOsgGC0EjeG6I0Ck2O0aZ8dkZEdd6+fI5hMqcKkm/tNh+15etfH9KXh7MNzK/j3+7MsuBKQrjkC4qGeDuEsGowaqvb3XzcRXQNxyfzIuPYWoFygfMZ+Qvmc3uQPUpjMok+vbYfpoVrsFV0MTdT4hsNOe3H677hVjDbsw7wbNDWz5F6P0mOUd1W8acPqEN/z2xruHmNCiSyIfZ5gWCIG9dkRy8CPCvi5bagdJKBpSK7SDAOgjm55Jc6D5Z3zrfS+aRoZbl6QSzKlUVLt2xvLgQijeDxiWowsjXpPuRNG0pq5PxZ6nyK7iuYpWJJ3YwuH6jw78J/+90WesHjIIizYZ8PkdkiH6LylgFO+xhOrN9VOCCrzOKZII7Z7qJfjzkh218X6R55BK2kUEzUO8C88A6P3nWGetmSRPJDn6mCHKLGbuXrMxrurnHt+hWkvFc6Vj6Gi0GpYCkoFinC/lnv+h6qTmXHYY6tGdOMaI38H5UN8dXTQ3+5k1wB2T9sVbVBXIdJi1v3KvN7cK0ftTXykUulCKx0K0VGqmAF1Qbf8PGgAJuYt5dn00pfl4r0d3fetyulpNdg/9K5V8XpSCn3uCG/1sA9SvB3UJhqZwnpmvFWsl23MUyhDo62Y6WKsbhjnMPTZ0s+vaWrHDUQp50v1n5mjcErX8z0JE7CI/BbTdNl/R1vmxg8qsqivbkfKsr9w1ZZIx1N7IrBQOnL+uKkpfV8fUbrS9AXuZkpz6CuTkvE9Y5EyKcY5aLWEDiG8IheHjtN3BITk0dWgsLLXL2Bg10RqZCE6D8MTd772N8VN/oVnt0FukcSfVzLcyQHTE7cfyVLR/k2UwSkHD2ewa3UoNYqdZmrAVYP7a1Em/HZTzNbRIFy4pYM0wOElYWc8YB7T5NRnVyEi9uUl176g+4svrv1JvvrI7v/RGAHv2JvBaY4rE0xM4Z1bZhoT0yQ3yYo5Khdq7JLuOLt3EkF6IuY9PnnRcI1CfEVDqxyV+X171vBpadonw5olslAF5MU8tTQ5sG8yYyX5tUZMG2SJPfbvLpaDlHbbyxC+qDNlbzCZ4dEOCYysLtpkT6o6JHWMu69737hmvhxDGRbWRuDFrZw/NSWuXRwlOv5vXZrmnuhAYqUc2kSTq+xvtsaD3tgFUdEVvn6F9Zigpq+5czUnlZ5CvEFDtafgf0uYdgtCM3SdvX83+YG5FfKp64qs3lVCgyacIJN0BjaD+k3jhVM8SXuaAkbZHG1Y1OsqoE9QwGFJPzumhQSJJJNrph0gDSe04WNSQ2JE0+6PXdU6FZ0GLpqvBKMHnakLU7ixGpnqixYnV2y4uGuoxjY/PqhhB7Pz/c3gNP1FYaDKpxolX8iL27x8WpKIyJ+AvSMkLcYbBtTuEII7NlCDY8zmt7OXZg00XYq1xAKaJF4NPKtkNc62e8xZf+tcJUkivFCZqeI4IGv4IS9CNzEUWoDzQbQPSvn5dGCk1x1Ybmyahv75FNiS6btk+/KC9AXHxLVZ3DmPlA1qSgXrkeB2mAVfJzQt4wxyT5IBUwSKBE1Urw6yheTzwHL4Dy1aP1xNs+fp6ITrMS3gHvbeT/33yWAokfQV7eruvJfTjZbEkaffo6XNzs0DNHikHxkVV3a3pDvUziZWBeqMt8bEJ3DUXrmAulc+9P1shX1rl8OVGRGK489UuxTBSaJgsP1bxcA7yKJT1ccyvCim9quY1fG+1vdgnKYMlpSiTLjrNaHfZXhffLlXQ7mINZt2GU6euKwnNe6GTnhvT6RBNTNj0sU6uevKUqUrT9Z7G6zCOPfKYS/HYzk56e5r5LIkz5dSHHOxjtlox3YBx6N//qN0JPTN1Nv0DRdrYycd9mn8hNBHnvqKxVvKgurhGLzghG29bV44UpZzskWeTR8WFP7AdII3nfAzOJGqzrR6djE2aaZbmSF/APH5jjFyrDST2jm7enmaHSb4d4omy8nJubREm8R1gUOCn5WtvXQ2P2uW6UssBGO49czIIYkwkwobyJG8y6DJvJJYNTE2gX9QDuhqmW6kiXHEDZ7KhAgHnNGTBzZwTY7dFpBZek+oJmxH/94gX7S6JRKWUfFjeXVFS4wEjer8yk+POMNAlmD8jHTKVPHnGt7MBi3E2KYImwuBpymzYMzvd2gESY2no3MxXcdhUYNdIP7yt9LSMOZD3NWGWNlys10M43AEnE2/rk4Vyk0ZSn1kl6qoUJ0asOs4h3f2J3vHrhvGVWOze+5WM25JPunxUU1fv6xR8/B+gNKXH0jEt8YXD5ILaeGeFM3uIiZaOYBs310eb4b3deiYCo+IAaeIqdQ7MDoUxdu8Gcdjvb/JamiXCvIMtHxEnw+qLhtWzfF4HOU5BX9nTIKefAU+fHunmGJ7jXQX7KNBNmFFFgOT6l2rptwXZciu8YFRK9+bJp47TfZIgdpvMEY5qC08+W8IVaqbNHlhTvmKrUaaDc+o2Uufm4Wu9kG+vI7j/RY3qSB44IPPAQ5HY9vQbQIaaKhjUBZjXt4dMwIgJ7fFY+epvn4tJk4h74NJwsJyqh/1QgwnlqJ2NV6W+qWQfz+/WSWPiNQaOGIrXEuJjSHvNIqU1HWwbqsvJKvJGRZvrsGZY4ss+PFS9mP94rm0YFP77eEsqFKHYwgYkdXkApc1xtMHn29UPStQhyFwPYoJpGTknGB34/GenhGW8djqUt8InWfW+liLW6m8PtWaf8R+ebKVCMH1LKVarlrA7GfF55zkDfmcyGqKVK9ad5pCh2vZxqEe4LF2E/wQIDCzUaqeaYwEcskk7I5KcYRLV/Sp4/IfIkJeDcZKT8SQY296YT3ZHiC7h7jP9oDuWCQ1qkvP+npb3Q7iSjzKdFukGD8FoMBOycnR3XdhFU5lFvQsBggHJCUBPYYdOh4y6CH31HeCR0NEYgXkfIi5++iGsHeVufM8ytRAD4dca5PdvGkzu9QAvmd8IRUBMexzlssD0tuNW+bwA8iBe/tN4IicAyOnD3rWq0gvmnxs7ZFbOTOxAV82QIuqhhbJSZJbHtS43JgxQB4rLyTA7lWQSx9PPGq7leFvkj3t43nMd9B5mn5jwLlxbp3wIm1w4+XWey6HblNxUJgLq/bFctJ6mt7hSNW9XNzLi0pSCcITcPvFA0NVaTTzn81p8Hh2u682I2nsmSoQbfEmHUtMmmHY9Si0i7+ks6RmcrZHvGaQ9OAmQBEpqlCrDSvDdVkXM3bA3dbVYAFfQXItC2sKeGjVg8bmQQn4q48qV+4L2fYpcNJbeNPMmWL9dGRpdWOtXJTT/RvWXag6uFReEaxERdXX+m6wTKNsRb9t1yFZNwFiPjNjQpHnINDB1Ro3O5dUsuyUPGG5/JZXX2QC8AxsDf6rb+C8MtGMHIuQ6cQ3azngxYqTC46VxzAjgetbyIV8bjI1+Ev1ZGjUEY7FWKp9g33gci0HrbZsX5PZGNcqKkBj1KF7NKgZsBHiFhNUnvWNpOXNrccSx/P5gzSKeKCUZh5mTCc6co8vShmVyD3r3oaxq90MurgQhDyr2CZNtVCzj/FRw9zdKUTIJF6ZAbJ8fHQBg5mVZN3Wn2jpEOvIfvMjTaeWsPbsmOGJnFZ8v+uYSffRS3pRyb8RcNAS970ELSASxuRlx7WjMMxCMehM0VCWkfb2B8JE8x0P9kMP8YJ8G7boUkgtYxVaSa/oFZtq5zAN5XAWIcujA5glP/p+s4G/u//KlyqMQpqqPRIPCisZkZfcxAshPTveR+XVuCVANCybe7qUIjtBkxQIWltbwC7xQPmFg6akm2xOZVcwPmBPLjg8hCj5F3QMEbVKBMaHhZu4fH3FcAC3TVUtz0HIqt0M3ZnzBzHtO8yO4Z8uUwImLn71j+M8Q1LT8vS9g5tTYnSaKQGiwv0hyAGiwUZxfzH3Tby+REAU8Z3Xd0zNRJ/lS4WZqGWGf16ASjgrvJ4SgUqMAcaWPEAubfxodLOfk9qIK9ttI9IATky6gq+aizfrfGcUPWWjAi5uJXuOzRPSSn0CNMDvdXJ5ovQVPZq2tVs/wTDSJZzk2oEtOvlM+jfPB3uTuASWx+1hnCVhqz5viQA8F1NqDuiFa9j3Mvz70olKa0KsUq8TSgYhDobb5IGrJutA3dOatMuWcLfEou1agELq1kp86bb8780TcIrGQ6jhBfihV1qdVcvMgACQo8VOg2mFxBmH7mkmW4ADhzEJsu9Wp08eMo9MCrNCgO/VBVEyYuO5z7S6qkPyZU+T1Ay3lBi/mpXl8RP8McS9KJtuayecdabqDQoNAMccbf7AGESNjAO+D+SQeTlV0+t2ZuDjrDIBPJfKUbd3i1Orq3BrZOI0dzXtFUMl4AWmDm4ItioUitXxGJPKdrmvsQvF4LWOc6KXxnVL6db5UoV1PEB/uXjiHv2SCGB67hCJilJdqn6LnsJRpE+faLE++RhAFgmsANyPpx8zpq1HJr9HM4WcA7NPSTSPh3gGFRPl8UAFuYWF9ASENYAgF54qlWOUWodQbUKyjHIkYXyUpbNFyqDEVEnmtDPj5wQ/d8LqXrCrkD3ZsPllqms0n17HrQ4uWeoaURWrkJ6gB3zu8InWiD8x7/7zafmis4rL4noIfbOj3F30D/t3Q2BiifMxeV3NiRlyxeDosybzk3GdzFGunchqZ1kW1mshOCtyarIX3qtAmvSEDjaj8qfhDdY+E6n9perD8rmt7y7XV0yQUXYGWlgl2Bm4v0QTMhyMSbysn35O1HaW9DfeXomzMRN4VbbOLv4fDMJqc0z9oeGNcjOnqXoNk1CEVfTW8TOgj6hIUqW7NmGOcX7ij2hSmjhfOxl23jDyuJ70FBXurn+aBUhPgrcexElmf8cjX00jCr+BDUw+h2AQZI6zh82lNIOUxAo4z5ZaynjcIOCZpqoMUCF4pO7eldRMoSZ40yjSmveJL1jP0trw0NP9eEz/VimbMgFITFItuuHta2QRiLUdHaxtPs1rm4aQvaJaGrthCGMP2WwZfJMd12/aYnVzx7fd2snKqbUJOtWJLO3irG67KKaRJMt1Q6fHimDh+23vx+AmAaiwCdvdne2NoviOdfUqnxwfZFFelIa2eR4saYyCJtHMqkTTXCwFZSbcV6PAMnciXcCyCZ94qEy908PBpxGcuSXD2WwqP43wsag2DTzfgKZ/MJnPIzupoboI3APgR7a5Fp2AgG6xNhzmYpJKgJ4vff4wN0Fz1/Qam3rHgYVau97mfgEGA8rNZFFPHHj22Zs8BaNUfTNnGHXMu/6qP/M6oXNoEvTuJgX/b6Pg73KXpY+nMzeRVh8XllHnX/EJ4Kq8mku1gkQeYWNWApKMFJwdy67HFVMbVrTQREwZgfYZc3NiQGt4PU94q5cBeZ+XZ+tz45Hc5Ym6wO35Z4WBhXsIvQOprBVccj5fWXZsxs2qLC3wo8oW8MHRy1ngcrGEnufeDUb6KlPzGS0BipxaSGA7haqh3CBkCu8/+/Y7qQfnjHA9JstXNyr/aiUxHMMEfo9BzJXhpMbeYGzrwd6VE2jQQnzq8BDvOhUwYv2eZjGCgP9o9Lw1Z9WZPsTqce7OyS58ctoSZizNxMuqP/YjRL1SnxjhWWtojKRJRSe1Hf2z7MkuflpGI97J0GFvbY7SJ1sJngxL1aKJ+hKtZuz6ssgqR+kukTsm2DMCr9PSD7qbUamaVsNEW3I0luA6udKOKaDhfAgrZ1QxA67F7LNPlaW4W9eYdI+/KrjwX1eCqPmy5t/0Bxh9/vvojxByA3OwzpYRs2e23iqUCh58P8m0F+vB87cEtpoK2sPanxJP2BHyO+RFOvCGxF+2szT0HaVuPcas0YBiewTwIXefIh4U67R3b3XdNU8uFznajm09UBOkGJM17jH5/ygi9vVq8GEhI5RF9zXT2kba+tBTIY/DKCYmxGqtOxvkm9zsQIF018E0uKPCZVjyTIebWQppKgsCtx7dbyMtTtSwGegkUKI1SNB8eMgdOUb/dyXLJcJsPDiwokzWrAYd6CAdSc2Kk90oklDwpJpQgzqjAkxQG8iUMwSZehdi10n3Wl/14dZO2cvahWdlmTwUB5j9SnTZfPww5p7nuHw3nAVUfmJbhbe7BF7k+nyBwGKTwJQdaM3aACHWUWcdEO2RYSK80qfG5GmGWrw6/gLyK/cT39JJqe0Mq235T195agcIonSXNP+GTJtWuuzr+idWHEy3kBKZygBQinuZmnlolDfP0Iz/Um7bRGMKV0V2x02JEFvvUDvPUpal3IaQaoDUmu4zA23fjVSm7aW4Akplifxz3dcaDAU98M0d2XvX4s4RUVvKQi4uq6rmvJWCfkCggOT6OyMZzKjz2AcB84SRc8ikZW58nKiLaYIskP9cnqPIs0o7Wtb40Z3zbmuLvjIEtFuGB2v4zZMqA8mYi0zSVs7dTgk6YUNYFp7p9imr6cfSTtQI/axoZ0JUnYP6PCf/RcQ3Z2I1noHgJH+1wEr+CIUjHJGUV9N5rnEWKRPU+IY5ADYrbrV//2ELQKK02EazQ3LiBSqQXmHh2nUGhy0HdWHEDkg3Vb9VihuR4kEuThbhB6n+cCyBVm+aFqBGXZse+6O3ESJrDfKnyGmdZDp0FW5owdmblA3E2EUfSDdPJ39RjshzS/UmM/j+rULZSWG6dUsMpMfMrtcb3YOqX2/Dzm3yhHbvlLKNa+smSpL8aIBLNiJPWS961EV+aQBa8+njTD7GPJKZpGR49xjmBaxx5NmKuFcbkX1tz4lYbO8pV5Ihq9XBvSnswkV/61iv2sUl65lDWrDL/aES2uvuGPB6tpuBDuXq7tPvkKkBl1jSfaxM9AZSfxHJqcs3CoFLB+9GmwivtNVEAL4MbsBuamSBLgDsdF9KS3Ncl9A8xyiFPrUAlfYijbAb5A12EHb5R8NNNDA4v4eN8dUZqnzkwwsj0trwclWYBONyxEKfMCoVTRY44jqvQDdiBX948KlC51TqejUl45+s7w0fBNtRYPrBKI1QKmQBBA+aRQU6gmGuqZJmjjYRM0PiYStbUzVQ2+A+jhU4SPclz3cYJm+nb1eTmRqfAebI5bool+69WqckyYo5k/T0Uz+pgO2CKCUoPKvIxt3mP/TE0hsFEMysuiqI0LKG1kk5W+YjgS+wHFHokt+m3tkZ2NRXeEXSz2lITkdk32VgruOIlpMzKckhSl2QIH5gR7avGKj416957ojUN4rJwfrfuJYZZ8GlCUEDVg2KSAIb/TGzfW5595b6Gy9bz7KRyd4Ds6yAlX+riI3f7BYlLCTG+9+ndR82crOmB0NZWjfBuyOR9ARXPCL3rCqL0ian+5oe7Ghl9APDvXFRsEFHmf+N1eG+EiUbbHQ1AqzCtCJfFphHYFsAxTmGY2PXpWzqNNtcvk+lVr+HM9cd6sXsQ947u6PdPKIhyjKJQUwRB5ak5puQjSH4L0mleiL2qCjxDsKyVhtWsuzw8LQPifwCD4jlr7YEz6mBVlTnhQzPL7wUzzt6bSpPIy8casBjjVXDhHM7khE99PWZq2kifbNm+KbnJ8myhZYmC05d7bNfpfvUtAdJ2hn8w5OFdGbje91UyraDHzDhQxPipr6UeDL0QZ3JMgsAn6F9PD0pXpqOtKdeE8xxBI7DC0hhv2gckog7xznTNdQf+/F16faYSJhO3INeff0IM57Qvnp+qBzx4CQ1aQwG4U2BQAvrsV+fre1QLOdpK8OuKkXjjetJKhyafIscn8H/RsS+Ynx/W9LetFZEI5BwqJ0dWe8qIpEGTFpdzBn+z/6ZvtdTHT4yNdxBa2LrACJd60aEtOfI7kLU0tqNOb1AEzE8qnXh7ygEgH81MvYljDZwJLu+YjS3rPXJvKcC2UujSvZK+PH/dxLw9AW3Zvf+uvn69uSz9zXiuPYzsFiWMUDLxNj20nvJrt+/uKSIiPyqaqlBPMgst6brUrrk9XgSMG5ZXjTpj1UxR6Ikhqib6tJnuPR9CWk+pbzu0FwgxIbqfb5FPu47QdP0xuSNbQbO1GvqtXIbfm1sjToCYVCrOm7VTni+kA26k1NdItD6LC5TXYH5S5Ll8mX0Z0LYLgCOTMQO21j1jSztYryvafi2mC79q6oY8lhd4l5AQZqvoT5QSTqD0/UwGYeN+dMCTcE+kbvXALsNVQhYj0Y1OVuqeL4qA8LN7QsmqGZb9RcNRGO6EO0Vr9IsLISmCt391Nrs3Pzn4vajGx1tYBW59bzkH9DX8mNxHg4QAqHUKBt6cfsK0+cfjqjaO4s9Y2zjuvAKjCKZDvrleu7380aPHbjqnTEOTQwXWCFyeaZdsF17Th/21E/a2HlSgUdInuTyw0djvLjiT5CCNev1v6MLc5ZfoY0WzyyVfNBI0s4xC0JoUFIpSPCTfPtWaxiQqB4/MWsrkdf4RYyRt7AlJaNuX00gpXVMaGIqb1iFunuDKnnvhq/cGv18eyCE4lmvBUcvYldyzdR8kgQFffM0+Q28/kUTTZEdxtl9YYHcRfSq8Bazs6v1O5ymebYmMkyGEO8xyFTk5g0J77k+NZHjP6qiHD9IDrTfkMKX8MvI4nUUfvMOHGoVwsIc+ViXN3LQPTuPtQjR0n33LOb4of1PRJFje28IWc9bq0Z+HInElBbZGXcmTLiiQyBtoUStsHSUoikG6BTLSheraO40qEv+igph5IaO5WwEEGm4dcXojl1fxaIHVbjfNlxTc35YFKyA8z36kc8YzgLJHCDDKtodAouQZd1OFcr9V1a7qEz0bpnN0xrN0NnU8/3ExQ6GH5uotbbZP9r0oRtJtlZjnPvg8amlV/R5YbypPozrZOFAbN+sV599nPlBF72vU+vx6XzsDlbVjvJA0MiSXxjime2K0hDOnfLTIxGw6yGsooyvEbv/EIcooO7k6N3e7RZnDupKvNdKgo31QY2JPMg0K5ZMZTTwdB/8HJULbDpOLN9S8IMKB+UNuMV5O4Gg3YosDx9fHvCUIduwtaV6lxdxaDcpX7loLPIITCtO3DCALL8fgPlU7djwbQReXoZ2/JT5Hwg1lPaxVoJG4rQzTwxfIglhVE/UXX5XjUbUgAMeZ5hjs60ZoCpaWWPqB8jPr5bP0N2xHiIlwbgmxWHR3DVrS26+siGrZxxQjTcczBuyRegxzijJT9Kx6eXzV94hyOp2NgPOmwMgromgmY2N1YQepjWCsl5I2OwS6xf71t96xtKdWwdexf3eJQjeikGDbkMjL7xg91sBrGXIlV0XqO9/l+e02AnZgWYuoAk7gq2o5lON/4gg5B9jwoRAMuW7lAFN7NFtC3G88hh6OgTS2r25RI8mpyQk6JEXyUy6eTsWiRNgUIjRfCTCEA7sGTAzdwzu3vvAZV2JmVCYtk90w80gfa+SWS5tkLHIHhmQBQ0HllCky3PRDlFqj4YWIgmw9dQJY8OC1N/7UnjfF/sr7NLwehhiicpyCxLEJVZ5s1sNUh+rsxowQRprmBqM5agS2fh2iY9X2nbZW/QtOV4YmW0Od3H+PdW3qEttH4Bmc4HYaFVVu8ytmqlIRilBF91BDVzl6nEB5I8nTxUzgz+7BA5KoYUZK3+Lpcl54UFeXFY+6igRS+8bHTp+bl7DZFJ7Rd/DKN5paFg2s8ja7cn2XSHAHmgtDi2midIocQ3X0inJDSmyCVxsyxm0BUiJFwkjP/HRq6lhYxa69kEElQYTfejkgj5wdYShS/ayqe6a3P/he7rcYBHGqhzRtsz/ija0z6hqNCeoko/Byd1qWax9YWS3o8FoPnvh1A05AUUzt6xrYtl8hzQDPq6D6rOqLx60D3toWWmCYDLqB/nZSTQCs2JzDaowCHPOvLl1I4TAAJIRUGr69VyascyfahB8NK0Zy4xFc6gOKyFQ28Wfx7EYK2niT9xC0O66OhfjGBOGtIlquj7EHzaH8z9yhD7dSSOteKfpDWlrk4kgw8GcrsacG81+N4FPIQ4e8WuKs3RDrLvJQU+Nf2MUEVtfGlNUp5kayTkqYDMAg4P7pVsLcHi98LPIHwg/Ev+O8LkDFZ9+M2S1Ya44FJOjIkjeCSCUGyDLXdI1K0KMLHPN/EXVCTDeMj704qTs/7HZFUsaWKnUnOxHW1DPSpRD+L/LuTbYfyZy8O+RqJtIxg23+lkPgaYART21AjqmOQ8ZsdRer8Fp6fniovKerUTopr+j/z1DqFXfUdkcV/8olihly689FitA0uA2xwiizxWvh8xgF0D3LnNzXapce+M16AGztUXH3s4jYh66UglYJwBv9JojI136JP2qHMAa9gfzC1fEvuKeNbF2YDNgNyLc1pfZ+yQSO1RmZJwi8QL1Kd1ziWN75Fu1w8EsAchosO5eVWPGuEkoJZfQ04YrdTPgI9wZNrMIPCJIt3fh0D5N3xTa95Onf/tWo6ncrEWWvraGwRg84HV2X/royEo0J2NoEjv/0uvoKh/bv2dlNm0HCT7xw+Ne4A9J6CxA/asGw9NjLuYYk9OiDCHmTxAOWLrAQNXHqEftOOcVyOziTQS+2dfV1z1GKcNtZ80HnW3/U51Jq8ijdj1xpzUjuKI5BOmXSJk5dDkBJaQkr4llLGUcS3Mm51bWoLp1mMXh38Hh46bbpGzSEEA0Mg/EsGOIXdOjriCOlSQFBzmKWNOnUeXAroCpCUhbXD2C15qcT3wU17IIi4EyGDjHRNe+QigXy6K+EkHZqNqintW0uyXqt56ECPKHPU6nYAJkPZ9WnVGo5hLhL9iK4LA0y0lPPsiABHhyEV9mnHeXcJNfNP5f67dF9cTBVc66OAq0mnot4E8axNjQT97EmMpzZndSBFB9sbEVM0xU9nJdFy+ou/T9YozHydMDKang9K2TKO1u3i2fslFeAzq69kc5I6kjzfWvOqdc/k0vw79I/VtwQyiehha+fbrpMyBlS31WXqr56ThYlmGDgyYXcDzOouPx/Rf+XF1tBttrBgp7GeYfwkX8rra8baMy8MDudpWahRSE07sinw4UhSxHuqRiGRC5WVeLtQhe3UOI3zk6eFpT8gNeb2PLUo1SiVMwd1aNeZKYPXmZlq0rYXr2ZRd3KcBaXnj+I/v/CRNWLXOQErac95LmRd3tf0ZEJOEGD3naMx0uyw7WX6hnOKz55Rzdq/mOxPJRV8AdtngjBnyYduS+873IZj9Dn0A59rXoAUBuqkwye8r2m6iE83WrpCScw4HqFsWjDd7Er/lpw2wg2RL4QBUacgm6RhE1oV4Ojc7bvbimmaXwVKBkYgE15TeKjJpw9nqtQdj7hb9iy1UWDeaY7pLr6XN9VEnRskMCZ8LVn/pllgaWi6Y//R2uE8+7h4vX6hHe/z//CtYek9BptQExkiL8Cc404BIL+0mXzvUDn4yFKYo2y2c7h1qQix+EYQ8X8CU7JW3wD6Cr7DX3RAXu/LrnbaEjg4MwNznYdHOwGVavLPPMJI36akzuVD+fd+eGcbEdHm3UO8+pn5QkG1QUYj78QRrHmaHyMVAK7qoYCgDKQTkVRrqeMBowtEGTJ+wW2RUL+zswxGLMf847UY6qN+aLLOhlu5psFiy4b+i9G2nJlHOeXuhwxY4zKgi8oAvcYtSWB2Gi3B7TgHC3C0e7jVZqExA21MBslVfTeKE5aVCCqmdbgMoKvw5xlfIMGcZwtWrU0VuOKPBeuYQcO7vNyzXrpG3GeZoCcn+J5eWwyL5B8Yq2ai55EswNnYA+dPP2h3xJhnGebIh8kdSvT9BpZwrJCVuJJcohBfo7Dht27T5NRDgYZ7tttNYfr7ks70QhUcUYC3sqIYjxsz5Kg/7Bwq7OrgQpE2ay1cnaR3moeyPZvdD7mew5OYXcJj/nC2vDM8lZdpXbPmFHsRbVAHqx63Ux7n4dO7ES8052xiy9djfzFb+ZXcjc0h2YKCO18U+icyQJzYxd0ieExuVQOgeOfbGoyK/KAF796uiLTb4PsdhxHjtdwdPYQ/jXgLdh52bVTAKkxCUDmxvHelxaaYp3G25cyF6fMrchEuZHFQcyeRCFMc2GWNAASQsysgrWtSRU+rUCM5rksoC0LFxajhTkhnLlNgRWWfmbCVfJ17zoIPaiXGDM/uEiF4pRUskzSH8tdEajcVUSl1N+8WjNPc5Qj+gMn8hYTaZ+pqO8VCgr5prooUBKJ4ZCSzn61NupNOmzTwuvp1B/xq7D9xsDpg8WwBH6MDwymt3eocYljCK99CGv9F+Y6Vuf4wAT/ml0BR3N5VtM21O82Ybye0OJ51ttfsKX+ptnJWsSnFaEhWC9SwZi7x/2S17EPqbDdXt2qlqsVuZlqc+eCMjG6/ZPaFMb0cqnyMjtsENsLMN7EqZ7VYE3uMEuaH6QPF0OPRCiRe59EikvraKTYyQtO1wcMN7LrGRd32XruDwxOdtA5cc0Zw7dNjTrm6te61ylHzLLLApYDHK+E5Jl1DbG2I/mfF4mN3t2Ky0qvv2QdBkNBverecYitMd3xXMef962WqsPFpHIk1GqjkSfbbb6KbNot0yDr5Pe6u/tQJ7rCUG6BYfvdd6+bmscIBuYKuY5RvWXxps7eajiCwktRP6yDkv4vAjwVPL9HpO+bD/I5AWAEq+ZIu9YoY4biQcTsQUIs/JjdxivwlpbPTuof5KnRGi9DOsNizospKG9hykbIHmCuyUfDBbB3Rjejfj7FzIYP+BekPHcTh+u7n+0RIEv2PdE62/0xRnqIdftBd2tfmXH1XDmFfd4sJwowTuUesAhB4Nfj3YsyleXRjbIoxgDAAaXZQIrdJ7nNUvkRmqitQrjv6SfaZ26aVKrugm+l1bsyyd71/1VfdQPZdmx33wClstliGGFACZPriLtK7/TXSrFxrGmMYz/ScaFHw7ON79lZBOzQTWTSrTjKR7+QM0H8vTEp8Os7osDwVqfR184tpb9oLblWISj2JU1N8rEdR3WIXknz+dBqC2sBqWprbsgAnkMLCI1pHiBSr8wgeAV5o/hCx/2dvPehTQP0m/8FyO+v4rh1Dw2SmF516d0Ez20oPcWPQIlLLZsxgorR+ANFfMQRuaL0mDa9UCU/zRnFA1SEFKS36r18BJ/CqAbHr1u0suoIFKg6TIkysaicXhTLoG9jAqYj45FJoEGVxFMimkR67B39Kd/m+5HtMZS5s704GqMOO3XR0MPgqwaqck0sG3E7EF8Vi+1ju4I82+bcjRHkzvR7dxsXUgQLEQgCYYQp4dVqJvQzM8q8bPgCTskon61MTVMeKW7LNEHH2Fb6OZcZ0fzEXlvAiqg3jM+lJ/uovJvz7LLjnNQ3RNs8dJS2gt8eQ8KhB/0GRrudnRoTe6NS57u7EmtnvhuhiZyoYCd9COPE19s/TZuSznNSY6cP2HaVfhvaIZGq141YcWDzeTpkJlSbWc7sZOBpyaJBdgdmV22yQj3pDmTXfVDsW/Axqyx8YZCI1zSXTeITaYAIj9IzuWQAcFfYN1tte4jMYh1685sAQ4WljQJMz34jmB7j9G+02qRJXClU42Rep0xOoxGA9zoVDTAuPq563G2E4rF4mKxED97x4zsFgC1MBXIYnGpY7mifnAjoCS8JqpABPHW9XLljP7qDRfrbCuv1vbUOXXQq+6l+EkEPRUAQXseWtyRXkW4Mhpih6aTgHtwN63az5J0cBT6pzTzN7Ip97cQNiPYjB0Piv9FMrB5i44R1WpfaKN39nc4cqssXW8GM1PSQNyFsM5eofV0YewCf58EJMgvX8twcmwk5drA4J5yIS5Kr4Zsgkjt7Hcu9fGNuhiR0pkHcK/trkxUDr8lMr2QagXfiQVFLzcJtiCQhVx23uhMDwfKT73zo45roeEMILJhCAoSB/lHygEz672CxLRmZqxww70EqUlqEhoxXGmtox3b7xHvyxLJaliA5js4yJWwJV/zndYDOX2/d+y5wk4QATbJqJ6Q6OFCOCi7Q++VNGpep8vIQQgOBf1ZqqZB71bm15WHB7pC/oYeIgpai6Au3tSu/5gR/l+yi//lo02oLqmW9jkh0kiz+hj7/Vf0NxfipMXEJ0M9Ie3AGAJWJTxwUuPkSZfWbeWNF+WM8LPt0m85qGxxACR2HGzTF9Gy3zIkaxZ0q3TCQiVu9nmmF8mwoqBmP6agKnN1eCQaW7uVQ0qRG1Jt68uw2c6pNVTgMcbaZvYVHXnRVeB4PCAb4S5xFTJNTYYbz/5mjh5fvYPWpkbpTia4U0NK9dx8CPMtLEiOhomIuwknBNdvLSWM3BNkgWsBXC+yLO8hLQ6SgXL1FM3OqMv0YNGIZh+B0c60aost9aUmq4RZ7rl1t5QR8VORYV7G9x5xTbeG9/RXOLA0Rt71PS5xjtsrWxcU8sBIdTW30rN7e4FswErxHNNLSlSOU8miDF4wgLdyeC7aMivgOPyPC3MSzPqBRr4Wk/eC8I3YD5cIdIa9yRpbfGIiIJolEg3fXHZ54iXTu6y7NLAFFMByh4JclxpB/UnxYm0Tcd4DyWB9bNNH/lSs8CPUedcF8PUbJWbSUGfA6zvbQpih+2YFXDdOWXiiShUOJndJBZrQDtXUad2tKqQKppDiwRVqTLORskkNBqLil1u1TWWhg7shRx6DHXxrbejS7eg7DAyNKzyEl8SA1sBak9GecjTwAwfUe7JxZHpnvusb7E/riEwjcDDkQsiU7y9oa+KcW6JhlJd+mT6Alx2bcvVygexh4eLPZpGJVvgXv9+41O5F2K7KpGmnzMs9IQCNg5D5HcTslF/sFgBCyXLzZiN37LCq7JFOOMwkGGhOvwGUh3fp/qW3svJvBPt0hnH1b3g1hxxR38ejtj6nJu/a8fSYmXPWqL09nda1BBQMFfk2oghOdwOdiQ2spKZV19HNFxUero2jSf+dFJjJWl3qgNApYCeOqQ8TYXv2RmhSurOBVRE6B7QHoTDjepg033emkgE8tys//da0s0PgJImkxLqTB7Gl1JojXq1NXFTZ2mmDxOXzBPfwaawybSTyi0pqpANiqb4lRyOfSRwF/DPE6uRLXm3Cfs0tPODEA+f5dGl9Qu310hWpEZSziw6Ovj9QhBWSYST1p2lw0QzeDTwGB9RMp3HRggjKal9lliGk/LIG3VKOtfQuMQNnE9viboWjW3piOYgBOJhJNmWnnXyPvEisJrein95CmDMGd6PjPGSqHIQ23DtBYFDaHPOD68Dk3awLQTone4xb0JPBHSflTzXwMqpbLHnTMUtbuSPSJkvxkQ/4X3tllefuh5ZgnmjP8B7kkQY6Ju4fxuBp5wE8/eAkO+WvIfklAonlV76Em0OlJ5XQL6b1VQdz96Stl8+XNZABFiMdlcRnpbtGOc81uDHRCkWtp6H/A6+4rLXoQ7XDZ95tcMGRUlPN9YvFVMnw662c4rT47a1CXU/HR8vf2E3vVRkzHPvTv4ysPLLQDbEgrG9/pME+oXoVXmseuCIBnPLsbuYC3dSGg8PKCwg1TCpWzRe17Ipmh6k6gzCv/7THUtxSkhtrV5nQa1STDdlh0E6t94M0dvdu8nOHK8eOlHwFQ6eUQ8tanJnhqp3ECHaN5piwWY4RGTkHoeftkKgiCoTVcelp+lq1d8X9LJXtdq5NZe5tXtyg+St9tuT91Wpsr6JOLsCJaiRKjw3DNPk6VIlEiDAuyC4FOpJtW2EN4Km11byQkqBZpvt6ee+rv7i709FGc37M1iFjIv2ZDLUorkQmsZvRA0GZmY6Zc20xH6aBVr6N6NmxwevxyXc0jop36OdaowfI++1XPk7jqW2Qtkmftcy6R1L4BoEA4W5rw0kBRpVZhcN74JLM4HL0m5VP3eVnvD9J+fWmFhKkxEaItc3+7JawFQD/GxHZkBSLObez+b5ElK97JScR1cpZQl6Uz77xj3y10hzyZX5WFFNgtF32xzLukEhj1EZc2x7hPcc8+/Wi4HaXpZS9xzwQ+FQAfMqaLvDEu8OY4dUPBDe2QB7fdfeAHEBnPdW20TfDbJKWEulIAeIc98mRAxD6fKvgRAjh1iXl1VpEALG3n3IW2/SQMMv/SehK8ydJCJsd2UBlVmOgy3kG15qorXLtzCQO0yRZ0N6se9m8H15V0iBWRM6Yd6F1+WgINfyWlIp6fTHGAknmVHD2GWuVTz6AARXfcOCrOkPJy8Zywr2qgrqkvNZtS9PMRbN/XgvPrMwoTxRGJdf9aEHIgoekB7BF6ocguQVchSJzb7Eu9LDBZPHKC8+iryt2ZGd83EU+LRnCtaaN3hBYwfthUC03XdzZOJW7UnBuVYtbvHHCcoBdxFkGHVgbFhRqzNcXOaTa8IvOxMoiqswc8bGz4P79EphnlD8fE/jAE+TguOuPlwqeoKBWDnafHK0FaXi1y1jfVA9XpKfKcJcHsvnASeFC4MGaBx8XGXUpbh2qaiu8UfwIZQ1pH9N4dxyTB9PeQ585YG0pvalVRaSyJxET3zQQF3DMt3Miow+sym4HoFbdNWBJMzfJBifMzDm24SUi1olmqa1rP3sxEFKBTIiYJQl4nhZk3MqVstbgI/sqdfH1A0B8QzucFtjvDrMzUzxkmz4r6wKm+M+ArjusakAGzMxFn4KC38Unm8yU+lvSwQZnum/MyJYSmIy5wKDqpQt6q9YXdZ7LmqHXfGb3dp5v7Z++SLCbbEt33AlIMWxtQsl+34xc23SrtF0w/ueoiLzE/yXyBJZqJ5ga78bQMeZxd1m/GqzBsfVDAvNJR9MTX30ueKUso6eIyO+vcwzFt6uqnbIdjSZmY+IzoTl2mglDKGpcJxNByVeaOaZ8W+MXO9WW/o/sJ5W2VTWQHAiBFPX4BWBhZNagAcTjMcKEhju4krlLgWbCefdtkVIYI89LqbUH5FCvJXfWFU/Ad7RCM6i8ZIkv6Xd/jPWKJIG7kzypNHuratLWrLB0XaHMw1xf1oxaFQfYpgso0zW/Exjz9lbvbycpIJstfBj4g1PO9KSaTwh5qo8OlxEYaJuZodR2PYO+Qp0MT9tGJPmcPb/e9IKJHl8hXlQflhHyY7wURvAB/hfofYzM2nveNUUuh7kHb1wmGu5cpfPa5SoH5Qimp1mXFxG5SzeboyyY36/FjX6Pb3A6rAIZCie+OCN31YfmlnbWHQQ3cAxO8nWEne9VfOSwa4xHlA1JvRLUcgaIQrf7icb0ofpkPWMEmRR/JJ4afmdAA9tr8220Bjv+3GDDHDWsAMNocFVmpJvHdH2py8/FEeTospue7rgVs20y4J6MgERlwrbX+F8wLl7hPX5O7212rDVKX5BRru000kbMVTTHHq7g4X1Vo6nWCkqs3/hO8BgTYAaxTKMKdpzFOUuWCPD46mwT3zb1tg7kaUdkMCS9HsDVBldFP7PjHkWLlAZc7dIM6meuMUAB0lciRqC7Gasb7rcuccmeW7bV7UVReyc8rf4HJfX4UHmXf26N2aXR1pYbgC+Fn5gYiCiFwKHUpxQSZ88OtsYRzovnxKKvD3athYPj6pvmC0mTZrf5/Ymk1nHfsEDw0Tytkglr9YjtS6Cw6mHyOwvw+WK6g+UBccdZGYaqVa3C39MD6eY1NxH2swf3CmWpi+SN65n02wCGYsg05UH3XGYO/Z+a7D9b8DfYx7/NWxsdVkUBcEr8Kze7nKGhPqG5NWO8ESmlT2e/vBd1o2aDvPVfmo6YEEED1kLXlB/Eb4l9Ob/bEMjYt7Pjr2QNmAqrXMgi54ItE33hW8UvbO0sWf6J960sTDfFbrce3yRCcPO/eH92EFvFEfVT1iKhtHDV0JablmallJ/4nxwFGla2GHIKYnkH+ps+ipjYseacO2nkaY0Q9LqwDyGhkjE3YIEmJ03TnYCqIl1syEzguoD4b5Y30emsLrXSpxBf3xWvjAQRcdy8sl9OEq+y+2qDAwTm/3xhg8xbAD2GVazsFv0h+le71jcq1Rvb+rTC0qmDCzVSGtHaMlvlkGuzwY1FMqMoSt4v6urnY+6KGuD+f9j16usJoEoU5vug1FgJmViiejFJ7jMdJ+nRGuj4w99O8/3WxPLo4jnBeYtAlymxY4yurMGWUtm9iC7uGjwQJl7EYjoJ1qWHfp9AAy6SVhMimCLupGyAiPs54vYa7NCMShXfCkSYlf63o78fb7VBVR0CJm9WPzISM4tcBurew1NqhMS3hFfIRJ3g8yKy38U65rCDizORKX7kmBqb28j7rKqjd27oSDVNRMSZf/BMxQUN3LlCvuJ2k95n44AHtVYbgSzG8/cutpkusgpJRHa+qK5xPhlSwrfaoHdzcu/2l2CRdJL1sEaGB/7D+f5Gr9VJ/xwPUuOd9HBEOCDD/uH3pGFpLznDY7mqfT26hm+rP3hpS4Ndt9jWZlQSCGdGwyoFIh1BBqeTOqz52aEDG/aPOTvbqYY1v4yR17snZtlYcaDng5Es9MAaz5pdb74wHUDkwWpqm2WpKYoWpC0v34X7LqQUbuoJs1p2K2A3GVG36Xyq5b0SZUexc67Gm/oYBFsF6x6J3Y+uMJYU57mUayYnHJ4zg2adHmTAFdOZJgtZLV1rkedojymrjzJ9LPQP4ncRk/EyKZI2ELP8AkJbBaW/7+/um9/MdOO8EwvNGe1Q/S6o05xNKZbG2XefsfV0d2JdUweBIwrHwFrRgZsLCagy8cLw1p3j9qDbzBg2+Xxt3UYumFs6cfpOdh4L8zhRX+eXgZsPqE/SPvalKPIrBDSevN7puZz2PjYtrtdGnifKnjAsWRFK96g6JjqAyw4E9QzTTpTWTBpjE/FrzH/cMZTb2LJfW3MM4NuJVxvLh8INQ81ugOxPVDERUaWpJw6YGpNQR5ddH3T2z50WV5ngjwLWpq6ATKREFkiDhlyQr6vlO9A39RQRKwLz6y9eJJKbcLomHAzGEKfcfP+HLgPrZmzqXJliq9WPkkGZiZnLA3BuJIWk2jw0LWfhUd6WlPfj5DOIry97Vq25j+7ByDUdB30kloQw97xJjUvwapTTY6xXl95xo0njDuvtOPx7SPr1X4uJb/IP+VNL2W1w/T03xqUAgU3spvDO6FccQt/7BiFo5ft8C+yuGsWP8Q8ZDUK27Zlf9tjk7rV8IdZF0AxuWchaiK8/D4r2EqJBkKDXoFxJf8/TzXfsNNCbKYa/SYj2QBBMV3/mkebkp6heQ3lbZJhRmS/r+9gDiPKti8R+yAWPSk9TdGJ2bbX5ajvzqkS6BhEzVwpUx8u3j6HcnAc+yDqE4V/59ZD4Rjj5FWbmmzDUZyhGMicbuglRPcbPX80OnqAdFngYgCns64spkd89ZahHXF6U/Vs/NSDWgi93KnOH1JF8iwGOXnRv+7o+s5FI6ylBuvXreNVfXJk4GT9iL+DPs/Tqnxn5HJ9YtJJzAjt/DZ0j4AcqFTyV44UlyeRGFLaSqPzbb86cRi0iudaYIhyTE91BnHzmCuZdc3HuM/aplvpQDCjCGT4rzeEahgQlU8MRdQQLtnAm2jZNFPC2Lc43a6AdeAkKovazHrAKfPHJTH8Y7c1y0QYuwPOpl5QbIz8g8mJ0lRkDqFq0rPhXidQME4KbZFEptfUc8GGeIfSsEGEwlTdiDBP5tLRtTc+u+9KnnEBjrCCj7XAubE+fDFaKE/6T7GT6NxDYIY7pLfe71/ajJ4haSCdqIRV+tqxNIS3wtgC9MrZ1BFAMzbRiSEFMW1G0cNLgWm73nE++v+ma9yTykAHq1cbSUL2Ar6VKUokW2qo8n7uiC7rvYZDhvCTRspwOmFOPmri7vHmBk8Pj2Kjx1mwreCKuamDTSrwivoZuFvBCM0bVy8+fJYnCIhJBG/1CPL2d6IlZxEGz0Ak3zzGL6Xm37ChYo9LJCg6QEJ82BrCBGT04AExzV2c9/h+sw3luhwnpnkbrmyFWtYSksToExtP9xfufBT9QX2vpaIMkYHJUNx7EUwbqNQoNRsbA5xRH7ckuv9hKT1DR/jY+E9EYDU74wpMdGHzJ22dfP2UGqg/aoHAgoGpUDN6ApiASEuQWo+7AU0Ob+dVOnwvOgUh3upxDFG58Tzf1zeJupjFiLKb5ZnSlfRv3leYxELHs/ILPPOKYvzUMbpAcXhweNtNGE9MVKbRM5MdaC+vfqbIJ/Vh947nKZIw/TRRcUYk0iuOJIqxkyrGHb5bI/TyksiArkmYVAjNPXxDw8iFG2EsfV8wVxl5D3ZkRnrpdKCkvrEwIvGYC6lLeiw0PTHywrXFI1NeHsRCZcEV2/jM2uijUnYlUOKhEeJDHisW63GknnD7yrPLfZQf6v2WU+KHG0X7LczjdHG8P4iAvYdXrpkisQTxTDdVmtYPrzL3/9lNIcMrEXjGe6bc+CC4SX1kAaw9bINtvWLaS9CgqJhrsL9S7yFgOtprJEGHdiOUrhHdN31HhUbdnHqLXsH6vgL3BeN5O5TvklwLmTty2Db8G3Frkqzds/jpKwoYt8w0rDVPcM1ETvd48IiMW1MFGLx1A3blu43XYP230aeCA5WquUp9KYk2CQ3Rmn3Tr+KAFQpx168bsF9xsAk33TtX1H1rG5KPPO1m9F1J9kWju4CfRVrHIxJVa6gEhjIhZGrX58lRhYFj5y43efuM68fKJgzItbCcJ43MfTgoJm4O+MyzLnrIKVR8P/LTHohWX8kBuCajfmQBwYSnmTrxlc4ttQWOu2baTtRj6r9IQC/OaaoWZEySrUOBQyMNFyDUGXYbX5mFs78DB+d6JfWUneEuxK0N07JRX2tjWHvyFPcFkC9LVbJTFyZUGUlYnbJpmisT1c32x4n99xiLTN3BDDPMpPpw4yCjTRPVALbjfIIhL229d3eMcK5yLn8Dtbd0mtxI08vAdZ/EnzZv8cPpsOcpvf9OQvFCeAEIJcF4fzwM0MZ2KgTEgRKC1GAL5X5MuXNom4otdi6TNdIrogPjUnO+x+FLypqQeTrYYhZDKBg202Yp1QocjSIkCs9dsp6qYjiV63rdjYpoWBdiPyXdB039uDrmVUy2302mdwM2NvO0It1lAK8n80ZyvQyGKJ2S2jm4sy5fQotve9IZjqCZAuPCw/RjlySkw68bxIKPfSOYjUD+Z19olZSzWXwJkjUdWD/nIpxor1IVrWsuyG2vMzIIQhzaq0MxqKCC05tD9OFNLElBsGP89vBMHuyYPGF0zZ/DoZUjTaeveeBOST6hL+cmdXDEPqmewUANQo48sWgf2HjqXOaaBx32qaBf+epK+YzHTG6/XsnZH47K8EOBnwBOlo8bNRMWbXyo/aK1TZdVZUrZMLHUkqrkrL+W2VlZpHRJb7jttFjuD2w/8k8mWb6QYOyem3vrQ5GWTnm9v/yskproHDqiHk/qyaswNwCZat6Sned8IRa7hygxBoQX5WeGQNpbo0L11vapvZ3S9YyNApUqbj3uNf3CSn00/WdaDWiCyVRjpddx/Cq9AVV5aG7SJprGqR8Ltdy39F5vpWmGFXCYEcjN9TdxaufVUocfmgBD2fuLOERcSoo/ltO2IN0sZXCWAgYY6hH30ChdwwtmmyCmnX7devkqtOEpgSR1B5z+DUGTAuKYfC13WuAUjtIIiF36kgUOQDR5g31bNy8x4o6/hwgLIqBUs3F8hFLS3oX/wFRgUJf1Ce1fzAF81WuG9ZO5kiRzzX2rm33MZy69ur52Wqomn6uoGC1hL3S64VvM46c9NwTaqC30e/Z7l2mVqJQdJO5bqTHCE+UUcN3EnZze4pshQRx8SLQX/5/u1cScXZHm3g4I7hQo3vp+laoV5S/zsNWIXDjEjH0sUNXyzg5UsHGeW50Xe6QDa/m3u78DmX6LB6J6IuBZMV6x1zEwoCc6g8Gg+QfE214RVlr/1NGtUK+T+fiF/Ex7VRXHGV9xrDH2AnolomdXL/9ZPl+H1ob+qdmqCPEpwfCBy+1H7uMjU5Tapu0dy9RJ70BnVBNF92lTv0YR1UPvbaMOKBd6QrLGJgSzYqTOb2wvLRTFofsxefrZqUN1EKzpJvTITpOH2yQ746mXbMLN4SiJ+r50blgpeOmKhWQn5mTyIHCPxLF2edszLUECXGi7HUuQK0KjTIA2pKhDY0BBszXfxujm68cTG8k+uMtjG3IWAPM5x5ENGIGx5tzNFgXm5h5y5wJlCq9Pe95paewi25EELUxpFLqhxX7XcP3nqaci78S9n1HufxDLSG9Ce8aIqoJvAczCVuaW3VCR1o33kCdy8t88svQbr30TC5aXzK98gQbgdrxwx2kSlH1klI4De+4x7GM5llELUtPKgtw7davHiLtas9uGTyiQ5l4coK1KeN4+5nRISnc3BlubNFjUoNbPTYcerX+rwgFmuzHRjKlvh054caWxfxgQEPQXa+7VFtH/IuAkgV/hCOdb1sQHUIBg4EzssIumltXgEpakvYfnJhqx5xJOcAfRirp3mFNbmWHyYUvffZ41yjcWkpAosCuQxadUSt6p1oTsCiqms56RwrmCQfMBOvsdMUisgccU2SmSsEZwjlFtFJAaw8lvwrGpbtuAI6/bH4xFArPFIFdUYwC/l40LHXKfTLIDnveaRumDI7KDHPtuASzN0xXggfpvroECLhTKDgwFrjM8qW0AwS7vwzr260yXzNlbwbHU/zrXAl7+L/+LrMvy/MEeEgmjbtd9m2xReL2Kr1VMQ1gFVP3QCbgtd14oWPRruzNvaoGsbEvNKrSA6V7Vt9Qf14aVMutgfMmrr9skjRMNebjBRBMZQcznzyDfpLunmSc7Mz8TwpC5jiRn31NxvKCSkh0l2sU5U6U5DTjSzDgXwahwLiejsOHHEb8oQfOy43Lb55/+1/Z0ddoQC5AmQGKOhMc1QV5Dmoxoc30PRqW11uXz3bxz1KnrqLU4tqCeT7L1e4JZ9i4pgDgAQlSJDM4JU3yGNKj/Ow18Qn5m/DizhdRxNAqEe7l/vXSOkMvl7PbM596NtA8fPldI8vQIYt3qSmq1B9490pM1/xAUX8bQMxwQdiDPomIAsdJZFwdqHBxj4qtm+ynkvWTSgdv6LJQbvi1VD7OzTpnDlCJXf5MlueruiV5BcbvhrnNZhjDLCIwsP2x2OAZyoJ1kmAuggFoZGnFmy2ev3H+Mu2IYdRxJEyOdSNw0/iqPEMgJdFb2FFp2DjW8z5N02CDzLzUK1edS+YVt2c4ccW5kr1KulFsbmw1VihHGQCZSztyVWJ3oAHIvGCWLDwCSu/Z4VEUP8a0I7jlfJaYSPtmyL9Ol6PBkbKiNiRARJ128TrbaWTD3ChD0UW3cSq+XUIBRuyIPXhnOJWd22mavnpCQVrpF8HqMwblD5If8zHBFmK2gJ2T9CzVxBU6u0XXNcQC42a7A+teS6je7TNHiE3+ObV5mx7JAemkrnldExfPMsOdsMnWhUGy37pRq0Qb91P8j9K9OMKh8n5qbaHaDEVCNOdrMwiRq3wyAJJM68elhGYhqwcCh5LH7viEYUR6e3VqRBGJ+tvcf3thsWX75WkUp8vp35P3Y6Die63gsipP/6+vF/23P2ytu6bRp8IdxZZHEYiaoTTHMiBEBBAwLs9VoCRiv36+KBRoHbFVEDv5O9moPCHJSUqUC3NuEQ23Da0T6CA0OlDZ7a3NzfIBShSVSyHs8sjCDV41eJ1cRjAec8vX7GHU9xglOy1mcMtRIk4856sTGN9JKDgY29MIb8RZDMFe+qryPJuCjYdjrMkdxWk214cJjKosbW+qgrQ+tHq6+Djf1HwKSIkQpplTDLOboVkby4qgooQef4GT5wrzvoGq95RqLXIv55c9gP23NQZzASrOzyw2LLB5B9zJlXyS4VSAbRJWF6lHjol8S8fSDPytUPtL5a4qWR4uZxAxmHTF/KGWe9PAqL4AuKGoaRX47DiKbTD0X85PUlz6Qt4fYOHVzKwmZkBdWHJnQhEB0ljxM/caC6X2s2iyDl5MZCBJOtVugw2F8r+4sNtM+NyL4jXGQmuwo2JUmt0sXHjiFRWT1+w1RtYgFvDgRkPzsFU574eQJoxsIiPpubOvA0fTkjgBTIFwz3vSCuaNHGUGmFL15wk2MZiPlvwNvxyEAiggB2J5kDCs3JJeu+syBiT0abMDP0JNPbD0p9rgxlVeOLHdkD87a7MX6JKjojr/pjfd8cO0k5W5qeffleQopW/I2cqfH4tD3+sEs7/YoDxJZpv71gf6JeGTjjcKYLiqwfio46DPFHIhXVjDs9+p9EPgZvlH1EeurACculZQzTzNnIwXgkKuWga9oNcFfU0N8P7KeWos3kc4SQtZN+2I9di4uzSuVZ+a4/alp0mHUiukv5Eaop6Iv6+8f4PjspnaBEw3BdaPVpR7LKNYuByVno6jY8XaPUchPEE5s7M808Y+7UtCPigantlYCJmsR6AIwKES5PWuux0T1eNTlZ6t2QA5sfg4zAgZ4oNeU0LQ/jK3jv0cY+c8FdreGD0Bt3TGt175yTVuSE6H5Hdoiee8wXUsyXgPFEQn5psSxpUlbBGlrt9WQxYImyQbYvMixdV/xMbfEN9Q/cEXOR+c8WvmvUog4x8EvirfxfCGuq8zwq7BLkro5E75ptcwxek/sVnRwWJo1K6YKf8vpzJG7mFdhVbwECmNd33I71PTOr6UGGB5+mZ6xBGh9rYjzySSn/xK20vmJkRqEkogh7/ii1Lw848yN8nLcP1Tlgp7ZpOWzf6aGlNX7mPlJROAfBUpS185SA3AzFwnqtWLjtf3bwEVOUgCebihujNDdvKA3lKk+JDKEva5RVR2gfl6EXCS8bHub58+jzfEu8xShxXjZOtFncPePCIvUQPCuQl9wIoFbEeDc2gRe0BYentfQgF5Z1pSYwoZnaL9kKSFP3oJSPCVK+qHW80G9PUgPFdJ9jKV0uzHc9r3CgJC5gpMsZM7/p7rHkymQwNy1p63IqNdn7OEsZdA1VwUDFB32x1KKYlS+gm5+ZmGrR15eUsZpqvzg4DOKNoS66V8XwO8BWaieDmFu3mwmJaql6RrhCTC+lmVglfKujxv6mse+KTd6KPnhaNhxRw4RvbmgfjX9qpUQ7StdGYZ2j7LueZIGrlHFkid5s1+lW1ilcMTCmRG8YxvXblw/h2LgNxU+aXSuO/hd9ZadxrqJtSxaTuOLVEKPCI45ItLNKfVzopbGhuERpo663S+ymkaOL15/pReNmrhVKrFEQdsnini3rZEVoSw9NJy0YSRDewzp6JRtoLBYAMJ6ax8TyaG5qUD5qoy8gz+v8p/uWH6dtg+bQgBErQ5R9+xcdPkdR4/DGdRFARX1cSyOzM60a/Y2Fgxi3a6nWZescPGD4gAiGHrvEx3MAild++sXduKUN+acXNtyipIkpob7YQQ5Fh5GX9jYB/fB+mf6xq/PUMB6U8NIqjVxZCX81S2+3RBN/zbcrIMnndrDvnUhNERQXXeoVo5K0LRhipiMGkRZormomp5Ub4yQNla4Wnb13ULm+PrlrWSmhxexmfEei+/1oCu4bcXXrPIAC6CbZx5/2L9/Xp9bh/b4EO9IGBm+/+KYBhqteAIM6U0IV7Cp1JuzxQvuEHUctpU6IWASuDLe1mTIg2ZzB8w8t5E8nEn8b8ZgVrYdv0vcP2kgfosQwL0wEcLTVDaVMkUKW4oIuUKTrLxGGkqCmRLb16B4aMW/CtjUJ07nU5+1m61DOxk1+2lmB3rhJ4iFru2jpaYz+f7FIl5u3Lfgrti09kyCjTDNw6GwOQWblVHbx6WDdV3d290Qx4MkgdSsd9dnGD1ZrnVtm1OHw0tJeEax/KY8aY16FCp8FUJmbAmOAQrWXh7vTZ1LvrY/lNx9NkLVS/vCy2qSJxwQZUKXBc+ohSJfk3h1CcSmVSmS/LoXmqXXVycDEC7h20GwwfI4FGkGOTrZWu5BYzxOHl6I/zWTWgdvc5Vc0hijkra2ZfjLeqpucziwq93WOKPKGoRVD5A8wJ+U/odcofu3stMXYE15MIcQZpGGDWM8yZbB+Oc7SUXYy75PmLsNFF8zVaNaUKodCqJgm+6Q3I701m5jfNCY3lS9zTlElWBgnTzQRmbj5AGEpkfz58H+3j0wHhzS76NwH7VivzOx4j03I9JxCZD38HIHHQCNU28AiiT0g/Do1KmWuA76j/jqx2U5rmGNuvQYAIgcvyGhVzLrMMga9TP/yeOa/hIXf1cEDKwOjcM2z2/cv1Fscjb0cY3XiSLMySP8zApTsrbI/jZBWVbkOJ9StQkynngb7rp+ZI+AlpBRIYtnX4aVxzNLJPNjsL+z+AEhhiuaToJBr2RQHyv4quyI6SeSxF/CPUvILc2r/GEbVyzLNdeO2SIg4cxYn6sUh87/ocgmVcpFMupPPM+RNUiAH50UaWv3x9H1TM0YKcMB6vq01B0mvp6Wb35FS7G9gDZOFopeUur9M9OSgU2CSBG3ROdBSVu4lvsAufy77wBoQqQXIPUr9Id+AMxsvO+/pFzOVqyDs8XWsgmGm0694i4FLH/kOEpawBs18GV0cEIwdKV2e1QkKoKrqKXMN3RqWzMHsUDEg6sunxWeFjhzRQl/5fTVky3d39PtIgZsoIBOQPhMRHF3L/dpxqPH6ThEQdIptyZExons787j9GOQhG20+i3I7lwVouOYYHzYqqMMfFqDRn4DMka6KLcYUB9AdgrjczxZGGiNmi2JXBdJDsiJXYnSMQOvxUxihq8i5PplMolZwVzoKpJqQhh+plcN7UtmEb46XK6r1WQ1W4kZF3M6ypLo0flVtR+iAgaM6Ug/MzpvQux7HFUKk//RYW8Hv+PxQ36FRPx0dLp5UFzZPo4w8hB9nKGEjGitbFqAIZ8xGujtf1/CFJLTzb1ZYE3ZfKMolpevxGap1EcLIcXx29FMOocErAd3BzbMo/VEf91ijVgdWIO8CH+S0GRLv2bGudWxM3iHkDUSQtyMp+T+5wX9LuaYjLk58OUg32B6OwdcuUCHrh3rND9WSWPDuUAS7QP9d5mbrz3YvdJMR9mz3aD4ppTTUdaKTEvjZ2gj6P3b5Bn/8/TqUBZ8UT5npYWX/1IDe8nYUrDMPp1kMYmT7+Y9z0x9VhDjlR45WDMApmIP5fvxQfZNJtPEZ2Vs9koACGavMqVFWLuGpb6pG5RemcFwPDkRDTPOQNLQPmj/khaNrHJp8ure6QamR2hftME3nvzmcsIM/nXm6hXqgCPizuFvAkrIEXg5T/lU2qRpoOV4gLVWP0oo4vT8n7mIlrwdSHhIQK5R48UfwauwsDQlxZGNR+/8zbKlorr+y2S7kTDkj6Y3P7RiA04nNLX5LZq5i5QRYru9nSOpTRIQJwRVD6GTxI/mdWznJfPSIgzqYtqs3mAsPk3zG3pqqvvXD3Rj8rx/exrlT26SJLaZTjKrpt3QhJhMBXDUMfeQ5lR4l2CuBSQHhXYylGoM+QoFOekQ6ulDEKp05qU5fy6QF3vrkTypkPrBbG3N9Cy0qvBtRvQcLM7Vx1ybxM1eKz4KlcY1z8IuWSUQKHtaZr2zFSj/6R0z6RE0VQpF9BWW624P+mBfr0XyAdjk1H5ytLpzkXMg+UtpZnEGsyB+HR8DkJ2mSWxNS8ccpnuPL7fR32OfUHXf31201e8BzXdAvNjJQ5mEUJ3HFMbz5zZr5zUjkawq/i/5rDf3X52IvnhnZ03fGC877Eod4wTZVEjMHwbkej64pulGl4b1JhOC2NpydMnb0fNmQU1zlNh3+AN1ae2XuRzCyR2aQTE0GCFhNTHDmlWF3ti5lW/iyW/gTAcuaipbLyWGdPuCFr7Knk6vMaE59B7AtaB78equUlb1j7+CHDUUriypw49b4Et2Jh672hMRBpEChihCmNh1QVf4+4WU01qCFnqBmFdmpQxaEkBinzHoRpgh+Y9szX9gp+kkweSmaVFHYsyhDmrV4vVHlQTRWDPKVXjHqzZ0T1o7a7DBaIFW+lYKdI10AW6Y8/6iXNYyB4jFTA81bl8Jv4zonXYgcy6fdXYoqk/3I9NtXrUdjYengsDzofu77K2WHQmWeXRJPmzjObn/HJwY4xa7ZrGoNqAlwu1EaxIQwql8WGsUihWNQX0kQ/YCroRiHoO/KRFyxCBkJwKBfn027NoJJJAfYW1+5b9jE9Ixk1E07oAz10r+w7rivUFQRU/ZBPvEgg0SNT3NWhSp8m8XOjpPj3iRxWQ+8kF5QVlobtVumzIDHHAo8VCdLaN0XpsNyhLsUx3yhgPRzrDkto7wxYlPhhi0nDKE6wSQSyjgtBv8KOBXf59mHKMnaLexnZRatJQdj+tJpdIlnBo1rNXHQ22wOOXcaaaQrJxGNG9/waSNJ/YZ8WgwhxPg57gETsTbska737AkPhlMQi6uFNfhZXDvMOfDNsNn/lwIel03MeZk7VNCSqP9n5lSnsUr6lG7nQY/uK9YLjjlXCZXD3wcW9DzNwblt0DdoZtxwy3shcwU+jEe4pbS0uWgr92JnberlQD2aR0AYvPUlphXp9rZU2jNC9bvP29/sx1G0+pW5q8XtHnxunr9skYJE8P4ustKv5pmFmTp2+AS9dfbP3hb9XUELFpntKq02D9NATnn+IG+i+s41ds/Qlv0W+YuAZkUTeFABysClRT/sloaleTmEwmqwtb6Yj2InHQ/KcACSu2Zd7gGbzQMPhJl09QiscHHirUNvTgriMjdQOv+PJR4ylrL2jDySOJY7nrEM8O49HDCqhRW/EvaCixWf/piRvgXKmxmU/cShI1I4XI4jwTwfm59Rl8kU/YNQVCnjDrowZ5/FY9zgVFzmwMKbDuY34vq9QUe1ZW+76gK5lSgUlEulfLI5bV+MeWKWtO8tJKCGmoWPvztb814ezjXrnrGE8lcTE4fcDOQArdmmzDXSUKu8IhPz3sS5uZgrSSJQbO+BBunLi91p3mXnlK6347bwos36XFno5HzZia/L2PG2IBpDWEeARY6YYc5Tuikhb+RC6WWgswNqmOuLpPusdavMtBglg/gYbrxfNL5D9X/K19vl5OVQ7Wun4oju/3Fjh1MlGXi9fIFltJUh2PEg8Wbpz76fJJxHmMe/Ja44hMFYMqC48KzZPoAAbaNSCWTIcF478L8PVrlFGZPll9WkpMH2DDOBQxQV5jrKT/+PHgy+GeWmowOVIONdEH7kdl1pyYzp+tXNHeWolsFGgf5F7sl7AbB5+EuFsZJMmC6KpK+0Bo1cTEQ2QKxbNPMSdVRAZkaqoaLXFg8X8Y/RveTqiZU8R8oNnRf2OUes3xIkkSCLNKF4xdDtwmMLJElLFfhUTZW5qkAPEJZ+an0I4lFTWqAsmCne6yW4EJuoInuMUDjNDehJ6vin4MrkNYIsHrpcsq94+HcFWucpv4k6oXUjT5LNhjLk0u79Rj0W3Tu/sxSQK8T3CN3B+AtSnaNI4pnxVlvtO8VSYxkDlBga4akahkzoVz3UsWECIjs3SassjNtrvDWWgbY9asjyVmt9ZQN0DS4Fxe1dpXVoa2dBS9uDXT28N/4zwZfn0taogf7nWsY9C8TBPNu+aSj4rxK6/GXL93+csydAC/StyvVDdQypjxuB4kj/GyPKCjzbuMyjNHg+9i4nNart5klKrM2mRBVrMT70e2Ey61UAl3+Vh9gNltkQc+RBJmX2RHhVIlaRhzw6i+rL6niLcNqTedBr+m4TLultrUVHuY7fuGfDHQRNIX7xaaX+8lQH0KFhqY493SHOAoTWrKXAGM48Y/xBIRLJqnEq+TJObRjVeLxNE2EkbrgSEngHEQ49jYjYngrEBSlpYsMMiomfrIpVHF59+kBFPaEOeZrju+jr1k4XpTz20233VL2Lc7+mWceOcpUlBZhVeu97Zln47RppnVTEq/M6SLPul8GQMVMM84Ubk9N1c8QDlIXCW3J/h6C0Vg3vUcnnxLeMLc58nVNGjUkHeHOc0GCW1uCEfYpd+641plVwg4ldWgwAWLdh/0I3HH1/IfGtnRFBPRrfLz8yaQl8AErEerf4fBx8J7QsS0RLRrpRv38WahH7GnlHznTc9TV7RNLIK9S9EJPR7hPMp4wqNVFV2GXgKC8MKTABJnLRsQy3u85AHTjnCpxwvV/KPIB1xP/6rzzZJjICK7DMN0znLAIB/d/EXNn66kKAcOYvOIzQJ8f4m/G2zQ+LLAZuFmYoK1p/aAH8Jnv4qdMC4kdm/IQWs9LJBILmsdMBDFNc5kp08D5wHB2mxHWZf0ZBUh47QhGZhS5uzcCrSH1TxxZfqm3RxgMh0ffqh77X5c49i0I6PVZWIWu20VA+C6+2brMHkryXPgCryv58zYTV9C6GQ1ULd7+s1bziIr+PYGlogGuvtu2rlS6aRGvfTBClv3SkFCSpFGBAXl+KShlpycO6siQ/szZ5OQX1YGo9wbL46qfYhhBREZVTXd8nkoJdamDMY9j1lFcMzgCqlk7PGKRjgutDNmmeVtSTqTsb8VxFL/kFD6N/bG5O0gkHyd1qOvC/oFG5vUSE7tyzYxNw4ex589EzzTBJXjpogct4YvW+T5pZiYm+LT/iDWbWyWewP1e9XuqLnfpOk4oRxsKGv54WP7wAzwTsPWGoLAZsGmX8ZxmN1e0jb1fah8hkJROy8L7Bxk8VjFAKyaqt4w69QX5EjsDyveKGjFtc6NPs086NezDDXexDkSnidNTnNm98MpAhaaIzBkrRX5+J2irM8+c2+ppkFVy63EJ/GDHXXsXQOILCj+INkDM0XLXkGDUYypGxEQIigbTC+dEgQqLXbBq+Xul3OL81E3esmm8OFk5Ufxe9yt/jfqAtVIiO96SGsZFD6baieJAlxKJ6jDBmS+EYKCkttF8t6ahLgm8/sjWOrCqKrnO5Ei44/IYAZvEBNjasq6sNxy/QZPf1vgb6NwOHV7Bi80TUQaun453w1avUsSb6F9rjA1mxmOazjT6/jxOIOHeaS3k7BfWuBJAD8WGzpcboUCKyA5JMQNQSJsImqHND/1bw5FLPnKiChorJ+X56o4rUDxZgxaQyIMzS26z5NmNQwBD6dOYL02e1aFvK0qISzfyf8SHAtlyLwe+kejw49lzVWuN27GUHV9O0EegoymTEbCn73P4Vb4420lM36e/WkEfMF00+3CvQWtUviWceZXge66GfAGk1QaT1q1YtLsNgkimwNN1AmBrblDrjTZI/5USglftJ85ew5x6ri6CDiFXY6n4QNdGVnz6Xci//VUM9LyjeJeskvo2WwlpZsP7xqtHHd12L1OWnl3sXJAooxJ8/PUOukHmVUL6xjKRZEXcrR2nbZPTspRhu9uDwY0uq+Oy+6JG2CSs3vAHN+OKHhC3IfVJFfidbrr1AVs4VO3s16D1m/m9jAWck2kk8RPokKBXx74fuNVnlB+RyjOhOPFqZ7d+Ghl1CftzVZuwg2grRP1HtCwQwTtXiyrfzfabt+i9Xlj540kOTwlmSCxwBPsNIF1P4c6FN6MtXZCZRzk6EOtq8pQTZZ/sLG2pY5KW9rkUrwy70+TPLo7BYQil9RRjwU6v78UoqW6h5ioX1kiZY6+GYmHNcqt6+njvowE15tJALFaLobUhSd25qDUcs3F6wHF1yipI+vMFC1J+GDUexyTuJlABwFKUaiao/ZlITHYUHH5mJGE3hfwYyQ8IcKm34B8m18bvDkA/tQb5tPZYdSTUceDlZFo9kNmwg0Q0T6+Gq9SCdYG+ZZa+Pd/rctZUlbaD/qLyHO0XDA042XDlyibwTHJbbKt1BHNgKzK7HyFQ9379GQUc0gg+pA3xp0GuE7Ewr+4qqFNqVfBTL8JN0TItrMxi1R+CARsSJkoLX+Dc5KvJdQXTzjZ6o4HYELazu5wpu36OSCIcYl5bpya5lEChgZtrQFM1tJZZIcZkjikMu3P4BRGtt0noCo48QHPeFtgj2w5lHFX8XUWAbQMjMJNicrcVpit5uVLncx6sjd3fVYH+OdW6rx442aXWBM/23IVR7PRYWeCu8p1bfxklH4qQg4Om24vh4s2L4uZnZ+hb8u1C5ROcoT9kXiGyfy9O74L55zpXlUW/S52F8vpdPjj2Bgny8W+qvaVUQkpQymsuYA7qCTXODv2Qq2pGEP2mR8+1cwZoFF5o0NvkDT1zZFOHNg3lie9K+BZPllGGC5n9d3DgEkCmQI+tXYIj4a7tJQ7vvJESJlqOpVUdq03Krjc6/Tb4JMscQzNdwUlTvhECJyp3Hkr7z/hJ8Zd5htXqbIq44B5yl5CxY/RW59LwhPS5SLF3Sc1SDr2osMG9BAjhBmthnI+fjNMLatYW7bM6a+RMUz5U+KL7GHmbyVG3xZjRPc//lUq7DfcdXIf1zYCiUpXHZSveVR5fdM1UvgR2Dlb1xWc/lQvnJzX1cjG+CAHVWZRUFLFiRTb0tH6nnD+Yi8T3Rm582iSjvGfI0psMoijUhnx5FXmzrTTjtVhwBmXzOC1hB4kemY0vVBKziV1CraCdYpPRYK6gz5tGgQ4+daV8wnZS1fFLiBizQLf+ZpMl7MRbvvxlMg9ja0fRNXrfE68scjZEIXmkjswQ55x17QcwPAeEEEzQqRXJIFvYrwSA+0FQpoxQtLOovvKZiSYXU7HpXDMedrBXqf3TB4QfvuKAgkWWX8qABJGUIKCcUzHmaxo0mWoiJBqZag11JljIQCToAiZ4QDdAVd/y3Au/xPr41y9wPv/jyFPhU2bMK14pvhpaawr/w3luXE52/6ljUixZAPOqpJ940tE7nQY8Cs46vxst0iwCZHafZ56u74z9h7dloNyROHzbMPfmi5P7QlD+WAaaWTE5vGaO/8fU3VBmBXMRPTCCtAQb9kJr755hjCjakk9CBs66JSp8/ov9YsjXlOQc04dvbsaAjJMyoU6t+F05VWySp1jpcLsJyUmvjO7br3aiI9kBgBIPSNUMoPiWZrK7S+FMjhaadHnHbAdVK1v3ekH3UkOqSqxaVdvUKrf8xhOe4HjzJh7fdiZZCZ9XJfWFJxDpOf/9PQynTaE5Z2rWSJR1w0DyW9D+kNEkBJj9cPY7bNMBW9eBwpz1lnlhJ4jn2Ya5D3TcE5ipynxwmdCbWXCWBnlCpZlsqy40HQ7BITUZw5h5WLcQQufoNhXSAKFl/K3zsSiTS4XbzoQGfMnoljvLdp8F/0HMAdym74oH9wblnbB0FHsHQX5BwVV/6XQlvjdkindEVWs2z9vJHEKyDgjgI2mGp7xsccy0qzWwtO70gNHOiumMHCYir39ZRzVFquZE5XN5bMDPfyC1QAiseTD8CD9fFqyO66OBYjPNdbp9+ONPh6YLz2O9xRraBnX7CpWsmcBvHveKQLhwxv/9zjYqiTLdRapl7MyKL9kCKf5EbOztHrk/4S2KqtSQHzzBx107AzLQENWNoP3xBOF8gaPxeJfJL/sW0tVw8qnPxpgadZprllB6w92u5jPh8nxUe/dmZytAUjIWZVY2fQnskyxNwLg+7VG0FBx8gudMsRZ/hwYmpfVrpSC6n7mkbC/aTbH63Sgj9pSraxob4TBcSz2lmxQ1DKcEwYs+7czunOQRWb3qIPWZlG0w+4sc2wf9w+oF1wbaldL4mwUJFnhbGVdy5rio6als3nG13JbS3EId6ZV+cCCA9rVv4JyF9ytaBaBWuJ9Uy40nHqgfbnsouWlsITpG/Y1JQ/nLWpTNwQAyxcnMyl/2sVRja7iuo3eQcb/5Y/BU3e8mGCZLkGXa4L7sYkRnwJNyk1/QSjRgoMKBtUob+62DUhP5kRZ1jNUkxFzgmTjlBSdBnVn0ScX7LBUp1KR61J7tNNM+KQ+E1M5wM6C/n+k+WB+A95ubrdM4+rvzwhIgnZD2xocCDUHUsD4BDongFCB8ksWZZ2m6PV39/hIwQ3oiXaVA5RFSMY9Q9ZHMVsu53PU1iT0bNG+7ynuUGuVIelqK6wh4Z51R9Ov6sJ8v3R9QNJfOlI0hDBDY6EuU3OzhuEO75hQGRbg6LaaLZq2zahHR2VjmsxkN3Ny4dX947pNM2n2GmfYZa9ZJmPnc4kGF9HcihIkEosuVZeCLxf3UbZHA8OKSc2gwLveVzMY6/Rostld3HgOOFCdVQv3OvaDgm6cF92xtrgYGLrGm/3e3KJhMCeNVu7xtTm0J18oeNrvkAG7IjjM2AGehRlajgJMzi0V5QOcvfB0oHu3fX19GI/tAdyYI2ECJTLK7+BimBZ1x3S5we6Qjh4J+rvqnR6xQWGdc151p+5gTkSbrNbbu39cB6cXAg9Z3PuI5GaDGUN6YZzn1f+EhkxO5ygSBZJ47mSXjSKLm2IPjq1/5voxQLvEwrHt/UzkgRjJT3/pf6g3fQ6d9eX/QbRI8t3+cvNCDSCqziArzmAyljrVrl6DIbdJqyYXmvM9BTxcNx1jPDqJmgzi7ikhjT6LL5b1j5PX4z4R36Dt26PrXApC9LIc0fq0hBjdlb8z5eSvbbPzvrFA1BE1DWUIN2+eTnZ1enBf8765Y4kdVtXHKl1qWnORiF1Kfz2GOyYF9SGThH9UpworMlsXAlFnbYjkb9LCc5lIos52z5gOB5dmOtqkhPmHNYzRiO4/W32I3lDHoUjtCommMnBEer4XvxRc12Z+gQv+l+hiWCJaEz7wbIuLzNC4mT64X8dXVMq4xLJ7sMVHApWQHaR4tmTwXGKReSUEnUpUW5q+Eyo8tHnJfgqKn2lwffy6GBGfJqpFZNxAUf7GU27ZT42PV2/uqVEf35MPFiQ14Tns942U9ztafz+lo9lmlekN/AR0Iw8EOcNnieqMFJkDhbd/7X5LdfskUMZ7KNgGXQ1waB2PoTsL/JyIJnjTQ/ku+xeFyX/gJeu49gXMLP5/NvjsR5NlrNL7jZQO9Yi0OCHUM4QOTThqqHGO1dQ6eRoJa9lrPiaKikS9DoYz12uQ//vWPPTmOtEEG8fCcOJrM0VBz34EjUUzyaCXCwcU+RCCoqiSOq5l1CQw4cKN9daeyUbLVYfEySdDfmy5yPKQBfmXOkcO8t0DP91XJXzvXq5qZZA9Mo7y6nwPQ2Q847iDOpndkZDHPB7S8ff57dTftCo/Rq7/ak9He13vXQZ5Tb84WuOqIkHM5fgNVw6VwlrFwGoWozEt5ZVDQpnZKVu3OxwB37EBv7txsGb3YciBJeA3qYZsjEQEZ97rVfofNWa3vgBDqt2IMhdrD78+eMc4bW3V+4ZWLXrK3QNc+V+/4L+qK+iSVp014m9KQeYJE9hteK2/SRp7MWlvXsLfNCckTDFiOV7+T+2VjkGsduMnwYr3KOT+coBILzDI5K5tWGz7ZuZSTILQAv1efaDGPqRuaiHCUNn6G2S58RQ/Wk3ytaru/gbThZU0F5W6qTLKIMIQSa8NRSkbVO5sitqEf64SI0ZPpyRw8vw8dBUKsz1MRnLvXPIFGntJFZkcP6VSiBKnBli+m+zAKwiodWW7TWfDrhswtfVS/h+qptX/rhWs6Os4tYVgkaKPjLGeORFzufc7paKVMp+FFjb7hwKGNCQmYqBJ0X6by9sPf3LSHnRsA1OTBWIoTbPaYZupNHLra1inUCG/yCL86YqZp4//JimsUaFMZPy6Wu6KvwyXyjFPvdyGl5YFQqeapud/yu6SNK3K55OwspAC7x3hCQNTFpsyNeyTDP0NVZ9m/M+wDbyXDNVhBJhvNGb/SkI82dgEGBq6O41UXVTad6xhPXu+tRfprVLf+O0h2vUN5r/eQWJgv0337phA8WvhhpG1ps+J2v2ZU0ioFt1EwJCJ/hUUGQCqKkcDweYl1WR6p7Q/bTHGa4RT3ZjVgKQZWsZ+zzpPNE2uRIIAT8TlaJFzy3yAXqm9xkRFrhm86au55POPoY4AOmiGPXKi+oJdE2ztJJcaqYyzuUJsts4JmPbwcRzhNKMrAb6GPsv4mdkFfoUNa9+0tRJA1D8gdZGx+W9qlrhmVApExi0jvJjz9hiDOonqfEGZqgtGYlbUrMBAZBc/icJ7fadcAL8C0dZXSv6S/4F+V0xAWFrs6HT6zZh1XKpcke1RdyG/h2qfETZ0VEX6rA4Eap16U+Q47nfu1S3U5nawxkelN7yUzEFYBjPkNGN91S0IxbJ3p/qvDN+T5FTTsG3TJx/rkJrPoNKfmR0vQbFfljig1KeSe5nVoykSPRCNfzvSMIX8vKaU3TeJok521CmEMW1IFEvleyHPGlTWnBPjZy597op0R1bBOZ+oUkr2D33Y+UPi8N/z5YixR3K9GbD7+rKlewDm8tFKxMp01z/O6sLBKs3yUBhJLtkwkDSsnqvd+2rprnyQyDifadHHeIOQFg4F4zBBc5NCDmM1Tyj8JuE/8OADlKjVdqW5eBNNjePs/bob7+EMP5hHZfHsCwW6gLlKe8Yt4A/YZHi4Q9o2ekRiQpddqGS+ZIoQrnd8H6d23hoJ5JjmxP3fakGWqiferNqjVdq+ANXPUaKRGNhyJRUkwe9guRdcNmUo1sM5qdlomRvK9AADyXxAoGOWMGCZnVV47W1+VBEppo5bLGDx2YelXGYThphsfk6D98X9hmVTUUjEaWytL1OsGbh1m7ZgvPziD94zGHVGc4Y61mk/+SsDStoAf5jLiAT29WH7WWdL46NRcfqzaVieUH9LRSeeMwcquB8Ltq4xkNH5r3UCxSaVRWmn1U3xjJw3ge3TBcUrFMiwGknsHwmj5s1yI4dugMVJDmluEkR5VhpPP0PXx63T7Vd4bz+T6+jkfWWVG3vaikjsVyXMg+Ydj1wbzktQqThn4CfXoX0Kd/3aWR7L052/xk5LdA2IVTZl/SM7ilpvj4NjCJh5ojfudsDScuTp8savO+oP8D1P8f3kXx3peGYhG9Mk1peFKogSEHpK4oclKU74yO6bM9ARJXCOgwxurxtuG27nZLorhn3xG/ivzjefPdzTAIPYWE9S+aVE0rq0DSPaZ0qzP1j4CBR6Qe5gFuEaQUZcU41ypExO3NsBCdiuNqO0LUIs+n2hiXIQwCOq3zbpU+hwBRnzXwju99Kat14bN3znC/6bgPYcjkfOcaIXLAI3A/3JAjTMaFGTNS9Fu/NB/oEE0+vftow4LtP2zyO9NqRrVB4L1KkE9vRhm9uUsWiJ28zmNFFXkgCV8xoMUqMK5hxALLWsKiZkur49H8+xm6ZV9PpvAUeCm5q3d74ucjob03XMB/z6SVd/Nv3fd2ERsetKo6icCODptaVD+RNs18ZBBd/w2/fLpHfZmDvRSeIFIzNv7K90jtZORuXcyXT//U0aqMFWnRa+EnNY4K9IxiTeQtSakJQRcWUSds/RoKozlEOEdDaM21wDoWxIMVjQDF6rNSTCSS/XrhRIU+r/SAmjgr3Afth/ubMF/pvXbXlGPVX3ltOHsTNblYyEoz53KxuQ5+QfMce3ObFHaTlCyzlVQN/CCVlhus5PvtiqwKKhUyDA2PtECgBVBVcAEzgK5U9esOtKnACAfLUeH/d5XtTECUdJEEdNXb0nAVk6ZghwV+ZaVp3xR+JFfM7gXQ8PKeuV1LD7dfcsQhcoAscLMzMljAjU8fsTFjRKK9hCPEATvfnrCTM1uLmVVpwlqea5MxjM+dcCFecoUop0OzTooRs+jcNFffkv38NYQtS+rImW62HxHDa8+YLUj6Vb26Fjm5ghZebfWSZ3nPFrItiI5kaUEETYwtoyr+RyY/wS9H/Kec3EPDQl4Jwf9Nwr2APaQApY4lNxbXYAinntPdcJYnLpOZgzwhvom6MxjzKLNfwuMhgq3OGqc6V3mXGBeHSKvaLOKZyVe0mQTSnJgdA4q2UpicLDXyPxO1xZz1WYSK9zgDJA8MfiDiv4c4Dlb0ge9dYCulROph/GhbGUEY97akc9yzxd138aurQ/47FzCwnNKEEJWCP9eXk8/kfubqIky6P0MJ2qXl0ah6Zj1AvVRZVLgS85SMW0DA9wcjNoWbx/4f7c94LHAo4C+ZyZoNXXc4Cwsu5MPujz9fRTHZDiBLnq4jOGJOsvS+pFikQNQU4EdL5dvx0bBlPqaZy7uZNxibH3/wuFp/7Mz4zah82VY8JZkjY5eJZq1RGC6h3YiSu7VguDE+i3Gi5wl67c73aVZAmGE6lwGqOAeDMt3gch17qByQM8cAtYjBBwCzKK0AlYF2hP6Rwt3CJQTMmS+FGXFTCw+CdQf8Kaem4qUQlLfXv83X4WNWFl5stYth6Bb5QktaoQ242w08Hom4EGZElwrYkwnPZUUlUh1vjOu/e6NiTG2Jo0lt+DhtULdg8iuvtKXkGaEd7Mc5L3dXfEKNP+dr0GRbrIp6ukyRl/8Cq7sQv4BaX/pR8LIYXpgUalZPDPwRa1N0Tqk9ubW7qC6TwD/Idf83K+DbMh0FNa0nOPCzlqteJcL03Uvk4MYYastVsHdjvBl3r1o8SRXtfyQtN2nEFEsohosR+rLziUOBtAO0fV7tV7A4nPD+ht7YqRV2Iuy/BHGtLouYrNaELatsOypZA+3FHRHDUAo7R+0xU68J51hmNZ2dSB1PSgycqKPWuOVswY0g/ALZIxGasBMP7stfMTblVYnjQV+ArOxdXMPnpXenaiTFlN716/PJxV0a/+AzxS6VKTLTZEAGuj9/Zc4wdK07GY+UfnLVi4otIYtQaoC2nv5cyZP0AaiGqSk9vAzYta2Lu3C0r3j11VY9k+LvsceuZb5E/JeX9Fs6eniCGVbSpogiIvhxxGC5a7w7DhSRZ9YKWYPa2JpnsBNEtY8hFrKc7X99qX2eBp8+UpicXc91cxWDd6RDAHuvOzqvYW0raAFWfOBvDG/KLRAT9e6hIvtouruqmDnTx6bUcYgBO8NRYybDc5PLxEc/+lVfl5yJJD80nQF+HonZyLsQ+fcfo2ms4+lXUSfNzAwGHRAZC6+I4Qi8YrVT1+nKalyv9FAr+jkzmpGnnHdDyDt/+Mw0tOOjYNmwYHRn7ghfE8EH4/qqbt/RPmPVtSvmUrGA72TliyGn2wpRNkaaAVK1o7+lNBpXWKgQ4h1k8DLeA/bwr+8BL/KnucVQgNZg9wwimnNm7jk30PIBMIZ1BsnfFfh7Nhl5qQL961AO7Hx5lIKp0+kuztZ6EWALpQpXBsw61a0Qv6vFBzowqZzot/Wp8hzF3cv9pAgjr5pgvyCGqLsv4XkUt5As8SiOHcR/3TAP7TPPwxQk9CllGWd8cc+KSzFfNh0KdNwZPChyfxAelPpyz2sJvi/xegy2ULvt0upYb0MCGuTllG5Hn/BFmwM6hwEN70IyCyHo1yrUyn4WEFOFSer1yH0F4wCq07sXgH/BWEeAFFEBWarHRVT9wx91V4XZbbi/CWf4Hd9wkaBtkRp97Qs2EOJP1WaTzF3ehbzveQNPtAtmOrmBn7sF8oo4tbQCnIuA+mHH89tfFUxu//aXvssMD8NTR2fJxv92D/16WmdGMuW7Hv2YzcNE4L2q7zbdqxx7sJNgLmgFEILU7DQoQe/Zk1S6jly/Wff1WjqCkPj5RZWeXdgMwJlzFr8G39MB8KKpKTlac/AtiM4xpESpkryulaL0+PjsM2ggbJolTfhIzsf2jfpmx/K3fsV+CKOrDlAMuPCN2B0lDgbzyejDGFAG10AgxZ6NkNmVKnhZ5GOl5dbiM4plvvzrzuk2QJlzJnE/ir2ACxLCHHS7KsTmQ/AKu29K3Y1PCPYIU/bdcpjW0YKjmskckEh386iGv20j2ft5U7LE2uiszFzFL9U9xxqWnc1xGe+fsiFqWOj9cFGi2ZDN+F98VV7KZzoAXwzKGsnTvFijiWK15gXMgF1jJYKi9GHf1rb6y7hL7so40nhAz796/VW6Ck9PHuejabX39ZbFjRBCkcfhBFSqzUhHCQ/7U1OJiPYgjyGS7r8tQANFSlvNec5HSpTG6ugAOy8vBt7XnenxZFJ0iOt6V5ZhyTpSI+lFrzBv6c3K6B/dM1+td4R/HFPzMHfihjtE7x0H2nUJ7KpZ35PlbZh9Egi1d4aDjrF0C0UnAybDORJo5cXCTUp4eYeuWN9OiTJBzSkPiJQSY9D5wFqK9pq2773X2POhn9pF829nwbh+VShEFG99azTHe0CwNvKOm64PW6/8N4RUWlvXnVUT2kUEMpSykhRxjdibJ1Wpmj7VeqnUx39mUoPF2+/443SHRZFu7it4e2v6/vHCQlJNyYHWsSZMPW5BnkLGRrILYuqXU8i4kpH4RTA8oLm8CKArDOHbOu4FyN1EouGCkuDuuZT8LxILkQ2fOvd+8Y/BpghOBOg52YIchYwHuMxKhQnsNI0Rxm6xvw8cPG0fexcOQc+i66WwVjGnNMS4grEkIvxKxQ1qa88rcGyjAEh/3VutvVXt/XHVq1p/GXwDXP6/uWYT91lfPUv71NVgO97ePLkY7bcG73LXACH0mozRB9OfF6X32YLshvFSBJ6p3VNO3Fq9l8u8WXnHW7i6hc9LTaS7NIv0WBG4Z1SmIF8x4afoCpdvGIf/PzJyyW2hihqcFd9SBbW0fXXwvTkXaZ/mT5UE0VRrSsTXZX0BrjmIgg9NpHt0XqsTLeywpBjxN9HlX3o7jk9me1nY/MtlEMuai9JAoUZOI2m5nzAWgTFF5X9gQaeOxnMQ3AFFmanjNgMdqgLYjPtMG07j66ZQnh+OEPF+KNIGpywNV+OMBbTNv2WzzgAbr+/OQiMN5q9mv7/uhDL8Km0cqMWjJ+kw8YZepu/WGSKsI/vgEAJHXDhgX8GzKrm/bNU2IVumBeneksARBlcnW4It4mgB3O0m/62xJdbws6xyFlosG7fEfVRb1Yr/p8eUFjW2xtjsaWWKqFdhk2ILfDmeDjvGI1qkXHXwnSYC77BOyENoSrpdiP0BEsROjhICWUw99UMRJzx30dvrO6JF8Lmo3IQgFpMmY5xotIS+EWpZlwfnoI1Tw4AYGvFkBIFPQ6yCSaHlKVwfUcSM61ECDWrfZJG/sU0x9Whg8QsM6+6/j5FWsppnfwdvuK0pS5aHQJKFNqB2Dnd9DtFO2Z+Rjk4PLhWLscilGNcrXrUVBQxXyfxeGsj2s0xILbMFiNmg+CFo3IhKXwZXl+nNOSImmScZWBgu0xTAEGI4RRyHAKsDT41zGrCqxjA04WTNrFWZHaYvmTNIQB1B2rYOSwGzO/nbedkkCKtBFYqRWvGRHHw35TB9f0Unpjo1qByFWMo7l1lbjNxr3H5KlDMGeg+LdnzLWnn7iperK2/DfdROu380nrmWEeYXNFZx4w803ypyYM9f3ng77mZicjSo7KfPvSUlkhmWQ9qQfw7o/qO5mmqVpMFtaNBHJo2HW+eH9wrFiUWNhk/QdzkCujzCmidtfjGgZyiBVJp0Z9qeAQuw+hg3tkTHf37Z+fX+rkChCYtNnfrt9RQHej7bGCXVPLUCCv+cm6IcocLqo7JY3Zf6RLb6m3astxDh2bRB4D5HVxn2I9UKrCc3EdfHnUqzR59lXk1R4uZwy6dOsZYjj+NqF8jB6PI3fVxJ9WidgSyJgl0mCo4QSPz0tU6EutYziu1o7sqBMUDL3WAxELOwsUry9QEO7HIDy7rwQkvezH68sfZ+ZdRISy4Sw47Hx9MhasduzlUT8bJwuh93vE2AETXrTwge2XNF39JNt3QiVd5bsOaNCClGfrzrDlPsEwyDNS2aaTRJgsu5e35o4Y4HGV67UEwRw22+hK/4tSWDM/diI7dG4MDYujtL+fr8u3JHsqAWQiggHbCM5fzw/eZszP6R5C8SQGbeJd8FqC6uEjG4MQVVV56/ozbEb6podOFle+X8JkM1UwOSJSTkdDgQguS1IdbOaStY3usQfygggdfpi69/484WPHj7+yXrfjYXGsFNU/1y65W/9Uq55QgVzybjUb1gLpV1uALfWP/PCIz01xJDeZkk5HVQskaLPI8hDuPikBw5ZcbiGk9GtEApD37hB+lGqE2gbzXjIPLYmWwUn76ulW8pe1+LYONbCdp/v0jdECeByMpsd9FPrjURmJhgK2NbekL52J1yarCgE1U8jAPYSaknylJsdSwuka/Qyn2aqdCp4dvrAfMsnmjZmdAbxns+G/9XR8fcUUiZskVk99PT4ISP8I8av6xMd04jHZXMx8HmfuZPfnP/9X0d/HqF55zAHk4jO4TguXJ3IaKrJ9g5aHJRiKiNY9JqUZsmvFX3AymiOxezgvmwlIULLpmDViLe+33hVcANhGjd248YZ5jberj+c4WcJP/nbrYlhFJszbTm77HzCFOnmNL5SfxiWAjX5c0Hlb0HeqGfY3tlYsQWw3n/LsqNx6hI2bnQNUpmS55Pz90Tw8ED2ndxcARyB6LyTqnv/eE7PmHrSfLfLaSkK9RVtKdUXOoBAhqWc1mtQVQmrq4TiOzEQIDHdEo0mHRsoJiEvFdYXiA0iTuWAS35CIEYt296QAyI4c94FVb2bAC77kBO5fHR53UZC3BJpy+3a4S8yTRLkFzgBB92eJ4wXFDVLfVRAttmV10AAoKsSEW8fpDu2krg7N0QUlKDvK3oP3f9ttHo2NtLh2PCn+e/ZW4A+0NwnFO7W5Hsjz3whq4FMf/19mC6tCqWmuQi6vKXW6TSnEnGzaidqofmei2KOQlNvPscmC/tq0Vtp5umRZemE4lPsC3YxjRg6VHH1L70wSUAW7r+Z1GdivAGMQ4ZJMxUnltVEq5zphTe6oNXv/NP+1MjiapIEe9s/2Gpw2kMtMQaj9YYTV1FXDNmi0VCpNLw5W9lIA/Fuues7hdhxvdVaf6cSzF14tKWQl9trN4VbsjlZUGlT9UbzGbNbrlJz2VeawhOgJoyGjiBySKFSMvfeGvcow8g4uo/ayY1jLoJvyySnEPwZVGonmPmAR+O/q8rSXz38B0xfyucDMQZTVtooGlEYnQ+xDNOK968EYwI3Tcx16UwB6EZ+hnemaWUkJgUVf28u9GWT7dCz6BrnRNKDAuR1mRw06lDGk1J7QxwNNd2QUMrnZ1rkm0dSBNRhmNIIKn4rlgIMC89Z5FtN0Jh72sATjOzLlDacPJ7MnUVGNq1I80lLTMBCAwqqB7yrxhNf1SBktJkwDoBsjcEN1bTmjEYgDJPc54kFxc5CsHdP9l7UFEBdjd7HlCx/map7wSjFQY5p5keMVE+qZKAqSUONlTGDuGf6UAX44tMP2wgmbJjez5Qic1ufiq9c2OT0rgJ7kH+LWLa8a44r4b4SJCVZlU3jdH4R7OYQTbuMW3SZ/jIieJ/zP43z2whqHRrJJpjKLpvJ5LCvarsYPosrOiPqYR0yH9aRwAoY+It58QSrQgbeNQuH9LwqA6+Z1ZNtlGdGgxvcY30TkHomazKGJCgjbSUTZFoYYltGvGPUkq1RfEmAMVXDz9BdoTbKWWuOJvrom8XvASUa8PJD+PoCVgJzGRjw+Ip5NdWthPd5637PT8NCjzQBIm/znhqVCNMIl63Cfphe3PilB102PLfQ9MTyrChVo3RrCj4Qw5mm8tbdslUyf+pijsVbxGAK46L56PLfB/OS6LhqoS0rYw6v7RhGvBzouGZ9f2pEolUBT2iiF4R90O9nWtbhzjBDWsR0jsfBVo22a9af9A60BoyndyK1BbCYJJ3TyNGCXAl8VB00ZK2ypC5scM2tlnPo2V5ePrKX5U81hz/JMeVsttk3md1kNc1PBDmRi7QN6Z31wFt9WmKWMULWgcZO7YZYt4IDqlEJVL1jFHdSFaJSASykTaLxFG0UG17aHlAAT3iyHqRWJNJDHctSo7dNqxoybdTu/dyl00nfQw7njnGnJXsRVWnKUQ50sbFWp160N9b5VHOD9YxMQkDXkSFRWdYeMLF5IqUbO+ZdR7EmetNCHwO509JQ8G/K1oG+qsXV/R4+4A8MiguPpOYyJHJ1gCX3pRip5xqXjPDPBLOGZuAduRaLSGqzq2iVm6KU83BELM+j+54ZA6GIfSRJG0w/tkzbmNU5DY8Iol7/rVwpIqAiQ45jix0tu1EHTmek0MfKb/AePxUvwC5YlOzhbJXiLuOTqEqIsY5JErBe7N9XUuOvQhcFo0yYXsH6xS1F0g9UpobjNOIeGZUJEHg/desswee5c1WVg3EK4Th/HaPqHifyidXVFbf7hv9ZlPm/t9t2JcXA8x0ZB5sDT0WxM1RW+1fjzm0sMn9cNZB2PWDb83orU6J3V2GaiJBp8uHTOahKSBh/xiYfxDeUdNFDhoRJAj3HG/zWkxr74zKkXUZEdhZy4uuAHL3FlFo24WkBtzvUadmQvN2Rsu76uFMdLwI62W/8afiu8IQ/ymrRfhjWCPvf3Qb/Qo+9fyJxmqCUdXEmeCbUIpjX1/HIPCtt8KSEHWakrJAdWm3Y3DrvHCuJEhOCeqsh5l0lQ/KJRV0h0s40fRWmxXOVIpOsBrOitErDd/jexiu3rlO2hX1NuYD0+Qb5Rlorem5AUo2ud2a/+D3BApuQzbP7r5Mdi24fPYsy3exVch80dnEXAe+jkceXiY3KEWeumGftMJSQUT/3s8L7mxXrZUPd/XP1q8k9430g4qHRodA5uVBoAxTtaAJODP+1/TxttghDnsNkRwCz0SSFTZYo7OMR9Bq1jKG9HnCnPRZ67oSPWjalcqYbqrqNEPRY2qewMwkIRG3gOC9s1gxoFpWze/vz8lK2OHSbOmO0vs2RpmGWfHolOGb+G164NX6tYDV64IFXjCChEsC2qTThwajebdS1RVgpQlpqFRBbkL6Qb2rEi5RRPS9Rl8md2K4KpvyUBiGcScxGaouHegN29ElkWHVZDr/LDJANwz+18a9s3fzNfoH+tRupFETHQ3BqnUyD8ijtR7B/CEXrBjl8Me3GLH1pNlLxpB7FURbrbM4vkEDNd0GWd+bvq8QXBhdWRd3NaEGJLt/ynp+d7TiunBKw1Il74EtyNolpQLkQMK8fF6iZCnU78q6Rh0zntCas/6fTOHxbeYa5PuqPtdT2BlqquywG+jGCWMP5M0kbWD3EcpbUCFlq5KG6354VK4I9oxO9T04PfETfldGEdR5I/hkRPdmw9obmYP+0qf5TFvFDAkkdQMC2LLhx68pXCaI7PEbIOjEZHdlIhHP2bvIvr9ZfI+Rm/mjcfF9o2qeiv1kLsyZN1kEl7xciQOeenaVtDDxVrBQ0Km0tpAq7PiPEv8/XLAABxIbQBKkoTXwqe8u6UN5WAb9TN1hlDf7jPn0dxBh/TUVc9nnysYsa7SeCb+ClQ33tQ9DC9gD5AFayT+KSaPWzcPvKmo3R+wqS7YPmAHrLcgVS1/1j682BtRCSeFKVAYhBDNJ8k6tRBZCyczGo1zLy8hIAjuIQf6GVS8GZwL7Q8N9L/dVcaX1S+obwh/dsZNRTKhMu7UILqWZwe8fXlHF7CKTTZNHPYjjSkVI6X9yE2pU5/zoJfdDQg4EK77vDBOLujVObtLtbPusZarK6pIF+EhLhVSexu+hsPIynB4czsWNt6tl0TTrDFkP/1TOIHJ+PX2FmdI42ndqhp3f+hI2F52a08lpmyvzutHIPcOeledWwyFH7WzFIvSGPzg8mQa+6CORtxt7zJg9gTQExBV+z4SjqMqoju6TgzL1YGJlmQeL9GGGlRLhuzyR/7Vd7lp6W8QTJ9/taSPF8WchC9YKDM3TLK7px0bUoqBDOSivk2muCMoXDLg/1AwHSjDWmxdLTkWCmJY4HFueX/QfcSmHOi9VSsjBMcPH6o3LicsO821pJxBgrlDEe82gnkjbgL/+auKVtFulCYgkwLsmaPo51OGIYccWc62jKdpafwAxLlDKl9cT+YMKbqtp0qrOXxYdo9o1IFIRZ4OTyXZniYo0W9IxDhfeAZYesqI6cME6+xqhuyz/2rg4F21FFfpV8LWKHdpEf8XKXn8NR6IUtywZH3TcblckLTjddl42NAU9ZWD5clP9svVBcefjnUJGgUbpFpEKNGuiAkX7jfIcOX7BpCy1ff34ko3pHfXn7eXvF3LSKGXCTt4PIP8ChD21w6xPp04O37ZGUiz/+GQkK38vqr5OLuk8CBoBZDDU3sjNZTtuPSoGfo3Z/Y2mtHixXT0LLY6P53aT0lrA4vUVjgYV3wNSIHZxnCtO7jhJHS/XgML3qMLiCCOOVXOJfsWDx5DDSeHD1G4Oe+xx51ZoiQyzdfHhMEkTbPefgOoFDOsMZ6wecubVdSXea+A2ijHVPpmvT/uyYX9wILk3ZD75DqX320ZLtHYqKXRc0iqK40ThPv+63ibF1QQgZ7CM9FGuJobCkuswtnnE4aM28omRdAjW7051P1/sSOigm+TBpO2lNiImWfdggicMaJa+c7eX24PLtUROxKh/dWQ4NEMmGBQqKuuc5v38rXONFmx5oUdovgseXyh7V+D21W6KojLzUDIKGECmAzffW1Jnb3KLGz5X9V3Kx9I60uKcMI/Xpxv9SmHV5zuZ0/6wSccPDAp/1E4HG9hCGSSrwZhAqHBsB4K0QQWXOxXGHWB95raOyF7ri0R4NvdNwnsmTRQ1qZLyNkNkP99yvP5xydmrlW99i8QyVyDT48//AdnX5+D9TM9ZHGInNwkGTy4A00gTffcVx0DubUH+ly287L4yInJIvNsGOAGEEYXubQrzb4SvIkMLfxCQfB+WMztdyUgf2Cyvw4JP0u4Rz/aWpU1Ss1+52KWJHy98fTkIrsRDQjyQrA/1iduqQkAjrGMha+DDy3BvutA/R8pc4xYNYoeZ06XlJQEKLBqtI0FuM3x9iqScMqfL8wYqggviR/QmeOUzP7GVKRcXpp7WymHpuEj6pnG8NSZKhWWOtwPdl6OAR8jz8psAEkThrfFakGufc/9Ts/nDHAzqkyEwnd4uDkaIm0HlWSSfOj3h+gydFjtEGwr3Ka9XmOOv8uZLMnCMJ1lFxhjoorGvhUeBxK5zfFOKSyJfVBRDe964tUdEDH1pYNoNd5s58HZXxJlwbUOV4si+pkC0BY6kWKA1l9PlZfpj1dC2S/n2MgoV8qHqgy6VfMRMxI4BVeY+LpKVMFYG8l1d8rOJoRLdFvU/GqHQbl2jS96Dk/pD0siGIff9DiMq/O28jsSDr/d57Nx57ePp0K25UotFzURpRJf+4PYZ9JlwsgP0LJdV6L7UDbctlNgaynLch/tiHsN6BIy1zP8vAE+34Ir+DU1/9KU8VAjtTnPYlEt5m/ax/RqVP7p6SMmMzSEX4GuqvqoxcGFJL2q+8+u1Lg+9NzjyiwGiVh6I5zbgsSFgYqCyEZLOoAlQbS8bAyhc3+Z4FItx+oYBx7f9tZs2L6JAAPnLBmeBiaB+mtNzbFLbODB8d2xJHKx249q1D4ue1UnHI6Ti138hVQVWi/8o1jgK8A9vgUzAPU79y5wVqcq9TF7tJ/SS/0OJ9UYpD23Kr0JnpwD5OWgn/R1/LcF5lTPmn64uZb4qQDiaHcDA4NZw/iDtKVoOXwMmdO31aChYnDZMSjm98mxYKW/nU41QfP6c6v9dgQ4ZR8yDagYPFJYhHwi0yQkUngWCeQ0F/hilOK1aBzFS/tyllVDcxynspeAO6fFJwLMVLZ2EsyqOZ5vOpdohNVy7bTHrUZllo9XSS0nItMauw055fy7EsbwblR7h/NCHl4gxWK8vvrblbV430TYisXNeozSZgqzKtJn+DPMUgtkotJRjfpyW6os8B7GVfEwgHo8r1aUzSGrC1O4GtDRpl272vWuXG91Q9R2xCLlghr/+V/hI9gfFban9V22ofBToQYliuxmN/tOjOL9rpEyyqXh2BkbPW3oAtpi4Vzqo4iRNg6FOQ/30ZasRuArDSBxQ+POkYs3jwmPURdPWF8F8ZuUeVHLmoqaWVYpLZiLy7fREJCUfCWd+AZx/D0MoCEg42GPIiJ27ePav3sShTP8H6dVdOMHx5R+v1+WGLKDnaapn3p3KirqiTB33rKog/YQwUiblfeWp0p1j23kXx47KiLgvAOa2biElzTkaHt7CZWvjplAa5HRrxJ8mQJ0feab1Kc4gIQp3f8imS+8ZnGUDl4IFHdTYynDzP9ue8YLgiPoC7MUgvdGBSZXVEMD25gcN/Aw9Sp/857cjxZisT0zbp/Fp9g/DnNorAaFeJTyzDypgS1KkPgO+yh2kUThauVdqjLyAptewBL5hJNnuP/46lBUEQ22QfmONbQUsvreQJ3ln3dJ1cYptIAphNT80Wq6uzIOzFexRlfAMgMlnq8nqaqyNOuGcOX9ZaPPLRla3BaMV7Sy33jqZzsPU/VFS5eIA2NdkyVDHFp0lnrIl0JI2bVkxj7NYMnfgNQy3xH3H3WJzttY7B0mnWhKhB0OncffnS5As7ikw+mL+j1ctB3Hs3hoXtXWr1EXXdsZKatar49C566DhkBheTaaj46CVct9+E6abdvO9L19M6uqoXRwlYp/5v+9UY547L2nceBb5M4rKjkLWcisztJvICJoBdmm7sVixV9KLCe8x2Jm14cuLpb7UxjHQ8TSes4o8NHKM+jze/PeF4cBLAj3VQEbwcQMqXr4dpTTeKMW0mGQUVStLtRc83SIq9WEQ+7kHHcfWtzzBSQj/h1gbHQYXvGJ1w8Sn6nERxhPfvDgMRp/6snJOPd1NJBMZszG2tERfUKSdoT5zjHLRqt/ODDre/X9jjbSS9qCnlCtpT0qo8mpfLsQA9OWTHKBQHcZj+oJSVfTZT2tHaV8+Xr7urpTXias1VlXwXW9XxXYfAD4FKo1IOuqvMI3UhOoG4qzk7lhANnp0Bv04GnrOsvHgmWoNvOhhC/OfBYfPtKRexPpQPJxsSxsnkOkhFYRrA7bc3q1lt3rG9PG6tydZ6t6W8LUNNQ6pSoR6KFK8XU56/gXhsV5vTNVmRc1h14CTIoK3hDPL+AzqfcApxI0qBJHhvu4GyhvYujOkimlPBUdtXTaiLbeHnHW26l72sOoI01MEW7zxuIsfo9NSn9q8n7JQS5FrHEcuqGlcLoX413o5zXiHtlSmhlAMA7Nw3F1GmXe5s1jMbQYd4kRt9RqieGgLzqzZOooNnX+YyIJIeIvbFgIHexngauenFZ000gIjoHg4JrY5iuNjALIrHd0WVI+dIZm8GwHPI8/vHsPSQikcKcNG+ljiwzF3KwGyF6jpdTHRaxTcul+HzRDtEJ8irTTTzzyigrzoD0mRPcJC2OAwNCbA3IceMz1cfCxwrdUlU+UQJTY1Yui1+p/2YWUM8MK/G7V04E0265v3u9S5ygKEmtZJY4PXMMrgU7qhyeTDXcbSQZnUJl/drFW/f1KndOrO5zOxZfTg2Kpvn8khHrhs7KbcWp6IgEaIVwNnl4ur82Z+ZAt28iBk6oirSXiBcAWNgJXNAZiJyZg369elFotqUvCU+PJYaEscI6AILPiAXat7wcvQKb/69xEcQ7q4rrqxNiy5P5iju7rPaF+I+7P6hGAersGM5p1duYyVaJ98K3qHB3LmC+64lPwfH7y3ClSTu2ldoX4hHXRlx4dznSfDHPWzy+Il3VIR45ZsR/hCg5w72A4CCb0UZi7eWoeq6jxkjVpY9Z/vG5Ra5GlMLnivDndL0jOeDxOqJhZRwZGm/Ok7hP5GIkwNCLNW2ZjRHzQj/de7L2gbv+o72XN+f3M1/F0VsGN75jsQ5HEGThswUV30w5oNlBmGDZ7tKONveuCvv6YIo2U3YlwFWxsuijxs99h/VrGn3tp+kehzfrH/Z1xJvmcVAEfe9gqjGeNf4WldoZ107GpaL9dmc/BI4xr64n4+IIP2kX24CbON2HHB5hyNVbBlA8SPvGRHdwRw/WbdBzdvjru9rmtEN1LWyAf+vXg9z/9tNmIe0mflDZXRcAOHDrSzstZqTARfxGbcdb5bZTER8rD4TNpok4TuTkZFByuxh3IujH2WtezvEG5j+LKWs3HWhCLD5zE5w+WvFYYEGlGlMkEarvvMGhJM0zUHJMH0LrvcIG9atYioH/FuWExYhgOe0esxaJ5ZN/nF+aLLZ1u4RG7Ym5/fUF7s/STJsjT3nOSlc+827iFRB5n5/rrTZ2uBfnNWoPDOIbBbXQ86d0h9n59dtTNiXZUtWbdB79zE6PoJ7SxRotNS19VbBcwHStY11fzBHR4YHw/j9HuvHrFCmnT7gzX+v/ieuE4sJ+bU2CnQ1V2qSKFsyOzWVAa+U8YUnRgCLSHjGzWAuaLxPBIGkaTbVpVq7RgALyWJuVJe724TbbaiV2UdoM/o3rX42PxVIUHvLCc8wgEjvXUvACSDWGnqL+ecUsrNUuBTM7eC/5nNU2LHgjUvBqe618yW4wpse9BC741VDlyBFA0pmhRf/ADThlgmoT3fTorZOvPWIETg0vd4bdBU/hRVo5E/1FIXjnHpOdJYpgO2I1A8jgeREyyc4jk3SOJYWxNCskmayYpeik1OgYCuNwImNLanVBemoaH2/9Twg2qh6r/kKQD2Ow4RuuWbQDgyZz4RxJKd2uReyWTK4h3hlO5y3cV5XGJRkfW2OEhturQ+QOcECiv8DjOI1+t7GQx5ZIPUPGTiFL1sgnfRLvcFg94kU2NSiaSRWEEKM3yEKr+ba/T7o36ch10aYJFsN1wUCaVrM2KvCNHREa5BMJtL3ni5j1BfdfXYXndtXQ3EbeYeyYeTOnWtpp6+M0U9NAfqcqvZY2+GTpCxKOm/62HqU1vJblK1ffYkiKNw0BD84QRracZDnfneT3/RZBuOf3X3Us3SI40a6j1xKkp1sYaVXjC4i08kSFoFIEKax1mXyJzPHO7J6PLQEO3YHTI25tAajwDHXT8dyRvomSW4HCrXUdjNvp6xYL6XnQjQZl0D4Wk3wfUbrVGHgzEtb+vAvuCd1zs7i0yMLqVvDcyaHpqKAQY/C0zWHkvXZPgrTK/3cnj7cB6S9OtsH7bg4SZSNKNA60oZJxEo38/Vx/BIFSe7QHeVqyy5gazSt0OLMa+TAXhC+xbRuX1K0Y4A1gjhQ8YnGSee5VZvZJIrduTgWZWKH8gkudA3r3aaSUflIvey/AG7pWPEAAZkdzfM/67B5J5w4gocXJtpMagnBHgXQzdKvY0b7ibhV7+WAHsaaSFj54InZPmPUT2bz0trn8K5PShyKESsaANJpgEgBPO6ebYSfSZW3Yb4yBAr8qYhZyuxeCsyzB5aizgDpX46jJ5RRfuQ58z3/k/rTvv4M+aKB2WY+cEHHlaXbkhV6jIcXpXeJipuXF9w3PpQ/N5A01MKBdgKTj3Z4KSTir6PfDPpR57m7eAGRzfWK9Z3XNTqQXhFNjScNRoPGyMExF3yYtpMe2OwcLazpgf5CuWuMcWrOzEt3emRsl2dBLEyGleoVTPfv+vSBS/ihQnc+9RhfWKifRwKRdOejJ8wzfrVG2IMhuDXrJ2sNssumHn/lReKtxqmP2oohD3S0rYysG4OGGObusaYY9LJM/jsbYbseNKw0NOp6C4ZIEBcdD1cKfd68NpmwLq1a01g+wr8TaMWkHUlT0DXIYy5Z1NzQprcv16iog1t9/+NnH4lFU2ZhSIUSo975OOPjlGItLQaOdXWl48a6wlf3UNQAMFYJvuJFR33lOWKgSUnD0MNSL+G0UnH8876hQ54Ym40KWHdRx3OciadJMkXh9qsnJTjQGmquwKWu9Egyn0RlfwwKfo0+3fxvnfjyqb8Rr+97dRf5PjLcfGyh3IAFI0TIZo8G/nhdF1c7ig3+F1HyPNz4rX1YrQZRwiQxC2oudBCG3hkqFkiOTTy1fWlcWaiHtY9JB8oRTOomsHYy0hgHmTVs9WqVeYxgHVv/MtbDpMfQ576SfJANGSlmYZCSOb6PriebT8H3n3fZz+LyMnusE7LMIbnls/Ft/klp46OLhFZWbxLE4/ykxXsXicQPKUDHUxTAUANYg0VEdszqnrH66M5sbI+M5LhL3CSzVMLmVEUVvXyjKUVMyxyQqcnbnPCmj3T0O3THQFQNAcJ+lpqlWWx6D1FqcYyuEmiwZs4sGk2+hBA2ZZY/aLGdvvTl/6fVvf10xORuG9PNLQQZUKsYJvmqvMxAODVOFSZJDznE9R0IUnt42bGzkzfP+PdN+Sd45ikgNEj9LHbMiNrEJog3EfY3wt+WnVYZSXr1Pi/3c3XeRhwGW0236Rzqa70MndyhdxaUW2wn7ZwWkRAP9/63yupDd42hLjWmz8M8gjLY35oYMF0pIPEWvwVLjgm+bNAa1U13PEI6EWtf7wbTEaPAa2yLqplDrZ4/2mXTXH4CqGFWzZFNCp0VO/Jvjzd3Tc/PlOG5+Au/qywcpo2wpAyJoKXKl6cUV++eehTcgem9hb6nKlO9cJBEUlLYagG+IYJEHNJ5kq1Xcdre/6NpnOJXWTWCQQ4/YRjuI45xiet5Zxnm2cGEZRAS5JwECN0eHFzyVU9Lcba8qAK+gZCU0CElUEwLiqO41aZqGc+dRNOzFkMKYMoq3QqKklJi8Pwpe/fZ8L95aL4buMhIXTqSNkFGagwGY5QK8IHLbz15446zm5raTXta3d01Agjoio+Zz7xVTDpF0UxEZYJY2RSrssk4OoyGTJjkqws2j4BKRT0haK+DCdC5DvU+Qs+ytU06J/NtwBx6wRyryb4DLvxB/5ix48VxU00GkaJqzXIVsSG+hBie6UGEH0orPgT679fH4dLbpUyFvFZuEuLkeGJleDG9YJLD9qkFsi0uyk8Cb8BXGocualKRAr4ijPFzQJX+0rqO/DKHZGprNBkBhBVDvQZx9fE3bYvkbZLlIl1KvjehG6OEiie+YKob42W6zMaBPvflstmeclbP5aa95ClPiqc+6CgPzkUPOZvp6FIGZgsccWDPYjLQLxWdtcMWMD1ZL/vTnocU0XQG58oshxFWY7ufHii49meMoFF10KKwqRTKpTLAkT82UGypseBAqIMbO8En+bBgH8WQRBIJHCpyKf0XFaoOciozN3VW4uxLsa7oLMX6vPmydZ7CV6ERrsu/2x8Nfgm7ix28FkDdD/nut25jmcHMvWTuSUOnlYGaJQkvhNvMpZImnhqfo1J8KMjkNMq39o0IQVlhaSadWQCc22cZWKvvYZu7a2UaPzLEssE2pqZ6hokpYabAcIWISYsoTljiRJj4hDfIt+TXjBhORRGxX5tzl15iOhOOb5Yi9EVASi9+5w6A4J3ewjS1a7Tgs1mao+7qEHJZassB5bV0urleSNF/NWzL0iVX8kDDLDw9itjM4FggnB5IP7MJHEaWnD80faA/zzYLB6XQWfq+t//HIyqit3tjsanvbig7+w5Z9pfdozKHAF/eJw6JnVL3I1ptq37OSLoxmEt83ivpi5kRt+rlaEnWQ+Ih7n0Ce3KU2QVEy2BjkJv8tnjbBVQI4/MnxaDu2msbEnrjBDy4XgHx4YoXcdowYyrDHKmhYufI8cQC0TSyUaLk/5ve0UbZySKgiqbjbeabrQMV+JFGgiYlWwv0DfVO63j1RX/rycQHROPnM0k/3fKdhMt2Aib4c4aMsbU/C8T/YqKnwbW6yeqiYaxDwuOBw9iQdUkx8wxA7MUg0Zqo7dnFA74xOpXRdEWX6Z+njLI7X8jAi4ewUS9bhpAJ45yXqzk0kasB7vsz9koF8BY//SvTWHUe3lh9yVDz17Tm5XM3JTv1ZKwja/+K18zM4qMFSJY1mHIyoOpW/5JhXwuwiCH+ub3RJN0Hf7f98hAEfCytrQ4UkeO6VXQ5wWZ6jd/CUAxBNzpubsvUNENKp34GSzL6z27JdWbrSBSJqgVqZPB3UjEnG7BHHY5zkb8Jg3fNEq5gDDhJNGlQ0wgF7oYA6+2MLuw3QIismmR90Hv7KLX5q0oKmEgF5uCtA4Aqkbs0auitDUL7+ZjSmwHgzbi9RWtfpLH3hgg8bQ+qrapDhcTyAJ6Mt97LunMapjW6y6fXxHTm4taKrjrUMk1l8QHNPgQrJhvPzzCzeGTdL1SlveLoW/eGPXqqoKv/mnWBy9B077wpPwCcDuLCNgGmkVtDK0cSSo21AzH3pl0cziW6weAlsxW9m7oP1YUGwLX6WSFt05LnqWiqRy89ATftfxu4bsbyLdFz+jIfO1mlGGEFDQCohSFDxPRCaA+GiQcB++qUBhSjEQP7VsWj/VT5A5M1WMtIJ3sex+GUacEj7j7ORoN0WEv0WoS9gO+Sa4yZ30VD6YcO78OoXRTs3QiJs0klppxV/QwTT5n8j2QbB94CWm2rvgPz8KCM3RWmKF+0vhX3UID15hUnFPnZpYfZtQUkOoTaX9z9TBpboDl0P8jwfuMWqa33cM/7V+yE6TeDWFdPECYeNVm6H/Yeut4Xw0Aaep0M+10KUFF32PkblKneDXWTmUN8JUzmjM5kbZ+X8uJab3d/Kw+r/xhOIhP8cCrGSkQ4LuIbj8t0wT9Vgkf+PMr1qHZSM7AiEoLLBZVB7d3c+KNn/+4cdDpT6zVeKvp7EURx+9mqSopBmyyO2EvzQcX8ZNB9dT6I27F3X9CSLh99os+4Cwi4mcbfzbiAr8XvUBWEXgp9dvLuxx4j0D70rFjpVaeOaIOroD1lRZuWFOBKqARea+XeipYkrLW4H0W6kJiXKAl3wW2VM1ah2eOexHL6l8a29Qw9tkCXrpV8npQwJUtit18xhOzuCA1xkOPa38GPa+O/EFe90yg31TOXV7q20GNyUWMW/mm8ljjNUsdTZGE9wb17QVGJQtH0svz3HCPJct78A+crJw1PxX1q2+QaMcMx/az3gf2QpgwTAULRgWS9veaZrKnXBdMrgaqkFGY7LLY18hRFElmajsrZkx+xL9+9IR73OIdOQ2F2kUY/KZF2yhaqJHXybzTV5NjQBK6orLJ1Kzx+eF2FqJsWVFNtDn4QROdw9Qt4m3qDUrNWoQdhhTnMl7jYMzbI3sZTSuB+cfNWOjOAkkJ/XElRJBqnpY5qdlYRx2+zMyQRnhPTQVZxyqshG7DINje4Vbpohy1KpoH6I9J7i/qf+Zv1BRwCZmU3E4t4krMuvO4H9xYd8VK3BTsO6CHKG1ZjqZuZhTPvj3j/phbrgW5a3yRiMZMSQphx2l2M0BhQb+RFaRhafaw9VJg2UqoSmLfjkYiMtOnpjxLhPTx1HKFosTYIVboBvEPkalhCuSE710pYCRgG9+FqUf0Jd5qv3RPR3XsQAKpGYwJAhr6GdPqUdbn/A1fF4v3EC3BgqnvboP9mVl+VrVI4DQ2EUkNpB47M158CrPYbAANVp40qJ3TcaUae4VsSNXLj1Fwr6XbH92kOVLbV9PRQaa1nnOU3ODKIVZphToyCUEb+43DxqiO7gQksYRwtEMrW/JdOuh66jOqZ2OQIcQFqAGz26+5AwnRfgVCdvlOZveHT0sBQ/SlF5zkpr9vd046Zt8ML6ZJBrN2yP16F4bO4WrUF+9quIxOFmQeTC2rNZBmdknE48jQ+Y7av7oFnRn+nhVH3DyGb1Dt4xtNO43y15QUDFDqZbpwM3YX/QhZjGbVygzdJAp03a8TsAq0FixJaKW3IEl/f87qsuVD3BUhLcq9yu9LSBjIoiORgUINo57ZaIlQlBh0g3ro5DUbYErcWptgimGCImmJyhjCMFdXwoGa1/FJeI2o2Imj4SY5c1Jen/GMv390KjNVXDbbSz2vmmXdjfy8dSE2vBpyXEUnXjP7RNtjNEr98b6JTU3SqJbaIKV1atjmClds+HFisyv/V/hBVQVqFLN571Fp2tuKu29LmtqCJ40y+hqfTzWKSUBzS7FPlpqPoj9a/kWFXcqrkLEYelqqjYBWfasXjQF8as/9t3J2CR7OVTRgrMXIBEnHF0c5OT/q7tMuCfiuPzKsKXH0HRnnqSUzRx1vZwBn8Vm8ICDkyZula1nDMiBO5d0xNENNCy2O9y2FhZBkUMPl1Y7ygfMKYbZczMzNzMA5FjVt/JRu8QruYEgcrVsfcceWVBgM6E4cnEanHLfs7xABgg3g50BtAzUfBBFV4H5aNcLoSxB5G9u4LjzIlA7RG5W/jLmMp/D6gOrD100M3tmuMbKHhajKe0UF8RbAjkg4zd5Qx6tlUs7vM6rSbyRVHw18B8L/6yyU7jNENGn2UBZGigaX+yfySRTKcb0fYCxdlssWPb0fduLMtRo0Xp9V9uR1zPs6YKygIW9oHRMefPXNvG3jjbuU/Qw5FM0m2sjDESssMQjE1qtMy8JitJP/Xym3AJg9Vk+VuBrjP1Uqull1FHCW1llYZrGnoQnzjjzk4cHPimXJLxqeYl7LYeAzRFrIy7W58me/TdoOxMK5l0JpgxKEIE7inCRd3+Rs1t4oty0/C2SQgfG8FQwDJBD8B+VZB66KmDAis3a/luHlO/y80C8hqozPqjoK4gyBuuuEvxchUNgcYJXgd9Dt3pGK9nDQ8D9+Hi2rxfk0dtAj45q91uMTzjI95S54hLf6Ii2DVUpOGvygRwrTA2YzE5CAjTx3DILr0aL33WAijvwbeVJZ78q9eAAGO0FWJU5Bgsde7NPF2uwNBHkW/D2LC7br63oSDG/rk05F7pXPinU4Dfxb5vbxlKLJU5ZBvbztfOdOfe2D6liJ//pzndJKe7C2zpy0ByekmtKvbnNWxU/55n3RcDIo/eeNtkqS4LngD3qAWRDxBCpUUCgcTV+neheZjCSjE2EAdtMvwYE1zufOWQO6BOaAz2cMr4CrDdo4Fi7a8s0uSwNcN4unXXYVg1LW4rjep9n0xFD6P4XX78PxYMimXmRToTdm10SvqPrt77q3iEO0TIAO7VScHbDLWWudL4rDHq80PyI/DlD7IwzKV2LillfzoVu0X9u2F42H0gS2VdZhGQLYZnGySRRjrInpYTb46p5oaQw2Rl2kO9XqhPFHuawkeH4eFGDPw1c9P+nrrhFRauAbTXLl6lRlBkisQ1HHhv3FI1ULZ6gqHVFfvol2DVSrKzluv1H+8GUrMz/ojTJKEOenre/PW2q8c3yEc+bVv/tNf8eXwKwG19lHWlc9TM7TlTSFseJGLpgglLByPcT9vBcWvVRRQ1kaZekaAdB+MOSUkpTotkBafRH1e7wn9xFzSf9jMhO9pwUHim0VZTs1jPo2AvdaxzYok75lpQwmaGS+rbZivRy1kziUDxbGYq+WaoPvsuQK9J51ow9IrqCb61PED0Vr9vh1cWvMkF2WBruj+JPs6VI3LlPP76g0NQvcTv4bJjWsieZhxXiePJlIlcNxpF+HsIt5Kt/7cbtWL1X14G7xg2cKD1kqqtdihm5UIJk8LEBe6bSHKH6r21BkRH3yDKd/He7DXWWc312NI5z0+VyH96sqHU0Sm/9zDHjBi7Mm9EBQBfEGHvzQaovIPO1uZ5NBNSHAusXddAVzKrKa6weo69m5WCQLcOEZwojGYN+szwgYuNy9Ti05az7O9Qw24azptZvxnmOg7bWboMykqd2rs/QFtkOTQN+VpO90bbsF09+Y0TeKmWrArOnZMozw9MlUQojhak8p+X20LezMH+sd5YsJXEu96+xdcmKLAcB9uOrpLgPec/QUR/qq1pYw0ftlbLEN6ufphxYTJqRHXxVxEydD7XgWiLtSjK64LCTCqbUV27cO4EmPOzmyL2ifWq2aLGVghpYwTcC2Xt4v/z4TIZz99sYo9V/QBgDLOEKbGqxdEvLqzO1iJPdewre+jjOhny80uRFQDnYJd4ah3IAiwVg6zfe7bjgzZsNG6SBSoN0fYfft+j7DUD60Xy6pdWYFmNdqx022BAGqBQ/5diAFbEiKr5lthnYCB6m6Gdfey9dwHiCybFipVlyKOTa8Nn6YnInoQVKsyuFErRKdR+awWFYs1Z8wOqLNI0KTxvJKvIg1FiRD/67KN+riGpCU3/Rvmn5kojH5LwbFqfZour5oq0OgaEBK1ZgqGwkALP0CgWwl0qPrbys/+uyVyv+zc8fCkI0SkbGxIxg73a9uOK5mWqkLlIPaapFL23Nsu6my2qu2SkZmZYBtfXxKlpswjraCmSMtzkQKRTW2KDTDEeFUYKFmXZLcg3Z3VnIEIgEXWeH8xA6O2AwDhK60GJ9GXvfofSqF93Vr4D2mnrDjUkGYBr1vULv0m3lEzTtxDHGuiy6Oe/DnvBlpCCmElxRtkOHlnkFcVtRSF+3jlwT2QlvVN/EKtXXPB09XiAMO/W2hmbeR0oH0U7DLUivNlkhEKEEvTsf3LiqqibS79eb9FhiRWLcgp1deZJ37lxDLf+6s7yIQj4uY3cpyG68ydCmfIbScyb+kkbsVDorOuFQomsf+pMhxTr/9I8DS7m47RM4Ty1G3M94OeshCpPxAQgpY+3Nra24xVnUhxRXcV3Ky/5u/X9K6TTuP5Fnz7Fto2HDTsH1yhqIbBObGG7Tr/MulalWHl5LdGt9fyMxU1lIB33lEnEt1fZDqfvkoP3+q3tZYJDm97Gm3K3KKETTPWT6w7X4967l5Gp30XRNp4TsnkDi4nC+WGw++Xh269ekmw7Xum4zS5V0j3Cn1vhuKw34yCdmZF9c1IKPVRT15Meiejb5vadq8hyYbM2ogJohcPgFTDnzEKVNSb5CgyzHrV6ygd1a/A8llfhCeBSucKddCSVyLtbEwanCi29EFLIJ7CwaoBeAWKO2gJiMsTBjFweqcq7U3QzxFFIty1rU1ngqtTWyXJP8RgxVlWHaQj7K4U8A0lD1IentYvQNEFa8zGupYqE5QWNsMYKGQ6+gutUcfYQ2pZnqn5db803bP+f8D3usSqBJE13NDFx/rosw8JusZvSO5cflSEieJwgsGVoXJA3mvqXNqhY+cT+113202/3LuAiTTQ+yDlw499/Oc7llLtp1CchZaJfJkayVPNfeY3PvPIJ5/h7/oenes0fGfrLu3YWPNBzaPY+LK3LreWd7YXpdJ1+bsgG5XPUMBPFX5IjOj8qQvZxLLiARrO5e3RBUqc2NfKw2q0B4wkS/VUHxrK/FO/9V+26+X8ZPhSC9ee4Q6jnyWoAatiPPUA7r63VXWBva80IEwgVa8BRXSUL129dsKlx5EsMCBHqcUIUE6SEQaMQaxxWDzTFAyHADwO4xNWqSeUENE2yLp7JZp7DSniOxSU/Tfgg8/vlnqxXMRvKsWBr/EWaATo9bzOzohbeoB8eJNpoPvDPoNgTxAxNXU1ERxC51avnQxjomG7HXdeEmT6SH/8XIxSRV8RitRKd4r06I77jyC0BRmHxdxIo9m2U2CAzF3EpWKsPD9rVzjihx6GxU0J9v/a0yrgMm+BWKXlXZMPCfWjaQgp7xsOZgjplLRib4R75rAYftKyTM2PvULT3tZRF5QCuMSgbz83CT1SLFLFe472NQitC8IJ0LtGPNYX1xrKdpto8WNTL/ClFvC8+eaJONW8jhAt7kZjfUF9zC2kqGxGPZFrSh4yhxmN+6WCack0O82gmgePNlYHMviBqoQ4YZlOepMKJwp5AnRqJ42ebKGlstR8H7V6vciexJKicxTkFfvqIW0apFqhwAb0Bx3Bf0ar4NW0JFrOm0GEW9GdX2Xu4ebAZmeDnBTgb35RhmRtZbRH/2lMgUl9aubGW4ENxhyoJWcFO3rYmaqgxENnAuqRQu3vCWjjpI5XEibBLsiQr1uYqijXo+uq/imDuw33yV6CzcL7DT5XMiHl7WuawbqS1yC0CpWhJF2Ml5CEEkIDmGitHoPqzAngAQ6Dlb2gLMXRdeqtteBT8l396CnfkLkSH0QusQ+//3ikppVLlPL8AYMmSjsPAtulSiJqBtUh4+1JeV2T1QLJjdTvfGyRws+r/v0jvDNNy2wrEEwmM8NTi0SvGS2yVyCLfIVnUNlZBOEKo9LDdeStlV5xWE3nsEfaQmbIQuDnqgnKcwO0/cbkuGXMxa5IArjUViUJAei9LcAUIHFkndb5LqfsWubNyGTTAiGq8hOS1D/oleYWZZoKhfg5OOkodNhxQFtRS6tOGEEBo0r+Pea7q0BqiBvyX4AbNIdbQOz6reWfq/5CMGYGAokFcFDD/ECUiWqd8EcpIaxZj6y3ALah8bHHB4b6jlDB0ua2pcs+IYUaqpAsOzWITrNB8Xlgoio8MVV8o2qBi4lQTDjEsw/JX+hmw7UnUFnfvstK312mx0sTElp6sdPzeM+txoQGJbo0NlSGaXvpc6Upa/1bWSwHM8fIEJR7Htd+8QjcKJbRJ4Ym24AVaI7niyg36bM0JSg++M9W8yMs0XlEFaDoFiCAnz6EOyiMeSB9+aNmqc2+9IPVmPM3SM2WUYZdbybeEaxytQjDMQi0BJ8hM4s+o/fNvYLBO4vPIPMoCq2bGW6AhOhCRWLhe4tOAzrWvOTslKPhP2j2WgI7h+dvwcW2uI+R12bAyMzQjkdqR+k+E5S0ESr+XFrhyjP6/hqKlgNoCwEOhY7IsmJBxSHa/H3Z5e9fNYQHXkCAamrzubNPrAHM9EUfI44XGAND/XSXVWZaU3MdEV/9LlUalnxcQMruS3iH2h8dHUMmU6wAhUiOpMGfUKSE46aChf2rwVeXbJDvvbmd8K56qxZ1HafKoqXO8zliFJoS3lju5E8TumJHIoZ6WqtL8HDvCsuX6rnBmWmVB/bsPC4zly3ksPD64x1MOVxRSwCFHpm9P71UpWgsn+KiO3LB3qcCZWYCaHeQuMCay4RZNBj20K4bcv4xgA6k/uVtqxQPg/fArNQtaFQL+PnCzmugEFHAvrkLX36CdDu1vuEoXdrdJjQO3PnAqPhqbQ7sAyXy6iMkvDsob4n28NB0ap4fceFDiAAO0X/zVaezF359f8DpNjeNOJ3vX3qWaKyo5YzW+776gwYHXV26Zq2UQSeBc+H2fEKqHFx7oyFjiTkWiqGNr51kefsXztFjcFkq4K1xh69+o0BO/R/DNaF8DQFHucJHIcjnfgPl7ExdvyMHlha/7rijG5gSRW+3iATVsqhyuHkPxm0y9kizI7mCaEN3RLgHjTP74efbM6fKReVFifbxc5wcQpPkh1ECIjU15WgmGIJSXvkQREVM9rhYC5l3UWTuDpbLRqPJOITXxa2AwvM9og2h2FGHJfFp2rOqou3gz6+H6OMfdPYioyPuVCkNZJ4xPMEWYOOCpk93qhHw553SwqO7g9cKjI+azgIdWF5a1qveoD+PINJrZ5MvpMCBPTJRW7q0RS0v2RSETyLw+5ieKGVQvOP+OlDZtUXM3cYo6o14uAyrUUBLFdksraOGza8E+YNWvTW7e0AFd4kf+w3aoEfovS5/T94zP7JLLllWbltv2XHdMnfgK9O/w/LnRe3TNCeRML9F1d9SK1w5jzKz9LLS5uWGG4RveTutxaQb+WOylQ5tdT5x1fZoUEu5i4JaQQB6H7wYcjy/FPbGpn1QrRqIYe5rjVq7oIBU490wx5ka/pkBo1m2iu/BPR5UXf8ifoCVV+6H+7uUhWtDpMxcloVGPyVh7UdreBs8PZt+PHcpPwRKsonVpLAyT+L0Sj6q6bXa+lLkhI8VJDiGZl69Vxkbu8KPE+K0cqAVRA6jeyVHEGXRU5owmMEnWsg6OjUtuDd+J3tJ0aOWkoZdyUIFx8UmmRFuJK2VZd5JHsZHYT2zW4+ECgDJoFATSV1PTnJ2Jx5eqE2lbfuwV8aIuKi/nYgOgAiLOPU6my/LqkNyB9TYOMLTsRTjpzhgQn42wv41OM0igRSuiMLUp7cYKJou/vwll393hY/oibrYQ7wHaUGxRA3ff+y9BhIWuCzCQX1hrYyO0GwIzea2s2N7+0tYao/N58er5UIuvEH8w++TEKVGWPV7yLr/kZnZjqOsEw+zQxNpqj1AKukEkaYhuYglXddjcgjv+h9NGpVt23qenz5ANRHUQVGfR3m8HwovVOq60onOdb0PVQlXfuo7gC2GGwmp99I56rmuetcT1B652Goi3rPk7g0JOtg1uX/LiG88m1DIEEkZiKnBb42xcKjY+dFumqt2Fw7C0kYFS1XwPfzzZIgofEHsDafqY4dtqz6Gtf3bF5YkySPdd5AoyM0NrUwv57tjxaFRGYoRqDHVC4ePp9Gswq5qNXNdBG6Kr4ZKl4bOYjIvsH/++PNmunUAhSmpZsOqPM5+WWbIFh/8ZoDlfUv9z1DmG+4Kx4L7A59dtAt43X6oTG3hfYE9yAZsRoaqOCFB3JAfP32sZgoX08UTukbZjphACjbp031EiQE0iSqyMRzwDZ2a3DCfBHo05RcwSBW4lwFf2GzisqF3Uve2J/OB+g8jp47K75iQlCfIgFYYbjEykq/vvpiAPfnY0Bc4CjlAv0O8qJlqiMWmcLtopM/bO+e++9xVXmQN910VALr2R7quU0qJQoBU/3j1k8Zy7mO7yt4GYk+nEqW+40/Y5nodr3S3//SuDc9+Q0515gOzoi6p/jyRRafesIG+kHSwQMIN15P8EM/mJm3PTxJg5frPTkhkVf9/HBrSbpBdCw+eA6Ks9FzCa6YpRr1lGMdfanb88H/gsc997iTv4L4Eq9HBG5kdvD7i1f4IoeO34MOqC2OEw0Z3BCB1HOZHQjqxroHRyTAsR9cMyBujcbcwaFwsDyRWzm/oCQIbD8RqhG66y8wnrNoVoTrDYq+jcXf+nhDI8FaHEtdY0hohW+Os6b5FCHkQjFpd4WZKWCRtA2Du1pFDx6g8kilSlbh5FPAavEz173Vsmqb5BcgU1tMC7fvuWomR1rpctqe5UaZU3ee6E0UWjsssSSdxYBnatgyfzdFC6V6MgwBlXROCJCUFKegUcP9JzNedBQoA9zb9j0W+tEVI7PhXlrh72EoATxab2BcqNu+Q75KxBB9CrIeOwgDvagOwcAStv8QDIGd0t3aK1WdtpFopib45alo0f98ZDoyiuHMG/+niftMoOWs29+LPzUnSB468AckYRvaaWPs9xS/6Br3y2fvAFXlVga87jk3aw9iMuqXqzSe+7I8YGbqxNBbT3e9JkHBy1tGPNRo7KG1aebaQMf5/vDvCgapi+I/HKjsB8YdDtmDJASobKH8sCY/Exbfo44wI3AsEQ+rXPqlCjU3ZHYgco+1Y2rJtlmxalc3sdUuUWmQo3yZ7T2rUvcOUpN+MsrZTgfc6nl4QzzhdTOF/0rYhvCPNBX9Zg3Hw0f//bNvvKhj2wVrEFCfRwC9mxJmSAArEf8rfRH10NCRyO0kpj0z9uKDVbd8OIgqX3xPYRsXrQNb4p+t4inajJFSXXdZiGSft3JQL+caQzI+2lt/4+dmxfvKzStLdNzM5wowO/U6nmn1e6Pfp5BHcOZPXxUxpMKtw9cY4K3cwEnqkT0dw3mVYuvOwoDrKGGh9WvV0KJ+m6ozPm6zj7AsZaEp39xm5W2z14alckvgDUjNHMeA2dzesWSn5lA3HbdODFB7cKpJ9b3dTKuFAuJoXo029AsNr1gnBuoHYW9gevldZkAKBk2LGYWFITDUy6seD7yy3uE7RlEtHLXUWjT7wb+eMqVWfLDyIC2UYjEty/FB79HU6LLznq5xRhG367hyhf2m+PXP8SAv2km+Nhrr3SbTAQgHnD+jlcBhQTFJoWPmDd/qstqjN0QCNrG2nI2h4fH9uzNbbK7w9BcIsamSqqNBViDX5K39zdqnNqUbGNYXK2D2ELQEcit0QInFcqteyqrbjrsytaiGaEZrd/qlLLD4M4uRNxKehc5HtHu0Fyem/ApbKoq82E0UnggmEdOEVuGSRPtXu40AN1pJalbWCLCPLum07piFEqM/ICHGr9qH7WIKGSS7fcNEeKCvhAmuWJelcsNJawF/B7Wz1zderN4v2pKp/OlQCJMmCol8L36NUWKQAdW+zVyW7bPOLN1GtghEG5ffuC/n7rKXMC6tJBkNOy4ipUH9N4U/rl1dHb5W1qnnEQqqulDTGGJAEFQwaPytYx1psITDWYuV/eMfaOhn/h/9JObyq4f32ooTJQEttgHOB7w84fXKZICmZO/wMtSjJm2QToucQ6OQI6zEq4aaU4ch1k3JdbOjry3LxcMvEW741lfhcpiqLgsuk8zgykO95HbONDTKleZr1ksJG2ZK2jH48Jebm/Khum7mnCYynwHLwQgIRqQ2J7NTkLYTIZB1hGpu/YlgCQwior+EA63qIDF3WB+cxsBdui+/zUho39Fy6QMKDnNLpo4yRyz/Nb6GB5F0MpnxbIqDizR0lf+FPfTOqEaVwaWsH/ENdNZs4wQH+6Xs35q59DgiM5Alz8ay5fzOXi58c0Q7ZbbnZsbnpge4uSxOYvuZh3vQt0u1AzK+tfkQW/57rACLjhbej/yFDasozXfbqv/wovtYl6P0kQPkfGO+ATmp5mbWoADA0RPCyNglg3Px+XujQ2qM+oTlv5Rc9SmmRnL00Y54A57P3khra1M/THlMUdSX9ZonT9kdXbytzqMEaE3LiYoJ2csT82dItX2eQT7KmFuC7AzwbqO6CUErNx1ni2gsPgVqvAKTKa0UIXidmOxmSHt2k0QJkmE2glGuDteNgizy5xu8Re6zTaa52exSRjYDdY+g32hgOOYSi33iHzAXlUQf83+Ip0RZj/O4hh2PkCLzlgO4zdQUoJSuM9lUFlz/pj/keNycweM+f4g59FlmZys/qdfFoEhslYlV2262bTaDJOm6IuhqSz1mx/Yu+vroW12bexSeja9z0kHvLYpYo+moDvXRJ9qCpBwEJKpP8qOZHQapH03q5wumNmJce9bVFNXTmCsLqQVNH5Vuwo/kn+INZpX6zX61jzJN6cj03TGhuEOJyB9h6k6aX/gHdFa4uTpsluWurX1EzsBk/syVUBmWJtzr1KUZOfNHwpKAkabzeegQdFCP6QoYEOwiqEe0KQkcF/XT0TgPuTMUYwrAWff0dUb4tVF3A1xLk5ByqisJ8Wkw9CTLVBnppPPszh/eI+HrPFF3KZjUDNi7ho3cDQgS8zvsSik9diMnKsTL4cVynYXm8rqq9Kv6AsW9rKilODxJpy8N0i6RMq/iNW1YOThW7fNER5XHhhy/t3o6+RrD06z/k3FkQmltIbgYmWMTAvvrQFQ/I0sSGIzeIfOKi8OAJiTf8WhWr2s1B5rAAD2srMGbE/WX695TKRVIRRVhy1kZX72/cZPwda0vxOb2Ce1V0RjPyU6qMXvuslk/UMXhaGlee5EEty8gwN4QNJ1wCM/lKz08r11OKcLpifaRzZJIfGKMrDwp3iO0acEQWmBvWjNGxUBfTYt2dyJYhU6lKHw5/QvOQQ16+CEJFNeFTl1ECfz/Q+PkHWP/NJu5UNz9AZqf7kQhnhxKLZtCvasu/ASpXeHKzphdvQmyjJpDwalXxDmd2JhRVwUxPZp0yLoXgYF7yed3NduWLj0AXKNiNDE9HdOyhZKVza/bmuVP/1ZKTDwEOgwaAmXohChuMY9c5GbZlYstd+3HQLvcSR5HtBYQ08Sc36rTLNtFiJyJkmouerHYX1OjppJ6ZUZRPnfHmRFchujXsQpBQm7shZyrnjsnoqYebjiRxTwPNCvByQmc5pBM+wrf44QuQzawcuBMYqLnSNTOcr26RMbZlVvrd4UtGHkm6xyavUPKUaSR1EuHwh3b8bDLdjLrXtsQncnhzxPZsqXEwe9ICZDDZzTj4HXYQTB63lSGsyQAJWRCIhVsvW2nTflcVfKL3JaA+CfvrZjeBsPtQ0KsJbDGickAwmqsuatPVVDm8WcqOMFb329DGyHLXntUe38EDmHAIn3pVMF+BdgltodQG6WkHqGqa3x5Plc15iVZBO7pURqjflRMvWoDj0/FGjXUW75s0d+MlTDVsQ0vwTs1r5z1tcUB3vFamX+ccKzecEtAhn30uOv2PHhDooW/6aN+dyEToqiZVhlYJzjFy1NozAAtY9x3kkzUN6Q9TNYNMYlJI67CaLWBdqlb2qy/OMYFwlft3onLAQnzIDEed7+qYXdRQYqq+zdboBgVQuq+rRTpYnOxKolRP/gADKXB8uVreLnHKYh39zlZpb/Bhzw63YxFVDyTfioUFSY71zzCyGpDFj8AFn+zW10S4cUU9vNAgH01+HOypINmuDx7cSj9zGLZxrZ6SdMttTw9nZuDaG9BPsZjzHSxHsPkQtBsss9l3vS79wKDjH2b0t6GdRdBcCPoBVAO1gCp3673D2g+0ZKJzHCqXU4DUh5ugraSVSDaMdLX8/8IdrWAjUKnjnSBNjFeOK2ipAZ9DF3tB7nna4aVRBSicTLVNNQClwQofFTdwY0xhGeW9F7+xsSmkr21lzcXFlTwAaReo27aeE09vXdlaPfXf0VaBkUikPv46Cup+sGgPVwVYhaX7qIfbzU7AC0D1DPpCfZBo9n9bvLZetpaSfE3931c8UbngTVYqfYTLi24zUzxCXsafvm3ER/Ruvf7LF9Hxp4e7XyO39WJxAe5pZEk1J6j7CP7OhxTBQqdVFYra8h+26CBiGNc5eASph+sTcGVU2eyYuASwtNhe1xmmzzCSpJwU1Jq9f2+g8P1rRHEPcfkx0kUhffi0bjfG9g+oQYtoyvJ/FgS0A3ILDd5uJ4MyNkrNP1bCrhymGC+HEHgKqZphWywYZB41+RAtl40PUurV7f3Bx0shM0vIuPnj/2K27cObJbtDyzFEG4ptBoMNKwSXweUa/Xw54ROWHgnMyASSLdyhFGudLvja0m39XXPH7UeM3MEVhrfydl/p3IqBJMz2L700zZKudTo2w6v+lXgQw/J+FqyAH3tzSX+rODUBUFrIJbR44FFVGhVmp80xfBoRIdTWek8i+Cs+GRuDOa7UA6Yap04iqd6WR5EQbdmNbO1G/5tKaFLugWZWn/vSWF9UTApqCYV4g35cX6s5SUbwtLAaDBHCV+3VFmztkD2+oZU7D9YGC+xDPzfopJLQmCUobHca1JH2U9Drf5hJtgU4yWQ5FfuPX3AAuhATlZ/TJZjXQW2BmPqIzUeVyk2cTi3ofFeHc1LEY76XhOoh4o5QsyXl24a208NuDuyVP+oyV2uN8MuO1b/iuOyAC0SOVIgVedr1Z3ClGntTailF4T6kPYRf/lt0iMmldxHIbHkcsPyCjRSDUTOOPv9UgXpuI9B//ZsJW9T2yVBtaTychjSPtNO0LDX2tdRGcTuinG7MtZFWDuRiXjPJ/if1qZ5Yguq7tAdP4zYANpp7Y/TzWnlKhxDl/TQeHiqS+09EH+u8igHa9MyCr94jvH3QAKGJZdZoy4CyT0TzQ5UdVWraOeottSwkdpzcI+0nNNbytMx0YVqZEE4z86AcXDZiQFnyPZhMpKM4L1H2qi+YwV8m7hS1xsXYHxYilC3Ef2cVM2Rr5WPCfv7g6KJkDMZ6DjEUFRuj33e5TgNAfEU94F8XVLyQfMcTwq40RFIIDUva7hk9nb4id+UmUV95+nQuIBidibS4dvYD+tXILFW0Q7YxlKi7hpRJaN1c4Wcw1pzuuKMu/hnX0HujD76jIyLZlPxFL/o7mwDdvk6wim8eWuUsUwrj5Rm9Ksasp+KjldVpgRBQeNbFas3m3zxWbCaeP8kcW51XajzZIPBP5gRgZCU+pILc8+Rg7xNEsBjmIG3HzGDXStMEFv/aF5/xaJ+jWOVdwjR+lAktMEe6H4QZ7vEBwJnvFK8klAoeu2faZPICwsIx3qU9fZWC0cskBnmskHXAMStUeyCFS/wd4sd17nE1f4XXx6mP/P28CUx36XtqtS9UnNR+CzKcAB91Kh+k2vBS82uP1NBBYG3YEduUhJjg7xFUrJZagpi1k114ZWWZSEa+j1icUfy7IlhK+U4PIQk+alm76gIAkEhQW4tXyaiPrxJ9B2Id465cavtJPlDMoJjZ51dPtsYBNcAPcmRrOnnX9vCDXLaEBWyRDushidgHw5mLhEubVX5hBx4gqSPLK8aFFpxuiYFbJbDZl3tw4JIv/S+Jse7r66kr8/P5fZrP7u6/peZQWD+Lfp9sDXIuHEzrO1KevngT1vIJhtnT21uqGbDkpf3PacHf31N8YM58L3uKN+pmpF2QxkdeapCb/EYLQ5QLAamBVjBV/4GmxNc1ogZvDYzg9wKZkfeYKYjG29xgPlhebKZQtZJ/FSeEjy/LD8bO/ZsKk+wFcD/wPpfAzapmzhNgRkmyE40cwDFjnJK52m3fdFjgq3jiwM8ykrRhrhycLBA6vYko272Z+EWPcUraZ15tG4cn73y94Lsb4Qton1Wd7Seiy8MrlU+IfvX2JqIRMO8LgKu7mkqjHKTHgvERf54fnP1EzHzaBOlbIcZJEn9Kg0KrIT1/64U6GQv8WnqUTrnmQrOYpXW0N1WChqcE6FvsYPo2MKytAnJMdNu4DckNiqYkLOJRTqBi5h9FeAMSSat6nPQ+sX28rjJ7Y7LMC5z4HN/cuodZtFXdeylTuMSX2uV5OiMQ/njNdyYYVbkO73Xk3Aw0ZoIzaBHqy5vNSSlrI0AduF6QjjclJbJrlwEw8lmJa2xwdju4+KJzyHnzlYTHNSUguHBSWssFadCYy0Nyck6KQV6kdK5bTrQ65/oHI/Jr4765MpztFyXx7OT5Pt8kvbLp9EXYibIql+RQcZPEyDDleKAr8pLDNw8v1BFk7CnQi8nZgfxFmjE5scSa+D53pCAVdrXub1Y2PjnBOD8W5A3OS6vJodYfV5lxkreHnMG/jMy3OdLq8qYC1PrTM7IBwHCPha+2ZG3bEug5DdkfKfVTXTJG4Scymmt2tgtkp/1uxtVwj9SOUO2pMR4YFxjwb7X3zNbeiilMhigIT2rSZmml5Ym6W0JJZ/5rFSAUIjV20b2Qq1zTu/v/sga9g5FRX+7PlKvuxBG63jUL21tuiPKakxAh9Fn02zrqq+efyDpc99L3A53nx8LzkAEE3E94dPL1kK9HikwcsvV8WbuKs4A8n65ZfUlv7g6BrXm8fVMa7HtC3nGZThwOaSRd6mIBOV9sB5Uq+kYNyrsrNmHB2wvjnNsWQmhvZS4vvpD8lb046/ez36xrcEIWPVPF4pGo9qybivuZUC6gJ59ihe6O4j7ZXq3f7ePFO0fiRGVCyZ13vSo+yO5zxeJEACN4+mw28VuzEIOi/ZyVS9XsIUm9AFiW2qUIS8Izp98zG/LTh7HRFnf/kcxaGD2kiMtUxS0yWXEWdfhFiRBjz2Kyd9Yun1G7NmaU5YvM6kiGqhw34DPAQ00PHcJS5X8NSQcqb+SCsw1HVg9WOWceTNPPhTiygReZOUWhSULkp7q6bEQ4yYutKjRSONbjcesOhgUvmfSYKDoxqTeDQmskxp6VrnA/lazUcYnAPTUvaKNoi6LQ6iqtOKxGh0ZjrWb9mbHce68VqGpk0IBlAYRn9UL8ggcWXzN8adqt+AuagyGRhwUsZMjgIDD5KvddXZEGWeF1LMXyMh/Y1/DkS0rIQHYKPG4GDZ4kJEpT3w1o3KAMYXsLp0r4JIy8HlHEeTjj9Q6qyw7SpMqIsLMcKLWwO4HBH5bDyEaESsIwYyIM1iKhBwx6mzfwmmggcMiJtKRNTI/BMp3VOW57uwC1PCxZljxnDw1VAoI2eU2Mo5U6b3WEgWrlPjjfxVidSASN+YOoSSZrvhnS9HQfQPvXjm7D0aYsgBxgWPTTE5ecxSMgZUBRiPDvFgJSYALKHfuy6grQZHgoruH2DlxvR7pebr5REBzTELvbbAfZj/t9gMvx520zp8pP7sOP092vcqdjtn8ilhmfuNQ4Q7gDARBpWwPx3fzIumdvuSAaXjkB8TJoqO/+HpQKsCFvXF5RJlFA/FHXVBJsI+dOq0cEamYYLiF42sHXc6X8BiGDUdFbCbF4xJtB1TVkrm2WxNIJB7w547xakrW9gLxCTfPGcctbXEksUut6O5ZUjDBgvf1cdfCzY22scdzGrQnhmp4vgIjsipzQ4VK0bNOZHxM9TxVhukvV80Fsytenyq+HVF6NXPYO4TpjENgU51Z8rQ5/8g6URjthmaZtnC2TOn7PlQQVu90ZSKVcFvW3pY+uQtHbUxbzSduxYfH9ru+M5XmGB1l1kUzeL2034B37NyrRoN8PWNWDqOSlTmvaXqFuyLmrxhCWVicLvfyebkWWOFoF/W7omjwiMcsRGwIIPA3y8uHcm2rY6GJchdcF1D6AhqQFMeAOGEJ9qKo5oGfeGKKVKtANiSa99kbl83Yt7OXo+56kHG+ZkhI0yzrnpaAWZAz6FWiZtsK846pgkOPd56G+fvLkAJQ9PEKoyjRMYdVlkZmebR9jMYrAg/FxHUQgg5HNpGMWpbwH94FOI0Q+EmPGd8my6PRCM3KRSoET7t6zs/B5ZW88KS+1o9YiO2u/6Cs2hZ3iqAZjp3Ki5XKp8ABwaKBDjuTcZBvSW48QAJke8zN+LYFiR7qsNAFarL1+VmgNrHwhI6hv9tjtV/YCUd7WnACZLLBrR1DlaA32NCWSdk6Yv1IdOjZvLHd2UEuAUTFNFxQPUh47JaRQVTo5Y+xp61Yr0B3FDzf/ZfzcJAfeiimK7o766RSH/w7Vbl/R2k26iJvzoongdeamWniiarZ51e2f9REwDCRqbTPubStm0xhL9AMJvyVoRwztRjoHWeu6FfcU5+BMo/3PnPXm5LI2er90SHa1ApWnGIh29NrSUXHmt7lSnRFYXD/Z3vryIaXXKLHTTN3sL4/8pALcRAmXVYZ34gUIpTQucuV9Rl4Mys/5RwJDTZ3LMYqI3BVecIL+Gc+xWC/XOLy/B4p1L3WeZvsOfx96VuleloVir2KNxYUSzOQyHl8vKJ1apvpAtJdFECdHlsdk904LkWP6/9qDjohcg2N+KS+25lbEM3/VOuv6NhUFDu3ifiixDY7MYcE0CwdQLHvgLUuPJ/e7TpTxlfmo8nY6hOd1NQPALEklX946PXDZxeUKO9quewJ5KmlOetAbyRUv+lI7eg02Tbus2feLU++iKBZSR5TsbBwPCemEtIvtXg6VQAVVENyag2Kgs6qo+S/gy5mBP244OJZb9st3xGUkauT9ISg3JReGLr2/CbelnbhqQPDlkUH88W5//6rFvNSzwq+UGMiGcwm1Fwrf+MYFfH51iCtlNMNisr5oqwqdvBL5qNOb0Bg8g6aAscZlZpvkGL08kNypXs8cKrW7Tg3RpYHrsO4T+NyEl54mDH++saaJhSHNXIgxf04CqCKtIcvNrCiJbeuB35FOqiwGFjLQ58C+uZXjYmtoreDvUc0W1TF9GD1DJQA2GGL+qQCHsyPq5skeq2lptThqnZFTMTNEx0TqoSK4BwgmJ/243X8qKWxMdlGb2X3VxceddmZud3onBkEZR71FjGF2JeRurpyHZOm+PSQRRUUvLyqKqRisFjmIcxUEklzQO45dhCilAEYyZTtqvRd5Bk+2WrbAfQYidolx9vRbTog8qgomxx07vXh5sE5ZJfHNqPnJSUocsklizOaTYUkYkehIlzM3N6OeMz3gjB8CXTmr6NJ5GmIW6lPT7JHbzGIxHC7l/T3kKPN8jY1o2be3+Oy63LZpznL3fEniLkwpjFSUE8UOpNzbARaGA9Cx0cxriiYyx/EznpkED9j8tF/GJmmxzQltFUauhLcPsVcjUQGw7fljTHHf4Nxk36JvmyOPyfAFIIJbVhJC7dXkNC/oLCtAdEw4D5bmi5KjS3wt4TwnMXUS13E1JNjwJoh47D3GTXUAP0VPgc2uyp+8L6SGP0RS1fghujefGawfwDBOgw1iF0gzpmbzDmHCNzQc/U3z9SIU4nIY524uWRaxoh2NhAQAZ1LT6jDTWaeh6+ZQg68aiMjYoy/vA9XkwSmkQBNcqjrXaUqGrAfK2N9HNldmetCuW/fz2HUz1XCmL4TjlIEUF4UNbohsJ0ZG8fxG5b/9UyJpWUarh93dKoUNfIhfpP+IorCtHXO998IjYq8KzJfm8HcJU5o2Nx0if7986oggrC8u1EhsmNjzAc5b57lBHXIMD6hwMhtLIqK5jkdZXoz4yY7hOzOBtiQIlOPHPNOD5WnJY9MG03Qo0lkLslwCSzlEQLf0wJyNkVVqzqHyUDYwtxlACQuuN4eLwnToNfZSaGuTthkpVTFgza8WHzW5KJfXs49zsEkUsa5KpQ9GY8XffmIn+u02/Pa2lZa4nvPKoJQakTpsP1UDZoIFvrPf20bI9sQeFLgXnozqQIzQt/B0rAEzUXOq7OHD1lfS8KNUM3hoALXhUkAW2fhmKDc1ezIVWg/AYeyBs9i5lyp7TFfZ1+jgCzqJTnpz7Ubj45ZHkj6QLCoXcIewsori5m2PSuSytN1TG4ca/0w17RwsINeKsaVNc2M1z1OW13M7oeGijN1tjn/9BcfytILBxXgtww6XLcoedQvDepXDxar99jaBl0uOclqqI+ZZyao191QjpZQtSCr9GcuUTOYx3vNRItb7463+vJ7zAs9ByDOYb8UoBNcKkAqH+t/X5pFGmJutdmt/1brsVUU34oIM8miBZREKtN4D/8120W+pHasGMWaC+ldx4pdaxlTRy/V0O1T+2LFjjI1IudgqUL9eCMcQCxC9Ieu0byvsR+RLCycC6KcWw4hahOA28G5OYr91fd+pu/95sX7P+HuNfMiExWmpvlM5mzdDFMUeMqG98HqCOI0UynWmK6dXbm9ZgSOMIq+1gG1BbXRBjUzMiAZv6iQiQIxazvfwU3sUg0q/YSk2/Gc0alo8aWY755Z5BpfNLMa8oWErhKFFRM2/pqb1SdBsAIL9DgUjIvRKJSd8a7ff/fn3CNBZXfi9xFjsTxyhhJViy6utw+1ROg45Kvf3egSM9wDVA2bwGgpaEQd94gDd2NAEMUCnuVZ9GCVQf0enhsEJvvDPTrpYN9K6MahXti7EjllqWII0gyEfbQUOTnrUxkzg6Gx7dF0vMBHzltwg5OAt4rO/9TZv4MuR/VhJ/FzI6yKbUHG0sVU03U/+xJbOXlBcPr9ZpksbsTkk9LY1n+jhk965caGLghtg07XQ197At3ZnvdqlSy+l14uZ7jTL+XmLfa5gtXdEKncES2712dBS97KHfwnOxX8rWGx5Mg05mrjwertg+mnSqgPfOMnk+HtMJ1+1lW0vm3yGDCgpzpEoRgNFyyq0f/7cdeQ1HkKQUj/jOkQAIh/wssD6FfCGFFrwDp3nvAbt0eguS/NH/EddmUbgtWbkH4vMePYxL7WVj5LJhCwbluzJWywcnZaPOrlBlrT9uHGka2y9KnquLh0xCWS7+nGbPoabWdFFfJUPOIYiLpxJG6XbAMcol9Qxa+WxKdudHfxe4rXrBK/5GO6z4plLnHdqJM4pXHWStrwnNt60LX0hprMEMgAP2h/kKh5vj+Dx6aW7b6dXCZ14JJmVuPCA5CxuI2QYNfP8kGGxCXthc/0MgBYD+ljIEmnvxawCv3Jlxs//cG6TlGLeJf0XvJ0okJ3YmVDJJEbgOIYOSPVLX1hGrxrm0JGL9Z4xCLPKvW89IO1hfKLqkGu7equL/cSh+Kq+/p3wxivFzbk7HqzrlBrWBy0l/zuTq3lmvhK+1S09PQaBGTOJQuIhxHCFTEJWy2BcGyQOAmzvANQ7Degex0jyIlHdOmD6qxqNlSk+HaRzSrVxXfENLejhM3tRjRTAhR6/J0njg58jP5ViViSc9wBqLGeWsUDkuul3GVTDwsYii4EPA7vQpHPWOosVfUaiOYYs73tsbtGOSY7gwbYSYrlLJjANpOwB71wX42UQI+sm4wLlsSD8oD2w/ullObGfrwHCI/ioTvEDoO0aUnXOp/M3hW8sV1KqwJBqzoWYHxjXiKCdj8r1E0YuXQn4cupIBJAfevZFu5l6tQ9IAL7RU5gMtSyiBRj0Y34kIoLWi78x0ODvU5R0NBpQSPc5vXE3ZruRKf4yRIVN4y0/4aHPNNfSSONzvl8sk4wXHwiBp9Br9EHPrRAPomQhTFzgJpyzzkSloKkGPzOIoJNhnZ16HkD/y4UcUwqIizuU8bZwJIttmAcuTr9wtajxTM8aSpcPM5iG/Zv7XMmb9ybA9ggYJplMfplZf2t89tElkt6DWPt9DI+UTouovHDf9f8ILiO33Yk5Qwr6j+BQtG1Wsf/4YeFdtjC1G8+M3CahLM+4Mg1WBlqLNZbmr3gb80mvLpp/4Glq++ExV+yaU+L3cDxxKTV85RoV2oasG3oKNIf2HzOtLKFXLapPY/I8P8RDESffxuiRkQ3EeJ8YjDwW9z+rhj3tXFyGn0d8wY9rs+GzY5xmV0XgkFEsIdVaLdpOSdbpwFDuVN4EFCeoGGRofSzvSBMcahh0i2eelJlZJ3Krj6PChESLMcKWwaCONW4/bxhMx0tk0e7wc6d/kQRWmhyKyU+xZTcnYChKUCogmNp7S1OBG8goWoqtxMf4D7id0jshKHOwzJhddbKmChWqGQVxLX0Df2mTXoSRJGCJW7alRg5ys1ST4MuAsVnIEpbnTO2h4nPNdpuETJ/my+pUOmia4PFki0Pv+P+gbA4P6rOFKSFAu4ypKLOUkgOaHb/Ab58MeCcO5QikhR1APyDD5xWkMNJsDDWe5tDRL/7oXHvaYIh7etl+bcSNYuHtoM2a96Fahc2k6B851JCRwuox+I3ACyw1dWaGrrDllDGjLs6712ZYuGmUuheh+C7OCMDpATkZ7h+2wdAvnb0XkNjAo+3nnGCIW3ZRxQJgbtoWSOv6rjPo+REG8BuXO/cjl9yecjZM4E0Rs1BcMhKfsyFOv579hfYBVDAiQNDZrv3zC5viDIW8xzV2AZLvaq471p9+20dcCoIo1V2OLT5craP8QEAGJXTrtvRuxD0LCJcxk7lzsGfQb5wJkX6aLoTnnXArRiIKWkByuKOULmPfgVaOhF5+KtT8cI0qATlXsCNrMQ0KBD9ykzN0gXxZjqxOjWvuCRMEEbnVBWMVxCqFP8CwlH37SwYlvPt5pk5KUiogr3xfqAKo0WsFLa+jD7UTOKGvYBjgS3D3WwDYBiOU/g3kr9thyDR5W/ar4IhQB2mO1MLpq12RirZ9HdVbjRpI3w/E6nrt1/eXBkFTqNnUCEvs+sgE0M08Ok4OrYvt9Pf3HZ9/SOc5DID3yCA+ZrOlnzCTyEBY+NlmI+ladpUcEfSaT0Dh+2fDMJDzLkOhB8itihBb9BkfQeJTi03Bu9a97vQn8n8hPAu0BAj1H5jf2XHnMkTR5Ql60Sl5WoyyVHNBdUzhRG7eU4WR+wEActl0WjjJvPRefLGk81lCkt8b2uEKnZv0zCkheQTyiKxg0MCARsWEsXd6Z+uZaszFbsnJX3mcDoq6tTVzfeQwBOZQ41XEw8RanEFiZR/V+I7pllRTb6bxcd2KS1cGCqaZPSNxHp22+3gy5Agyphs8lXoAn5MFp8aS6L1e001KVR78LTvLbJxpdT0SzNCsNU6oiERUPm0z5C9PuBATakFw6Q/OtB+GO3ARfHl5IDkoJl66edOqWwu85xxledIbzc0/fWaWLMVytoKuQ8EsOPoeuIt8QAY4GvrJbmZzvQ0yIH3abqohEVFQg+TpITp/JKk86vpc3J/aqP/+pM+upTMASVSmLOeLwuK+QC4tfrgtu09JQQOeZcHIG5oudvQ+FUAZ77g7iY1kPmKk7dajFrhj1c2FYVMGz4XhT9avbcmXmAbboDuB5okwsvasxKd9VEvnVW8HKrkJbVE4Hxn+17pU2UGpdFghN/s4utaCUlklHnFkRTaImutwi8MhEhDjYY8kK1LXPYJPdLItpsj94dL5QrPZzO+CptHauOy8qyGO358iM492escfLjdMA45eTyQXXjAbgi8fI8nH0UeQsOqGAYN5MCRc0Fq1yMhuBLUh2uVFq3zczkXgeAUwo05x/Ye7NGi6+YFaDelairFXjoy8BfpQpcEEiAFzikWIlS58TzsyMTNddf6cFjQ27dxvCnX058zEJsGcPTnzXHnsq7M1q3+UWepLTJrtDQ2yi788zaKMzA1aXFuiya1+E7KmhCcW6ieG+4CUgRBPFdtCZR2DuJSwzEWtn+FaJ0xr8tAraAuiAmgeZHf4MErnf2j1P+22/IRvT+E3jbXpUmQYByR0DYciNcOoU6tvY99Rkh3vrB7fYHsf1tnABoFYQ+dQi1csBtAp1h46HoBf7JDsznnlcrQ351IciNMx78w4skkecXaVgN1HvGdHMgAZbUxSN52YVZqJuhbDHBJ2g0oklKnk7/ynZUjE4ee+LOyAyqYtpEIEJNbb6r6S9zqxiUPSVYXerMPb8SUs9shLOLQd8/KbYv8aEJdXIMPTBdDsQbDMvxI4tKxe5G2Y4VI53hTBfBzmFri+5lNk8dCfp518cs/xahfPJqZWRSVtfc9wmBo0wFe2Oe1iKCsd6/n1nLkebLuA140G8Otc09r87PElUrC3Jt8z+VHweMao8agFmRxzwwy1lDUp9dWjz3d3eykwmXudeE8Xkf0u8MLnhLYQ7xUZoGk3xejqif6PU2ozhFdHDC9gXkUeWflnd7b4TmAxCIMi1MqnVbDrwAAcn7krGdahprElBiwMU8tVFLkon7djGEs+00uNRnUV+4wmbA0Xj5GtMBaRTIMD8eeqfuTSm41essBp9k1312/WgNVp7EdHt3u31kgGSg3YGgkHDeOByZJRr8nu5hdjJV4JcuMJrbGDWLvpRzDSxr6C/MpvdKsKW1rNj3G63+HhoySWoJ1wDQoYhLDF6EwmiBPbz49Qey8jHMO6PmzcF20k/gxs+pXPnaVf2GGlhqvZ1UnX+OfMTFTfcf+vHc6szZFns4t3ph0U/dShnQRFRR28NW4OyNE26yvpGiRaLubReMisSBivL0hvaUP+Hso9QOf6BqefpDsHcV/LejMALFN9ipFLTKYnzxBvr8ZS8gJapZnyfq5RW6TCQtiqTED+Sw9j3WbAAW/t+5q7E7hpH9jdVwgJ3pUeyOeNieh1jIUeN/JyoR4v/zv88u3bBAV4DVryZU1b1yiwlLur4qvH05zD2CiAZ+q/e2sTlpiNT7V4dmWWY/jgaO3iBsZyTF7Dbiv4byi0VIUw1MFvQBzDOP9IG4Yo5LXgjfXvqPnq0bE2Vi0dHHESkmsEhGj/3zNDyK4/sdeWGj+TdpfeTfrwZxiC/iUvSBbaYXjIw7e6lQ5RkORMmm5hm1LE4HRc9Z8SbEXv9eAfFne+AvmJtmTAHZ7lG4sctJTSrdaDrjtVxDLYOBrHU1KGJHecHFJlVx3/ydIEKCsEhAVzAbxj1QpIqeb9Zc9gSSMOUITkKlyBislEj7OiXzixnE1W7vDT+gLSFOOnk8hity8PBBd2XNIVDpfWiG1BWA28Ol0WS3N5fCIIkt2UJhQmutjAUWz0hVaoQeRAQEJ9YZsMS83H1FOJp4/h+kcs1l7VpApuEJzJ04c0QBGQtiYmV//4E6Kru5W/WIKLLD6hQJZNROuEncHUhTDKUvwx3P0BzmcguL65HbH/Pmy9tiPpKTfRye/Q+hLqtGPkG7fQZgHLxo7cQZN+segL6S2UBTsShHYZbl9qLQ9VeN4cTvvW30sRDW9DMtOyCJs3iXIFE/2EZAX++yIW7t2J7EVmVng56uVWgRCHUotY7AJGs2POKelXxfQs05zxgpjwR3FOxIUuJFHLeRAPYn4HhQYDqxw/N3XqoskWrMNVbo1vYzrjh4EdQ0xWms6Wx+KemZH6OjxUbzDbo9v4FJTFVpHIV/a91+uFB/HAHud7/Kjd7UHQi4z/N3jgFvwOmImy1osXCHjN2GScbkvpv+DG5BBKZ5QdethI88BoAV6A5YHYDEtZ1HrejAEDSlOBzkzIHfBS2d+sKxTbM+Jk8kl0DNHyqtu+j+a0lQz+/x9V2aL09CZe6p/HSRRlCjee/JmGm2nVMLQcT9FpKwuBo1g/0csZiWmzgrZ69tWi5/xhqOEZJz15/mhNWqVKjKloDK+g4KVIuMMmWSifGVY/c+C9rHo1zgJ2gBT7lRVBct3NT5lJ4m1ZSr176SNSJbAEf0H2fuitWoqgOq+iyhqWFTNkLU/wuBHXRYE+UDVuB/OFwsbPvc1dMDYBNY16Jcwx6asN4urIxZpDz753qg91+ZiX12Y9nzWgzGlPU6k80VXA1Aj31V2LqPQU/0JO9LzUs/zGALpTUj34x1x3NjD573b1w5CTY0bi/ktT/yo3p15eqOf5paWNYVAzSck+ZMbwfubTPsN4EDnc6bcZIxf01a8ddiFT9fmGFx1lhUDFnWKQslHdu2G13gIpQ0lryY14Hh/x9qGsl4hQy6k5F/bpejE4MKrC/kRlt68YZex+tbmCX8Pm54hED0MlbszfixT8Trkab00HVxNSvK6sttJUYp8kR2Lne+sVs0OP9NOreZ8AfOEt2oWQkinTbpypSk89To776cJ7Y/dnJv0++TdonynJbENFqjBmujI2uiZhtIhmaJrQ9cPGxejemozt+q25IMy/SEUmm/Y7RvSd8T/2sx3Z4nGPcrx+k1lJtMZzxCxDuTDulZpLciWzieG5WhuunXkAx7BAM9Y68Eb16Ad0ppzyY9QXMcENuNYeCssFvrY/sbq85yL+T0FzJPVBYYTrXsWNQbGArz7KNZsQ+FiZD0ZeCXC3JY5VR5CLZhAFrCpT8929Y5Em1Dz9KiywJfA4Cld1QmgkguHzkBhQIcYqIKbzFbDBxBTxjt7EhHBP2nytOacl5pRdo5NZrCmrKgvsF9qhnmKud9OroRtDdeCxCDrpklfU9GBt2nxE+D4mz1m35OfM8wZHsOHpgLi+f50iZivec2ZBTlpv2svOGYmCUQjBIWws6xPcqIqU4aiibRj3/hsOXznyJCic3RRgbrQL9TIIXoQIYN6sTCfgRHXRfAuy+FbdnQkMGIdv9hoqgLiFz5me2NwigR8TksbIbZnfjBJzrw8WMTz/LHlmFYq/ypZPBoo+rmt6hKW29wgmPy+c5qXuXHRcMJSBVgvJLbsmHzNM5Ky954WswtmAigvtv78NlpMMpuiATLdQN3c2hddnDXCi1DVRaaCrviXYioqm5KyufzcjYg6j3J2RAglSQ3JJ2X+5ERBI8UPFS3DAQt2XrZe/z5cB9PWCovDI3Hhxm8Bgei/9GyM9kHzfN5R+f3In3C5BkXeF1LANtABJQaFi6LPdZ8piiaLQ45LThU/e53waXleKBLPucLH00SW88+uQKkerXHs0e/JiKx++6zlZ6TT8b3QT4UJqlq0P5DMfSjojdR1yZnUUFvi+vuHxfy1NY8YUMHlIYc+u06qqVGmUgQHx9mTphAWDY6wrzhueO+08bfQtT3kLlXtJ52a3XABc3+bSsl8hitKXNmI5mcxZccD4ligczqpu4ki5EqWz4/UCU17J4/vzCTAK3ws3bmAgKW8f8Vkb4PIHRiCr7KrTHW257VWuwjxmu1fDf7cM2H9JNnt6hIoyzYR/EpwmR0lW3EoxJ2XpEZXVqtoMUgPpQ8T9YDCPil8xxzCaP4UFVjAILsmhDAWrX9Nad0+0Gkmp8NLXkjaCWm+waA+CkS/+5EfHECn28uNYaRpitaB9IYYXQmvLS46uLTovrE8rF2nEv0tvAwtLLvL42icvApe1m1FDCEwa+5EHnErJF/6Gc+D0D1l/eYl+D/kK+Nb22JBWT7PZeQQzKTltvZRY2yKvJBILgM/qBEuVlIoyVmRdzoErR6hefXlv6vd/wlVvZCa0JcfrFdVLfnXeDAZ3Wf+GlyymQhGs3Ro4arT8wSXbNXrF0Ou2jy3fcsRHNOQGlTE7kmnmuIxjZwSsnaH6SJSyGM1MuH4VUpoJpdZptVG6MPpf0+hGG+uGvp3Y4ta779+pgqfcJxsVHJhvT0AhSWLC3ltAhKoL1zGlXHIG9waJN8DZBrWJsLi7JVDqR2sPsBksNAQkbWZF3O3KbPi1ckjuWvAFiX1c3MawN99W6ibYU88JuorTUGynHpimcVy5fCKO7Mz8aDPdC2u9m9opm+H2myv4kA875Btxu8YWiLUAkAA3K0QVlEOUb0s0075ZH+U6gHuTZN/S6puy8f1k6E/QpDRuohwwZgZpy0YC036uENqGeahzXq5DoedFUP/qTAaHlUm4Z7N2M+dWEucxx+RV4tTcfEpjzlpULrxmpyAiocUVJotDfCgoatOv6uCxvgWmjHEevvMeqJa7tgGz/HxM/+7Krd1HmMi8RLO3cresIlvMK3U5B2/noixy5BZGgZ7CLvUxIcML/CQo8pD72rZrpcJtgf7f+cv8QNZ5qLKfvihxdaZw2v3MTHMSIUKkQo89QTpFLw4o5JSGFWFhneXpBrZdzXwjxlwa55p6dnfUlLGJjBYUg0SbStWq/w9RrskWsyXvaPTDQ6/FiwHBbzDd5wUzJWWKzj1b3mK1Hirba0gM1TTSD8sqjyuczezu+WZes9j7rHR1Fi4k2cpvO1nrXQL07UIvTtfmyZzM4kCM5mKwLpwojJj+i3hTlCIeFma8a9qBGjWkDPimYSjrVmHCyNQ2yWLF6flckdrKLK+jZFg2ZGdq7VwezbUuoWQUrLBSgndDk/wZJtF0f1qEOhttqpnktL6MM2hcTsy7b05ioHBlqwdz0k7RaYTLjBo9QZz9Uhjt1rRAF7eQ0PdqTg4S07cus+x5FTQ8099WEvMbPIlpsH1gA58lU5dv+Qboibe/Iz9XUiRwzM0zeXJEQkVL4RPwrnylgNXU5KldDcogswFzZ5KbtfwTULcGk6mNehR2K99e/73tE12pDJMSMUuTZ3RkWpEZvGEA2A/5f2iqiJM50p1SL3y924MUnYH4dcym4GfH9oKASyShOiffONz/Biw2paap3ehr/XIcItO6jfKlPY7ehts1ehppuMtODlp/wFvKS/uR39zMByggq2rwl0K/5ycBFAMSKrRbkVDcd+oaqMB/0AgG39Qja2c6uszKcIJvqcWdYK7bfm3o79cpKXd+boRR396d/Ys5cDd494lQCXgA46stjp+nGjC8lkCqqK9YOQ+tj0MCXULeZVSPqWIQgvlByHN9WHI0xr12fRIcixevZh0TJa7XBjN6cfLf8l9A1yMMgF+vPHzk6zh7yQjOin8nycDx/G0J7kq/eRzoY1dtZpa7o7cBGDwVgisJLiQlwEASRc8SNzScOwsfgEm/ycOrt+mjnZFmEFkvVCKEg3QQvTyy/6FM1AFkQk/dZPBtfhm7SKfNFfIPG+jTpaNsmMz4kfbl7isxgOA8IbytPEmZ2uyfj3YMHbOCrobzp/XiPJgK7HOlZV+yfsMmYUpVUNJgoirn6OqLqZMLyubf3GvpKe4RUFIhoFxZPmdn+VXrHjkS27ybev82WT7E5G/mrmx4j8mNsaWWX9dczN/5ObiOF0Ufh2xVvMkD5vVHJMzcDVDlC+nD7sjjey7VIZ53WoR4gGNtUUg41VjYQ2qgV2X0wqDeMweuhFIM1NT59WMIubj3oquIWEFlHViS3B0aY6k19zzNRLe+ZDf9YnN3ppi+Cc7t+Himzpu2JtLK2u8FdIrvCHegV7w6gWd3xGdvUbxn+xjv69/HQSSZ2J9hNb1JEnhhNkcxGdiSS8WYptvFVExccHKHY9he9e56KtRwAfZm32FOguv471aOuMni0qHvVCL5KQdXorC">
            <a:extLst>
              <a:ext uri="{FF2B5EF4-FFF2-40B4-BE49-F238E27FC236}">
                <a16:creationId xmlns:a16="http://schemas.microsoft.com/office/drawing/2014/main" id="{7F343AAD-B216-000B-8B5B-E1AA687222CB}"/>
              </a:ext>
            </a:extLst>
          </p:cNvPr>
          <p:cNvSpPr>
            <a:spLocks noChangeAspect="1"/>
          </p:cNvSpPr>
          <p:nvPr>
            <p:custDataLst>
              <p:tags r:id="rId3"/>
            </p:custDataLst>
          </p:nvPr>
        </p:nvSpPr>
        <p:spPr bwMode="gray">
          <a:xfrm>
            <a:off x="325437" y="1188381"/>
            <a:ext cx="11531600" cy="5295901"/>
          </a:xfrm>
          <a:prstGeom prst="rect">
            <a:avLst/>
          </a:prstGeom>
          <a:blipFill>
            <a:blip r:embed="rId12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600">
                <a:solidFill>
                  <a:schemeClr val="tx1"/>
                </a:solidFill>
              </a:rPr>
              <a:t> </a:t>
            </a:r>
          </a:p>
        </p:txBody>
      </p:sp>
      <p:grpSp>
        <p:nvGrpSpPr>
          <p:cNvPr id="47" name="btfpColumnIndicatorGroup2">
            <a:extLst>
              <a:ext uri="{FF2B5EF4-FFF2-40B4-BE49-F238E27FC236}">
                <a16:creationId xmlns:a16="http://schemas.microsoft.com/office/drawing/2014/main" id="{5EBFF7E0-BCAB-9E4D-B587-5C3037DECED4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45" name="btfpColumnGapBlocker409253">
              <a:extLst>
                <a:ext uri="{FF2B5EF4-FFF2-40B4-BE49-F238E27FC236}">
                  <a16:creationId xmlns:a16="http://schemas.microsoft.com/office/drawing/2014/main" id="{18B8A927-ED51-C7DE-582E-49B00B77D760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43" name="btfpColumnGapBlocker327041">
              <a:extLst>
                <a:ext uri="{FF2B5EF4-FFF2-40B4-BE49-F238E27FC236}">
                  <a16:creationId xmlns:a16="http://schemas.microsoft.com/office/drawing/2014/main" id="{653F5499-8FA7-2AAD-FACA-FDCBA50CACA9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41" name="btfpColumnIndicator888995">
              <a:extLst>
                <a:ext uri="{FF2B5EF4-FFF2-40B4-BE49-F238E27FC236}">
                  <a16:creationId xmlns:a16="http://schemas.microsoft.com/office/drawing/2014/main" id="{530020F3-8BDA-69F2-E6B1-E22C566C0CED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btfpColumnIndicator177542">
              <a:extLst>
                <a:ext uri="{FF2B5EF4-FFF2-40B4-BE49-F238E27FC236}">
                  <a16:creationId xmlns:a16="http://schemas.microsoft.com/office/drawing/2014/main" id="{A7ECF48B-5530-C90D-92C0-228DE695899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6" name="btfpColumnIndicatorGroup1">
            <a:extLst>
              <a:ext uri="{FF2B5EF4-FFF2-40B4-BE49-F238E27FC236}">
                <a16:creationId xmlns:a16="http://schemas.microsoft.com/office/drawing/2014/main" id="{A764E5DA-60A3-96DB-42D9-40F992E0A669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44" name="btfpColumnGapBlocker488366">
              <a:extLst>
                <a:ext uri="{FF2B5EF4-FFF2-40B4-BE49-F238E27FC236}">
                  <a16:creationId xmlns:a16="http://schemas.microsoft.com/office/drawing/2014/main" id="{6939D8AC-FA2A-6DF0-F2B2-B1CA1535A8E9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42" name="btfpColumnGapBlocker215863">
              <a:extLst>
                <a:ext uri="{FF2B5EF4-FFF2-40B4-BE49-F238E27FC236}">
                  <a16:creationId xmlns:a16="http://schemas.microsoft.com/office/drawing/2014/main" id="{A2E13F92-4622-16C6-8852-95A4B22C8F8F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40" name="btfpColumnIndicator118872">
              <a:extLst>
                <a:ext uri="{FF2B5EF4-FFF2-40B4-BE49-F238E27FC236}">
                  <a16:creationId xmlns:a16="http://schemas.microsoft.com/office/drawing/2014/main" id="{CABDCF74-B5F5-F4B1-D33B-924A762B1A59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btfpColumnIndicator502338">
              <a:extLst>
                <a:ext uri="{FF2B5EF4-FFF2-40B4-BE49-F238E27FC236}">
                  <a16:creationId xmlns:a16="http://schemas.microsoft.com/office/drawing/2014/main" id="{616D4501-1582-114F-815E-A19CD45EF79A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3DC39051-2D28-1A70-FB5D-0EF23A2176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Majority of employees are based out of US for most peers; Massachusetts, District of Columbia, New York and California are the most common US regions across peers</a:t>
            </a:r>
          </a:p>
        </p:txBody>
      </p:sp>
      <p:grpSp>
        <p:nvGrpSpPr>
          <p:cNvPr id="25" name="btfpStatusSticker475463">
            <a:extLst>
              <a:ext uri="{FF2B5EF4-FFF2-40B4-BE49-F238E27FC236}">
                <a16:creationId xmlns:a16="http://schemas.microsoft.com/office/drawing/2014/main" id="{FDC3EF6C-A121-8AFC-D63C-01BE63889883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100356" y="955344"/>
            <a:ext cx="1761444" cy="235611"/>
            <a:chOff x="-2280176" y="876300"/>
            <a:chExt cx="1761444" cy="235611"/>
          </a:xfrm>
        </p:grpSpPr>
        <p:sp>
          <p:nvSpPr>
            <p:cNvPr id="23" name="btfpStatusStickerText475463">
              <a:extLst>
                <a:ext uri="{FF2B5EF4-FFF2-40B4-BE49-F238E27FC236}">
                  <a16:creationId xmlns:a16="http://schemas.microsoft.com/office/drawing/2014/main" id="{4AD8F0A1-7084-B727-5CA6-B7D5C4984CF1}"/>
                </a:ext>
              </a:extLst>
            </p:cNvPr>
            <p:cNvSpPr txBox="1"/>
            <p:nvPr/>
          </p:nvSpPr>
          <p:spPr bwMode="gray">
            <a:xfrm>
              <a:off x="-2280176" y="876300"/>
              <a:ext cx="1761444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000000"/>
                  </a:solidFill>
                </a:rPr>
                <a:t>directional</a:t>
              </a:r>
            </a:p>
          </p:txBody>
        </p:sp>
        <p:cxnSp>
          <p:nvCxnSpPr>
            <p:cNvPr id="24" name="btfpStatusStickerLine475463">
              <a:extLst>
                <a:ext uri="{FF2B5EF4-FFF2-40B4-BE49-F238E27FC236}">
                  <a16:creationId xmlns:a16="http://schemas.microsoft.com/office/drawing/2014/main" id="{F06F4AA3-95BC-F2F3-FCEC-522AC25EB540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2280176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btfpStatusSticker288847">
            <a:extLst>
              <a:ext uri="{FF2B5EF4-FFF2-40B4-BE49-F238E27FC236}">
                <a16:creationId xmlns:a16="http://schemas.microsoft.com/office/drawing/2014/main" id="{ADEFD54F-9B61-114E-3C02-649F22FBC101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8760843" y="955344"/>
            <a:ext cx="1212512" cy="235611"/>
            <a:chOff x="-2619627" y="876300"/>
            <a:chExt cx="1212512" cy="235611"/>
          </a:xfrm>
        </p:grpSpPr>
        <p:sp>
          <p:nvSpPr>
            <p:cNvPr id="26" name="btfpStatusStickerText288847">
              <a:extLst>
                <a:ext uri="{FF2B5EF4-FFF2-40B4-BE49-F238E27FC236}">
                  <a16:creationId xmlns:a16="http://schemas.microsoft.com/office/drawing/2014/main" id="{A2F0A987-98DC-E691-9EB5-1F3F3D413BD7}"/>
                </a:ext>
              </a:extLst>
            </p:cNvPr>
            <p:cNvSpPr txBox="1"/>
            <p:nvPr/>
          </p:nvSpPr>
          <p:spPr bwMode="gray">
            <a:xfrm>
              <a:off x="-2619627" y="876300"/>
              <a:ext cx="1212512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000000"/>
                  </a:solidFill>
                </a:rPr>
                <a:t>overall</a:t>
              </a:r>
            </a:p>
          </p:txBody>
        </p:sp>
        <p:cxnSp>
          <p:nvCxnSpPr>
            <p:cNvPr id="27" name="btfpStatusStickerLine288847">
              <a:extLst>
                <a:ext uri="{FF2B5EF4-FFF2-40B4-BE49-F238E27FC236}">
                  <a16:creationId xmlns:a16="http://schemas.microsoft.com/office/drawing/2014/main" id="{088407AD-1797-559D-7639-0449668D2E1D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2619627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" name="btfpNotesBox394139">
            <a:extLst>
              <a:ext uri="{FF2B5EF4-FFF2-40B4-BE49-F238E27FC236}">
                <a16:creationId xmlns:a16="http://schemas.microsoft.com/office/drawing/2014/main" id="{8446534B-0E8D-6400-F78D-CB85D8BEED55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gray">
          <a:xfrm>
            <a:off x="330199" y="6328225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Note: Top US states across players and countries shown on the chart, Bars sorted basis the # of profiles; Top lines may not match since Geography is a user reported KPI and not all users mention about the same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Source: Aura, Bain analysis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22E146A7-5781-EBC3-1341-D5D35393FBC5}"/>
              </a:ext>
            </a:extLst>
          </p:cNvPr>
          <p:cNvSpPr/>
          <p:nvPr/>
        </p:nvSpPr>
        <p:spPr bwMode="gray">
          <a:xfrm>
            <a:off x="9723575" y="1573248"/>
            <a:ext cx="888280" cy="4661664"/>
          </a:xfrm>
          <a:prstGeom prst="rect">
            <a:avLst/>
          </a:prstGeom>
          <a:noFill/>
          <a:ln w="9525">
            <a:solidFill>
              <a:srgbClr val="C00000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ln>
                <a:solidFill>
                  <a:schemeClr val="tx1"/>
                </a:solidFill>
                <a:prstDash val="dash"/>
              </a:ln>
              <a:solidFill>
                <a:schemeClr val="tx1"/>
              </a:solidFill>
            </a:endParaRPr>
          </a:p>
        </p:txBody>
      </p:sp>
      <p:grpSp>
        <p:nvGrpSpPr>
          <p:cNvPr id="5" name="btfpRunningAgenda2Level175785">
            <a:extLst>
              <a:ext uri="{FF2B5EF4-FFF2-40B4-BE49-F238E27FC236}">
                <a16:creationId xmlns:a16="http://schemas.microsoft.com/office/drawing/2014/main" id="{F8DF7D2A-ECBB-D8A4-0682-04C907407A2E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0" y="944429"/>
            <a:ext cx="4440349" cy="257443"/>
            <a:chOff x="0" y="876300"/>
            <a:chExt cx="4440349" cy="257443"/>
          </a:xfrm>
        </p:grpSpPr>
        <p:sp>
          <p:nvSpPr>
            <p:cNvPr id="18" name="btfpRunningAgenda2LevelBarLeft175785">
              <a:extLst>
                <a:ext uri="{FF2B5EF4-FFF2-40B4-BE49-F238E27FC236}">
                  <a16:creationId xmlns:a16="http://schemas.microsoft.com/office/drawing/2014/main" id="{B22CCFE6-753C-2F30-679D-372563032572}"/>
                </a:ext>
              </a:extLst>
            </p:cNvPr>
            <p:cNvSpPr/>
            <p:nvPr/>
          </p:nvSpPr>
          <p:spPr bwMode="gray">
            <a:xfrm>
              <a:off x="0" y="876300"/>
              <a:ext cx="2327781" cy="257443"/>
            </a:xfrm>
            <a:custGeom>
              <a:avLst/>
              <a:gdLst/>
              <a:ahLst/>
              <a:cxnLst/>
              <a:rect l="0" t="0" r="0" b="0"/>
              <a:pathLst>
                <a:path w="2327781" h="257443">
                  <a:moveTo>
                    <a:pt x="0" y="0"/>
                  </a:moveTo>
                  <a:lnTo>
                    <a:pt x="2327780" y="0"/>
                  </a:lnTo>
                  <a:lnTo>
                    <a:pt x="2273059" y="257442"/>
                  </a:lnTo>
                  <a:lnTo>
                    <a:pt x="0" y="257442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30" name="btfpRunningAgenda2LevelTextLeft175785">
              <a:extLst>
                <a:ext uri="{FF2B5EF4-FFF2-40B4-BE49-F238E27FC236}">
                  <a16:creationId xmlns:a16="http://schemas.microsoft.com/office/drawing/2014/main" id="{8935C5F4-D83A-DE3A-2547-C0B1D7B6C677}"/>
                </a:ext>
              </a:extLst>
            </p:cNvPr>
            <p:cNvSpPr txBox="1"/>
            <p:nvPr/>
          </p:nvSpPr>
          <p:spPr bwMode="gray">
            <a:xfrm>
              <a:off x="0" y="876300"/>
              <a:ext cx="2273059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Workforce</a:t>
              </a:r>
            </a:p>
          </p:txBody>
        </p:sp>
        <p:sp>
          <p:nvSpPr>
            <p:cNvPr id="31" name="btfpRunningAgenda2LevelBarRight175785">
              <a:extLst>
                <a:ext uri="{FF2B5EF4-FFF2-40B4-BE49-F238E27FC236}">
                  <a16:creationId xmlns:a16="http://schemas.microsoft.com/office/drawing/2014/main" id="{3461EDEA-0645-CB0C-CEC8-6745DAD42524}"/>
                </a:ext>
              </a:extLst>
            </p:cNvPr>
            <p:cNvSpPr/>
            <p:nvPr/>
          </p:nvSpPr>
          <p:spPr bwMode="gray">
            <a:xfrm>
              <a:off x="2192938" y="876300"/>
              <a:ext cx="2112786" cy="257442"/>
            </a:xfrm>
            <a:custGeom>
              <a:avLst/>
              <a:gdLst>
                <a:gd name="connsiteX0" fmla="*/ 950801 w 2367856"/>
                <a:gd name="connsiteY0" fmla="*/ 0 h 257442"/>
                <a:gd name="connsiteX1" fmla="*/ 2367856 w 2367856"/>
                <a:gd name="connsiteY1" fmla="*/ 0 h 257442"/>
                <a:gd name="connsiteX2" fmla="*/ 2313135 w 2367856"/>
                <a:gd name="connsiteY2" fmla="*/ 257442 h 257442"/>
                <a:gd name="connsiteX3" fmla="*/ 0 w 2367856"/>
                <a:gd name="connsiteY3" fmla="*/ 257442 h 257442"/>
                <a:gd name="connsiteX0" fmla="*/ 950801 w 2313135"/>
                <a:gd name="connsiteY0" fmla="*/ 0 h 257442"/>
                <a:gd name="connsiteX1" fmla="*/ 896080 w 2313135"/>
                <a:gd name="connsiteY1" fmla="*/ 257442 h 257442"/>
                <a:gd name="connsiteX2" fmla="*/ 2313135 w 2313135"/>
                <a:gd name="connsiteY2" fmla="*/ 257442 h 257442"/>
                <a:gd name="connsiteX3" fmla="*/ 0 w 2313135"/>
                <a:gd name="connsiteY3" fmla="*/ 257442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54721 w 950800"/>
                <a:gd name="connsiteY3" fmla="*/ 0 h 257442"/>
                <a:gd name="connsiteX0" fmla="*/ 1243957 w 1243957"/>
                <a:gd name="connsiteY0" fmla="*/ 0 h 257442"/>
                <a:gd name="connsiteX1" fmla="*/ 896079 w 1243957"/>
                <a:gd name="connsiteY1" fmla="*/ 257442 h 257442"/>
                <a:gd name="connsiteX2" fmla="*/ 0 w 1243957"/>
                <a:gd name="connsiteY2" fmla="*/ 257442 h 257442"/>
                <a:gd name="connsiteX3" fmla="*/ 54721 w 1243957"/>
                <a:gd name="connsiteY3" fmla="*/ 0 h 257442"/>
                <a:gd name="connsiteX0" fmla="*/ 1243957 w 1243957"/>
                <a:gd name="connsiteY0" fmla="*/ 0 h 257442"/>
                <a:gd name="connsiteX1" fmla="*/ 1189236 w 1243957"/>
                <a:gd name="connsiteY1" fmla="*/ 257442 h 257442"/>
                <a:gd name="connsiteX2" fmla="*/ 0 w 1243957"/>
                <a:gd name="connsiteY2" fmla="*/ 257442 h 257442"/>
                <a:gd name="connsiteX3" fmla="*/ 54721 w 1243957"/>
                <a:gd name="connsiteY3" fmla="*/ 0 h 257442"/>
                <a:gd name="connsiteX0" fmla="*/ 1243958 w 1243958"/>
                <a:gd name="connsiteY0" fmla="*/ 0 h 257442"/>
                <a:gd name="connsiteX1" fmla="*/ 1189237 w 1243958"/>
                <a:gd name="connsiteY1" fmla="*/ 257442 h 257442"/>
                <a:gd name="connsiteX2" fmla="*/ 0 w 1243958"/>
                <a:gd name="connsiteY2" fmla="*/ 257442 h 257442"/>
                <a:gd name="connsiteX3" fmla="*/ 54722 w 1243958"/>
                <a:gd name="connsiteY3" fmla="*/ 0 h 257442"/>
                <a:gd name="connsiteX0" fmla="*/ 1243958 w 1243958"/>
                <a:gd name="connsiteY0" fmla="*/ 0 h 257442"/>
                <a:gd name="connsiteX1" fmla="*/ 1189237 w 1243958"/>
                <a:gd name="connsiteY1" fmla="*/ 257442 h 257442"/>
                <a:gd name="connsiteX2" fmla="*/ 0 w 1243958"/>
                <a:gd name="connsiteY2" fmla="*/ 257442 h 257442"/>
                <a:gd name="connsiteX3" fmla="*/ 54721 w 1243958"/>
                <a:gd name="connsiteY3" fmla="*/ 0 h 257442"/>
                <a:gd name="connsiteX0" fmla="*/ 1412273 w 1412273"/>
                <a:gd name="connsiteY0" fmla="*/ 0 h 257442"/>
                <a:gd name="connsiteX1" fmla="*/ 1189237 w 1412273"/>
                <a:gd name="connsiteY1" fmla="*/ 257442 h 257442"/>
                <a:gd name="connsiteX2" fmla="*/ 0 w 1412273"/>
                <a:gd name="connsiteY2" fmla="*/ 257442 h 257442"/>
                <a:gd name="connsiteX3" fmla="*/ 54721 w 1412273"/>
                <a:gd name="connsiteY3" fmla="*/ 0 h 257442"/>
                <a:gd name="connsiteX0" fmla="*/ 1412273 w 1412273"/>
                <a:gd name="connsiteY0" fmla="*/ 0 h 257442"/>
                <a:gd name="connsiteX1" fmla="*/ 1357552 w 1412273"/>
                <a:gd name="connsiteY1" fmla="*/ 257442 h 257442"/>
                <a:gd name="connsiteX2" fmla="*/ 0 w 1412273"/>
                <a:gd name="connsiteY2" fmla="*/ 257442 h 257442"/>
                <a:gd name="connsiteX3" fmla="*/ 54721 w 1412273"/>
                <a:gd name="connsiteY3" fmla="*/ 0 h 257442"/>
                <a:gd name="connsiteX0" fmla="*/ 1412273 w 1412273"/>
                <a:gd name="connsiteY0" fmla="*/ 0 h 257442"/>
                <a:gd name="connsiteX1" fmla="*/ 1357552 w 1412273"/>
                <a:gd name="connsiteY1" fmla="*/ 257442 h 257442"/>
                <a:gd name="connsiteX2" fmla="*/ 0 w 1412273"/>
                <a:gd name="connsiteY2" fmla="*/ 257442 h 257442"/>
                <a:gd name="connsiteX3" fmla="*/ 54721 w 1412273"/>
                <a:gd name="connsiteY3" fmla="*/ 0 h 257442"/>
                <a:gd name="connsiteX0" fmla="*/ 1412273 w 1412273"/>
                <a:gd name="connsiteY0" fmla="*/ 0 h 257442"/>
                <a:gd name="connsiteX1" fmla="*/ 1357552 w 1412273"/>
                <a:gd name="connsiteY1" fmla="*/ 257442 h 257442"/>
                <a:gd name="connsiteX2" fmla="*/ 0 w 1412273"/>
                <a:gd name="connsiteY2" fmla="*/ 257442 h 257442"/>
                <a:gd name="connsiteX3" fmla="*/ 54721 w 1412273"/>
                <a:gd name="connsiteY3" fmla="*/ 0 h 257442"/>
                <a:gd name="connsiteX0" fmla="*/ 1665548 w 1665548"/>
                <a:gd name="connsiteY0" fmla="*/ 0 h 257442"/>
                <a:gd name="connsiteX1" fmla="*/ 1357552 w 1665548"/>
                <a:gd name="connsiteY1" fmla="*/ 257442 h 257442"/>
                <a:gd name="connsiteX2" fmla="*/ 0 w 1665548"/>
                <a:gd name="connsiteY2" fmla="*/ 257442 h 257442"/>
                <a:gd name="connsiteX3" fmla="*/ 54721 w 1665548"/>
                <a:gd name="connsiteY3" fmla="*/ 0 h 257442"/>
                <a:gd name="connsiteX0" fmla="*/ 1665548 w 1665548"/>
                <a:gd name="connsiteY0" fmla="*/ 0 h 257442"/>
                <a:gd name="connsiteX1" fmla="*/ 1610826 w 1665548"/>
                <a:gd name="connsiteY1" fmla="*/ 257442 h 257442"/>
                <a:gd name="connsiteX2" fmla="*/ 0 w 1665548"/>
                <a:gd name="connsiteY2" fmla="*/ 257442 h 257442"/>
                <a:gd name="connsiteX3" fmla="*/ 54721 w 1665548"/>
                <a:gd name="connsiteY3" fmla="*/ 0 h 257442"/>
                <a:gd name="connsiteX0" fmla="*/ 1665549 w 1665549"/>
                <a:gd name="connsiteY0" fmla="*/ 0 h 257442"/>
                <a:gd name="connsiteX1" fmla="*/ 1610827 w 1665549"/>
                <a:gd name="connsiteY1" fmla="*/ 257442 h 257442"/>
                <a:gd name="connsiteX2" fmla="*/ 0 w 1665549"/>
                <a:gd name="connsiteY2" fmla="*/ 257442 h 257442"/>
                <a:gd name="connsiteX3" fmla="*/ 54722 w 1665549"/>
                <a:gd name="connsiteY3" fmla="*/ 0 h 257442"/>
                <a:gd name="connsiteX0" fmla="*/ 1665549 w 1665549"/>
                <a:gd name="connsiteY0" fmla="*/ 0 h 257442"/>
                <a:gd name="connsiteX1" fmla="*/ 1610827 w 1665549"/>
                <a:gd name="connsiteY1" fmla="*/ 257442 h 257442"/>
                <a:gd name="connsiteX2" fmla="*/ 0 w 1665549"/>
                <a:gd name="connsiteY2" fmla="*/ 257442 h 257442"/>
                <a:gd name="connsiteX3" fmla="*/ 54722 w 1665549"/>
                <a:gd name="connsiteY3" fmla="*/ 0 h 257442"/>
                <a:gd name="connsiteX0" fmla="*/ 1944471 w 1944471"/>
                <a:gd name="connsiteY0" fmla="*/ 0 h 257442"/>
                <a:gd name="connsiteX1" fmla="*/ 1610827 w 1944471"/>
                <a:gd name="connsiteY1" fmla="*/ 257442 h 257442"/>
                <a:gd name="connsiteX2" fmla="*/ 0 w 1944471"/>
                <a:gd name="connsiteY2" fmla="*/ 257442 h 257442"/>
                <a:gd name="connsiteX3" fmla="*/ 54722 w 1944471"/>
                <a:gd name="connsiteY3" fmla="*/ 0 h 257442"/>
                <a:gd name="connsiteX0" fmla="*/ 1944471 w 1944471"/>
                <a:gd name="connsiteY0" fmla="*/ 0 h 257442"/>
                <a:gd name="connsiteX1" fmla="*/ 1889750 w 1944471"/>
                <a:gd name="connsiteY1" fmla="*/ 257442 h 257442"/>
                <a:gd name="connsiteX2" fmla="*/ 0 w 1944471"/>
                <a:gd name="connsiteY2" fmla="*/ 257442 h 257442"/>
                <a:gd name="connsiteX3" fmla="*/ 54722 w 1944471"/>
                <a:gd name="connsiteY3" fmla="*/ 0 h 257442"/>
                <a:gd name="connsiteX0" fmla="*/ 1944470 w 1944470"/>
                <a:gd name="connsiteY0" fmla="*/ 0 h 257442"/>
                <a:gd name="connsiteX1" fmla="*/ 1889749 w 1944470"/>
                <a:gd name="connsiteY1" fmla="*/ 257442 h 257442"/>
                <a:gd name="connsiteX2" fmla="*/ 0 w 1944470"/>
                <a:gd name="connsiteY2" fmla="*/ 257442 h 257442"/>
                <a:gd name="connsiteX3" fmla="*/ 54721 w 1944470"/>
                <a:gd name="connsiteY3" fmla="*/ 0 h 257442"/>
                <a:gd name="connsiteX0" fmla="*/ 1944470 w 1944470"/>
                <a:gd name="connsiteY0" fmla="*/ 0 h 257442"/>
                <a:gd name="connsiteX1" fmla="*/ 1889749 w 1944470"/>
                <a:gd name="connsiteY1" fmla="*/ 257442 h 257442"/>
                <a:gd name="connsiteX2" fmla="*/ 0 w 1944470"/>
                <a:gd name="connsiteY2" fmla="*/ 257442 h 257442"/>
                <a:gd name="connsiteX3" fmla="*/ 54720 w 1944470"/>
                <a:gd name="connsiteY3" fmla="*/ 0 h 257442"/>
                <a:gd name="connsiteX0" fmla="*/ 2112785 w 2112785"/>
                <a:gd name="connsiteY0" fmla="*/ 0 h 257442"/>
                <a:gd name="connsiteX1" fmla="*/ 1889749 w 2112785"/>
                <a:gd name="connsiteY1" fmla="*/ 257442 h 257442"/>
                <a:gd name="connsiteX2" fmla="*/ 0 w 2112785"/>
                <a:gd name="connsiteY2" fmla="*/ 257442 h 257442"/>
                <a:gd name="connsiteX3" fmla="*/ 54720 w 2112785"/>
                <a:gd name="connsiteY3" fmla="*/ 0 h 257442"/>
                <a:gd name="connsiteX0" fmla="*/ 2112785 w 2112785"/>
                <a:gd name="connsiteY0" fmla="*/ 0 h 257442"/>
                <a:gd name="connsiteX1" fmla="*/ 2058064 w 2112785"/>
                <a:gd name="connsiteY1" fmla="*/ 257442 h 257442"/>
                <a:gd name="connsiteX2" fmla="*/ 0 w 2112785"/>
                <a:gd name="connsiteY2" fmla="*/ 257442 h 257442"/>
                <a:gd name="connsiteX3" fmla="*/ 54720 w 2112785"/>
                <a:gd name="connsiteY3" fmla="*/ 0 h 257442"/>
                <a:gd name="connsiteX0" fmla="*/ 2112786 w 2112786"/>
                <a:gd name="connsiteY0" fmla="*/ 0 h 257442"/>
                <a:gd name="connsiteX1" fmla="*/ 2058065 w 2112786"/>
                <a:gd name="connsiteY1" fmla="*/ 257442 h 257442"/>
                <a:gd name="connsiteX2" fmla="*/ 0 w 2112786"/>
                <a:gd name="connsiteY2" fmla="*/ 257442 h 257442"/>
                <a:gd name="connsiteX3" fmla="*/ 54721 w 2112786"/>
                <a:gd name="connsiteY3" fmla="*/ 0 h 257442"/>
                <a:gd name="connsiteX0" fmla="*/ 2112786 w 2112786"/>
                <a:gd name="connsiteY0" fmla="*/ 0 h 257442"/>
                <a:gd name="connsiteX1" fmla="*/ 2058065 w 2112786"/>
                <a:gd name="connsiteY1" fmla="*/ 257442 h 257442"/>
                <a:gd name="connsiteX2" fmla="*/ 0 w 2112786"/>
                <a:gd name="connsiteY2" fmla="*/ 257442 h 257442"/>
                <a:gd name="connsiteX3" fmla="*/ 54721 w 2112786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12786" h="257442">
                  <a:moveTo>
                    <a:pt x="2112786" y="0"/>
                  </a:moveTo>
                  <a:lnTo>
                    <a:pt x="2058065" y="257442"/>
                  </a:lnTo>
                  <a:lnTo>
                    <a:pt x="0" y="257442"/>
                  </a:lnTo>
                  <a:lnTo>
                    <a:pt x="54721" y="0"/>
                  </a:lnTo>
                  <a:close/>
                </a:path>
              </a:pathLst>
            </a:custGeom>
            <a:solidFill>
              <a:srgbClr val="B4B4B4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32" name="btfpRunningAgenda2LevelTextRight175785">
              <a:extLst>
                <a:ext uri="{FF2B5EF4-FFF2-40B4-BE49-F238E27FC236}">
                  <a16:creationId xmlns:a16="http://schemas.microsoft.com/office/drawing/2014/main" id="{C468510F-95B6-2A17-4936-9882690A53EF}"/>
                </a:ext>
              </a:extLst>
            </p:cNvPr>
            <p:cNvSpPr txBox="1"/>
            <p:nvPr/>
          </p:nvSpPr>
          <p:spPr bwMode="gray">
            <a:xfrm>
              <a:off x="2192938" y="876300"/>
              <a:ext cx="2247411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geography</a:t>
              </a:r>
            </a:p>
          </p:txBody>
        </p:sp>
      </p:grp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0077CBF4-5F48-1127-6491-787597C745CA}"/>
              </a:ext>
            </a:extLst>
          </p:cNvPr>
          <p:cNvSpPr/>
          <p:nvPr/>
        </p:nvSpPr>
        <p:spPr bwMode="gray">
          <a:xfrm>
            <a:off x="10747068" y="796006"/>
            <a:ext cx="956332" cy="382533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00" dirty="0">
                <a:solidFill>
                  <a:schemeClr val="tx1"/>
                </a:solidFill>
              </a:rPr>
              <a:t>BCN updated 05/09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4420723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35CE8A49-D4F9-81AA-BC9A-243BF22C487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480329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04" imgH="405" progId="TCLayout.ActiveDocument.1">
                  <p:embed/>
                </p:oleObj>
              </mc:Choice>
              <mc:Fallback>
                <p:oleObj name="think-cell Slide" r:id="rId9" imgW="404" imgH="405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CE8A49-D4F9-81AA-BC9A-243BF22C48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btfpMGChart364573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aYhHdubK/b9WYMbiqTQFZNRdTaHJ1Coz+gznC5J29/l+uni9WCTqRMIgVGBy5FSCqTCP+Vdrf4pg20L7fH6DBFZNwM9n1LsUHI9V7RaFmsG0sNQoXSeAHwLHqm09MgcFXN66rU1JBmjj5AdPA9rH9HeMv8yYIzdszzmfS3kUAUZ84ZSOPVl7UlEjx6rw75+MLzc4SLp9Ci5F+Jp6d4/4dTxXpojeD+CY/U6NfngENab6z5pEgfCltXWTBNh+62+cZqjnspSl9gI0RDf4nHe2aTBcjnUADSnuY6Ah0E4CIiiNkboPutm8WDAWbmoouBw/ecy+rr8RxQilCUIH1y+Mmjmkh9VJMClVJT2BabAb8yh4/2Ta3fuMsDjYz3pO1A39CQHb7nrS/lI5ZpKEBIO5pKOuNfrLbimlmz6dmqSF7BOkY3jOowBlNeBAaewxk2OZrnexS0nsnl6RIHCEYbuwZG3Txs872axG9pxLCTnN36/CGaE2A/AZWh1J6icqip3qkjjyRaov0e3uOlP8YDLnkr826mUW0D0BFC9DG2gR6DBhAKZ6x7ajl2K98lhMpKnEongzFH38Ipz3/QoQ/nB6fQdrUo1kLP7H2qWjEaKxxuyG8pzjERNzSgG6uxsEv0WJBuqw1tAhabvZPYnZsdCpNf4nfoio9dFIgmENCfEfLzK8O+d0epZd6ZKJHtdYJvX6WktqW01UaZADG32cZbB9p8YLLgYzii6TsEXevlqdOjirIm1VCVuLquSWu97SyDRDU+YQgFOq0WiqJiB6eKhYlDbub9E24d7G2WEFh2EBEuKdtyA1xI07oRadhLy3NfWl4f28Ws+5sjt7S3XmJogi8QB+pIh1MBGfBe5r1bSECRdfB/yqbAOTkQCqMjkFu3u+KstROHttYp6CefbZvX1ZVgG2qnpYCRGwXeB4s6TzuDwMX+5LCkZxJKyNpXu/rEa5X5ElPAmxf1f7+LaAlf1JqUPjF4bbRakUhw5oulIshdVBGEoiVijs0+ybkA8alCdjol/DgOPVkDFVAeG/T2VfTIuT5umaFIDe2jyCVOY8z6909r3x4FEF8ELA/0wIIFMyMrvxREjmZd4GaMmIJyR9GyNJslio39C2gkDdqXIvFMPgCEQBtfNjBhy5Sg9/9+509ZoY923xr1zAeDART/ClPSciJlacFT+48mDmENZbU6rkU8Q0LPju1OR+vk90NxotWxbZn/loDKkVAIFTKU2I0fjLTMlWUXLAeanRgHTvBlkLIdn+WwiqZMlV6bYSV+txrMxbyQGqKYlaHXNdQUa5dim6F6ZHi1MuDHWH0VDvD9PDWIcr8K+yRfHTq7rM+ZaZ1anEP5ONaLRyjAJpsr/fON6oFd7tybnelkCvsL2u+TRMxZyge+DfDV+omLIPwMfW1/Wh+hqpTOwqdnD/IQasCaJggZ1DMwXG2KFytEgXjmzVRJxsfouV63cfWvBGGJyXVnAotc5yFbdbHqAPTxaivpJRu7WrbW5elvtfOyuXFSnJD7D4ROmSmE6vy9yTNaT0zBZLq8vS+GXbc6gcOyxN3HZ9kV/bXY95e6MzoRP00O9IiUS4ZvneFsVKZt8QcK0nC3ySJq5DBPTkiSEuxfLGDeWv0BRz1rm0JNTl3cT0rvYa70Av/bnZaGGOOisqz8kzDWly8VqiThfbP7er8NYJBXPOe59RCj0m56LTvMDQeUkfgSjvPl0coWmXjJT1lwFByiKugwETkVyMNcHqMTZhqyyxGhNi9BZv69YGQmZnUoropvRZ7sL3ypnRJdyA0Nvu1CYttuxCOgGIPOXG7N37SkPX9fFgoI1IWQqBgJGqhF9RG0Jn6QYPqVaQVNt07UClDQJAQXAIQT+9bY123kvNxdonj4M33IxwMqS8cSsmvYpmpHik78BQlSO7aW5wVqPdvT1D2YDNf+UWikyntbQWSO4os/XAEX3WpPLm97JkXPtDfuz0CyEpuBPuB1SsHWw/M22Ca1Bgrsqcy0Th+VnBWtuOXJzcaawnbeth9O1+EVS6C1YPoxyrjSj6heG+ypbzTi0SxcEbpa74AQuYFf/mM1j7xsueAfBfgUquNn90wpGV0PgKh2MKUs75XaUe2b/E/GUnzilgiG86DZh6TKw2a9GJbk2G1ztwgHNonEvZ5OG+UjzuwlTDgmBO+p+z+xWDoukc7tgWHKUTNTdJcOFb74Y8F/aGMYR4jaJN9e3wvKhg+CAXFKho0uaEsZgnRvQI/cPeZkjSVFMfhZvlqBmYolrdsX0GcAwH5CxC75BL6MeL2uB8eC1YYOFQIbNPsPbagTYL7xCdS4r5guWdFXfgi3nTVJKrg7bpirRfRnpKrrB58N9eBg6KwjARgceVb4auF4eBBSE4JzYv4ai+DeExRYBrOjDWHV+ykrRzd1JoXpFGrIgiBl8p+QmnI81hch+x8Pilt4jIlE9oWdJsYfdi0nIrfb41KJ8ORT+r2p4rCul5xU/7HkuYlouzbV/S3HUchbokuqI2Kq1IabOZkFRx5l+ETX7gh+BezyLjXl5Lfstc3NRO7J8SaQmXd76s0ebb2d+UUB1pkJHyO+bUBvMxyjjJaPQzTW7rxDOeH3O4hlB9nR/+MBfg+Ctcl9N6N2jtQeNW1GHBdQE9pQVlU5mcvZvmniwnRbF44ZFilaGzY86y2R6sxGb9mevqodS8ZPzixIHENstyr54mkBu1Q4YvHT1qz+6ngsjp2UpQGSMRLMmpKkARuGu+4SYjJmyt1TsPCXlfIoXyACixLrbRwD6c4D3LLavc0l2OAtZye71PoyOxKubYczZkozGWXcrg5Cu64LRN7fZNj9nkL0bPBrBBZQkmN1wqUNYQBPiESeve3mM5KcP4PfOi43irC4OkMv3EifSDPOK1aHyIe+BeR9kiARFjdR66o+gWM/U6ScV6Fi7YAUmLa/3DYjhzPpjIMisL4bnDh8MYHSk9Hzvbg37aZN8UNUOu1YhDPpuj0MoZtXW/XD34ZqtW4IIsmcZnTY3JlgMDmvOJGSyP1q0ND02XSngssMZqkRtlm18l+ggEPn2fVW9wjZ1oug5Z6jgHGx1PWFkQ5CJI3j8XuyV5BNCDgARlV4FRw4exAZD6+/FUqYouTZLGYRUVNOHp9d2q4qGdS94MIG4S28vU3ee20hgovijus5IWkkFAynprBYVQsZrIYhNIG7qNNTVFbx0XT5UIx7ogt7POQVDdnEFzZS+SZQuzDL+32MhsRT/pBuTrQA00YR5u8m3d/X+CzSkRifJzRDkShII764JbF4udMKtHvvlSQYO+kw8ThTG2xhA/EV4dfarw/dcS5Ppi79gE2C0n2GsI9avA8LeCQ4Emo8txrUdgKuADkAQggcK/PHOdjkXUDVQPwzmBn2JgVt+3EqfYkPJGAxYl7502FxRYVW5cOMNNKkOKDbve5cp+NeEb2rZ4z8RQwlITVrmetLxtn6WfcZHe1fo0nfNsntEZclAcJPH4hk8CS1dh5JPHdk6zv3D3S/CEzk6LKsu6xANaXtsfyU4jzq4viWj7rqtNHw7SvSVbHfXET7fOJbIdWthVFVd7p4RDSYT7KnLkNI69lZwCHHArG9SMmFz84cmfgKdmCxUGbILzJ6AEf2h6b1TOyInazpRTfzLsvxWpa4rDyI9kjcPDXYxmdVg2VuuGec1nSD2UUqx5qJVt9/rhMDXjyaaaykpitVOzc2okHRKTb0VkP1ztHGE8ttPe7o7+WFhjRz9aNZ1mRvM40T76LpPw11gNmP5ClHa+8DvvCkD8RNwX4edhhhPmFvhIdehrnY3v8je0K95bjVZuuAOJdY+KxVgP67/2NJKgW4ThUyq6f4JAwiKi7HlQ63mA3m7ia/DU1pyvYJHzJIYSOLY3I5UZhVePbT7WjJZ58r/bZlJ391zQEiEfLadL365PcFyEX0Kne4k4vnYXx0K/WEhqZjv1IEQeoycAUjoMEFr60SpxaO0cwsNSfHJBQkNMXfBQZHt1YqhZpz8Em8oS0Q1EFTIdSTq9PeHuTsfbDAdBuLZ91GxGp1uaUhJflPEDrMjo1mwX0FtdUhuuYA0XpRvAgAvniQAklZ8kelNrQ173XnKJdgC127TgGmfmo6d4O4pVmYGXEbHEQPA6Ew2Bw6JXLVA5cQgkocPhACRNGk+B/wd6xnmJ9BIEb8LrYmUivivayLOGlUKyLsEdbiQtSFi5Ag3uTLRxSzaoPZpv8P4GQXU+CKFzn9IEQQfT1H6LXCsXL/Wsik8jQuZnQh0AYTvyhehaI3oKw7RisuAj87qD2/9cWZO12dEvmFEe2z0OAB5ZYIrQxuM/85M2jLqEtLfZBug6LBAJ9z/g6oZ5aIRTbzmkhVhlEIQTqlA76fgWIfr6HjzrLNP7ztOaG/sjydTAB1FU769i7XFuLsZGPEROj0obQiC+0Z+iSQNiH4O29/trQUm9Y0Slt80RqOIVcLb3zgwG4y14A3wwJjbN+rNH1C3Kv59XeKZmzZ1Z0uAuZFF75iv+w6+22sSlbT4JfIJ6wQDzk2vqqUYDYA+SnHFd9S9npSOq6kGAm7Z9YIt2mp/gT8lHfV6Seccry5zjELQnouizuXG3pB3/GGrwMlgYc/AT2TErhGpHYmen0Ld/orSV4wzuiw+OtUPnyTihwVMzL+ZOLvSFb4qKjoEKZmVHmXiHizK/hlBhfvrPTROO30JVEoSKITb5XGLSgjUbb9/s2Cmcw8uI+R0YRa5F1H+OlHvw8rTxdok76dr73F7U3yvXET4tl0YWVq19RWLjqV2li/nxDwhYghBfNMAGAqPfw7TWQqUmQ/dqfo/hhGYoS32NB7KdxMLIyh5ycNxyhqzBMfd/ds9g1TfWhqKlFqGz4cqOw2YyTPCIG3V0YRAjhHh/RnBSqQozGH6s7EqFeaETDAKxDl4FIDLDtgfxnmgj84gYvH7o2Ni9N9hiIv56k15Rhx8c04SBCH0/rkW+FtYvtMYJlV3bvJ5BvCN+/aKcwbkYhsa5djXHRFeiq+EpPaEn2hkmC+uCx+JRXSHzT6Z1uXInVZjtwW9WS9IJ1NMbbYrurax6ri0tyCyLSzhZLTbArTj2klQcyMCxaxhmv04mjque6iEnrSP36efcxn6R9A68zVmQegri2Fcp3Mww1R8XT5ZanCfdBuLWJy65AaFkzDkGOpQWlCDwR40llrByzBY3zrpbe9pGxAdBMvOkMbgH8cvvOB/vWXSBYgR396ShhEGbaRP2UYmD+NRpgu74dx6D2nWd5HG8Zrsb6BsNBkIF5TYX77nNpVeB+oidS7qwjljvsU2sgUbiFecg4YUcehlrIvA+fVPBoQTpisf3Yh7gOK9k2MK2gp2xKyBxHyVgKXoioipwI5VL9QVTeMRsxvtu/zcftmVEeN8IBfqIAeRgrZeXfN6i5hFTy7gMZLS1HnE1HPlq0nHWuacGNCyxmybK+81CwbGYnfMRggGuNlafh2NfKeZOxZPI6cxY+S8cWG0I9M4kv/VGvC3ltaBscU9cmpszPRYu3iXDIWqya0V9SDDFC8S6YLaWW+OGVI10fb1cwSpdNcKczx8KSqff1FLqpWT/Ak6bhOS08q7mfovA/05dDZ7A+sOM1VTsXvc8TD+5SmPaXrqHUPgjyxoIftpTmHwD93Gbj6XCr+mU5Uv1LkFm1woFqm+Tc3A6FeOru50vNU/NTCXrWfR5n0xO4ZFnGeI6vg6ztQl04d4j9lOQd8rFXReY+h9T+WoYnMgMqspWSpM7+pCQHB1Zyupc2LnwXyFT7UWuZ1VbU73z2HMMzV00YHmlcNzPHOkM6B4B4WoJDFjht+Qha0FxmAnc9IKu9NwQ7jfDcGLR38jMFmUPnw9QtPx/r5FFu/tnz5zzMUwjSLVmgxICilHI28dGXqTeZkfhuRP6hM3rYZsUB00lVDkcbNCKc6bvwD0HE56piaH1JJiQeweLc86taXN2QGD2lGJRraQ73Ql0bhXGx+Rj6qWO7JJq45InRDhI3P2X9QWritdXH69hatEkUg2igokAjh6RGzpdvGcjDfXkqp0RlswQ+9Km5Dq3w1yHbHiEzfq9A+AyKh1eFdUHPA7IEBd0qIu9/VjLGZa0UKJInR6fjHJ9teRZtn7qo0BYFsd1Lek3dxPttUBr+6mLNp9BOQHxO17SmtH9rwIMtI/o5Q7wOV8X1MM4QQPQbsGr79fGY+r2qTv0In9nSauSSTqV81NTkAD5iVaF7YnzlPb+i4n+Y+U2kN6Q2odC5KuSG8xGwDBFJ8LcsuE2G3ajX4nQh6MtLnp2MF9mAuoRqgu8GsNbD5x1KDjs7jylHYtB9glriybpU5KA7stL2VxGoPyBoIkigz+SGHnaMTAMvJuSW8sEa/XZOjMYWpk6BVoQHGRFVSL56qdLYzZM33bAWfg1cL8aImmWe5hvAIiUc141QJds114GtDPwTJUHwVTf6tK2iV7R3J3VY3Ayl5ztiMjdeqN0Ro8HYmKpxRGU2lWkPgO1BF2GFuJYA6uDjyQknxvIudigAs8O0nLboaBBTHFuVs/7ZxTQ2TPDJuSrqRXSAoiKMbbRPq0leUlhqOF7OVGUBdYbOE1EI3vpE2qLMgdlg6jy76cLbqFwdjZVdw6JekSQAJXeDr5h+co9pvjjtb0rGmaJ85wpC6IiE9gvDFa7QHw76jpIIZiRTgAitohGMZG+N5W7km4f7xAaxcZ6Mq5UyXSXe/xtUFBPth45UwdFaU4rObNo4VAHlVI/9RXWrpoLUVh0GCFVWtB8UZIx0fnUfaHnaqXyru/YLTeNR0bW5z3Hu36VyzLtZ6ZyjxQvbLH3LE2OjDtIfywzZPn/VpvAJdH/Ugq/mVrggy8DdlggnGORRaTE2fwCtl6Zoi9CWNr0qAL1HoqGR9xhJWMIfRLOPO0YoqEJen3O1vV0lr8hxD0qmWrqFkhsao9/loWwt7bVn0ajKx3yOYCshbmp73WIigYDcG41h26hEhULQ3epJnSmPRALCqku1WvUIilwC9s2C+59RpQGEUwetG7QhYq2saAMG/KTd2FU0NJUzKtF/MB0zRNO5uczdv3OJqIjdtL7bNVYNUnxF2DZ6uojkEs5wQunej2GghIU5NlerT79EnZuQh+sRaue/1/4LSfS8VLpKr6tkZ/oChE4SOGwal27EpJXyzgNWE0/j5F+TKF4mHfyteWI8LweJHdq/n1lhsmT3uQKjVD2hwnQ+o8sbF2nbnhn46O3Hwg57mGLsBOZ49CTxQf6+QcHAL1iA81F/GNsetBQBZy2DLlGte/o63fg1ds+3LxFSzfdN2fDuX5tn62RG75QKAMcc0MYlEkWphlPuboOguGfpMAhyNBzR45Brtjir45c8dfXfHZsW/u1d4wfriFvMF7uvrT4hruYCYJC5goYIUvaMU1IslXqs8Z8Jp9MvvYaTI3Z1isHGUnKiOyiIJNb4vaKuON1LWeGk0mG6tppsHkJWsiy6aVNIjp/3buajDuoyH2ANKTnN5kNI5HRp19ZiNnSB5nDZVMR6B97Xi9Yzr+FPMPCh5jdhCSHr9fnYHBzmLRxwBQu85jH+lkgbpWU6LnjNqykG8riWbqoq0eQJAUp3vWzhI5yaGAY0YCSJy2eGKDIjnx76TpLJYvuMKUeb9hnq1dfodtTt4kTzJv/ZlRZ5Vzw9481+QtK/f3xmL2ykrVTXnLQD1h/sEjkzmJb1gvY1G42FHB595m47EX01SrDWJ9qgE2Ta174qLGQG1faQLlInKUMIkzTnWPuBnZ4IQLHIOUwMoDDIHLht2A/7mCW/iDXCIiJy8GLEXNOKjIOxscOSA+Bys5xIoSbzadkxYNvy+SSr1N7pvdBUOR87UrpIPYe7S3voMXA3IT4a2XjJNVcKUVSUqlNIcNB7MnRenyvVKnz8C0hU2fSe3aYHFbHznlwUPBXYS7/kcVHf7ZYEM15ghVlgABOhkshF/8omDp4B8ASCEyhFcvw93EPYfqh0hkDpkom0kwt8cWJ6kpi96LUSw2sK9j1txpEPUJOChfNwWJjE5PDD4cWFDJfO5YgrlRyV7dzaryHfbbsS8j5usNSNBbHnKITUsXQEa6R3nndDrhnSWE35RubLzFothmDX+95hcS9OFiu6tgmzt8YoDhBEfsvL7m/HkHveaaYuamaZa0gsWKfGx+y+z+cOK8LnzWuAt+7SMA6D/6+2EJHQoXEXF9mrQhD/Vl+ZmmLMZi8GVki5XiEKx6C3RT7gG39b5zTsqoKhmS2leXPObL/+MeJ/Az804n2lcMmcxiLg9RWfgdbfehkh1u0bSuP1aKqXyRJ4HZbGAtzUXPP4N5sxKc93oB8voMeX3xgjqfwi7HksuawQTiTZfoAtU7OZYTMFZ+eJIG89iyMfn83YpW0OpEfku5Cycgb9/1qW4pXv5VKoEWc1DK4Hz/2tmEySByLv7jbbhkC7PM6470lF2Ykt1fdzmrKfeKW7D8MEdK7PsVsh3aeCldNyIDlPTuIJaL8dv4bcycopIhdPVWMDPR7oYj+BMwUBVQ8UjKkK8Rnk95jw9aVsr4LG46TWSmMET9+BnGJ9B8YsCZA8gn4gBZDngmxmo5i+mZwDEgAkZXvJksNR0yANQgwhQfh4m8Mxb4BTrnpgXN4gkr2SHa+B9SEC5zlSReRko1ijTkS7SVf6oDdHsljKUvD5L8lF1Hid457ieTFEbWehjrU/dhEZwQ/7GxwRB2sob9otd7VmH+4aYAjGaGj+2p1m/HEHW38X1P/hFl6U28/W6DORAEGFJpaquyhW7KXjK5qM2LcqEz4B3ERnvL/6pafWmcC/nVou7GJGL56EttMZe3JslYW4TezFF0WJ/e8m5fKMhbomiudi3eerVd1Ttk5rJhPLQJZCu6QxKrDT4dQWK3/qd/tzTaHKVA5qjP1RzyY3b/N0d9X3f/ZIjhqj80ulk4wSllrHlmHfxWHFSckpDpHg2Ykq9fkGgEYVESLI5o45v3lUuplw6nheiBB4YYSB4iTskVCXFTgJ2gn+/5LxnTHk+YNr3hXrTbtAknqaQ93ZKKCL2VxVN/+eblF9cOgwj6r5R+0TPsN/v/PBn3PRMUT4iDt8ixJryvv/GZ1i8U60iVqmp9fJ53NCTLstNncVeIgVSj+Y5nOp8OvTvpzDuvKfcGddrF6MxMVrnj9O7d7U32t3IfuaMPOx3+7Z3aR8xakEtKoOF/QleVpfrBG0SYl7UEWxTbxByej/znQNmQjBfTdCXa83Oj/D6DK69JZUS7OOyGyWtauyN+EI/uclzPeKRbKkA2G2B+H9D5JPz4BfmGm/PbKZYZlnGm2+dZ2S/v4LZsZ05pJsycakPC1zsMWuxMJgU7Id1V9PoZYSiYcKvMtQpZb2T4eOF9W+i3kXAdAL8VKQ0ZZdzLN2+bklnMBq/jhmA22QxkbrL+gF2zw9TTT2zzNACUims11U/ZzmfrIRIXY2oGoXKSyTOvtPpiJtW/pgdeDdU/l1JdsEQS0W3kph5E0CYPUYhVDgTMrHnIP2Un/lgqQk9bGG3y0RkzluuKUBXfPq1PjIUFQM5lGE8zZH38Mera9Fj9iaxAyqEW354jQJaSJ5V4dRTkLlHejRkZ3OuwzK17vMWKAjS2tWUiYb1b0S14Rg3b59UfF1H1NHsgJHWQPEyfj+1aidhhBBgAJ7LXk9m2EM4sAH/fOlOLx9ZkA8taE9eo0kgzwCf0epIhME9tuTGJlruJAwTM+Ml0NDKJHPxfwgM03rVjmVqdISKrqmG6shPavePOuPCZXFqcTyv6ssx7uaGb5ei/0e0zG3HFF4xCQIu+5I/jwXiVnQp5cpeZdjSLD32AdHdR9UUqXhdD47u5a92zmKiwS8Np2Zqm3I8atY6fAMqg4HZ9UAsaY20gLmkjEzheg4JmPc5blX+zD7QGzialainQRjNfhhP/AzUqcKCZ9/cPXMpUAr0LwWd/9M0CyKkf89hkMLAHdxOPrv92YcguKlv7J98CdxaxWLYjNfgy/7A5mgIL3YfIjNcw4IbwkzsjMt4MlipV2Xxn18/7FLVGAtZaZzRWR8YyicBD61jIwmiKVUSHuDuhBpKBacHZlZqMjwflJteD+aIb+Sdkldu456lQkhd2GhEq9hxCp+nAoCHzlHXZvCjhiTz3wM3qFfRiJ3dZHuOb5++i+DK41VfmfDllMJUuPo8e++XfmlHXsFgGCRkGbYOuYquOiFD9FEcjePwCKD6fVXvTk4u6peM3hk1mcWqSTTFjUBb2BgasYoJHKps+/zRwIhVryrc68e1DuNPNYuAIkS/D5NErLHEJYE/wnmZab+Pyv+OS6/uE1rJv8rc0J+kOLkdchw/y7Afv2osz0spiDoEiTfrZbS9JbctlwmY/u9aoUCeTaxoqFCLSa3GQoJDJvHw63D4u97GSb4n8UYt1EBXMAHKXmF2qHGbkPxpLLEbXsn0ysDPVAnrjaQus61ZvBWuQ8LStX+t4P4YsiuzEJYZKlfXSfNO/gh8sz4zgEsJQeT0izcN7rTESqDQmPhOJ5JBqzdglnMxbV2CdajvXngg0FID2GQNLQOz3vS1UVOvvN7v+CSe+gdcQ4r3n2CSojvICoHqdvU0427yvBJqogD56wyzQlioCleZd1NA1cgv7csmqWgGxprpPGaPPUSgfW+UDIPwv8dhi5lURtdvtUAY5zRCiVe27V2TsvJacTJdiFyPvTc7DoLayLbbWtv+V1s127wcNIwmqWKkRGpbH7lFDDCzZ6eCk+ox3dzKmgw/ySqF0UluXF1FwGISEmcLTQhIvsBYj2b2CaNsbUsXP2vkwrEVebmkqGCBzpUWzrouI34i4x6ffTB8KgyLwFdQ/nHN3vjtzdIsIyMvXL0lN0zQdRfzAaLwZYbPM7PWOhMEGtOkwI5S7Y2DVMt2vJkuAcY+FQPgRgM2Fs5Ts2G7Fn2QVydxsptG6+vIg274CiLTUb+tRCL6jVa6P/SLbulfKykV5DrC5JlzO+sulgdRNHdEGE5lj1Sn/g1XZLMQoconLW3FuCzPf0JBCyfKMvnuB+BXruxt/s/zdYAGPHktsJSiNPi6bhuAmj3xhLnKFzAuPbyJKeNeOHzDFJTa1F8/MN8kRvVNKLqdtylEH5NFIeiuyBch8sKNN1iAZTSZi16Kt3VSfP2d3JmpSIdcVHg+4uGfE1NXbiyUw+dOdTMA5s0mmruK5Xb1pyPIDSKoBlmhnGuBWt2tI6GEJVFH0LHrow0/hxB0COdj/A/FoIlVHc6SmnsnZ2O3V/zQIuKsTZGzMDopkF7ixKo+/oiio2orpX0yYw3P+rIqQOFKZtBRQVycY5iorM+b5sBA+YoWw51G/SYr7Y4oGIvTYgAdRwSoH6fbzNDyb1CDfAvS9tLdtIXUaK1YdN6uUN+S23qPO0MEkl3hO05/gqawbBwWV+omcIaU4NLF5MCDjOpuTw1ROxNB/tU+79BcA7puPZtI0SgEHSCBcB5NeKoDVLvFRiXuoppYgdik1WqXRBjUd/nhW55mkgnIzKKrcVQkHY+J3uuF2hnTHq/xAQoMaSdo1gYejNr2WwYtNHl4RpoIaYAYrmsK++3l2ywoEYWLoyuhFJmZyNt3CHqMQ7TB7yEgQNTnGYKriiM/nRAreEOomRGFCYO4V3RzTiSxRcdzABwTj+C7unOWCOhxI0EDeZgpEIdcO8OUVzvBYaWeOGHPu3LuYIG7Ybc9DO4CYY5FUo2cFfXGa6qrWjtDF54drZKsNNshN6hfx5zdKaYTATBw5Oc0rGZHswKEVf6Ssgd5l0W9af5mkZMkUPsc71ACfcVDzsS0lAcxSGIqsp5dy7ItP6/L4GPWuoIJq7FFEDnnOiMxirkQAXzcMiE9oewCTOe5o6WaF2gS03c9SYUIaPOK+RuFiQWuHbMVYMi2tTEuFcy/b+4kiavgavnKfD1UoxwYCIipak6H1c0t1c+6KfuP8+A94P764uSCgEFq8wB7OkOyo1jRQ0iVtYnQnyCKqL2UVAMcOToa0NKjouOsyJZJRrPUKLx7fm3YiMKHCr6e+TrgUSoAWqbcmFhMyvZ3fe1xxgWYEUBfbrBvWh0no2nkE04SyxKodSF14rDYNpyM4RNgSZNaL+F8DKaTueDPScEy54F/GR20v+x+xrCB9jNUNCHwtZ/3EsfpWlbQIx1yEL8B9wwHoQeJUc23+yDqI0XY/yuUG31vRvz1y+ni4MGP0MB2tyntoA9QpD1ye99NtJVp30+7jL5wtwk4rNFkdfAobVMAAqFvR/8ra/WnHQ56GOaVl68RTV7hGP+Gjmj13hll0wqdENjE9mQTgPzbeE+/AWLLlByqse7WM2c3A/sB03cLTvW9W/n5X9LhJKyOc5j1YgnJTNxlF4gJIfZ8QGq078kkP2rkMhO28HHBcEPl06Ve6gLBKk294VUSwWQibVRoxAi+Z+/PRSxWxODEwmK+WSYz+3W+UKvPuoWfj60t2PqMQQjp/EBb8U56TUqmBxIjEwtLZc7cZqTtuZ9Tzd+2v0TTgtkJqcaG9hCL5pz+utKkRuYD3OYiZqPQ8cyVuozCdqsepNH6ANMo+IMFn8Mu2gj3zrzhkvLkOM3OVCgCRhOhfB9YmHipuS/4/QGRKLY5FlnagW/AYZCRkLfGrY8oLd3AmiXDZUWiacxKsZD2xjX273q6COKYisUcz8RxlBeHJoiomkmQkS5bGlty4zx1x4dzCQ/ZwgM7voTfbwSL0Bphz4VmgKGpJwgFNvoI8m+xErkKWPgMXd6m3wJoQiAZ0O0pRMDn4AoS1UK0Ec9+TP6i646laoZSgnbwPVrrB1zzr15q9Iz9C5PNU925fP6zqZ4nmGUso2UfeB8e7I996pqc46E4TgCJNwfCd55hXDWs+5tB+KKPCcs38Qu2Rq9xVSVPQpWBsC7mm1Pfg7Ukqf9Vstc3FBsdhx6vcVXEfTJ6HJZ043jhFAUunTSvl823Ze4awMFSgZmXCkA/AnuhHXoKtwjQmS8tmn9ChejzgDWGbGsBGD0Wd+J4r2+yb3xJUhZTebYFPza2rUqY2fL9QhBIvq+mni5aU6UH3iUtx/P1TLddWoZAXtCdK7QdF+dRxPpQ/Wh2juq/vz6v5fvKRiiv3ZYr7foYRwSq2Hpk903X9qSObPjRjFvFR8kkRBWzzok3Ya5o1+IxKNrqTWYUBg322K6lLKUIJYBP+0JAf83GQkop6/dABf2kmgglng8E/TWPB66cuZUfHjLLWbb4vHlmAnV71yT9tHC8iaUhXKu3bRF1E4jYUdWVOsWTtdRfkEO9dzLv5CcYrfF7gvXyIPcD5nmCN+IKleMqilnc9XD068ASMA9gcbOX50o2HbupOOLabqPp9iSZLHW6FbOMWPQqI191YJvyyOR2HCz1uhDUBOdNwGnk1HN7Bd3UKWLFJYZPUn8fncLMNr87EqMslDdO/BiH6Jx5/zwFNdSQNKukWG7J+aKwwHnGK/aokbjcUF4WQeh9EUGY7ylUpZVR+wf+Mp9ZLs//PpRgrjQ9z9VqnuKeQYQD/BhGvp59Om4eKYbqQO0GC2MftZqTwY2eM4EkZtDKjzSiyp2PWtD98/KEcnSTBskBwi0X42VTtQzITpi7tZm6pjc37bPnc20hH8aHC78keqrI0f4VzuJPqiqCpJuS47Jp+R6+zzgSnbWAkHQ0cGRGvAcxG+k4Lse9cxELzvn50KBQ6xMlloBGIlU1+tr4h0JDybKEZAa3Imtk5q7C8HyeoSP6KS+KTovEEkOkauZwzuCvk4Y/ExNocrKzP50B+Xy73ozvXT3AkHiX167qeh5hqkRLihLYv6Z3YPbTv3+7JdbPR9M3yVpjiHvWL43fktM5BOySOKf9VzP1KMhGNIJP5XCqJk4Y+Zcn9DRBXwyIxdycNAx5N1B59B8KVUU0hSoL3c9Je1dxmlzKWf44ovulXnA1DW09DjFoZGxdeL0GCEeXBwYbu6FbacMIL+RCaTgT7pLte/cYgVBWSooq/++TdqKFOsmOtqtqWSbHohkdf2dPthjAzDAMwa+PnvY8HMN1IbXqD9OAcfF8uGd9Egr1pnWJnH8U1heZNdQMdvxrW90Rp/9cwqlRoFMhOqBi4lNkdkaT47vU6YIVfFmeAqvQ/QkNRWPCcLbf8MobhwYaYcwnIig49By6RI8DjYvrL9q8R2VIlTLk+ZvLmx88Kuj93/N3I+a/+f8zxMT22OsKDYdimmCio5HJUaKC34ts+tGcHNZWUxjWkYyexKJcXtnBATC1zIHhygWt/ClZuUIl4Qjd2H89x4/Qm7pT2BS77OnDdsnZhq0fCMEPcuwMCHTBJpSsPpcogm6LV9YFTO8nYYLCQjGHyuoo0FTvYXsOj41iM0MrFBVhEowcR93aLUWOp3r22qiTf1kIrEzIXPh0+GXgKmpLGIgxuiX1RZ971e8xrJXm6xA4x3mLWHhq8LNnHQDl0cJ1IXLAZ2fEzj2PjKdkxaZSgTZgNS5qxG2h23a/EBO7OlgoMlam7b4lNbJePgNd+tRF7NpDqrMV3LJ7W/2OCxqqH5WVBUKvXqlCd1nKe6MiTs9sxidiGNMHLFQaNpeC1LnBISlz5HbUnv+Ns7MyUM3XFuyDUEvUuuPH+MbeB9TnVNjDxGB//59UHlstoo8p39mXcI7p2tAov7Rqk32lSB4umVujA+NOwCJUaHKPftJWyyei6GLMeM0SRoFZ60G+s1nmhL4TyOifrPNYShvgp5UBOcVSh4CAnWBFY8ey2hDiUl3pfMXoy0T2IxwOhwo7d0PrbrVXrAujYab9X2IDAc6r+ex1FPeD5At1fDEl3zt9NpIlZr+sqI14JMz/3Ied8DG51Jdn9bejjlMQPwEaefT80ScieKvR7BVNE9koceG0tnEsloOzckfFbFcPcYQCVXTwTLKHIaKj34/6w3vDchTNxpg0wousROcddKBH21/RU+31wrljWbQhFYwqSZYeL7UrRJGOsLY24S+U2VgHc2qTPx+vis6AON9uRWjNtEbBg1/qISup6JMtL7L4JXRtZ1nKaSr4mi8+MjOpzeg5Shaclo6fuc/rZlqNTGDSU89Zu7Re9Kel0CIp/aSPj8LiGwRJHWknp/JsIA5QXnIKRuAUHHYCezuOx+py5VHJOsELHmgVUz+mQ0DRSi8hkO8svY9T+z6VdiZHNRNQ5Jeg086keuv+03y9VQaqz6QEgF5cKm5nWU/1zn1IyDH+8ihuUoMdaIHhtn2jjWO4DVoiwUzUuh+NfL4HkEQZBlHaobo7C/k1nsibAxk/mVemXaNsUr8ukMaP6puZqRm7cuOgjCK57qDAO3kHS4nhcUeWCAHkc9EC3k/PY4QnKF2Wr9a7JaiJaGfbW4aQZaZ1dRLEtGe5GB7awWzSX2yOgJWE2GzsYzTobJfs6Dagm1B3CKzeGhcJ61A12B9EQubakIRBQV4XDt+fJIl4SjWQnKHAPs+nZFAYIYqbVMLj1S/ePG8wZ2vIjfT2XrbMPDQZUmDjREVkkLexjEzyUfitXwk0AWT2lMUmpxPgGQkf2dhWtDRtX4Xn3EeoQFls9Jy7rjl0xUnMT7/C3WGbBQ0D9BS30PMegki5zkTDWiEbDq0DV8jeEiPqrRzZwqEvuY+8ug/VUYIaI5k5s5lI+uBfJssLwuyLyPoMjY4XPuw9UPa+ovsbqrZGtJF5dD4hUXFOBCnLA0X63b/dTWlT5d5XA/mKfroFjHGSFoEBPjBa64N2h2crha7R3qtm4yeuJ776+6npJon7kkrfvuKBkr+xzMkvyu+zKLS9t5jOnXZKJtD6BfggD+P+l9wxDizyG5gnIxsB/IjDuN6eruYKsDd7XczCET0KTMDSCoLflY3q6084XIsDabOY3Pq+I4jhdHZ2TnhXDW0ctqrAjd4+HzD96qc845bHwi1qSYMd2MeEUL1S5rLZRAb6pw7kktMh9V3A7vtH9biyCsDuShSRRK6HdAcuG+Fx4HVuOQOJz9Jb/bIW6BPz4PnpRJQbvR9xNMSqbnUc8ybTk8VMUeOilsbMhQVubofMEpmN+fOljkD2PSayPCpREfdKSskHkuPfT8SJegRCvIqGFQHjkiGAasIBIMn2EMOBnLPbzL+ujXIgcyPum8y27QcXE6U1YsYhbsnuKgeu+l8TAuvTAYnOS4xKeqSJbqWkh6i707fDeJYZfM4Jgkf0zIxl2gWnyx4ws75JtZ0xMeMFHX3Y5i3M2q61wydIAbpnjm96Vg+nju6T0/AKZmREcGdS36OvFJD30v7KfpRQmQV7KHdTdXpb6Y3UsrPhP4LX3CpRgmrRF6BoF6up0hdDVbqes9EBfQb5taNz7/vHpXqa8WBI9qzwGaOhBQJSvKApiYlNZBaAlbuMM3jIsidifOY6iAaBeg8oK4ZFhmv+cOyfZ5grlFZMGFEHCcpgClAUkaWgLz+CPBQxiyqQbi3w7ILzHobFq4Bcq5I+ylNc5W80IZSK6t/IKHgx2orNcMIH8B5sFhulbkaScEbE9pHUVGBAYWXiVh0BpJRkw3FcBCpCStFowMtOK/Mx0VoCU5JG0TkgADL8/o9a2ZYQMUA413FtqLPXmOXfib6TLs6ka/AVAq9/d7HpFzSrfYzwtA7p0faf5WeAfMwUOa5+Bnegz7WZ+Va9tKX6FsBwYJ/+sLYPRyoOpf0Mgej9jxidZ1VnD/nAWNqqAZO3Ns/CTclSviW6DP1T7Rk8dD3Bfru5NespluyFJmrL8qmrXgdGWEhMAhms8v1GDKz/FmPtVJr7pm//h84D1XnTyY76NYgYK4rXN7KG3bcBBVd04zVV38EcBA/yoWM5z3KvliywXcQoXoCvx9YomaVeNngN5USj7TQeecucxIGVKhJ+23LulD+tfbINKO2PztIzHZaHGTALuv9UZMKdmoO+RKQjHMvdNfZfyGEW3KrVNyyPSXvQO7+KwcSudSHdkF1Jlm6DXnLtP5LA8h/lfsHJ/7HOjBJnQjmJC88ptwoarGjTUwhDplzSwKNVv6mTlRnrdoLxwA+U53FNaJP1L2uQnv6S39iS7AIqhoRHFtsbB9JzEPiCCI5u2Rs5FgggeyQ/TrwTZU5R012QGZFzcFOikDUQvifkX5S4HJmmjTM+0pIyD+HmRFAr58Mlmjsbzo5aj3ilFU6hKi15e5+AyVdMVpZilvrOMK3g+HLDZ9zELGbrBvH0lvNwBccD5312NIQauMotubbe00rxzWq2wJy2FdDC4x/NL8CYFs/LWHTjQTDnxAE8cS8ynuWZgiPvfVOtJAgLCpCBuA32eZ+vJFMkC66Epi5SQkDoa/NDBSVNKgwtxarmQtDmvocoW0e9+RfjGcN526KHCs4Nn24Me+ZPjKKMl1BwqOmOJ/5XCg8obj7noatcXB+wCIPFnG0ewECVFiP5cFCsIkImc2kEZUFyyctdbuhbKU/ieGbghMK7jyhtwMpd0+8nbdsaztpZmCaR02OGGZn7EFsez8P5zYTXRNqt6Xi472XuVM/1JOnduAClT73IVlRTLiWDLI5d2P+ZpBa/xDADVi/kkR96fT9/mvjKtM6NxzIUcSkGvpm42lJaRKqk8D99qz+LqURGSrzr3FsH4LejXVp7neFtr6hTFOpGkZ6AV2z1Niz79ftAtiaXbK9dWDMiK7i3FDN+RiWCfD4FqrBwXYG38yhnctihFNkgVeg4pZJ7dQYcOmjQnu6AA6THr98fb2Z+lDt7HPl5r0HifpAACY1o+lmNTLeG0MxBsLxjQZOV8cIVm2R+7x/5yXudvFqKZAe2WFRB89t6ugHp6MFp5Z3ZuzPOP+pn3ZC6RG2brfEZDplEAQ3AsQFMy9hv86Dee/zBKr0LjsZIqVX5pSpDEF+C03SKXD7Jd4UXu4g59g1XrIQHfRuJ7JmWy3WDs5TCCLPQN8DHOhDOJx+fXniWLEUHyQzE15y8WS/QLrG+0HvRji23OJ4Q1z6TbBVDjmE9rZa3+gtKLi2yDy19kM9WT9JhB+qpphYF+2m0sVocjEi5bYcXqIuqFBbOXSrJSUOeO+d/6B6eydGRYtGBOue5DbV1gWlv5InE9tGCBBTr1YdFkUKwSUTLeCgqfpb1QcllBbG+gmZWRcJdfHLNrcSzU3QBEWSFmB6lwj4pv/1dBEUm1D7alm+ore4IANL1/l2BxfUCmaIrSzf4kXnaJTHlHkdeM3M5oEecL3k3JHXSnQStWtsb7PP1KU1dNWfYwXMGeU1YIP/NlAXqF/EovQ//C2F/jKeY4jAsv9T8BCy88o8mJLWTxokaibtHQdBqUcZFqL6FbD32YdY5oR31ZCVShiYX1d5KqNkKNo31iUmsEpKT366qz61j3a76CDgH2ryTqZbgs5Uhp7kIVcQexc/MtWUMIa99RkkyRJvQUJMZ0U5v6qoHu3GrP+q+CaRSnWc2QxTx5/GP5HW5WQzWy37vF+rK4aM0DIx4/6o14USig3dBbuUOAz087ec3U3gVLcX2QUl9Lu5Ki8lv+YBRNzCfUBfEE/kOtOPdnVROA+VVDiirH/X8QYsZ2zHkTZT1+joTdq4WX2udSr+Uq+ZgTSZvj/KkLET5qur9lBKeinv/kz2Gy/Uq5VgozNhZHYEBZWBg6XhqODX9iUvZ3RPtYNLRDBA5YVlqp0Bh/+XHtCweeIIkiBnCK4uvgCOYHIPnJm33tp5BogS0sZo0iXUoFKVgxkLQNX95mSJ94BMB0OETyMnxN47EpvpDi+C198ie3hJijrXpprSrRKGSp5L9E++uHrIW/xMIGLmNN24zfpSdtwya2VYtbwnv35zSuhalINwdGQczr13gflGJgPAU3TVH6zcK46wdoRaZ0viqnnmKOs05rqjHzrKqyrDwCgr9u7z3DPDymFjXUU5Kq+soqXj/b5N5FzJbMUePvWdhM9fIorNA9RrSqeTM+iX4Brq6zizjH0A5dvkB8+DUyxCHQVThYI7JgvOyFSx4n9Tkb7R92e2qo7WQGc+YZhFqPQrfBfXcgrilCEg3XhdXn4ImCAgaEQhwXNdy/H3btPqj2OmwcU5p9Xm0rnqYa2DloFMsduxEhUHPkG6o7TDQ5xMzYIAT5mnsCKiRM5s4CDAMhJhzwLFWTe9hNN2MpC+S5MheeDZgA4WUFJwzDUqWsf3qkiH2iCAyK2A/OiXkcRNTD+2E5ImtMfff5STmb63I40kCpYl1bJjUD3n0cKNftMTBDMY+JKYN2y5b0lvCes+iqClVmaU83lSDkaLKehvBLk9dPeyfRH9H+2M11tcIvCNyLz+nh46d4VTOW1xRiMMF7iHxBR3ALY3M6HwE81oW0rUs9495dCGPWC3gaOI5Snei2y46ok7gEFlUDVTlaKsEJwtx5XMHX+UQvCsxT5JERnU8ek3cUNwGJo43HC6xbAoifBn4+K7vkwowzuiwuY1e8fXo1D3/braQSxt293XbOxTwcp4zKRqk4e0WjLuTczRBr/jrriepf487IGGorombHdzGH7WnaIpyo7Y7D5KxCHBr/AZZK8tCkJz4bA3zYzQH7wIy+fjoWgoj7oCkPEH/4He19BaG7VcGOceDA4uozTFus6eKcltw0pVaiYJ2beadaUagVGuiyRPdVLUm7ADyI3q1jbGyRx0skuoRiFGt6KVEtFEvMfjQ7Z0n9mBi+34RUB3UCUjFlSBQAgdWOof00iwiHUaGSgqr09crbQD5psaRcktCnm4eaStiMFOkrPBlzKd7eFVsx6k3kB7Aej7GfDApw1v5DM5ImP5mWE2t4JhkzR8gi8zrb4/DJ+iFKiIq0I75sCv6wimX6fMD3X5iXwa97WG8YJxbG1mgRmbh75QaoSMefgZrrnrPHCjLXY4GMdYplbS2NQwUWM3A3A5EBDSu9PbQ1efJiFkXDalcJ56SfcGXnsU4MZO6jDpN/1h7jaTsT6xXMffAtbUaMLcSEayhSW2eLvd5/OcVwe6C7i0d3/8owVReTuh9UCfrUwoWC+1eg1tu5vfPnTZkY73t0uDVbllOqE0N+MvD7I8j6P4cRVYCDfhXykka8du/isZT8XyfhnYDhf99cJasj31zyBPq+eas3a/Rcs2fYSWyFA44KIUFrbsp1gnwDZrhKoZcIswdH/7IrB9VrojQ//p+lIWL4klYKCqMxaxLwROiv5K2veF1LQnOflFnA++5jL3pLtgfpWc+oi1mHPlsWzDw63i0JbOmvv8bU7YnFNW7JRPqM6poCVYrVQ1xs+yRisfpbU5saX33+nDBU/eQpTMB3+Y+RycO5Ihs+AswMzhuDb3VjAEJNQyxdQF5LUL1aGrMes9MKJheuoenLgiNYkqIvOrikyVDFfw/x1rVQNfhJjI1hsSKendnGsBBzOFmy8cjkj03laBk1Em4w8Rn5ya927wbFgUkBh8e839v9Ls0Bsri0o+B2hnU1SdW10JQWcXSEFpuYJIkZqpxwd9wBD1jd5laSoBxWdqcfv8wb6czJlnkQo2T0b4ZjPMXM73U8q6rkpietqPDhPhJaJpdec8O39NnXQEUpSLS54oC8uVaVGzhKHw8Mvq2oXDWTmb2MI99OFLydbn1OJMC82fQ0epcg4FSeKANScaAZDKkX0+TcvELGahNZvtHFuVqEdl7gGZZggo0j4AkFwJj3AiZU84VJV2jqU23WP/E3f1XVi6twt3+Fg9G8Zxhk+qfpJ4ri8Q7fTd0dFeLCMBVnHScE8CItw5KgciKRVM58g4cklVZaJel61aHt92Pehhb9N8wb3QKGMKCP919QSeQ6t4Cko63OyutvdTF8svLjBBfXQt/hgblCTw2pt8YVEziBjXs2/qfPT5Y+zA38YUeO67tqsVXWNuXruzmVCJcRxWXhpf9gbCdh8N94A3nwxpQjYdeQ1efXzdu/hvz05d/itd4oFxSVa2n/X2/8v3Mdlp4v016FSjsH99fLcq8DkmRYML4zmYlZ4kko0tf9mwc6/69agDoVpSRQ1ueo9O0z+3QRId3bBZ0WOvRo4Vrc6h+Fxfs0HIoTM/RZNcf1O7q6FmPtNp7IVOmvLLKaLLfp8M4wYvnOiTcTlogy8F2sZf2sJ7/nPeow+/T/5iOnZilyvVqMS0R8q+8h+WG4JfsMEG0mOZbaAl/wPeIpDOaPrb8sIZ+Qq+TP4LLttqUqS4m9wg6OWIAiN1Uz828sICiycTxklCXWt6BAkB6+5oViDjOpmQV7q4Z7lHjarK39gK6jEv8DCKjq7JYi5yBgHUC7/NbtP60jc2Vg+bCeM2qnR5xuBx6sPApdFKYgtvegK33cSyOgx5jyS2jO8B2R7TZi6MlyP65m0mRXRkoXRC1x3uj7VdYp+fJWkCJxtHkYleyO45ZtBFTGJkhpoLC2t4yw0diMdMoxGCI0cVmUbwaR8fvfui6KcaPByiCj7Podkz3hv3QMrF2JQEdhaysV/UXngSaxmhnP9d5q6hiL5dbZTP0VvBY+N+dk6+Ov7IUycZOzpK4LvdP0iFBdTivywm129WM5Drz7MaHSzLvL1gAkzMZGFAHoQg0wvzSwLyDrO68FLEok5/KZtFG0LMBqGAOj1yZK4zUbVkI21W+Mk4q7jqAZAK2zq/3mGReXwjP7itGtyzecH73e1NKVafGs7Ug39jjfW4LEqTqiJte7B0S7tfpJJ14Rrk4KL1DNzG0OrizUOXbgyhFa1gywMi/rUM8K9BVvEF3myLygvfs9eNQ8prCgmzX3uHwdL9NuQkpQqHbQ+1+b8CGRuVmlCSaf9fQXFwsHuEXwjN3+ziqlRtQamDODy87WQsG5zh1oKDmPBA+GR4xFZR9z+YjQYafqcHjN0+iAYNEujq+BFJC/tu9Xc7zGMh/lkVWCmkQJDFr7VIjdSSgOoFawJqYrHWVBNKXNXD8oqrQfIajf6CkfF3yaRsbj/dHB9aV5LPc8od1pIQH535+5E2GEaWFuylDKQH7/zUyJr1bglhgbScspspm9FhOiVNG42gVv6Q3pWCekTqgzQ96sj0PupZD3WE2GclFSKv1xqXsFW/AKaD1PX/SyqMD3R3B8tmwIheMkihi/pmZV9lbABFgSjnkNgSZ5vlV8EAWqoo6PON+sugEqrP/PuLUO48WiVWkr60JMc5LYxvMQWdNXVovTCwqPW3zsyua4BgdsoRYlP/Fo2V7L7y8YXtiRbQb8XyJdiKu6sk5opIAAEoAkDFjBbkhKgi2NWeFg0dd3LICREHwlipSHKSXezzbGzZfQKV0dWvLttcohZp24t0OdROE5YVX2rGTqh/rz/KMIuJ4QLmnxUiB4T1ejgUFcPZwLl1hj4666OJYaoOUfCikTD1qFqyJN7ErIHqcxk6Q/KOKGHsF2/IYmzUW3kLzqQ6zCfSR0bqBvl5f2pF8tovr9xrH6y8ztLWJdvDtaREvMlknAITbAZakFW2y56UZT5UuyvUjftEXb4nqo4JBZS2TpEcblGyM3O80x01uZU5GEn1W/AXWWd6h7fDSpKBnAoEi1FXB/pr5drxPPClgLkPhw4gMXFU5ba6XIq/o2/9aqE6tXN4+/hkuXbajpHmBhGBynmS8S/tmHuwk8s5ZzeeM63LwPdq/otWM/76CazOdQm+6fPU4ezk7BXOWhM67CckQKlQOYgQhzX6G4L9QFs6MXOdqNshTZtofTCtiv1ROd39qdMqIHPflHhFCCavyLpMscgAZ7cy8X5FneDuCePW8SBB6Wi8GCKvG5EgsmGCj49MNvwkbvqiIddpTEPqfHQzagMNkbacGi+5YJsGRqtywvh6jtiEz1illhi21w6/4PGOXaW7GG6YoTmpaP0oQ3Ib11eTikgu9Mq5bJ1Kf9HIUw1qCGN84ixvS+zxEbecO+3syYIMZ5/Tm7c7f7BKmPzHHSztIm0EfHrtnp7ZzoutC5dHUUYgFl431sBYXkCrHZkjj3BTSBThF60+dfve21zaezr1Qwsc/fSRy/9uARb0A6C0RFmuxuhlB0X7WVJwA2c7tLfohld6MuFqsqi24JxGVKwDA5OqCNAat/vh/kv+U/0rZefh7WPP8qV5/2IOXqt9nsr+Mx4cB91Idh8QnM59wrxGsnw8nGZjBCeCKj0Ez5bIvitcw3wFfcX7dcg1d1u62dhAl9uOu/v7CYsSep33MzDnUEfJyZwPT/Rfk2a5T0eUczW8MLaE+obeM/Vh11UZ/zO5FhC51U/KBVUyuDFpZRGsez1S9CeG9jH1xCIqJZYKLtN5Az4mXitn0gPQcxVp/NnGW1HqOhnIEOEvDqhO1lS55RP3AbPOOe1uNAUoHW4MwcO61dyjL5MSEIDXO5gAFMKXJf8sy2aepV3jsodFVxM9PahJDeZAXOq571l4UJUk/93wlZQuA93Mty06hhU17S1WyPksRdyduZFQdynjqLgr4jyhvtAEmikQhuFWLC3MvKs+i33AS2q3iP6jI1fj0Q1yrmaWgw8MftedF8kaQKCs0HatnnbDiVseBVAxWihiLlq+lijq7cPmLcV6+uDqOv/Dobz4gb7RRjOaW53BuJhEowsyL6u8JBPgavgCtFWRCg46/eG8CZ7FQv+S/hhd3uUeQhlNP0+gdxoNG7/c5GlhCU7Hqna0w5aSsXA2TcJ+hDhaFFcHQOiIyhQ2C6CHEo+k8GmITOO4cfDiDlU3oUx0RgvflbwJODAqS0Yi4LymHnfZOF1r48nbKNy74xWm9MRNRNm9Ek+RY5wJcLe4rR3ucV9cgSD+E24tKXV0Yr7zAV8MXjzxZ3fdLL/tDX/mW679/F52oPW5/nq/aUE9A3ssR2CmVmBAvJqci17OItIfQhN57OFTMdOSxjwraujiT6m12Gph/DzMi3mQPsEF2VOWwabxElrTSxh55d6iH+AYHV53vrzhNH0ARyLL3B5Q9XXgs0LaWulTVgYupudr11ZovWxgsanIYkeYV5PNSVdiMizfcvCKdQkVue1JGRTFqEy+0/wCQSa61C4XpOe52ZYSOiF/RxRb9VO5Y/Y5yCrzv9+vI9KQda39TfE3AB4oXLwV6xYAnYXZfhB5TayJlp01Ef9WXkRS27g7pljalJAgU/0g6pLEa/IvMnBRc5HLGTDYXDuw6m4Am/UrOb+645AikBzf+iAAee7JplNs+aqptfcGmEckTFYtjACzGCSqy6/4vQsyB2edCpI4mjKn/zG07g7zu8c6llGOS+O5Ash6VxI1xI8GBX+s6gaQkKoR9yhYKE9HFPmkCyQ6hTYd/vQ54HQnS1zO1kERu+r0DJcbczqAH+pIxUcu6+ebCgyzpPy9GgBXWZPLnFK6KG0NBDi/DgvJkcpxrVfUoTi/6BKJSJKi/64tegz+DJEGQzoShnNrNMnf0Qu1M0PyKiThMTFK9QvuHLsVac74ONlZagTDKRtH0JdABLUq6u7+aQPkE5srqYEufjfXRB6FtGCeHD4A1vnbMiv/Mxwmx6dUYrGQ4iuW1SDyCIdberjdpl9PsYbR8XJnNveSmY3zQmq4hTwTdGrfqw6V5IkB0eplHU2HwIvrP9nRNFf9krMqlGNpWlbhUzfpmJl+wgLpAuxOOEhH7KIZo84A6wBjmp35UtlKmqCbdqmb7EF+oM9s3sIEpwEUy4bdgUIT8JdJqG9Oraqdtw98JFCsYnxm/h3q9yaPEF5lVHaYCa0EDB5Z5UDP099KoMdbzKkVTBqwfZMxK8TQouM1m6s95iUH5EMMZ1JuB9aEKMnFTtodbj9RD9xK0M0RpRw0mV7/jtww29kaJA6xrHKlRd7rpMicIN90+CjqbCR/L3gx6wKPxVVz9flC6ceXUZsCeOXQ6ytYBPf5aixamD+fdKdWv7tiALW8R29nSeLwCqZiGK8jLv5z6vBm72+S691C2ZKPSw6oR0vzyxGuG6hxaHCR8WP0YeUa7w1ps7pBQIjEu030+Q6r5gUkir3fBAnLxd9VaNaViFq/t+RJt8JDpBbZSHzokR/F/KMeTYmSdSaZqdzx70dnktQdMcNghpDhEzA5zln3TjdHcpl//WC4NF6ltWUUcgo0zr1iOCkAq1vNJEcq6pVKmss9/hq3H7BfajEFP5W4FwGR3x3zOycdx78EWHj+JavHrKy9no8UZJcZ0jLuiM8vDxgSY2tzWCzCGqH5SZuw+LqfFgJG9jbaDO6f9UriIujGPY4ZNi6iQ6zHGI8pNgTZkS3bk331EekWb7Vc2lFMXYnzxfaNhnFf9p4A2tN1GgIIj/sNVcZ/yjTm99QhMVyz/13ykmJRMjGmrQxQ0zXVeuMuRqNKsL9gwXnL61VjTKXcBdAlf7Ci+7SLmD4BainnRyS0ujjxpqWZb+mu6/W/Z3Dog6b58GaBm9w6joe/qda1TeYsrnZuG6EaH7EmYvKyWdoV+kQRuvkrt3m6dBKjLyl9ck3KG25Zmd+5LoJLsJ5/u2lqzG5eXw4Gu8h3gfXiNKrw3BhnRJyuQz26BSHbBQuwhRUrJA/cbx4YhDhDzy17T6adTBudUZGDycyzJxNNVm3Z8moDNGSqDk1CukzSJWrYjTkjH4tc91m0TKrOc+2NcX+QIubUS5cIgEYFm/TOF5D3vWtDegsVTXfHZQQO6Gft8a4iOLXLiMC8sDfk9kmX92wuPBXAMB1p+r/4wNoUQZ90AV8sOawwpYH6DGNBsFLOX9ofU6c1sVDCukJ+fEEwzJQJvZ9LeWko4ILXUC8zHYpwyXBP+ptx5Jutk3UVsy2HbmJHKM5dIFCV6S2M/bGa28jMmlvG6Eopdr+39ryuhp0FqR7Vh50n+/fqQnya9zGZRUlurIYvgvNLIVOUj1tDDIfFfzIz0knupLcZLEewJii1MCumHr0iII8TzDMhp3pGG/pPuk21YT+otO/2vFOoX2gfnBDdgq5j+0T78/HmC1g0qNbaa784oPIFnpJYM7JeTytuQlic7F1pBsuF7PXTrozDe55C9zzIaLeeYjUdlpaPHhSiRPqICdFx6RI5IvXvZQ4zUpZdpAlV578ic8ha+l+pmymLNlITda27iagvvV9rCchJ+V8yFGcgPVQRlZgBIfxWLuGT4OD51dk4RLTx+R/aoqaB1YNChCX/VK8SdU1m3NH/vxLw4/x0rWDyi5Hf6V9GNSL+Tyc0XCzxfpFKU6QhVr/vGilhSADrG7xehHPmPZoM94Ke2hzOrmKTWt7ePg+gcn0Z4tKMBNYw0VHpN+q5FcVet90zgcjzC0kODIhzwV+yaVyhgauHnSVCqpgY2kqES9DNIFheJ+frLBaWJs8A0tPjbHtegOoVOBhq1AtQvBZNkoaTDTTczqV8c6y1kQZjHxdIP1zd2NcBkeBWwK/UPTm1uHAD8EghsW5KXyfeZE2hkVXXWaxNkNBJ4xclKM3+fCtlpqN+3XjV4UI1F4eOQPRpn8DAq1Jko6cQDi8dELlK63fky3+0YAwaVWZgoTyUV7FAicO0g8yba6PWjNRZjHxu4JUuXrt3pMBY7attCPayp1pEjCxcTV9GyKfqzBeBooa/LTmVNI5EMc1idpCh9pRaJb+DYXeDveVqL1AkyEYgWe9HXAgIEl6pjzhfbpP5K0ukrFh3R0rYyoJU6eWy2nVpsBghNzmlkDrANOIo5PaUHJ/MG09gouCk5jUMOBBscysPFQTE6vLIAQoIwj5n3S2UsjQ7wwnYUuQELTDwqOKuJuxFK3/6XYA9uBR5QvPnkOvwjaQe/vKZ/vWuJNOI+jmV+/HgWFY6yGlZ3GdxBKRcIVzXG4D0Z0S49zt9kN40svkBB6PnpmNgNk8SSPPP1tw6ZGT1MRTP0EUX9ggwUT6poABgRxRVaIjSUy2JPKVsh0J/ora+rm07mLeqNB7vei+KMtqDIGlkwV8aEhcmH10jQPQugcdxt6XEoCwIMy0ABnIa5p0yfmOaTBdDBbq3Fz/2r2wc1aZUNgHoE9j/G5WbOMf87TgsKVxLSE3DjGYqsdeP5M4LTaRcqcbZc5NclQXY54epqmU7kGsBSlmn1Z9iWIK58b5rlL1yhDBzEwXt965YZgy6Sw4cxmen1er9cUPm0tI3wv0rL/OdqtqfJQRrldcSStRBu+wfb5DTc5NEPTBvtFXt46Sl6OuwvEGssR4DL5RttpIeK8c89i0eAQ5MqA1KpPfSGib6LQux00vH6PE/PnlFs2OPD+FUbUPyTou7hwqEDbE9TyUcW5ZPW6cT263Dj1bHs34L5Fv5ZdMSYM6Vfk0sjn5VZOLj3iieewXDUs6TTkNEUviBoJeVRLuPfhmfOy0+iR/ZKYFFjXdKWbt9YgLWdEpPDDPp/tN3riQap2DhZrtpbqQO8AmGLEySPC/212rniejS1YV5D1iC8MWUte0bdJys5yoRhwrb/FJuqNrrDf0ZsYgJJw37a0+kJ1Am9Je7ikjPI2J8J0UcRK6+PDPPcFnACVtLEzo3haVYx11D2NWzmgSFCK/BEZD0o8gKLDyijFUJAEeTEPYe8vsJ4Sw+toMF5anzhR5B9/kHMy4gv2SRKO2P12a4FW3hYyc7cHmN3/oOQlDHcIhM/IoiEAlz6cuvyFdj0toweWIbWqAColdVWQIi8vt5CrqSI+UWz1wwCvbJfHAVSfjSTJBmTcy9hyvxKqQoPC0rk5mZLA5oHGwNNhkTQ6KoB6RjJ3hpfKdhvQ3adbgKiRA0EtnLauz4F9+DZYe3zpJ6G+HqgXlrGaGVw25/mB8ZlFzzoSqvucC3LYwGd8MJKPHmbF2Pn5lxJTDi3KDZ9TdsuIpENraGmXjBEZafef1MOtlr4ImCR7VuzQDFQ1ZYEAtzBsiWVBWnLgDMbEiZ9rI2ARixpF1k2CAn5mZcLMXWOxjTHbYDGCWQm2Pj+O52neXfMas1oXvi1gP022AwDWdTnKkHIdCSLi+ObfSNlggw1Q5jYOheHWe3hJkff+EjN+EctrnI2KvJFk04orGXNhULTZA2aTUObxUnx1DfbyGI3vf55KLAPdp1HOn/dFCgsikFRk1663bbSXTG6mHMqjzRTyt7aoeHHw3qx0Qr6rNDembcNcZGWo0BNiYzvJO7IbxWJJ9Ekn7Zm6UKEk0pfUN2hCu53zM0NWBdRsx+TUY+CFfGvV7xn2fd+mOX++5hxwHN5mow0LJZ8ASosUfncZ9V5A/BQAQjDxh/xFz87LznO7UZJWowOOZDn5IP8EhBC5BxorXvOjm+JiXg+8V5vAqMhuwARrA2yBjXX4GOoIJAaMOMNHpe6tujryqi2q7K7WgEWn2VIhVpGjcu08AXEAZI+xPMgzeUsB82skbzJRNTmik1F09ws3uc57d2Y2+4PI5p2TKZWrRb8YkGdMlLTT7aXZueKrFAZISY6djmB7IgMS4ndml6w3rBma3gyerW1jI2LIWJ046ZqwOoOm0qcH4sL/8IYAM2+9cLWfOHL+SAaA803kGYEygn/DFVS+XAdpwJfhHyIIiWkkRAe8WBl0Qmt+DHrgdEHsslpGWPMEfD1OnQzXC91ue7lQ58QNqLDVVv/CA94lpnULeO4iZ6SPn6nQLlI+EgHTofbfbZhnRPJEENLCHMm+ErnWgsExVq0cvpph9DaJ7qYI8kiGpihrYreyJQpl3rqLrJMI1BYvqFe1k3tcfSnnyU+Ked1VtOp1SUsCrV45O9o9BJwHJxKQlBUNAezs+dQAEoNvQPPNlPZh2OUwqhzIGhouplT/a1PbMw+UMyfYDS6XwGoG6cX1OB470il69mmzs7zHNT7IRoZ7vL8p6+UC4gmnwRyZE6AB0gka+nIHfdJtSnk1d0DuxdRCzq4yzE2RRliQQVT77OJkafZCdj+ZHOHSqUATOGf3WQo6CCrBWqptVPxRVP75j1kwOE+hHhPV+/FTbiNxwpYeKsnymXwi+WZFrDcZ34CEN2uE+2OZvkyRhBPM8LSA07JUFyc3B3WuZQrHrLSb2dznM+87l9HdNQ95vvpd7EtNSPZdCXATC63IXxDielo/rHOh60qhudjtJiCMUvWDvux0PSGWRm36ONDPjjeqfr9LNgGUhPX1pTWfdaWWeD5Q8kQ28LVupR8CzvN6xHWMgtXOXslcg488udLmqZhYbNLb0vodGEizToDPmuIt6FGQyXid6AjqRiB/x7WGp9y0i3DM1sD7wnIP6flnbM/YAE5ui93aoIYEwfha73wlgjey4QB2m0PhRkl6zjs+WnNABoZy2tUpNISPhM27j8WFuSnmZD4aPakr7Qb2l+K3/6V0CNdz0ioerK4edgKPeVrJoFXEfJCO4jflmjOXih7EtM1dBaoB5EuIhXMy2Ib+Q6STQTTIENbZM3kvsdYNBxAnIbbjqA5yuE603sxwMFser20Gp+I+u4bkH7DTJCdfX1iRwl0+nERn84B0XgQaJ3WCTMKDDM94vQvMCrog1v5rHOIYduBIX+Q1ZPqy5HPbtBpWKpLtkVvBbHo5C8vzEHMBFx+HhdvUkYLiICc8sLStUE7bk3fAcmpCnRi74757JoRRbOyKoj/l/0nr8Nd4fzN/cP7VBZAYhSFf8UEUnbONbANog4d0KEt/K/kdfy8VSs0WSHpY5C6AOZdaX90uf2EYo0uVupG/5DH58LtFLj5m3apZwyaHpdE7qj2oOlkXfbzWdnzZI4DDY8sWfb3hSYW6bDRQ9+3yanqeyK1Y1F+Q0/XKveLSv2M6iSpKnXti2UC0OUf63/SOiU/fUFmmskMQmxyiljWJ6y84ctO66xCV96Lu0EUQT5Yni/t1kZ/JB1lvNX9yWTbdeKjgvzcFiAtRva/piVnq5uUNDxGHBoI08cZWPkzMFVf2Knym34KeVehxK/7UuPiho6xgtv2tdDGkF8xujtWVnBJofmSEqjkS5mLXHK9Pnuf4Eh3FlFN3lxE8KTVhBTxPXyhtl0UcLezfY4aHpnAT3ZQ34fym1SnmP1Si4ATCZSDIyDwqlKGQjz0hnurjIunV6z71Ye3z2bvlHr3MrptIqc844VpINBuXqkrLuRWfWUSmgg1dTJ09hC0BTSaMKtfNes3ffjfbrIFcYcgw+PMqIthBAE48plluNkSNCAmgQTPTporWwj68qJqEynq+BDhhaASCTxFt4RorCu/DCeFrFML9na1mL1CngKrK8tXv9lC7vSo8psR5YuvCc20M4nbSvY3dms2meYe8WLmEBzXYd9AeqhJovs9saKgS7WY3W1bsIhTbR2no5hRamxswPhHT/YiqUcXs0rSEOLUc1EjMwJ3v+9nmCuTneAX3DsDcFtTH4wkU73kdhUulhvfc8TUImLiyQuRm6V1Uty+jNDZkAzFzEpipPjpPbXw01k5NkxuD5ZD0br8QTq/5rAzRG9PLQ+yfGY91q8RQ3MDZvtwgKrUVSaK0mbSAz+r17UO2krF+7ungPaW1F4H1OYzonLK5JM6WY51m8SH4RgdjSGVeNNLBfm9KXVGeSjib4oy3+TaTzglyNlMxqAaUQGzX9VQ+KWK+sTnRiseOjUVN3PlkopNI4TW/CAP8BqcP72Yy6sZyIND1MxJuZv42AEuAewyufg3k0/updHV6OsixPRhdCpWx1EYcPUWM6vDmx/NIo49OTvvLEwPxypaKXDuLbfRpKzc8Ja+UgzY72c7fqkvo8Xy+aqqJKhZqdOfbBO+6xUiS1g5C5TffuUU/B5uEI50LMmTRbZhoJk2i6hLhHCRSFf+yT7PCfO0H/CnaR4gw0dNXRt60E7lWtoJuioArHg1Kub+txYvfD/+6tYIYYsaG45jfgv5QAY/CGMl6o1/xU7FEUQQvjILpvBCzsK25d0sG7l79LThOhcOd/DxI+2Yc+neDsu7M8lbtmVHNRW5lhYAjqxWDpJFa+PReDxH7x3iZKAM9Uu68ODb3+1HEn97aw89JChil0bv+eL18hJ3y6dxs7qsYPprbsTx37NzP7MT6SIEPxH625SNcHDyb9V3AS1JNlJDzizCpDb2Q6er+HBShPo1Kw3L8J3tQWmFh79u6NBpfUBns3bwYVuZs3+QshFAguPvDlA0JQfYL7kpWDXqo/+YuyQPbGb88knxdqp2rtV6KF08m/qjFdPkJ7YDPwLiImjstpmNKBs94wAbM8HbeX7P8MYhYvXiV3kV/CykgxESM9olNM5Cl3qgsJI5k0rt8XAERiuqXNQpLPQqqTgM8ElROLw1nEvbwmmUd+uMQC2YYhaVOeDk/kQh3TAIcc1mNK2a7vrXn13MOb/otWnUwM5Q39EdzcZO3GWR8QZFV4KVpVSPoD87gexMIRL5fAcNYaeyGZORrbr69zpgyGcBFM6BuBgecoG0m99YpBYriLiQI1OXY+jFe1NZhFO8BdvqcA/VNbZi9OcD1DommcZQ20aeiH2x+YO842y7fSAuflqbegdkCoYoyRZp2C4kTLvnsWa1vILKtMKltVbqmBstrJZG+TC30vkltVkoNR7MCjgHyUvTZ8BuxX/2Cc/BFdmsj876ucEYF76qkL3AQHCSxkVwgFV2SalfFagC2WLtUKHllkYC1UVjGn4qKL3zxjWflp90CEs2OgXiXq50nleyjb4+NQ7o6ac667UNmNou6rFn5lm1ERcRX/hQRM6Ir5slki1uy1rtGm8LfYXvCDTycedrgHxpVx3wCqYaoh2thu1Sx0ux2bXzN3JerYso84Q8zZJHfPf8a4LPZnROOM5PcytxpYtFNDk8NkuUaqqeeRhNqPYbGgIWHygvhGDQpbbT5NSyXtcF0FmKI94z4IzfCLG1U6UrVVugtCXD/wsA4nbHZd7WE+OxRDrtX65Q4Mcwx613cnFlxvsNkqqmvTREMgAhJNwvP0aSWZSoqrPu7+OIsYTIs3sIVYZYYFq3wFoTWzBT1L4tTcgzEe1ZL8giqvNwt9OGw1195mgoiYbiQVZs/qdOfPhjcCf9vmNCd0U6u1zgGgj/2yrNYLZSSYxrjJdtr0a8tcAqwFDWWH3ovmIx0tjh9Gs6WvBXQ2EydWUACRSq6wXKqp1KjOX2N/zv56OoVWtVuNe7YPX0FZaoOJndZY6TEflvSHLKpIUlHwtNiQWT8q4m3mvV1QMq5cB4LKy5Rtkh0fAJOULuCpFHlDvvQLyXh3ea+bDilJgBX1FVlaqzBmyx8sKCYCeP8qX5bpshedLxqJQvbnhUcK+kbof87hUReN4mHVPNJzehjw3maMWEhaBrIIV4egimdz/uPlDHCCXcIFVtod/zsK9bbMHfjMBY6b0UKqIxLK1FxhsU9DkCpWjsHfK195GWAAlLqwqV9EwjOPQbE/H1rguxMJX+X3B/NxNX+KoHw8i20sKlp13q8rn2OhCPVdgC82V9FgVDOZQVd/jL1fJaE3X1hDt1CEE0RE9qXy5mmrHsmVeLSJXwMFvygsJdxx/B633jwVl6Tjemo8LXBMgiU6Mxfw/WRHDilx57br93z7e1PfLMebqgPJAt+HUhU8K0F/mf+kwLirnBc9uKQCIhjMUMoFFthNup3bE5UQOPSClzijbBVhGsoi180uJyGIj04c6sFJ38neSqP9OKEfQRYcFy/44WB4lTiE6lciNW5rRy74F8fF8SVHSTjLu5LP+NGmketcwhUGUu9FB4+CTA7Q2stXWaBxUY7hmvvkGzWKvTFkxZfC2DlfLNk4IEWfIqg+Weg/z4X81OutAK8sB7/5XPAn2Mmfy3mC59wb4d67lLpaHhIoM5Y/QEYvQf1Hlqb2I9m6jK0jgnc0KIk5UdiDIl0WiRbp9/mGT4ndYu26y6vr/r5QMa05I2TZKJwzxkQOckQfwmKwP550S2NCqhZwjM7vl8BCbzi19PFVWSeSWNV2ZvLTrJKRFZ5VrqZsAGA3PWTubIUcr69IRKiYYk6KAVAb5g1tSF80wOC0F2VWGBndIqpHfUsj/84gk3ZayinbxHRmPQAJCu3ALM4ArV7rX4iFniGhZCmh1KP9zR/F+2vvAEy0EHfeLrs8HWp8SE+BJPjORmEviC1jpgIQiANJDbY8HaIy4gRIPp+E0V6Pmcjgq2SmkyIYwDu+PB8g2fGAGqNe0eiahzVcCXL1U9AkhK7gaP2JaUoKaUdEWs4mjI7bvgc34dWa3hozk2f7dpaCc4ooL/K8A5HMCQAFl+4zLIKS2FyeRDNTG5cSm3bVIcfH//Vcjq3R7E9dJEA3v8DsXUBCkNZDjGyrhtq5IKzei1yCWG668lNP4YjfvkxLsfC7frmkXIb/BT7wKHYvB4AeilfQbnou6T5innNUJ4FaMrjZKjMF82tfKgHy9Bcs7oXyDlO2ZclDwN5kJqKk+XP/LAixyATtjyheLqmJqJlhn93hMIAsXfKF7PeEK7FvctwcLCob0ygCphjL8Aa6hJaoe29Ua87+u+JNNNlD7Nwpx4lqqs7q6Qf9CuSyxKX0ZfkpcrqddrTjznUO5/pEiB06OhwvnT84YX7hq0dbjIa3RrdlSbCBcTuCNeBrT2BGYea/ReGf5K4bBnpM4YWN2gyk+idvMPUTOKybvM+T2M/uNNI8IliKOVoYhX37QCDVDU1rAE22ZAU0UHwCNOp7fojjrYWVnmx71CNOJU344gsvJMNCgRT8C9LLJ8Xpu1AwpYEULJ4+ZqDTIGIOCREIw2gkewcM2nr0fKSbxwKBzCEI5K4oHqqM0N7ux3Z3+FvnPT8fWFyqPyMBB501W691y5MGtxj8RnHdf8AOR8WTe9dcQKvwhd8d9Mw6yOostB3orimXHf/4nvpxpb2dzFVP4kjFkbr3XoX3yrXb8S2wW2DndNCJEPvtysuI62KT+69xrTPDfRPW1BGseuyh9YAB/AsmOq+ahqS1j+LmjZZoeUeOO+6L2pxjuPgeqJhZvRhkCmb02/v15KUDV9cLwKW1uCvwvCL3dcBFFt2eOwo26RkLDV5AZKE+haKVv/Bzkqn/fwVW7xzyuXf4/rbN39QJq0kzibKuv+feBsksW2AyWW4WFJ/n+LhJ6YlGmDhjADsNzeXMc2a1YdhT0OtWc63qMd4bxSmFhm2GqMDs6c9EkWbCSpp6dmfzyE8rFZ9hy42yNB6IuN7JSp2yw1ov6TSPkBgQ/2+2jDuAy5YhPyWKkrENL2MiVopND/Fp0sQ7p58XEU3j/IPx1PBtCQLUkGWw4HaOXTT/DBMTzyHNUTNrIxF6eW8Mw7Ltf9pRPxa5MDqmZWIAYXiUv4Q/+VGRh0X0cm+8Ljdo8nfQjqCWcaLQOLkFa0rSAwlNEFxEy6GXRzpGO2g/aMU3bxuHl7k4fs68YQJGeA2R928o/nKdqCavAVIsLv/jFjURnYgR4na0+LuAtKx4+GKUutxtPJmferR8NUpSQqmYyFjcN5BY9aaLtK1S3pd1EZbHd+nAvmVYRpMC1QAiFP8qZ5Q0LwaoRtqoVKE5HYpDQNiHPsOQKR21sbgBHQQkwf6Jc4MYvAvX1o2OB+hsKSOKjPTTta45LQKx8E5Hzb6/wVFwLZEf4fFdHHr2M1ZtrKVxvKY4C4I147CH290v4E6NlGB2aGBpjBzXiQwiWAY5UHje7sXCtRPiKYwqGEIV/k7igDjYG2ndpafpariBiyDfeLA618Zo/v0Raiz0IZ4qp5XO0LO6Tho/F+jbMkg4/nytWMvUhK3dIXG6wZNMWWu/Rkz2+0PiLLFaHh6uhQfFpHCz/4erUjlB0DYv3p/EyXIbRZuSJ9AOt0y7e+gG8CxAIjybCfHNezzO9+IXAhd9rIwMO5oCTuOyWHlhiMEyj6SIccML0rur4WVj4u7ZQP5dgN85JpVpAWNrsT+CZFwZb8WMkIR5udRhrkwzsBIbhy//eoECnMWHAjipcnJ8Zv+Sap0xukTenYEyf6p1EnWZVPqTS92v+baeh4V76dKipGU+kYy3ttmh72fIJZoq4STh0tpjQjS3X5aJgeE1vmtTFInN4ZFDW76+R/st8hCjVDp9Hz46xz/f+aI1PUPjZFZ43DUPd9ebcg/AS8oc5K/g1wlmfJLBt8KJp2k2iZ0AZKc5yjd3q4ydDcWptdSa/1lqP4aO0lUG8ZOojEHLTuCausfeNe23yVCAXbVvhF1AuCWJTHOsEPcUMJdkKx9fllM1WVzMLYyNtbpCWg2hG5H5cZ9MP6cwKZ9JjWgSgKCM6CtfHzOdzFkvtXRDLCHulwqL4W2mSZROWeF4mpGfAhvlsB/bzk8ICvhUE1i55sPS5zOUWSF1PRet9uXacfAzedP9ldHI++5mN/Oj7h3ohMlIShlnctcy+ALy2ewsdzjV9oDYvhAiOKbtz7G6NLJ/wdZbuzM8hva+C9fkgpoVl4waJfBcI/dH3Ucw1lCwyufhbc5d+pgsL6eTQNT6dNJ/5YdM9+bsKl7L1gJd/ogKTHoBNHjopafXW3uFhqJAiGXN5XbHuN7paSnkXblkZDnFCpIEoFxXw1GfJRhFF8uu1QeVhmdaS8dWSi1AXksbqwfBoJtWIDgd5OG/W+4nx6O97zTR5J2cumigcbgUuFffEjDeEunYY5OqCU5p3o423QXe53rNky6Fv0GadzSjkCUfKPjOPq6uvHSVfTol/2dNmFViwq2q0tTYO+Ify2Gx8PV1ky1O1nCOdeWm+SQYmBT3QXwFnXI0bXUWwDfMh1QvLbbEepjK7ga88s4MyfzUDEiLMywAsDS7+gMawbQmf6uPOvBU4/9uXrM/ag3OTYj2APsEKJJ0nbL92wfaqhzxP7nqH5z/UTrPOtXav2daM1Y3d3g7hR7AbwzdKh5RWUF/I/JIoB6erAjsF78vM6EEkWTayK2/Z4Cjh6w1Qus9KIFsFVdSfGf25iVYh5XQfn5FCeKrYA0LUO99NpYTlANbngTlqK+XYnGztmd3aOkMvt5/qcVVmghihtImZNuOIT6/lF4QIA9FbfcDIBANizU8wPhQt5rYwMkrMVsw+xxRAlx5pd87RPy3q8mar7I7YP2s280d6YIRUvcwKm2wHksm43RZ5nYyYnoM8JpBUtAX6sRgfh8fqs/Nf1tJDOcz0vE6hYbhivNFRR7zzi/m3aoNmWlCID4aDoJnqGNh+UpnJo9tHbmDp8NWUSGMym4c/uBu0XRkI/ZIgavInN2DQGtW+ScCseo8y1N6tkd7tf1ILQqnigvuni9oIMUF9bgilLhGXv27Wf8MFxgAbT5k7in9ZmFxfSmdt9VPNMsAIkqy+WvGwSpxGhjPcqpVKaRnmH6RO40CYLAUynVJfLF3DrwvEXEOI6G6VfxrSVLJJAX7fVkzze8qyHc/JwB88DgRGkn5JZaVDC7h0r5Ko2JqyRCSfdKry58LZzjQ25lhi5YVzvfEdsguZVO2csI03N1gUOgYGCjdccrAQzIdzljqsVTa6vPwYAz1m6BWDu7eweeWnwG+IF2TKnWhvZP5Gzc7GZatizjAJSZKZ3fz8f52iPty5h3NBWxA5VpGtK9UVb0OiFda6wBjxjuakLlhlIF9TVFfn898dCWaw/IiTk7/7cR/+qMu60by5GBjsTqIPrtuuZpmJ1rvHk1dWEoU3AOnWye50AhSUlRl1himnby2RDCcn7/vPbMW8BLn+rmW34c4hIriaTQnGXw3Ixrx24nsA7pv5RM1+tKedkVxQgRBKBMOKYkiIH5yuRzLHw8839urA9o+n5wio+LI+nhmDbgxHxCRQQAVDebnLkoLMiYSsH/At1W7CGS6RVgi9FPvgKP/5EkVlQbsKZ11RNhTgIuEfW7RPC08o+mCLLhWVaILYiwIsWuaawWNH9q9tIDS6Pzaj5st58BRsj8K+iVssXJnW9KL0XMag/HpisZ0NYIY3xfhkVQ8Rv9RZD7pcLdf4i3ltGkn25DfcrlNbfrCWCDgxa74H5o8LQ1dthDDlyj3sSIkD/bqExjjMUukN6dEE9PbdzjD6oXAuemwAJuLiFZNDMv7ci+iISfQlr+z64JXO2abOxZqYgo6ho/TOXI9cU0mYjIedzmKYmjKIKE2syyutXMm/vvnHAvyxd3SB3OFzIR0yJfKwtyEeihKLNcsGBrEjN0TCXnaNfZ30Kynf8xcDDxefcSdUVOBioCLtUw+5jtkJE2ezWdkpcrsxbY8T1Oc/i8KgXLH8Z9JK7KdBloMaoxx0u7adu1vKwV6bbK7AVcGAquWP2uthbW7oeDYvcINFTLExT2DbflQ29JLxrsyb6Ks6lLhJ6Z6izF5u9F5ihdcRVXwcBOK22YP4rBFsPYYUNOF1pKzpOqV66txrERFK7zq2mCqAh6pu4yxXP0PczbpEszke2wrDXrdqGYU7UnW32vZLkdTWVHLlv/pXwYyq8M9RIWc2LOkGy8Udr51en5xTw5UZprA4+lLiQ9zcT/QtVMJSZLzvjmKNNckxKF0OBNX7Cxx9+3qzSNJU5wSxXtPci3eq6Z0qvVFa0Verg2ECL0TnlLoHfTTUPWoIHzt1ijo/9/Vn1ZpDkQnjIPIf4J2YIvLLhMIEkdfiwNjzjGtpRbw2cPxOehvLjZig4S641+xf8MWE1fvymDgoq9d/BX9KdULX0LCIizS/JxKMF20WC4dEb1ulPMOVWcUSE4HVNrTCEpWdv9As98KlSoF8ktJy1nac1mbKJcNxbl+bbywiT5kMNByDE7NALsRyGGo6vdrswHuOzJIFrw5CiQueG/eKzrDhyY8LpAS16f54lySW7NtQGIjeKfdfd9CG4f+XVYOfzEq5Zdg4dUHL7z8jRGcTRZSr07FT8nU3+bRU7SptfLDP1+QRfSf9HbFedTAIXAeSlE13kw8yynQYPjO2CjLtPHDSKJLKoNEbNcshT2Hu3GnR8k6NMYe4yQ2xmmNClLKzSEJouSRFgN4Kv83c6BkvCu26CdLKRL0NBzGCtgMSI2KH6hfvKB3Mdo8qx8/tnh+9/glyxjNLfgSHhKQO4yJS582+D5njqKZeY5F4c5CIlYwYOL5X2PYdXuDHzFJfQS2+DC7c8+WnjcAiwfCXT6NXSrAF4YsmM7IFDWJJXavqbZpUWpjDXMtC6VEALlp3uwKiBckMAwDgdjMkITGjOATgsPlAmSnDHQ1abZjNTK5IDIKf6lpiMGwigDm1VN59uAn9tTkopvcYB+bKI7cM8BUA0xz4dpgn6C6DqhqDZLV5t98D+MmP9rxacCuS0Q6oCrGNdhjY22cnG+Zd39pYwPCBtvh8s/qBPl0n/1SYnyiWkdf1FYGuAd5cGxXAvNIadrqn4b7azDQd9hvUnn8QOeydB623DSTTujMBzyEUlkxZuFTuoBfs584ByB6oQen94Gu76NyrnXsxAjhHdYZ6gLTeQv0DzeZjqlpDCPAWxZRt6N8S4VPkClypgpE2wv/FU5tqwrOHMk79rynC+hjH1i+XfOqs6izqrcB1Jd+WL96oKeAkLkyBaW3dgcW5WyCNhYQcxSJQIP+7y+iJTQGIxT9Yj+m34ZXW4RJRA4RPYSrBxr0Y1/tXEcnNkSWJEf5Iu3C0REqvdwUsv/aldaI8zVP8LT8TG6zbLMKN7Bs9Xc2b8IoYureMSzZ9vw3UirzMu2WAJsJVq75X6q/QsLUjVW0/WV/JtlHHaxdN7A+kPBK8IDLcEKJWTPLWb6uyXmHE45ayybsP4kHs+0lgMyFlNv+XymfZ02M+oUz1FOuuybhUJjrcZPXNEH97x01YJKCYjQsXkAMrm+wkF28lkLVycKqamyCpLdHH4WLi42+Qd8jmN84DvAs/TCVYXV3EEuqK/PWB+HF3bKLdDVUbpBq7WVIGz/y5Fx/nDqpCFjWXMO7u3axKJ/m9x5faI40qUr4LdnAVVr59myQzQU4KS5z4BE3DLm4HJIlX6kUnwVj0YC2iKgkJpRanmwIVC8R2+a47aUGdJi2GfqVajCMSa5C1QHvRAU3O1qOhfes3GPgfKvlamZX2C3EOdNef9gwcKpyALWcjZvcQjlshtKGxqHnH+rnrACYtGEI1QyBL1Ep9u5flZHbN93YkZXAuuJbSXRFBSxJta9KSxiuXye8JJL5joBsd36PUWOQ1r3c9ppfHSkl/PiuaJVmDBXb77tS4og4JcosnFB7lungNQgLToap7ZhsLaHjLr/JxFlU59xOK2SNaagP43Xk6HZCnMoZj+K3n/fdPv9tx7TQW9aMP+ceYOTwLh/+CdsaeX0wIOJeSRplESMKcI2QZJMurnhNEcEGxZUfPEUneSiTY+v/7zojhM1LIehv72Is29t2ycE+pj/xym31O3Kateyc2VFqOG3up2OGoHfz9VcqqOVgRIL4rDIgdHpbroDnFFG+J2+Ga6L2vyyHHoEFTzwU9PmMps3+ho3LraiKMGvAVdMnV6+lcxw3AqXte7e79jACZTMzZcjxNqeB4FBzxZhQeDBZ7ShNGo8Q+jk+K0CsLboYKk2jVfWbo0rEIuJ6JsFSEGaEBsh7ApOcFW4CzIqXh13KJDYhxlcYVL+UoCaFYjRn3nIDpJaIUNF2tE0HjEYQPdpq1ky1J/vhLz+F9G8Q30aO5SLKt8dOR010X+eL6gg6D+OHOhxIC0G259hKwga0hlHMEchw94TEHDzNfwbZUKIhFP3ynLgFczBmnmpTh7ElLuTWTykA+ftbIXWsC2vVaUiUDWVAKXTgyIXOAjerbvUtWCxOUKg+iB0mEeTqZTn5dJfE4+UMmpfXpFayJwjyB6stwJPka9j6u9TF2amQNchAOJyzN7PUWNA0sfjloZxBVsyJBIYGI70SqVf+O8LLvR4lq+CBv6Ey+N+bOugo+aoYcyDPYrQyiCO/nNzdWVTc160RcGxzIkl4EFQw4+W2gdkJTxGx39qMaEfQak6L+6t3k60n3vJkEnOhbquARVmksBaW1nEYZYphJcQXQsDxwDuH/1IW+TaG9L6Ko883vUORZ9N/7zjD7/muJJQhsVKdh9gt6LMdfyhrRS+j+s6/B8DafC1GYwbOtCxCAonolZ8nsVufRtQ49zdDs3m+KioK2U+B9bl1gHe+CkCMRkNmLuEBVlclPf28560p3i2f5ZedPpi7D+Tc+hxv0RZLF+IYKmLlsA2O0ct0inwrXZHbZtTeSEESKNK1oO+wonikyJu9ZzFLpNW9Jt3XY2ywffihKNNDBzM22n1LbcgQRU+pmg2AQtoTPOgWpMiRD6NGbHCu1u2kfevtr8wc4w6aop2yHvpmQ1P7A5nwULo+849BZZlmTkWO564YawrmAxB812IQiMcFqRisUuihJTCNJVXqTPxZVIoN7O11koLo46u5xL95Af/XvYoFblezGU/Xasvh5KWG8/PC/0eRnDSvNBTypWOVh8IebnGyTRlPKxPe8YfnzU8JzxqxFcN8U/WRN1dWsN/h1IsZeDYO6kepYyoFe/d4x2MMDtDuUSauc2CrLMKaVlFauVLqRIPXdH4HROxrmw31XfySOsOXThYc7P44o/mVuqXGj7nl+bKOx9NVhv5ECQs+7YCdW3AYl4hwuZu/vRCSH0DapmajxsZrHJmPdaVtQ9lim3jOYRS3iHr4EOSJlz0Zvgao5mmsXbntp8pyzq5ccqxdSAYoMtPXLqDPyXVqR3OAo2jWtpr/pGPZzyiTX7iMnGczWD2LzoNPokpYO2JAmh48CTqgMFnaAdG0D1boTQUPyMXfT0ecPc47BL1MetARSPdUBgIPWDtuvU16o28zea/inzHwqrxZJH5wI40NHDsYVemcSu+Pmibh0cW/UPNeWfg9kw9Hor0z3ueGdKBThuUX7SC9JvRWECrDXmmRtwscC1qU+l9thft3UYz+a3cKDwcIPR1+D0IJr2KuPMFRcpCZd6mEyRsUrcoOXepd6/qn/RzdRb7gn6ExYKWRZqQmpXSBMBWPPpxG0wZkX4WHXDQlVt74O8nTYaxgA7v+mZzxje8qeCX9IvUMpLsZlSrsUa/1M7FUN2E00DfQoWBjjykbociLVjIdrPfQ0Mi00oVNBb4Hk+UkQ4Nk6EARvpA+rWZSAVvrsPRS7jl9czJ7r+VSI+2dLu25ikS2sFBmflI3VqFChiPsemm9Hus2wpBf8S5gjmRKpkL9quHsORa8yYL2h8ICMPXGyxv1f1zvtluIBoySDoEtBhA5kT2rQYUrC//bs6A2h/dFGkUovUopf+5+L4Lop4PNlGZqarJLBDSlf9hhBlL/IUsJgGbPAjuAjmccoAK28UiRocwz+LJGMJTF3PM38sTIiB9CUFiplZXT6ocP6GdcyL+sMYFZngy7yL8e6h/ckZkodvoiWJxDPxH8sCSvnyOAFsZMkuCpMj7PUgS67K/sVaFNxwWvGK3JPUxyRDnAkoHQ9ykFRmbtYzCwwIg/F85KU7qris2ahaYLtOwO8ThNSvC5MwysTKVHv/NyGUwp/9N0eJj/D9RW0nwTKjINLcS8M4jNhe6dZmD2Qrh29Oir5fIRd8612TC1CuUvjHeh43at/sBh0Z1OMM1hLlCrXG08geuzIKVv7Rv9JL/etmwVg7tQUxSwFsgjA8xXFeqXYWB9e08MjNr0kbjE8uLPxPeJBJbvzDT4SIXdQ4ECkAqxmirQnJ9hfuBPPo9jEtN3Y+BodYX23FEYyyGUekaQPV9DH34kShQA/k8TZMcPco91FqSFieUs/AexC6SlBhn82pCxdemlKgt5/X3tf6niEf4R3L/4n/XhmjdJvBbMF77MEu1zGaKcREz4SKTSIELtv1EZPCC1kEdnUkst79JVFET86mT083wS+PMlnmHUQMf7wiNs698aH8Iq2jB7BHub5rMQ9s2PIA0SkcqddFqrTLqgeYP42rUh4ZCy5c7YivfpPyl2hMDUQ4bDuDGsTUCxJL2A+GPTMpmdc0tJL41JOGUfCqISJ7wdcqm1akzOGdZnTV9etFyuBQSuQ5HJQpMsuUDddjakviU5uVIHqqX0cZIr3zJSt2p0WHQTm8KX2Kzrw6/CG63JOs8YWJDA+Foe/1YJsC1GFqioJetg3/CEnsivSwMkXZRlvbEozPuI/eI1M1Q7rqr2ApwQUmzJNGBGRKZ6DX2ZuVCtgC0RwijOnyZn1W9bM0nJIlgdaf06GweBZIjYTGV5+8epRb5Vq5Wcn5ThlNhdpvOABXzC1FQBA9go32aAImV1M4nfgKf2xnuF9l8Sk33y9HgW10iI6iWaTziPXYaoZ5kgNAmKqcd3ECTy7/sa1ZB/4esXzHPyqemxIp6RfJDJCr2EP1czLCYRe2I1oKCLByxub6P3dViJaFPMd54qMhtD49+fOAlX32YC1itW048yHu/i9rhb11th/lzyA2HXNd0gt3otgDZRw9F4PlZXLDK7HI4sV5KAU5rC8nCSVO+HUdbZZHMFSCCmxzZodbkyUafV5MEC35oQdqFQcHGFA0ec3PMR9Nu94CFBnDoN8Ype5ET27VizBzqoySExUZE4C6nWH5YBLKW96wl8TrGtmKwEru73ys0IioCsmUilclaX/YtGpg2YcIHKIgspJVZcz7FhSRjYD3COFrKouHmqoD6HQ6XTdnB/Av0svLt6qy2S7E3hriDp7m56mFi46ME5E2yQ+sPFohmkzti7DiN1AO82bJ81I5kX0i0vO+JUic9yFZGoN+35cEQjGyHZuSNe60h10ZKGHbi2hGel2E3ZEEboRTqjkxfOVR0kE/7KdTzsoCtWb7ywEpCwJv5KbxDLIDOO802J3J7xVva4HuXJ0++hwoX6gWn7Bf8z1GapY+43HJ8iW44FkhMnqNmaAAY67UUSdd84E7cEUjfG5enLmscbw+XIdV4oQd+DNEBPyJi8ku7tPacwi1m7eTODIZVes0cees2iQOS+p/pUL92WZiGb6hqOzyouv9bpQdPX3Ky6Zp/dWcyrGvNFnTOlKrpCIq1Lo+J7tqKXDx3cN8ycHLo1BA2leuaoDIba1hQTA4ih+AgbPCCPQJWeFc4kelTNy5GkvOL6XYFnx3+biRicn5ngL+qj5xL3V1ozXQfiuz8Pe+VG6BOXkpusmdAZEpvLYezNSykbWs7GxDY16/sacEAxJhyd+Gqwjv2hG57HR6h0muO5r4pWnfp+A7WUIbsV4J5wBHcrHSjV8htsv9W0agBWCw2RhPriIzUO/2qcrSe4QWJKIqubD1FIDpXad2ZqBuPlJRuEJdTY3rQkvcEUPDhY12qTJrJ59s0rqD6wvNgwwbd7QnIpvvq2xiAlQZu0+9SPm9tgPlQ7NnoABGavL0s9wZbpbvbr5kKuUGtmKfYruDSLdi0HwLfv9d/F/pPhv/cytKHFv9d5btkUH/G5lI2T+4bGA8W1jojyb9eyuib7NabXwKFxDrcTUdeekiQluc3rQIfiqwLofAGBGAaV6GNWIc9Cw+sHq0mF8+IxcH7V41FcgOblWH9nfd/5nNx9a2Si+pk0JRSXQM2JYkSBDs9u9I5f2r93xUHAOs22dT99SvRW8/rO58Y7x+BEuFJ/8CskPvI6JASmVoFvrPlWW3xkFUR/1bdOczF3eNo0yZ4iZW4yqXMK+hfJxQxLCxDp06EbONZk2lrMD28LNuXH07pRZdDP+wm9uk32Gy6G3+vKBDjcY5rCjBDqCsXgj4hLqyaxn2HBjorR/fRhewsKJ12VQRIHwJSghn1/qHvGIseVIpNYwFYiGbOnJVRJ7qACBlTtk/3e8bbKulYFwYhjLPSlllUmgMSG4sE1StTVNuYE4HFKY6k/id5SbuG3Z/3sVgeCyPKX6jHTh/G1pFV4vl/gATRM5Jwr7LISzPfRD8qLPhjJhfnqJfb7HtLqBT27Q6jpZDkpMsltL62R0luOofANdx+HdQussHgZuwNJWt1IEqPmTmdIjMDXj4MUM96OKw6LYNQnA38hsVAYp3Pupn7tiHKi9jgW2pW3Ml2mlk1NHyZOF/5pM0TP5ff9HJr7BNwvhY8Hj7ViecKX6RhoV5uxGeE1khQ26vPjDw1QBCJsWsH0EDKHzjwxhXfDxv2YJ2RWuBbpc95gWuIs9blR8AvhPO7Banz5nsLB5RdCwc91Y9ITY2Dsv8uOyjAfav9L0hJa6lvPeG+gaucGcoziuVcs88UjKkHp2zCWUx7JRrgyTlo9lW/qVcTDDudIHvpxHm0/X1IPrVqb73uoKzBZ/Spg4m+aJ9y0ZpvMXc2ecgo+TO1AbhZF1pGekQFvlcV64TbjgBSVKkT9oIB8KT3FSBmEM9RD/Sia8F8u80l8WKK1pP2gF5Z+SKIFnH3YeGJGmTxrbZbMLAvzsZ6BiJu3E0Qh40z8dRb5VneeNYKXoXd9ykl5T67b5gdotIXYhvl5NFcpUS3SJhX1PweW6L8dyGEIQtlXJET1wLAXi3NrEsWVRjSWAX5EBEOSapNXWp9Pms4shNREmNdcK5nDOIMrG1GCe9x6uHpHtagWYly+F3f1zr/gWHDkQMRaCTiOxCE5pc+CPpM/ZVZPum9vU7s3Sw3wzmXma/VX4SKhqr2a0STQOi2NlhOTSHyMd/O8CxYfG6bnx7gUwwuSQwPpQXukv1SdkCeNNNLWMhZyGesZSKQ+E863yve6UdWrkZ3kQLXWQxKFYbFwlmxS7Pda1B31FsSPuU6z2bJVyF81dmgD7Es1+9cLoKFJ6w5dX2T0irrAelsfYFmto5JGwWW9I7OY9pg4GNfKlYKuSydGHdnbIRxnHbe6uCEdj4JqQMsNueUlg+/lYgKYkDks7zoPkAk2mxKNxEmmSwGwHNlLs9tVtTHin++Yk0ag4olmLhck4XQ40kkYoBjYj9RHxziLV5LmS4GETYu2nNhiCv8SP6ywN+gD8WYfSGVRiDWfthglfkU5NxeCQ0HTY8GrIpgd6E/UWzyHNWZvz+22UdeG9mJPG7uFKtmaqJE7FZHNwKStWNOdJQPQeWom+NzH0USNCMXAah8toT/uwNESUaXGacMy2dU4S+pBMM9fsRWJ/SOjcTuy0KytOdAi9takm7DkqbcRbA646s6lq7a+LuUfTA7fwWukDrzbT2/7eN1uIkwFgXE8PY7CkJQDPerY7HIbkS/yVKpI94jNuoaAH/c4D/sBvUt859T5XhZT3ZEJ9Z5hL3OJaMxndnjdTnAi0IBEptOLZBiuUMZRail2aKUX8tWS4IwjOAXz8l7rEKd7c526oGH9C4cRwCLiHP2bPj1cZuSblBOr2QeaG1cgfZbMbN87uxbKlgSHKi33GllgnojO3ZV+V/WeCXxtdAFQsxWXNIxQRH4NnwMtWMWJNAf5CSYSrbsZ6O5qFZQM3WTAALUXPtp6o7xB8t1d5xp/+Jt13mPn3hSYV8ADoojcWMEU3bNkbD6s2T1uofIxVYodZ6bB7OOdao+D/xKnbuVetZeCWQFoqqpEIz3RjiQSxGmXKueezb3N5IZ4vdsXgou1Ff2ueeqzraiOIEqkZagswP8Bid88YO1kJHg4u8geLnievAMhNqRBxaedjpQNX7KpLM1rEGFcWCnm68azkr8mdJffwzyU3cf3MM7IejugyHafRzZwyrS66lI9pXUlYjh/99uTdwbbuVynITmVVAkxLEpaXMenRWv20dVXN+ovXHEg0CQTcK9WMai4KGPyNOzAZFvALw0JC1E5qSqGlDVL6eOBmcueQ4RscSflNXpKu6YZeIQdGTW22wTM/yncydxkyIFPi5og0+WDVjwqCQXXSxzlygHFT5SVY5x00dFU6fS3/gOqHjsZMlP9NDylFBzGMYDTfmDg8ceXrUvXAjlkFtSzmDy04dFoxIiLXMo3RH7KaQdinEMibAsThBww+ebbE6V9L7xB0m/VajWjC2+qIz0nCXun9JjFrilLTjOs8ofOyZ+HngHHAQbusQXNtUvstxftG7IHg13JkPLV+t6PzUc+118Zax7HRzaNk1/rD2nrihWsKyBjbwbOBLz3P9iQ6gTf8L7mDAY+PDqGW9qT5N8QpLpyb0j3RNQvRkBe1Ktz1B44PrvI4Lh1T5POF+mU77sw2doiRoggEJo6xZRqhrHtMVuonvFodbTsKXkZTudD6hFlxJ5qjNPtai4DgPNVf8pNliA9tPZ2ZsT8FMppg6+vn/+GbeJ7K/8SHEwfpVVkjRaiqy4UDnpq8Bd0oOz4zl4ahEyW1zTxKXkRRweOTqeJ4P0x2FQPvHxade/d2edYNBKdPoKv8LpoPN+NBj3vvjLdcCviH4FY4TQWhnK0CQY5ttMRTKqCQ7fLhaoHYAIDjivfd8LRs5WGEjlCLkzSyAuVuetwRX/ei9Dv1oOMitwYLImYVAuXuG6T2eorJhfS9/oiey+yFqumPjKqXLyAoXMEim/dBkqpH+TFvJhoZb+IKJz8tnJk/C21zAYycLpTc/UgzM8HQQzLxqNNccFZO+PM5Ich/zhcW9Yr6kflKEFRkAdK05g0oGyhYcimBat4BrUtQhxoIPgMVb2YKXrOXzMb5631lxgUxnxq6E/DkES29j6vH/wOcjhzIMeXkCSeYSgzjyoCfb7+YPOHU0365gCortlWrCR1/IYCF1QUw7t809bPnETV0/8hfy/Zlnb3JTs5ybHcpXkOKBWZEZy7AZCaf+DFlXAuJW37abMSOysP3mna7ASxzvg9l63MSRUIu2b+/ULobNNKvQHkob32E+UYERYgLrqjdlB0R5mTA9+rDCTy8VljAh3KooGx8XONzwdQbWLYMEoYkZbXqDxNhXHwRScAEU3dPVJiTNrFDbbRSdFHGMHDAtJzvViMvVwV7nCaIIUpYSf3c27tgkwXR/8g1QOMoj3IKIu0o2/mptiD7eUG/PWlSUFPm5vxMHCe8HIj/uv2CUOGks5usY0VkZvvdHvKlxWTqDahJTsGuT+1/icBDrAdCwM8GraND/UrQafvGyK3nnrdtvzwmb/IgJ9HcB8UqsanjHnsJdlw4oXpNkDLmuofIcQ0GXVUzyf+zHQTAEgPTAuHZVB1yDtT+wV2JFFxN3oQXnClDrohCXyGutO1M5Hdv5zW7mAJaz9FBHvVB17/sLs0jSySFPzCY1469X7+oLyagNzg7hBi0Wx+tXsDFBNh/Y1dAzHHwBx/GqKX7lPuaUDfvPQ2E56GoqoQgrI1wo/0cbPnOrKlsYgLgKyg+YcZ6nSDrP/KppGrOQMrWyNwZ1MEKcFGZ7HBc57SeldysDKw2+M8sc3yMba85FEkSk2ZujxFK464rKmfiNhOlTMy4VrYBNUTfLTESvxQw3f1eyCxHhG1T9YYyjXoG7s1aOBI6XQK4DCE6Qk8NDKqucPVQpJPCXCRua5oIRsVfF6vcJHS37hjpked0k+EruiHEGt4xnc09q1+AimlNHFuJn2CeJWrgVT+D5DTxBlafUycvJ3mGIx3y/YXx9XTfrOjLTevbmgHbFSk4zSiHy1KVBIBaGwmavCwjafigx1fDotu7BG+ajc2FZl2SWN8AcsL7AKZ43Mz/7xEbcndKnnbH/C3YRlgm+ZG4+N+J/j+5TwCPfmvRE/Woh+xbZKdG/0dupsK5ryxYltqh+dY6yFD0AOT6SfKqDMMgA3k7sLpebxHtqqG52ZlEWltqxddH2yLfZU7TT/i8AnQ5aJGiIudp1RnOcfdwyT+lcyvvRMuwW07VAhRvyEXnGJTaZlNgqSgInjHn0NeqAb9QWBFeKtE4G3JpRBhHhFFMf1LyvMTpMwqrt9fpYiv18R5nuYU816pO5aij0Mrhfxy2OEAVf6Y7KS+GzBIu1fL8FjSYDwqgZ0iCGMfsUdDb6J0hA0sHGak87MHQxfR2n09QqXT2ZAcGA2XrLFn6sgQLoa9MyiQut7EEEjYGOipUZsnl+rjGwKMXoduTjpU1Gc2VC7ii36lb0StJNaJSzl5FkIGeUV90wleBGtFmHJIvuXImco0P/SJa1FkaiXkGs0TJQeROX/tBJ9/0l2ivy83knkVzZtHJi9rECW5" title="Mekko Graphics Chart"/>
          <p:cNvSpPr>
            <a:spLocks noChangeAspect="1"/>
          </p:cNvSpPr>
          <p:nvPr>
            <p:custDataLst>
              <p:tags r:id="rId3"/>
            </p:custDataLst>
          </p:nvPr>
        </p:nvSpPr>
        <p:spPr bwMode="gray">
          <a:xfrm>
            <a:off x="314298" y="1251951"/>
            <a:ext cx="11522075" cy="5098767"/>
          </a:xfrm>
          <a:prstGeom prst="rect">
            <a:avLst/>
          </a:prstGeom>
          <a:blipFill>
            <a:blip r:embed="rId11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>
              <a:solidFill>
                <a:schemeClr val="tx1"/>
              </a:solidFill>
            </a:endParaRPr>
          </a:p>
        </p:txBody>
      </p:sp>
      <p:grpSp>
        <p:nvGrpSpPr>
          <p:cNvPr id="34" name="btfpColumnIndicatorGroup2">
            <a:extLst>
              <a:ext uri="{FF2B5EF4-FFF2-40B4-BE49-F238E27FC236}">
                <a16:creationId xmlns:a16="http://schemas.microsoft.com/office/drawing/2014/main" id="{BE19306E-84D4-4FB1-899A-B0E60C385996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5" name="btfpColumnGapBlocker806194">
              <a:extLst>
                <a:ext uri="{FF2B5EF4-FFF2-40B4-BE49-F238E27FC236}">
                  <a16:creationId xmlns:a16="http://schemas.microsoft.com/office/drawing/2014/main" id="{981BC3E7-65E2-432C-8A79-1A705606EAED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3" name="btfpColumnGapBlocker137964">
              <a:extLst>
                <a:ext uri="{FF2B5EF4-FFF2-40B4-BE49-F238E27FC236}">
                  <a16:creationId xmlns:a16="http://schemas.microsoft.com/office/drawing/2014/main" id="{782DF870-C99D-4D4D-86B2-C7CE592202AC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1" name="btfpColumnIndicator630577">
              <a:extLst>
                <a:ext uri="{FF2B5EF4-FFF2-40B4-BE49-F238E27FC236}">
                  <a16:creationId xmlns:a16="http://schemas.microsoft.com/office/drawing/2014/main" id="{39872F58-A2E6-4A12-8084-775138988527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btfpColumnIndicator763289">
              <a:extLst>
                <a:ext uri="{FF2B5EF4-FFF2-40B4-BE49-F238E27FC236}">
                  <a16:creationId xmlns:a16="http://schemas.microsoft.com/office/drawing/2014/main" id="{B34F2168-F08D-4532-A141-8C0D9853E415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" name="btfpColumnIndicatorGroup1">
            <a:extLst>
              <a:ext uri="{FF2B5EF4-FFF2-40B4-BE49-F238E27FC236}">
                <a16:creationId xmlns:a16="http://schemas.microsoft.com/office/drawing/2014/main" id="{FFF8CE08-B043-4AF6-9195-0D50B022A3E0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4" name="btfpColumnGapBlocker930431">
              <a:extLst>
                <a:ext uri="{FF2B5EF4-FFF2-40B4-BE49-F238E27FC236}">
                  <a16:creationId xmlns:a16="http://schemas.microsoft.com/office/drawing/2014/main" id="{1263D285-5420-41B6-9CF3-59ED4D0464D7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2" name="btfpColumnGapBlocker729661">
              <a:extLst>
                <a:ext uri="{FF2B5EF4-FFF2-40B4-BE49-F238E27FC236}">
                  <a16:creationId xmlns:a16="http://schemas.microsoft.com/office/drawing/2014/main" id="{CB441BF0-BEF1-4C55-A017-125A36713C6C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0" name="btfpColumnIndicator756215">
              <a:extLst>
                <a:ext uri="{FF2B5EF4-FFF2-40B4-BE49-F238E27FC236}">
                  <a16:creationId xmlns:a16="http://schemas.microsoft.com/office/drawing/2014/main" id="{7A9A1E13-92B3-4AB1-A260-3BC7A512C8EC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251637">
              <a:extLst>
                <a:ext uri="{FF2B5EF4-FFF2-40B4-BE49-F238E27FC236}">
                  <a16:creationId xmlns:a16="http://schemas.microsoft.com/office/drawing/2014/main" id="{1094D43F-0079-4FF1-B2FE-24641E06DE9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>
                <a:highlight>
                  <a:srgbClr val="FFFFFF"/>
                </a:highlight>
              </a:rPr>
              <a:t>Average lifetime tenure lies between ~10-15 years while average company tenure is ~7 years; Target falls behind its peers with relatively lower avg. company tenure</a:t>
            </a:r>
            <a:endParaRPr lang="en-US" b="1" dirty="0">
              <a:solidFill>
                <a:srgbClr val="FF0000"/>
              </a:solidFill>
              <a:highlight>
                <a:srgbClr val="FFFFFF"/>
              </a:highlight>
            </a:endParaRPr>
          </a:p>
        </p:txBody>
      </p:sp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1323045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>
                <a:solidFill>
                  <a:srgbClr val="FFFFFF">
                    <a:alpha val="0"/>
                  </a:srgbClr>
                </a:solidFill>
              </a:rPr>
              <a:t>overall_0_132369400448093052 columns_1_132369395311061635 6_1_132369395462319733 9_1_132369395678315682 16_1_132369400850514128 19_1_132369402721137072 14_1_132369642836221605 17_1_132370424181034390 </a:t>
            </a:r>
          </a:p>
        </p:txBody>
      </p:sp>
      <p:grpSp>
        <p:nvGrpSpPr>
          <p:cNvPr id="6" name="btfpStatusSticker516933"/>
          <p:cNvGrpSpPr/>
          <p:nvPr>
            <p:custDataLst>
              <p:tags r:id="rId4"/>
            </p:custDataLst>
          </p:nvPr>
        </p:nvGrpSpPr>
        <p:grpSpPr>
          <a:xfrm>
            <a:off x="10102664" y="955344"/>
            <a:ext cx="1759136" cy="235611"/>
            <a:chOff x="10102664" y="955344"/>
            <a:chExt cx="1759136" cy="235611"/>
          </a:xfrm>
        </p:grpSpPr>
        <p:sp>
          <p:nvSpPr>
            <p:cNvPr id="4" name="btfpStatusStickerText516933"/>
            <p:cNvSpPr txBox="1"/>
            <p:nvPr/>
          </p:nvSpPr>
          <p:spPr bwMode="gray">
            <a:xfrm>
              <a:off x="10102664" y="955344"/>
              <a:ext cx="1759136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ct val="0"/>
                </a:spcBef>
                <a:buNone/>
              </a:pPr>
              <a:r>
                <a:rPr lang="en-US" sz="1200" b="1" cap="all" spc="450">
                  <a:solidFill>
                    <a:srgbClr val="000000"/>
                  </a:solidFill>
                </a:rPr>
                <a:t>Directional</a:t>
              </a:r>
            </a:p>
          </p:txBody>
        </p:sp>
        <p:cxnSp>
          <p:nvCxnSpPr>
            <p:cNvPr id="5" name="btfpStatusStickerLine516933"/>
            <p:cNvCxnSpPr/>
            <p:nvPr/>
          </p:nvCxnSpPr>
          <p:spPr bwMode="gray">
            <a:xfrm rot="720000" flipH="1">
              <a:off x="10102664" y="955344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2" name="btfpNotesBox983380">
            <a:extLst>
              <a:ext uri="{FF2B5EF4-FFF2-40B4-BE49-F238E27FC236}">
                <a16:creationId xmlns:a16="http://schemas.microsoft.com/office/drawing/2014/main" id="{6BB588EB-5D4F-4A9F-8FEB-39C5BA242817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gray">
          <a:xfrm>
            <a:off x="330200" y="6315437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ct val="0"/>
              </a:spcBef>
              <a:buNone/>
            </a:pPr>
            <a:r>
              <a:rPr lang="en-US" sz="800">
                <a:solidFill>
                  <a:srgbClr val="000000"/>
                </a:solidFill>
              </a:rPr>
              <a:t>Note: Irrelevant profiles (interns, former, retired employees) have been excluded; Bars are sorted basis lifetime tenure</a:t>
            </a:r>
          </a:p>
          <a:p>
            <a:pPr marL="0" indent="0">
              <a:spcBef>
                <a:spcPct val="0"/>
              </a:spcBef>
              <a:buNone/>
            </a:pPr>
            <a:r>
              <a:rPr lang="en-US" sz="800">
                <a:solidFill>
                  <a:srgbClr val="000000"/>
                </a:solidFill>
              </a:rPr>
              <a:t>Source: </a:t>
            </a:r>
            <a:r>
              <a:rPr lang="en-US" sz="800"/>
              <a:t>Aura, Bain analysis</a:t>
            </a:r>
          </a:p>
        </p:txBody>
      </p:sp>
      <p:pic>
        <p:nvPicPr>
          <p:cNvPr id="53" name="Picture 52">
            <a:extLst>
              <a:ext uri="{FF2B5EF4-FFF2-40B4-BE49-F238E27FC236}">
                <a16:creationId xmlns:a16="http://schemas.microsoft.com/office/drawing/2014/main" id="{97365FCB-7370-4B26-A0E8-B5826471765F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0646654" y="6219647"/>
            <a:ext cx="1261892" cy="353608"/>
          </a:xfrm>
          <a:prstGeom prst="rect">
            <a:avLst/>
          </a:prstGeom>
        </p:spPr>
      </p:pic>
      <p:sp>
        <p:nvSpPr>
          <p:cNvPr id="64" name="Rectangle 63">
            <a:extLst>
              <a:ext uri="{FF2B5EF4-FFF2-40B4-BE49-F238E27FC236}">
                <a16:creationId xmlns:a16="http://schemas.microsoft.com/office/drawing/2014/main" id="{5A66C167-C5EB-4F78-9BCB-93F1EDF951CC}"/>
              </a:ext>
            </a:extLst>
          </p:cNvPr>
          <p:cNvSpPr/>
          <p:nvPr/>
        </p:nvSpPr>
        <p:spPr bwMode="gray">
          <a:xfrm>
            <a:off x="10825943" y="1789817"/>
            <a:ext cx="879710" cy="4000807"/>
          </a:xfrm>
          <a:prstGeom prst="rect">
            <a:avLst/>
          </a:prstGeom>
          <a:noFill/>
          <a:ln w="12700">
            <a:solidFill>
              <a:schemeClr val="accent3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chemeClr val="tx1"/>
              </a:solidFill>
            </a:endParaRPr>
          </a:p>
        </p:txBody>
      </p:sp>
      <p:grpSp>
        <p:nvGrpSpPr>
          <p:cNvPr id="7" name="btfpRunningAgenda2Level175785">
            <a:extLst>
              <a:ext uri="{FF2B5EF4-FFF2-40B4-BE49-F238E27FC236}">
                <a16:creationId xmlns:a16="http://schemas.microsoft.com/office/drawing/2014/main" id="{1C4DCAC8-4A07-6F69-B927-F1E4523FE09E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0" y="944429"/>
            <a:ext cx="4305724" cy="257443"/>
            <a:chOff x="0" y="876300"/>
            <a:chExt cx="4305724" cy="257443"/>
          </a:xfrm>
        </p:grpSpPr>
        <p:sp>
          <p:nvSpPr>
            <p:cNvPr id="17" name="btfpRunningAgenda2LevelBarLeft175785">
              <a:extLst>
                <a:ext uri="{FF2B5EF4-FFF2-40B4-BE49-F238E27FC236}">
                  <a16:creationId xmlns:a16="http://schemas.microsoft.com/office/drawing/2014/main" id="{AAF05AD1-CC64-D13C-8797-618F5314A8C5}"/>
                </a:ext>
              </a:extLst>
            </p:cNvPr>
            <p:cNvSpPr/>
            <p:nvPr/>
          </p:nvSpPr>
          <p:spPr bwMode="gray">
            <a:xfrm>
              <a:off x="0" y="876300"/>
              <a:ext cx="2327781" cy="257443"/>
            </a:xfrm>
            <a:custGeom>
              <a:avLst/>
              <a:gdLst/>
              <a:ahLst/>
              <a:cxnLst/>
              <a:rect l="0" t="0" r="0" b="0"/>
              <a:pathLst>
                <a:path w="2327781" h="257443">
                  <a:moveTo>
                    <a:pt x="0" y="0"/>
                  </a:moveTo>
                  <a:lnTo>
                    <a:pt x="2327780" y="0"/>
                  </a:lnTo>
                  <a:lnTo>
                    <a:pt x="2273059" y="257442"/>
                  </a:lnTo>
                  <a:lnTo>
                    <a:pt x="0" y="257442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9" name="btfpRunningAgenda2LevelTextLeft175785">
              <a:extLst>
                <a:ext uri="{FF2B5EF4-FFF2-40B4-BE49-F238E27FC236}">
                  <a16:creationId xmlns:a16="http://schemas.microsoft.com/office/drawing/2014/main" id="{50FBD2A2-B2FB-14D6-D499-84E370C0C73E}"/>
                </a:ext>
              </a:extLst>
            </p:cNvPr>
            <p:cNvSpPr txBox="1"/>
            <p:nvPr/>
          </p:nvSpPr>
          <p:spPr bwMode="gray">
            <a:xfrm>
              <a:off x="0" y="876300"/>
              <a:ext cx="2273059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Workforce</a:t>
              </a:r>
            </a:p>
          </p:txBody>
        </p:sp>
        <p:sp>
          <p:nvSpPr>
            <p:cNvPr id="20" name="btfpRunningAgenda2LevelBarRight175785">
              <a:extLst>
                <a:ext uri="{FF2B5EF4-FFF2-40B4-BE49-F238E27FC236}">
                  <a16:creationId xmlns:a16="http://schemas.microsoft.com/office/drawing/2014/main" id="{81FF424C-1119-C515-121F-D14EAFCFA3EB}"/>
                </a:ext>
              </a:extLst>
            </p:cNvPr>
            <p:cNvSpPr/>
            <p:nvPr/>
          </p:nvSpPr>
          <p:spPr bwMode="gray">
            <a:xfrm>
              <a:off x="2192938" y="876300"/>
              <a:ext cx="2112786" cy="257442"/>
            </a:xfrm>
            <a:custGeom>
              <a:avLst/>
              <a:gdLst>
                <a:gd name="connsiteX0" fmla="*/ 950801 w 2367856"/>
                <a:gd name="connsiteY0" fmla="*/ 0 h 257442"/>
                <a:gd name="connsiteX1" fmla="*/ 2367856 w 2367856"/>
                <a:gd name="connsiteY1" fmla="*/ 0 h 257442"/>
                <a:gd name="connsiteX2" fmla="*/ 2313135 w 2367856"/>
                <a:gd name="connsiteY2" fmla="*/ 257442 h 257442"/>
                <a:gd name="connsiteX3" fmla="*/ 0 w 2367856"/>
                <a:gd name="connsiteY3" fmla="*/ 257442 h 257442"/>
                <a:gd name="connsiteX0" fmla="*/ 950801 w 2313135"/>
                <a:gd name="connsiteY0" fmla="*/ 0 h 257442"/>
                <a:gd name="connsiteX1" fmla="*/ 896080 w 2313135"/>
                <a:gd name="connsiteY1" fmla="*/ 257442 h 257442"/>
                <a:gd name="connsiteX2" fmla="*/ 2313135 w 2313135"/>
                <a:gd name="connsiteY2" fmla="*/ 257442 h 257442"/>
                <a:gd name="connsiteX3" fmla="*/ 0 w 2313135"/>
                <a:gd name="connsiteY3" fmla="*/ 257442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54721 w 950800"/>
                <a:gd name="connsiteY3" fmla="*/ 0 h 257442"/>
                <a:gd name="connsiteX0" fmla="*/ 1243957 w 1243957"/>
                <a:gd name="connsiteY0" fmla="*/ 0 h 257442"/>
                <a:gd name="connsiteX1" fmla="*/ 896079 w 1243957"/>
                <a:gd name="connsiteY1" fmla="*/ 257442 h 257442"/>
                <a:gd name="connsiteX2" fmla="*/ 0 w 1243957"/>
                <a:gd name="connsiteY2" fmla="*/ 257442 h 257442"/>
                <a:gd name="connsiteX3" fmla="*/ 54721 w 1243957"/>
                <a:gd name="connsiteY3" fmla="*/ 0 h 257442"/>
                <a:gd name="connsiteX0" fmla="*/ 1243957 w 1243957"/>
                <a:gd name="connsiteY0" fmla="*/ 0 h 257442"/>
                <a:gd name="connsiteX1" fmla="*/ 1189236 w 1243957"/>
                <a:gd name="connsiteY1" fmla="*/ 257442 h 257442"/>
                <a:gd name="connsiteX2" fmla="*/ 0 w 1243957"/>
                <a:gd name="connsiteY2" fmla="*/ 257442 h 257442"/>
                <a:gd name="connsiteX3" fmla="*/ 54721 w 1243957"/>
                <a:gd name="connsiteY3" fmla="*/ 0 h 257442"/>
                <a:gd name="connsiteX0" fmla="*/ 1243958 w 1243958"/>
                <a:gd name="connsiteY0" fmla="*/ 0 h 257442"/>
                <a:gd name="connsiteX1" fmla="*/ 1189237 w 1243958"/>
                <a:gd name="connsiteY1" fmla="*/ 257442 h 257442"/>
                <a:gd name="connsiteX2" fmla="*/ 0 w 1243958"/>
                <a:gd name="connsiteY2" fmla="*/ 257442 h 257442"/>
                <a:gd name="connsiteX3" fmla="*/ 54722 w 1243958"/>
                <a:gd name="connsiteY3" fmla="*/ 0 h 257442"/>
                <a:gd name="connsiteX0" fmla="*/ 1243958 w 1243958"/>
                <a:gd name="connsiteY0" fmla="*/ 0 h 257442"/>
                <a:gd name="connsiteX1" fmla="*/ 1189237 w 1243958"/>
                <a:gd name="connsiteY1" fmla="*/ 257442 h 257442"/>
                <a:gd name="connsiteX2" fmla="*/ 0 w 1243958"/>
                <a:gd name="connsiteY2" fmla="*/ 257442 h 257442"/>
                <a:gd name="connsiteX3" fmla="*/ 54721 w 1243958"/>
                <a:gd name="connsiteY3" fmla="*/ 0 h 257442"/>
                <a:gd name="connsiteX0" fmla="*/ 1412273 w 1412273"/>
                <a:gd name="connsiteY0" fmla="*/ 0 h 257442"/>
                <a:gd name="connsiteX1" fmla="*/ 1189237 w 1412273"/>
                <a:gd name="connsiteY1" fmla="*/ 257442 h 257442"/>
                <a:gd name="connsiteX2" fmla="*/ 0 w 1412273"/>
                <a:gd name="connsiteY2" fmla="*/ 257442 h 257442"/>
                <a:gd name="connsiteX3" fmla="*/ 54721 w 1412273"/>
                <a:gd name="connsiteY3" fmla="*/ 0 h 257442"/>
                <a:gd name="connsiteX0" fmla="*/ 1412273 w 1412273"/>
                <a:gd name="connsiteY0" fmla="*/ 0 h 257442"/>
                <a:gd name="connsiteX1" fmla="*/ 1357552 w 1412273"/>
                <a:gd name="connsiteY1" fmla="*/ 257442 h 257442"/>
                <a:gd name="connsiteX2" fmla="*/ 0 w 1412273"/>
                <a:gd name="connsiteY2" fmla="*/ 257442 h 257442"/>
                <a:gd name="connsiteX3" fmla="*/ 54721 w 1412273"/>
                <a:gd name="connsiteY3" fmla="*/ 0 h 257442"/>
                <a:gd name="connsiteX0" fmla="*/ 1412273 w 1412273"/>
                <a:gd name="connsiteY0" fmla="*/ 0 h 257442"/>
                <a:gd name="connsiteX1" fmla="*/ 1357552 w 1412273"/>
                <a:gd name="connsiteY1" fmla="*/ 257442 h 257442"/>
                <a:gd name="connsiteX2" fmla="*/ 0 w 1412273"/>
                <a:gd name="connsiteY2" fmla="*/ 257442 h 257442"/>
                <a:gd name="connsiteX3" fmla="*/ 54721 w 1412273"/>
                <a:gd name="connsiteY3" fmla="*/ 0 h 257442"/>
                <a:gd name="connsiteX0" fmla="*/ 1412273 w 1412273"/>
                <a:gd name="connsiteY0" fmla="*/ 0 h 257442"/>
                <a:gd name="connsiteX1" fmla="*/ 1357552 w 1412273"/>
                <a:gd name="connsiteY1" fmla="*/ 257442 h 257442"/>
                <a:gd name="connsiteX2" fmla="*/ 0 w 1412273"/>
                <a:gd name="connsiteY2" fmla="*/ 257442 h 257442"/>
                <a:gd name="connsiteX3" fmla="*/ 54721 w 1412273"/>
                <a:gd name="connsiteY3" fmla="*/ 0 h 257442"/>
                <a:gd name="connsiteX0" fmla="*/ 1665548 w 1665548"/>
                <a:gd name="connsiteY0" fmla="*/ 0 h 257442"/>
                <a:gd name="connsiteX1" fmla="*/ 1357552 w 1665548"/>
                <a:gd name="connsiteY1" fmla="*/ 257442 h 257442"/>
                <a:gd name="connsiteX2" fmla="*/ 0 w 1665548"/>
                <a:gd name="connsiteY2" fmla="*/ 257442 h 257442"/>
                <a:gd name="connsiteX3" fmla="*/ 54721 w 1665548"/>
                <a:gd name="connsiteY3" fmla="*/ 0 h 257442"/>
                <a:gd name="connsiteX0" fmla="*/ 1665548 w 1665548"/>
                <a:gd name="connsiteY0" fmla="*/ 0 h 257442"/>
                <a:gd name="connsiteX1" fmla="*/ 1610826 w 1665548"/>
                <a:gd name="connsiteY1" fmla="*/ 257442 h 257442"/>
                <a:gd name="connsiteX2" fmla="*/ 0 w 1665548"/>
                <a:gd name="connsiteY2" fmla="*/ 257442 h 257442"/>
                <a:gd name="connsiteX3" fmla="*/ 54721 w 1665548"/>
                <a:gd name="connsiteY3" fmla="*/ 0 h 257442"/>
                <a:gd name="connsiteX0" fmla="*/ 1665549 w 1665549"/>
                <a:gd name="connsiteY0" fmla="*/ 0 h 257442"/>
                <a:gd name="connsiteX1" fmla="*/ 1610827 w 1665549"/>
                <a:gd name="connsiteY1" fmla="*/ 257442 h 257442"/>
                <a:gd name="connsiteX2" fmla="*/ 0 w 1665549"/>
                <a:gd name="connsiteY2" fmla="*/ 257442 h 257442"/>
                <a:gd name="connsiteX3" fmla="*/ 54722 w 1665549"/>
                <a:gd name="connsiteY3" fmla="*/ 0 h 257442"/>
                <a:gd name="connsiteX0" fmla="*/ 1665549 w 1665549"/>
                <a:gd name="connsiteY0" fmla="*/ 0 h 257442"/>
                <a:gd name="connsiteX1" fmla="*/ 1610827 w 1665549"/>
                <a:gd name="connsiteY1" fmla="*/ 257442 h 257442"/>
                <a:gd name="connsiteX2" fmla="*/ 0 w 1665549"/>
                <a:gd name="connsiteY2" fmla="*/ 257442 h 257442"/>
                <a:gd name="connsiteX3" fmla="*/ 54722 w 1665549"/>
                <a:gd name="connsiteY3" fmla="*/ 0 h 257442"/>
                <a:gd name="connsiteX0" fmla="*/ 1944471 w 1944471"/>
                <a:gd name="connsiteY0" fmla="*/ 0 h 257442"/>
                <a:gd name="connsiteX1" fmla="*/ 1610827 w 1944471"/>
                <a:gd name="connsiteY1" fmla="*/ 257442 h 257442"/>
                <a:gd name="connsiteX2" fmla="*/ 0 w 1944471"/>
                <a:gd name="connsiteY2" fmla="*/ 257442 h 257442"/>
                <a:gd name="connsiteX3" fmla="*/ 54722 w 1944471"/>
                <a:gd name="connsiteY3" fmla="*/ 0 h 257442"/>
                <a:gd name="connsiteX0" fmla="*/ 1944471 w 1944471"/>
                <a:gd name="connsiteY0" fmla="*/ 0 h 257442"/>
                <a:gd name="connsiteX1" fmla="*/ 1889750 w 1944471"/>
                <a:gd name="connsiteY1" fmla="*/ 257442 h 257442"/>
                <a:gd name="connsiteX2" fmla="*/ 0 w 1944471"/>
                <a:gd name="connsiteY2" fmla="*/ 257442 h 257442"/>
                <a:gd name="connsiteX3" fmla="*/ 54722 w 1944471"/>
                <a:gd name="connsiteY3" fmla="*/ 0 h 257442"/>
                <a:gd name="connsiteX0" fmla="*/ 1944470 w 1944470"/>
                <a:gd name="connsiteY0" fmla="*/ 0 h 257442"/>
                <a:gd name="connsiteX1" fmla="*/ 1889749 w 1944470"/>
                <a:gd name="connsiteY1" fmla="*/ 257442 h 257442"/>
                <a:gd name="connsiteX2" fmla="*/ 0 w 1944470"/>
                <a:gd name="connsiteY2" fmla="*/ 257442 h 257442"/>
                <a:gd name="connsiteX3" fmla="*/ 54721 w 1944470"/>
                <a:gd name="connsiteY3" fmla="*/ 0 h 257442"/>
                <a:gd name="connsiteX0" fmla="*/ 1944470 w 1944470"/>
                <a:gd name="connsiteY0" fmla="*/ 0 h 257442"/>
                <a:gd name="connsiteX1" fmla="*/ 1889749 w 1944470"/>
                <a:gd name="connsiteY1" fmla="*/ 257442 h 257442"/>
                <a:gd name="connsiteX2" fmla="*/ 0 w 1944470"/>
                <a:gd name="connsiteY2" fmla="*/ 257442 h 257442"/>
                <a:gd name="connsiteX3" fmla="*/ 54720 w 1944470"/>
                <a:gd name="connsiteY3" fmla="*/ 0 h 257442"/>
                <a:gd name="connsiteX0" fmla="*/ 2112785 w 2112785"/>
                <a:gd name="connsiteY0" fmla="*/ 0 h 257442"/>
                <a:gd name="connsiteX1" fmla="*/ 1889749 w 2112785"/>
                <a:gd name="connsiteY1" fmla="*/ 257442 h 257442"/>
                <a:gd name="connsiteX2" fmla="*/ 0 w 2112785"/>
                <a:gd name="connsiteY2" fmla="*/ 257442 h 257442"/>
                <a:gd name="connsiteX3" fmla="*/ 54720 w 2112785"/>
                <a:gd name="connsiteY3" fmla="*/ 0 h 257442"/>
                <a:gd name="connsiteX0" fmla="*/ 2112785 w 2112785"/>
                <a:gd name="connsiteY0" fmla="*/ 0 h 257442"/>
                <a:gd name="connsiteX1" fmla="*/ 2058064 w 2112785"/>
                <a:gd name="connsiteY1" fmla="*/ 257442 h 257442"/>
                <a:gd name="connsiteX2" fmla="*/ 0 w 2112785"/>
                <a:gd name="connsiteY2" fmla="*/ 257442 h 257442"/>
                <a:gd name="connsiteX3" fmla="*/ 54720 w 2112785"/>
                <a:gd name="connsiteY3" fmla="*/ 0 h 257442"/>
                <a:gd name="connsiteX0" fmla="*/ 2112786 w 2112786"/>
                <a:gd name="connsiteY0" fmla="*/ 0 h 257442"/>
                <a:gd name="connsiteX1" fmla="*/ 2058065 w 2112786"/>
                <a:gd name="connsiteY1" fmla="*/ 257442 h 257442"/>
                <a:gd name="connsiteX2" fmla="*/ 0 w 2112786"/>
                <a:gd name="connsiteY2" fmla="*/ 257442 h 257442"/>
                <a:gd name="connsiteX3" fmla="*/ 54721 w 2112786"/>
                <a:gd name="connsiteY3" fmla="*/ 0 h 257442"/>
                <a:gd name="connsiteX0" fmla="*/ 2112786 w 2112786"/>
                <a:gd name="connsiteY0" fmla="*/ 0 h 257442"/>
                <a:gd name="connsiteX1" fmla="*/ 2058065 w 2112786"/>
                <a:gd name="connsiteY1" fmla="*/ 257442 h 257442"/>
                <a:gd name="connsiteX2" fmla="*/ 0 w 2112786"/>
                <a:gd name="connsiteY2" fmla="*/ 257442 h 257442"/>
                <a:gd name="connsiteX3" fmla="*/ 54721 w 2112786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12786" h="257442">
                  <a:moveTo>
                    <a:pt x="2112786" y="0"/>
                  </a:moveTo>
                  <a:lnTo>
                    <a:pt x="2058065" y="257442"/>
                  </a:lnTo>
                  <a:lnTo>
                    <a:pt x="0" y="257442"/>
                  </a:lnTo>
                  <a:lnTo>
                    <a:pt x="54721" y="0"/>
                  </a:lnTo>
                  <a:close/>
                </a:path>
              </a:pathLst>
            </a:custGeom>
            <a:solidFill>
              <a:srgbClr val="B4B4B4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21" name="btfpRunningAgenda2LevelTextRight175785">
              <a:extLst>
                <a:ext uri="{FF2B5EF4-FFF2-40B4-BE49-F238E27FC236}">
                  <a16:creationId xmlns:a16="http://schemas.microsoft.com/office/drawing/2014/main" id="{12390053-8F69-378B-F315-7CD02D923E4C}"/>
                </a:ext>
              </a:extLst>
            </p:cNvPr>
            <p:cNvSpPr txBox="1"/>
            <p:nvPr/>
          </p:nvSpPr>
          <p:spPr bwMode="gray">
            <a:xfrm>
              <a:off x="2192938" y="876300"/>
              <a:ext cx="1705596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Tenure</a:t>
              </a:r>
            </a:p>
          </p:txBody>
        </p:sp>
      </p:grp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B8701B37-68D6-B051-CAB9-878EF0785414}"/>
              </a:ext>
            </a:extLst>
          </p:cNvPr>
          <p:cNvSpPr/>
          <p:nvPr/>
        </p:nvSpPr>
        <p:spPr bwMode="gray">
          <a:xfrm>
            <a:off x="10747068" y="796006"/>
            <a:ext cx="956332" cy="382533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00" dirty="0">
                <a:solidFill>
                  <a:schemeClr val="tx1"/>
                </a:solidFill>
              </a:rPr>
              <a:t>BCN updated 05/09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5214922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4" name="think-cell data - do not delete" hidden="1">
            <a:extLst>
              <a:ext uri="{FF2B5EF4-FFF2-40B4-BE49-F238E27FC236}">
                <a16:creationId xmlns:a16="http://schemas.microsoft.com/office/drawing/2014/main" id="{93F0492B-A78A-B489-664F-AC216335F9C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73442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04" imgH="405" progId="TCLayout.ActiveDocument.1">
                  <p:embed/>
                </p:oleObj>
              </mc:Choice>
              <mc:Fallback>
                <p:oleObj name="think-cell Slide" r:id="rId10" imgW="404" imgH="405" progId="TCLayout.ActiveDocument.1">
                  <p:embed/>
                  <p:pic>
                    <p:nvPicPr>
                      <p:cNvPr id="5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3F0492B-A78A-B489-664F-AC216335F9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r0lg9IPP9y8umrse/9AoLT5R0GKq+XM9pr/aTyOTf0wptcuHbHxeyqBm9svU01qeeEM1v0hpSHUgirOnAK/wuhh4R0jlrHnY+9pFyM8mIa/v+EBRT4DxCrO4MOZv053OPZGuBPBkVTM93MBe9Uwqf4aYnlMSZvsL3oxynmN4ZyHez2Gu5Besl3qxqPf4w7kkGjcfx21rtUtqz54pGW2EahJvCwJSTBgeYUe/G/Za7TK2ixHK+x3nW56q7eZo+z2won0JnoKCGwuAbm+KG95GAvJp9MB862hQs23z3qdKCjiZwGj33JaHcf7hyG9TAcfS4Q4kM7UpETKrfjCJJhZxJ/ddhWAVBiI/BwsHAOu2NO7XupYekC73SwZ3vnasUIHnhZq+barR/aD+4HKFqBuVYhePvnjz0I/f4fC7HV/tPpfKaKmn4Kv1Qe4KPiJGudxPFnFw2Adhlyq2NIT7zL/LY3IHBW8U/7UOLmQSwu7RoGgUL+AYYaB+fk1NgghaoieukEMxzHgXxudyH/ZTd7zHFJ2HmjG3BqEehQbp2PdAZOE7VnPQajCgUW7Cqqj0YPYcD/U4P+sVzOqRrBZrrAz3YwOi2ctMpvLKc5McU6c2NJJUvguvLvNConNJFp91oR4+Qyufngb03beeFoJMfiKxMHvJK41bSUqP4Y/EGhmwixD+jzGn7n6YsQrhgR0qm9PGOuOXyr+WrS2PHvHziiAGrE5fiiubSiHmmjuiPI5fsG6pLnk0GgOLsxPjM/QdremOxEmVHhxszdBrXujGfBGBZQnpiF3sXX02G+mYQ9bM9Mb3EjW+G6bp1XG2gZx7qJWl7qznZ26kbfVuyadAAFBXkXfqKPLbsyi6BwdyuaZhA8YgEFKP6NWGOaAKhSQmG3TnLFdT1rp+x2yvLP0MRJYrJ28dkqDremb/4eLv+Zkeycp9Hyf9rA55vK5fnhiEPPZEsm+oYqvSNm6DVvb5TSe5mxnJHew8bj9a/eLjoZeQ37xFJh0z47l5pjpiAv1q2vv6wh5ymZPZk8hymRJ4wSnBFFVPNhuCtwRKhGZ7eXuhUTRzTjaa9Ka68DvPNrje+Tmwlxq+gDlOi7RxCEmBJZEvIsvBHFmVFkZDyxP0UzGLnikAPwxnBnE2EH8cNn8+OaU2ipK3OTEJgMQCyLRbjRo1hr559VLscxf26cEvMM+HKeT5MqBwfh7bZ9StUgNxZkm7qQePIypO2J9iTXwLhsaET6flIOg6iIKF7+Z6GRCUCmh3MLbR7+Irj4Zh9MtVQoR8zPZaYuq7E1uP3s5TeS69ieLqTlSeNxShX+Ztzh+1taQvwji+HjO7hFdbIygJGysjCWknzX5oLiIRSgZIGEw7+w+Ui/nUwJOcDytoEf1Gr0hBHIFQU9Yv0EfUr6LbZMcq0xS3AiGUrW5M524a9HCTJ8QdFZD4K/SYgQofO6ZLle5drObkT9DTKRJUNfIIkIqJ6pDIEwsxTdZM/UN42/MlLTXpGzwcL/hni1efUyLZYD41yyJ6G/J8uGtBfCKKLLdygo479u1PKSjSoUa04rjTOD+mnr43vw3qSopBNCGsipQISLY9ghHMcm7AEUcEOGOMbECk3rnHjSfhtKaox12QecungfHfYnV3ovu+vbpTUYwNI6JWZHo5yFfQnAe/3HrKj1/6fNtJgo8Ed29Rh9opIv/no4GB/6nc6rGvMTN4crJYrXA7UGZLLEWhREIE9wWQiGxpXoi7Z5rXu4HKYycX0WpbjIi/a1M7hMZAN8c6XHJhLriC06/pjuvo2aWOYN+J/ycbk/faihmWjbsocGGk7Zp2jTffYikJD+Msb1p2XS1mAUgW2J1+ygjy6zikxg/PHjjwX17CfQi5PsbnUBkHbo31m5yLE7G9PnZnCcHCsKPeuNK90102CbKocth9H1QBfOKm+Y4LnohvfOH5n+jVnX9/FTw6hRJnLSTXbbtLq+kfCvnUQJ/yHG/HjlSHxtOIY/Xtwm5Y8pVFUn6EkCo84am4WnMaClZF2MTNnA87jNCgSYbYX4wtxXciwER8xHy87a9T0TeAiXYrq3PaXr89vOiP8ksgM1y3n+0ENgtuWf79vg3cwe+8lvktyt8HpsccSwadXHd6MY0/8Td8cvK2qPqp9EPEcjNEamrStcVCHAUkJq3WdGBvzZybM36o+d/KqfZ7FRJZ3xucYUH5qcTWkkgJVRd7yPwt1voZO3LZ72y87msRDtImlSnRdnOZM7X6XzoBR/QbPVQmKxt0QmmNS1O7YMDSzoE8/grfe/DhC/Syk0I62T9IKS02nDrsqUGlHMEAUIEHtk7kIG7uJE+zdsJYXe7slU57Y6oCQJkGAzW0SiCoZ1k9jEOtnvaScq8WlvT4K29Woq9+FGa8z0ooVkGNUzu0xy/o+mJYDtd+3vlEMyttOjVZYEB8+7DvA21JN9HJkaKWnSXMR3B8ev1GugNneGOoVM9ivjMXXtPnVwF8S65PDk+oZWI18zRD3KgpeOpZSuoUoL1xJnI9IwWZ/PZAv8aD0ISFwmaKPpRQQm5CvzD07gpQLSt2GAWcmk21ekrYA8Ez6GaQNFxmrh+dgMe/+YNzTFRg4M5T9Oy8z4GrHkDTb9gOxKl5s0Manro7vpEeGUbdZMIhmCbnRocsLkLpRyAaXpR3P3iHY5eRRsL22zGmzXRd2g5jKtfiRWN+aSMf2gcgYPUH9k9138OT2tqgQqlTbRA8UXEO0gfuv5bQIDc4eFQY0dn+QW4TTVco/rGrXMhDSVoYM6+hERbdrHaHbI/sUqZBz/GYYzccNdq31yWoJ3c2f6xY7i+vR3C5zGtQVhJhUXSLNcLtXyuUxOsEAvlID3155Lf+NGIckLeLI65xR3SmjU9Rp80CbGfR4nLfaOTYyVTA9YdjEFuFAph+fpGa1+hCYuqovjL6dvh6zmZE6L9j/GvpelWvyeOza2l/BlWTLgXPB6AjcWECAwh2MjpOWPB6n2SHRJHT4SpPGRYm/T2XA/pSzvkQdu9KSTcjpW8sLbS3fNEFdER/DmTBlR1weI9LloAoPfEg6mzkH4w2qSppXXbQDZtl8lz0jygP2hsFsaaslucd3uQ1bV85L3vGORIGqQC6tSorcYk5QSIm+Tk41K3wInpWxqc2CchAV1XAhf/SEtF2cd2Yf3tl6ZxNoaanMiSg5mi2JS5DceojnVQrmmSZfgmKwaNrwXxUrKAVIKlYLSsH47PwuffXAOYcAiI58VajmbSvhaJVifDq0S4IhOZZNnAVaBQ8BYz2AZLfKNKHa8NoRveuxqkrF2JSrHshiceVLMUPWxm2k9dSTodv/Jpr5ZFbvPwbQVh3nqWkE4J6J9p1IotSHOp9mMfmDXsuS7IEE+t+w6C0Q2NAG6jVsYNaH5cw0AZsVshENecQcflXsnu0JHCymL5T9akXxrd2qeGHQRxhaTMOgOrTSnx2+UT/Af0ihpP+68kn5w9nKlNUznDyoNmaOkoyRJHf1KynQTEQu7pfGLM7T2BLaob/S7IKJ+jrBtLLGxhgIgYneBjCbvNokQ85VIDD1ZPFbofhnIrcUanDffChsPCyPTPgZ8DSyU2gwGQzhiPaTyTX+5BjHtpLjulEUm2F3TedvYeHzGLexQOdMURIUXwWiN7nW5O1FXF6o/W0gC9LiAMxEX/nM1Oqcs3dRxYZ82FzuLaZz5Fs1FnRCiCD6f8WcctU+NR8KFNkgfgJY9VRtmmJ2sMG6Ra1aIHkgQejPH6gpJ4rRp9mbnjDT76HZqiaT1CfeTFWyA610ImDktzJSLhPc0Go0zsoOdGas8JcMoXKRPVA4uCYSvxRAW1MhuP/ZroI/uuDObBPsBMaYBDG/zACi3Hw+v8nPnB4MRHIPDfSua59G3p/qeVIYcZpY21taD87YVoHbxRo6bOMsa13P7YOHaPumq9BdG5/RjNTFX+le42tL0kROYx5fKwNrF00rpM16+buEGnqOnRAtnFx7Vk4fV7JF5Q/3F6pigGJlLw3HqelfeDBxuDHzt+jVgcinTnQRkysmA9E4x+P8GFN1C6KUI++1tbxEWgSXsgM/3cn8g03QGIL7nsL0aauMb0maUSmST35pjYbnUZ4tCoo+ABFogzqNo9mU/t1xjNBNgD+QeZnrd9xBsDqPsWmICBasmP5VYPxhxpq/4p2JCtnlKKHmh+YPjgSgf/F0I/6aFfB0ZaxJrrnKV+Y+f+yqQbq2/o1/KlDOd4TGPw3wg/wTsdpqwMsSwP9hmNvcDCMRO1aZ6B/0Bbly4P8AZ82ie4mWFMNfBCe2u+zO9acQNJJfoyZb3rw/c7ArTq8CannvaOCSwfAS+T0KPICr7cqw3M6FhDYO4ODikkIS36xeqPlsvUVtWpSqmr+yjIaBtmDINS1iYjKrEeTSNsjOLyCMEz5VIgK+D/Mdueb2yoRrd6u0gxeTcy9S7IrdK73Gb7hrZ7wMReG+ESBvv5krzvLReN0tPULOOSvFOeIx1rpL/raTg1NHJ2ZcWoOg8AxihjZyx9Tp3MvJbEAiZRoAYUbPxrm4C3dZbZNREonpntyCHfAjoGzV67iByw3ngdJwTfSUjm3i6CcWdPAa8t0FhxvYDfmwEuTXxZmVoJ31OTo+x3Da2g9lBaSESYU1f+TgW54Hb+El5MB0I24MaN8ws130eVKEwOqXN7EJDIxc/tMUT36BrmBe8csHF6cUHDZp0erxpfM+ATEWnUHmNqI5Yunr6QY5jL7fkgzm3C98bU1bssBHXoMBoXmOp34n6t710XHWKmX+f08qcqcIJW1a2+8BLGXdc6RgfRbxmwq9opGHhur+4j6IA2amdTpnjhhSA3oeeAHXCjsQKHQT28/PV3BHIHgQ6YIcPoc6O28nhBJR9HJOTofTWMhGdfTHgCA7pFwk26Q4vTST/ZZ9zJpq3rALSxsPtn5RG/hAWHWYbRB1me5M+8EyoKBzM/eL8zNAQXbfOgRlxc00zAICjNfeGx2CwlA9RTR6Li8mhP8Ck0TPofGhI7oU41BefBQEcHTTLdJPMWbgvBZZ9iWSaHz38nxXNwS0JOPdkQ5Pj8nMP1in21/pBF0NQX8lMT1ILXdJnHn8zvq0JPNGaH+KBcyhxEfQvPSBiccRi/iVQ5k961fYtqhu290+RcOcGL1gt19RzYbl0sQeSImoDXYjmiuFNjZh2qlSIeR0n0vRk1l2J10/6eLe8xB50oHuM66l5OA2bfEYp6OvOmHyGbKjVFoMKaPSYBfsVLaR716LLeIGUk9D75sRMtb+P27EIlXsQrIrB+vTcNBMGcghC8l3LBnoRgQc2G3PzCzk8Z5Y6DDal923zkkPkG/llzR98dU5ljz+2nhq8l3FEgcYqFXffOi8dd2UjsJ7wfriYMkCBBHMNv5noL4vePB3iHLwpU5E/83x/DD8dN91BhpFlcHrG9lVjzBnD9ZAFDUUPYO5AiU1NBvU9N4EVY9DCPktc8fSLU0N0NC7incD/s1PO2fOjpX9OloKBhwOdbGpiIkH1bnz3Cx/lqWrWEJ6yQ7UXpxRLXQ4u+sW59TL/D+tJJjzA6n0gB7YT4NYrIrj5CPN8EDckR/r/CSUi5K9IFU4FGAIjwrxji8ty32+jiB9KABm0DxQkRxIxJgVe71ilEVZskW6/+zmn1Q+aTJiwSotXHCyRDc9Jxx6i2EXACAKrJztpu8g7IX99jKJBeq9Uv7F6icNzUEyBGxK7WwSqZq+jpt+nK0w8hlAjerZXLB1F0gBOR7+ATpDISgZBCLISEQZ4v6vXuIFG9MXRuplUoFq6eEUMsaJ4S4m1NsiJObF4SeCsdVdLZb9k4+1W7xN5URgeKx0CpvCV2mDNFnVh8jhurwkaNzL3HkhBM+e2olpwJnygEHcO+EjE4afSiEn6GcOBK3OWDCfvyP144VRWooOscRE/yZIGH4l5HgmBT0J8irQjDx/uSfh5k2EFwPnJY+fHarWBt6mzxWlMQIxwljrz7h3THWoXlkFTbJ9lGEkAan97cCJeWjZWIgpPtGz3Hlngu9fQZ8cMXQxDs579l9apjZ0jiJZF1OCV7JIBsu793itLop1xQj0eaRrvYZmsEtCaBBXau2363XIbU+0pV4BGuhLqPUFYTqHiz/5Z1Rtc9Q9CxCFVOfYDmZuRwMlvhVx52dwzOAXWByTyKt0DVMeMIWvmr/DuDfTRKCxpEf82PrcDmdvTfc0ZLuzoWg8VcmhtRmJ9HNwMeQNyQ9a5HA1/J9ah/QPUsyVulL7ukC5dXGYZJcjtsGYH0NZeIUqlSwuFmi5tLmP08dDBUWyz3iMYD0FaB6A/qMALxXWJz8+tEQJV94thm0kokOb977PnJeQZLAjOF0/rz9qOQfWnviWmv3+e0Coq/Q6uiZAbPh/kFeL2E+AAVFfvJufMXqgidtSb+ru/IE/MigwuJ7ruBmeeRpwHJwJRWpqqUnnyF6S+klMv6xHQnSnCNjPSdUOiWsqJkKRaf5g7qGUpbYtvYxtOU8/TK85sea+s/0Pc2jxtyK2o/7qV5VPb1Y+R9vhXoRS1v1s98uFhcYVbvKR9LdVWnwK9dBBJi/SEbSKwy/Ch2vLws868re1X/k1+qZj48nxZe3CeKYcN6+WU9pJDR3+nOUrI3labmfuQddsob3f/UnNXTebqlf24CF1+9ZdgSZ3yTqXR7j3IOQnlGu+SX0UTQr+NpCgP2GIpOsS0rCw2Wb0L9Yevnr6ntqs1zgVL5osfPdWG17FSG8XFWxpS7uC49NT3HT0YnobLQfMEDK6q7rcRygg8IAW/OwKhvDdJI3MKEIG/GbVTspDIcjenK4Z1bZSU9jfZAamYjIpy5cqkyOzPkUuQVNcJAxj27XZX/AwP7QDGg7mhshedcIZDE3aqaP4DP89MYfalHwpDiCVkuNpGedObGJaSHpN5Aj6iGnVGfsedkLgRDPVlNNdpnItp18uwOgFtjLG7tS6X+cs8a9+wfUs4Fd/FYdyJfKrk2j83CJub9w2dDIFO+RdTHa0KXvDbNDevEpnn7N3/EfRjj+7UV+x6nxbrGWlDI1Q1XpXdqbp/4niKfT/UJi9MmeRb3/DGdI4bOv2Aqh5EKijIhgDbn6peh2L+S62xC/tL/G6GA3TVehlG7pykJsD5XZbdpsTFB10fHFrXIEkBCgvo07bw9fZXkY2sI6B6HzGDwEN9g9kTMyggnjSy7CsVV8Sy2HkoGvVm9Jv9Vi0LF7S+CMUSgHcSBpeiq+dtVy3rplu4kNt9SflNqy6PshpajbWIS44mXHsNvyT1KOcM291If05DdfURpOdevIWiDsH8H/2kjGQLMudVp0c1sH5TCo+iFD8r6oc3FhJF9/Ny7TeAKKgOlPugMyRar9vxCH48ilZ+nU6vqJ24KMnoyz23D/61sf7Ah6OQPh7pHdQiSIOJdLeE5RiCYhLIBaMHKtzsF4X5AvEt+ooL6Ae/x/C7aQBLVKEtocJkkULH2EMoID05F99F0PJXL6bunIQBUQcpnR1q6aeXZ7qBeFhuh6Kx281UJ1FsckKhYB4C+RifhC5y570TnoLxFQ1dQUDpvWm4J8PICHNNNrchrykZwCsHqwCHMYM9wqkwIXi04Z+aEV84UtOuUTVIMdLUgAtZNshAtZNnzeZXsTEB3AWisr8HVNq2pysSWRRsNd95Z8BLumm2brR56IbdZVbcitlLksjPg1KGr4H2co1SWVsFuFDsJoer6Xm8kgToTbP+yVSvkAfKKJ4/l9NbxnlEbonP6osA38/8iitkA6fEelA2NaTyYSHzYntFQFlIvQjquClc6aQ0Z909eF4lNkFkh3IOafMDaqAqwpoJMinYzrKHHqWMXWxurCEh69eBelgLOeXXS5EN+Yr0w6q3a2DW0lIvuImo6pYDIYCNx81eU8fY/sDjUlUu2QJijJlFDPMtWTXNRjV77dwrxKN4qlLN4ayI9YzvDcRG3t934cc2CxZ8jXKyB/AubO73chWBEPTLaDMpDSrucusN1TbyYTkOhMYPtxUoHfXVoEFUA2ZHpv9w7mzyYB1X/leumkYPCWtGrQYAQGx64S+h06OrBrUR8GLOo4Yq1vKg0OfRqR7dnCzT1cEYe+T8+8/QId3jkHBddTpgoiMex5Z5Q522Oy6pYh2PU9bmAy4ZYL+IV1N7J3PfaJXpZnvQM0zQ45FMRLtc6auGOwYvgQ2pjdJuDy+CPiopatUrLbG1qavs73MHYgaeOuavnxvvduiyKzrYVOmYBlcQ/OxdsAu6ACA2DPGaJjOdRyk9GVoTGHCs91gVhv8UjZMJEAqWF388Tyjl9+CnKlxUx7gEQvIgFdLm5SLE32tLFV1h2RU94H8vANVOeyowmprKKfI/K0ansihBxermRQkjce0qgM4O1OVzI8xItDv+V6RTZBNco6vROBF2iO454mA5LFV5MkRZB5eSW5G13KwziVn4VKlECJnju1/kO3rIUBdqVIA8lqzfoOAE9EApiUj0E18KKsP+uXpayXQJITZpgavws+e1O2YO3jYjsjQoPbLRn8xAXQOAgzER9mqQt1isfNwMiIYLl1Gai9Y1T2VU3v13wTrA40SmiiM8ainQuA0HX4QL+sxrr9HOCHzPdWOTyA4haIU/vloN4o/QiMZVh9sbiyHj0Ch4qjnIoqybx05IhDdYJ1WNllsXuAtIl1PJfCNLYJbtEp8FeF0AaDwwfdv9xVoZrQKb4Dfo7AeNeLYOkL804eMyopfcs7mFgqi9SVwihQxdWzkonrOgp2fbbUn32jytowm3sEH4UAd5OV7NRf3a6qlQ2baJuoNsTSbE+e34ITscxDewyh4F3hbvAOXwEOKGJ4ma8oULnXp/rq+8lJR1BPKM3dqeiNz4DPLgk4mYW3ptRTeHSj2bOjKq+2A/oxZpoTFZisefdXEz4FxBPEhtl0TEcQfmzT8RLV3hGitjOMMcScHqWWwkRKBQZWD72BIzIxOpKHZZ2qEAjrKURw60bFs3x+rvnq1NFc/T1OBJynXdPABtJSWjBwjP0SY+x1vS1MZFmVwjj56isJIHCrpXb8XjZpMLPGcLwNoN9IYIy79CKwI4b4wSrBlElLaXpQZB5NN4LIwp26O1LQkF1CVILNCBuPSej9eEdHHXaWXw439Q9d67ga1X2sk2ywDlQDQqiDgv854iPsNZLyZO5auD9KqKN5jAPjwTJp6S+/eY2L0cYAK0C7T6fMXPEMDslcBAWHQasU2oe374t5kakwIYvCmZH5ar1a5ycS97EDwJ73UgOkxDaSIodFalia5SbSicCFzRNbZRB7bAgMtuGK9EeE3Aq71OBk0C1NB8G8EkA/PoXNrxwqfjv7b5/mHV3ZmvNZVx6ZEs+Gc/ryLAijoP5MRBjUnvV7taloQTFOjMB86MRrybQ9J2nlOnMIybEJQofup17BFP8pUtHhfhKw/NMKdyMRHJHBOhpXZw9EdznpU/k3dyw4r6oiQhX6XGGw3mOIKM5/FInX8sRCU4Mzv6rbp0V1faafWrOYFQr9HOrtmK7scf1nAQ9b2nLZqnNIlmd/8MfTg1X/Kl2nQScg9DmJMWa2BPKBTKNzVZbWVLORvwoGqjMiGqvo5yTSSkuTFokELcQTUxDhjx0P4S//HSK6z95eBq6ceBX6tLr2EdKUoqq9Pf2zsGO+gw1lKRB32J6eUeCr/agJ+Y/wGgjC48Odk7TAd6pHmyo2Jt53xYpqUf1t+vGmG+RH8ekRAq3CEY8YJr0K0K/xu68u2OPfqeQtrd0w1l5cryBJEmFvVs5argUHEcKTgtN/qSMQ2c+9XeWKaIwF35JgQ/MmECOjtv+b9Luyex7rm+EdknP1xCibJq4etCXw7Vty5dUHSQP666hQQ3mloOrgv4iQZD+BuU8zrOHUSuvu3UR5d8GLdBHXTnvjowwfECd/oPXlbHG8Qqon+hlSPgRa/zeSmxJMKqq54RMO/EHtgq1VeH6bPJk/zvhNgvaUOHHlqVkseygJkjLZv5pqEKtPyRcAa99piYQD9Hp3cpcF5YQmuilShlTRLK1Sp5OGzCOqfiE2PQdF6bnBURpiyOZnupbSjBC/J4d+THAq7M57TKBJ+5/JbOc1D7qRM0vZsQ+L+O5hj7zb+E9tS7H3E64fLFEdFcdpI4f0N8S346R02l3O4KPrP88gxWFtkIbqOFfkM7HSZfgxVN56Jotz7X8I2cTzNyUDQZ+d5YVYflR8ulOwjiIgzvRx+zDQKaZNAZZTbIC6IvyYdV0hNnINCxMpYn6Xd2R62xyZt/Pl7nTg1S/TbXDZ+czLnjm79eInqDQCBGFRdwjiF6RiO4iTMQv2aJQ7/5DkMeqiLom8JXiCFqU0kCJA5GwESTMeFN0c0g2VIdxoHBAaUsKyB4s8rBpPoRJwgxVoqxbk+xvDXYlxJE/RSfGIHq9tjmv7JcTVDQt8ejThRFia0K1GlBpVHV2vJ1BKmBVAAz+haoSCXKRdRxWudQsvtBCSbdJe2zmTDsoEens/XTvosQWoPbqnuEZqWecvr+4V3H5YQeDFL/JW2Nl5XvYW9uh1ea3wlMUUI886IVx926SEigAYPjXvNa24zmimixlIPRogXtmapcmITlDAJ3qCSkWSztmrsQ+RcC93Lrx9lzXrpek1cNF128PranF05QKMdMDPHyGrTPgP8z/xYL6GRWMXaED+j//Wz+BiBsOHe9SO7iM58oNcxVIlxJIKS5rKBl3+O/4sQK9nNPMry7RYQEdoBULEKFGlTa9MZyJg/afl6UhJO+DaItK3NG3a894wsq6aw62KwJOGvlpRk+ZSdw3ok9It+pKA2Y6NppRUNBmrZGIOnlKfZeT6VRD+ugnIz0K6+2ZKdWqES7aUqc/msrRVXS7lyymRAFNR0MuJiLZqvQkLzUOMzAsa1uh3l3F4xdJ9MIQVRti1o2JHeFUuSea+JizERyX2SFB7GUPKQB5DQVLTfYJRi5qP8MhDg9UPRUhMGb6mlOhvzUrW8D6eh7aIH78bsAA0VnPLVXG8fSBXecMuVBUjPguP4g0E8O+qMr5VUhW5BQm/mUs5XfqVho6+uoAIAPQEdeurZnfrBWMUq8ZbTaS6gb6QEzSeiZGN76Oai7ZMnmkm1HzY8I5aZClonK6Arghm186lg1J5jD8cBVl3Er/XXdoKUGHMUY1D3fUwnZgfrDpOonwqbwZ/vlsO2SB0eCkD/LERY9XL1g/i+oRI87Ssq6bY/lzMM4F0pM1YGRTlZURr9RSS1fY8MghNSEwClTYXLGjQkV+owWkguorcR42ioP5fAshNyRnyeBrLcfOtHVhrFhIJtxw1kaRgANt+qfMtj49vCEiu4TPYskrlAzJkEV+fV7bjfI2BvUf21YL41ozvxrcn4C4WpBpd8lU8EV0ot685F+E8/2QMok/Gvzmr3mYbtNvMzlg0NlkZby08eMz1b3Tnb/nqur0K0pyDKeXLrm5Bl0iiAwLArQ/6oRIGgB8yQkb4EEIdbfBdbmnirKeOJ1L5FrDIXQarefwdzpyQft3MmH2v1mY9VlZZANXEAAklhLFTr99yRM+onW0Ck7+nXR3GM0YzkcejS8mwg4tnOwZID/Y82wPyPi5EQZmit7RFwcEj9btxWmZ3RX+nlO5V4cjEkC9q4gAHQUGQ7LNjqjD3wGwpIWUUdy0luXcJeEz4geVyEBI8+OxGti54Afr3KJEYbVitg4ffNtPbYzn3AuM1Ys6/GO/CINyZfgQzwbMFcjsPS+CKYvEhd1uH9ROi9468/McGwiUNzXrylMvDEN6JyQWg727ZJmSQygO2lR2G5kI30bOysGFsDQIFCgKq41SZilDffs38HVOA2/O080TinvMcupjrR4cNLzwCGFfCWon1mIA/I87z7RiTOBPyWNSuVnGsV/KwQujgO0+7T7odOgbKesFZftuhOKqLv4o0Qfz7oYi3TLLvmz8wDprfxE+ZlFPbP0gLZYslmg94G/Ym9Bljxwd55+RdNtsYqndOtmsZta0o5BxTuL+ZcRvt51MfqAM/+kt2O7x0SI8uVMm/FqKR5Dp9+TfLAf7reJ0hW7YU3lUEWYFpiTzzWdyvvfL+zd0BbhNgPq/etZc8R4rFhw3lBkdmWAz2oKlndhzv8RgXun08qNYH4D3r1VZ+ZxoUzYRt6TPLw8yh99pxrbUWhlUZJ2fi4Uy4xdXccmvROlOXrttnmwlg2ZRU/cfmB30YgbAz6MsB94vOWOPeOdFAQ8zh1TM3gtrdqjlk5sghLHgg9gueIn+PXI6R5MgGiX91EUOQR2Dv0L7ns3ZWZMzwIWI+XrsBOvUQA/bjnNCup42PRbdETsaI8Am2mMqnhRkSuDlPZgFsRGcoT3kMiKxUx5uMzddeAnFemMUvEGQ0SpegnyEWKJfjNh4F6dxPZmuqVz4JUvDYpENRkMTOg88dGICAsuvRz1s+CfOzKSuZtmzJzOv2FyMjhbmmQ5BbWHesLy6KK4/nAHT6zkHoPuVnZHZpFRJqiJ3C6lS0YaOKr7QdCd7v8AtwVBk98eM+SWAoggrWOh2sv5OSHuoaJOqc5AHdBP9+Y0F0/vsWMPaC6KieGFZy0Acs70nEcT1LKKBxnR2l7IykP++RJt3ELxxdTOFWgmJmJLssZPEhZ3RZoi+BCit3FGjDEjOziIKSJgWL2rW48ZiRN3j9kpBvPkHolpGjZwmJ9cE1CgEKROfZ0mPu5Gs6ckf5Y5o5pW+fObDN7f5/rYFEJMoIWBbocehxOpLbQyNUkzXWIekpf6iNQqp4EGTVRhPRRQqHN1gqbQMBt1kmNigaGX2uci916kEDj7LFAKfhKDwzqz5BwCRjZu9kIq5h7yzKzcY75ay3b2AuXeF6g2QA+RijTkToXefm4nz/LxyD0pPYefa0G1J6QsSjTets/uoxG6N6CoB+B3AZRPVgJK5z8ywcl1+x/mzsyth0gj95q/CON66YQydj9sMHA75wjdPU30U06f81+nzY5QeSmLIEQF5HYEPOaQChXnd1Is83lHJiVDC6yT3pkfwVlElGVO4P9kCJtEkV9J38TgCDLWkQpqoe9jDOwpCux8l5Wp5RkVb2OXf3Kr4Sqomn8ItIb6MB0X4xo0UUZaiCQVtNGWkSa4uil/9ULn3rtIUXAbNqYYDQC9cIuoTfsQWSjZEMBEeFPAkEHe57QygCMQ6x720BvWuuKmNPUGMvJWxm6rHPSAKBZjKKqaI9YzGgrJ/+QzhA/u1h1zSWdDdvmZpLlMg2u4Eoe5GJ2GPH3pz+Vk5aetCagtysfQCHOEkmVQ4OIAaPpyey1r/NMBdq51xjHRtubgBobPsIIzOG1jetkV+MPO7zI6L4PBfSBUdC4HLtmgQ6driqF375ReDX5B5UC0akV+iH2u7PjP09hucFTMpuk5KSYJ6Gp58kcjMNt+l2ZbFJsAGTWbbMNze1XVEu1rgSK5p5nq+gXYPhEU6T/cz9TW9QCJAzPa2iccToWI3lAZKBDlAmElTdF2T4UvE3iqRC5A3R7Z7ZT0bLNcwp8oTPcoMf+gveWqxu5kxr2mlnqhJgowkP/gJ4tk0JrnBK7VqHtitOo8X/WagqNWC1RERljdsAyxPpk2XLSsjBykEFeFOYahDwgoUf63xhNbCYpEpu18Qy79XPrDbe/msQJLkwq6JZ7B0dvjtXAzPGO8E/QIjtNjt/nVS4nHX9MoRa8N93gY4q8LxL9gI35ybO1INrVAu0pomBYeF3AeWDGq1B1AdDK4rYHkYHTDG2zNffp7yW8aOMkl2VdgkpGWa75LCMJOs8Dm/Yv3WtO7Xotmaryzo1zdNijXMqgG+vIzvJmB+oE4GOqhhKxoIRHK5eMqoyCn1u+793fPCEadf3J9O68X2K1M44L1mFnRPy1JrDAgYc65pGmIacIXpmrWA7rm6o5mNyAyNKAf3HdJCUbV86ETFbsvwpOM91FVmpox7sCQ4IbnHli/FXtKeqRSqdE06wFZTrxMQUwMlWMmUZYW8p2S0KXTCYylUMfCNHQ2loPChLDMMIhtoNdlIFd6DrRX+he1pp4REBZJBE2sonuG8vjuRnhEF4fxUYNg4QQotGYzM6Z3aPSfWLWsWvnvilfSf1OTAoZ+ZteFvu6nnFUsUP8QW00PneXue4Nml2By+NlgskIQ4rvGHmpA9ZkvY2HossCCb2SZgYI/5AnpAqzVMSRZ5y4NbhhIbFXHu+TyKBqpiS1xr8h8UaD6mU/b5Lpx009ypNf8SW1/3FMJzBQxB6B4tVodVp9vo323MH2lbCTauwkgQSdHGIeeCjs5LV180Ey/7K3e7WYVrZBj1gNj4mayN3V03uNXHzwRsCX9SbTQQfIT0XKXmd817f+AAyhzx+5hGbupqu6MCJW5AoB82vjz43AUWZdR7YGyytdOCI/2hK+UI2te2Gw4tTg1hDeewnk1g6lbyCj83pXOgiItgGHgML6rb3ndHSqE6CgeBGs8J2msyTSftEEPYC6q2XAip2pFS/bb4FS4Cf9EAoeNBWwupxwi3YUuIrkbVyKqf3gkqbAiA5Wi28kU0UNErPKj2+vUEN785U4Kqg1elJPhb9DMxtGvb6Gnf9kg1BbaUi4t7kGiGl+7gpdJ9Eg/Kfrod1JCitIVUy9R2DEUB6Xy60BmitJ0WBDjhC3Rm7YLgczEMvZ3ui7kThVswrAh1dQ9YfrGqRSpxj1BlDfAmVBtfY4gyZSY4V4GYni8oQDGniF+xtUhKsHXRYQxHfYL+AmnmB6O3fm75q3J42iQh9X9rmwQ321r2qFGbFk80p5wRNuuMWYBThJtDiIV6kTuEZkr6edt52VT2iQ1usWEvrrQY5TDuRRhMoW9n3W84NjbkTef+ZS+ByjDg0X+TaZ6c1lmfiDQunt2Kfk+d2fBGdRJZ2To0Jwy8IT+mKQrUrppF2DfmX7OVm4uIhTIzV4LwcpW4NFV4mDTP2syFo/wW2gNOcA9aoLFMq7tM6+aSXoCcOLx5VUI4wExe32i55SMoeZKloZvZhVoIOsj3CHuamcyHkwOwvA7sBeE84NoiAO3XsORqte0Xrzj96skxUqkAscohz3gZ9wU/idyNkJ1OHKo6NPTvTlFhgAfMuoUputchmxMQLGrm/Wma3mkn9ZJPlmnoiBGTor2b8zhY6yXDda/xHQSDoy7+J2bX/LQKgukq36u1j0ZOfsv8VtoEWOf+zZtlSExp+A2uR23V9937Y/WgYC6Bi9aEQdHvopYOpls3iIJkLpKRXPhExnY6qC5/EK6SlywoqO9hKLIH39G2rCqY0TwqTDNeb2Hk1vz3HZZu9QF6aydJ3SXLNPbsg/FDuV8nDkCwK/Bc/fRxYKpQHkvnaSfwViExLN/RTr7nues2iMUT/+og9BQK4C+rt994e1hpxlFxcI6Wj5ZTwkGCU6U2ByogmJqL1f5sPtFGQTyYa+3JBv1Jwg3azLOydMbzZaBcyYiPk3a9MVoN0XMmK7fY/nPZKDQ0mP3EZ+MixJb0wBSMlyQlYUf5yDPEf52wZ2SL1vvo/iU/1K32/Sl3VyDOTu9HsCjjmIBFQPqbSQHrUwHAKbjLz/4w9aGa0YObOsW4NIaeBUfirxdq/QAMepTzrecHZI/f2E6g6ojrv66xnZZ3UU8Tf4PryzoK62b0wKbWYwANSkpcrSFRVi8IEs9onIebz+qCHsnPmZ6oq+9T/GOel0840bK3qK4AqjyL4tUX/Ja//NXkk8ML2/OscUQhct0zG/bouXs+nbfLQaR+B3q5AegB/8BfZcwpDeVux2eMnvizQnCJCVWn01lM+hT1fLrjfhMCiCqH2oVjoETktKLrYY0xbKUsi32qRy6eQWUlwVDqXhNBkBd6DzBXaroGaN/7ylAbO464kcE1WEPTCL4AAx0pKrAwobIfVYJBR9BM/zVjVMhNFzNfnJpNIdr0ht5cCeyNuCy8aF2c1Gy+GnyRYqM4fSsP696OWeTGGOzFAdWLXgaE2vuMzZj7R1YhW3dVl6QRIW2aLUIFFWQ4bk+dtKSmG0DmRmQfYbIA1Wtdiwef8BF+o8cPEM+c77B2WJRuqmnOwOljeyZrrDURLYX6mp93MiaJYlenTHW6BbCHyXWoNauGwh2ljIqRfXSicNv7YQvpKeQhkHPmAFwMKmtl4+PcjN+N501pg67cZUAThGW+X2obY9OaOG7txd9TUg/iZk9O3xgiFwKNFRdhiDGQeevVvTrfuBoqBoSI8uHzRuYUdKzpBkEXhsc3VvboTZIlfnHr/ReK9CNtCbapfxhoXIzC2vZhOLhkgS+blDa8uF2e0kwJD/DxrtmYEg+FjrJEfu9qWZ2PxLtJB770QjBzWCO134azBWmqsjYxWKRVbtxU7O8k0va6ABA3R1I4eTfBKkpRG4OJTA64LDmU6wG3BJZqjoT8Dh0ib5lupS7uLIMmfbc2mbQp2Mu7YPtNd9qS5iCo0I44LakAudVXFnCjwFPQcLtmU6gfcRo7y1DmOQ80FkIgdEHwxsz/BZVJRSF1J9XxBpoCobfIwIx2zkFaffoOx/rY3PYy6kMGNoPqfKeFLjYJEJau4/ab9ELW70cBJsjEw57SOTnmI1vfFD39xlon5UHUGkJlf0ZqqGss3lZfiE2qCaX2LOJc5tBAPDJ9a+k9ToDzRriTECoyvQHHUXBr7/EHPw4NgkXxB0z3Wz4yozTfmFw83cOJ9c7ZsDLL2GB4adP6F5wFdlqEOW2PtVUTFpXgplNTrMUBzbbJoflmrFdduww/iGoLaEQZnpIyC7/+XFm7s3sx/LeRdQRaVagJmsUe1HTBA8ZDBzPg4CdAyjsfE7tOZYURjiPdetSmP9d6xnO2FHV1Fnj0s8sy250/QaKlhgAOZuCAAev7pshRERyKKlsgvGbLu8uSfvXVRRBnbO7edqbiZxYhyr/xtgObPbxlk4K8OyrxKmC1L8sozmAdCM6ttOV+LoflKgSMu34xS67gwfEjJonaypl8ge2IDMaUdJHVnkzG77MCDfQCIp0gC0orhCWOw8dCM2o6L3uhFypeVHXlYFqiudtzN1M3+9GeSDxpijEQD6S3pzl0sr2e+G8iQpa/798YiEFP0+5g6YVjSG02b3ccRsYkyEgd3W5bR+l3+vr8vVQxmqPPI1FP984zUaMWQudIIozdyf1/xIR5Y4+5nkKTt34ihO5BoGdi6I8H0xr1fJHaKgoqoIFr87GA8PU+Pew4OdmFLVPQsXNNNMJXyPDezPTvxasbiLPgTyEQgtJ5ZqIkgLgKmHG0LV6yPJwiY6G4LUw2lKGRipfW7dtK5YgSFc3jnHyWH0APJN/hch+jc3216TF0MiE7H3HzWeX/Zer5HXWZJ6HwAOIN2eifzRK10GyTIiTrdTSmU5K9AFZqcGEbjjMCohmpaMrqWtlvuFc5o0wCBSOXiiAxDsXtwiwOZse8OjoRv79eo3b9qHHiu4BSDVN+pFt6qwuwPSSWK2tsY1Zdn7RyF6aqpX24H7mplW5fv5tVoqNLmaPxMsyYkZbG3GSSPb6C23egYCc/bIbUVCABvRwUiXNueX/LzxydbmlIAZAIVgJxeiii4pW9cDLzq0nz6zYThk2ssvX6atDv9E7nM/84aRSVnTTdFewRW+q8qNTz4K3Oqou3tQgqFPlUpcctUsH8XOgUBCiHb5JPULd9P3c7sOAq2wVig6TEHuj9frUMSF1mtiNQNPGT5NNw2LQ86XPdWbd+mY4/Imy7h+xmxDeGausxFXM9RMnNrty9F1gO6kLcV6uBANyg57YHszb2AQqSlV2TgV7kvxTuZk4i8OcGgecOuSTZtehVLE4jFofU4ymWaTHJOaL6eQwVcvSuAZ3s2oSQUJ0nF1CGI2LXpBr1YQFcSOUUDzyTDmDjxtYlZU1pm+ZXkX+9tRTBR66ugNoZyJb4iPkhIdhQqpReF/pbmjg5bZIWmDol7L9vvJ0zHfrmPWmIfnuWe7CYTUORzGicnrJjDHqwTbYlRG4FJfUsKrZjytAELSLOLIXgDTaxunjn50FgEhLkFMTwxlQREX33TPNIVTq9Sz1aOZPMu0FaVHWg+oxI71PMlqT2PvPMOti58KKGMYK9dH+xiBPS8S9GOGAjRjaxuS457RbkzRabykVlLRqa8YvRIHixSrIk/T8nsSYb8ujB4IzVUE4XDGje8LUXriehRD8WOnCbS13hqTMnJzwbGGVRpGppl0ymt2AQJajybDbwvS79jMpjrF0pMUgE4zVH44iSZ6PUIwPpvLrACb4ACjqnYR8mI433RrNwOZGP1ANSIIhOgvjqjU2xH43fY1xUiZGxPesGG7RjnJBYh+880JSlcW2GgQ4+y+z12hu+MhkRUOTOxjUVczeRrhyKXnx877f3MBZ9IkP8lZ+2xPSrtzPU1aojqNApGChkTxpb550VUb9VRP/UizSnbay3KnKBefP9pf4aeRk5k/YsScaqy+X9LB4iugT6BXSf2hR0967+aspt7v+A3i5jFbuYeR/a6r5L0t2CkPHA1lvuXUhKFnI7eayzLgIxF8IxLttaclYhox+EaBWtM3nl7VmbNnQNv7RDkMkVIgd4l8Utpw8KfTGw4JkxgUIudFoLhko0/UKMIBp+xcmdY8ZTaFtc3u/FcfqKE4cPY5bwupoDTJxRUeShXM2E1etAZmH9qZelCDLgj9yV5F20lNP/WBN2zJyX8fjW26fm3DK5DnTx9pC4VKqbfzTnJYTpvfQE+mbP3LGnUvmSF3XLUYhzNiUPKAQEDus0AwHGNVjh5UsUD9dN7RUeli74MttHR4OB8W4Vubkf5kImZdYNMcWTs5IaX7/IG9+jFn+rsu0K1co2jiab4u/5TUiqw4TCGi+U6OI05z3QY+MTbLrxYskl7Mpl3Z5/PUzbufzAlgdQgAXlIa9i1SC36cPIIAGLeDL7agG223Tx/8CMc3NDopYQh+jLzvjj+bgCHpHzXx0e9bJ7yAKgHElNPqSrYloAbxg6nVT1UntbKsPxcmrrIvQcrsSHFd8UfaiQ/1cbvMaRM7ere5aiuqKpOWlZtX/47796KQaJPlPtr7veKRUvnH5pC70e5y7Nkj2YXs0hyRJd96sVuL+rAOYehDWSyfQROh9jF5gp1Mzkvc7VaZGsutX4i0vPMiwfk+hE7BqQfuS4FSe1vhhslnGZY5n+CWe/YxnlLZ7c96WXvwsATE/w7iAFD6pDEYbJZsUVmL06enWEII/GM1Z6X6rFp69+Y9/e/nLrT2XjLNFL8wUsD6AXs7WnmTilKeLxwo+2KCSJOvoYs5pmqv16CNKHqr5BITbkyyZ3uaWdjzZ6e1iY0qxFgfCZGru1sDBzaNocAi8c53SQBauBWenksFmnRv2ead7yS28DqCwi51BgOBHtRO3EDv8miXouIsBxHBQIHRSKbBy0BcMLIPA8T4NyaStRkoZMj+uCq5zbV+8ACMvtY2gC4bjvn5vM/oR+y8QTxglPVC+5NrtV2GBsw8KuM3jrk39rzv0WPO0KGdzyxN0k05KK2M/MwrEW1zTRLVuUTn0fO/BiIZC4I/kaw2Egpl6ux+MnL9OD9NiPfJXQQLP6VbHHBIA7AqRJIBwBZT1ulnW+uluj1qzDYLRPlpeBUx4i5mDPTq3CjcaIOw8wPVPrtO7RyRa3T1E7ZhV9L9+oV8JVkAQw/PQVa83p0v2b0QJbcF1H6arMllQ+2CMBtKruaU/vgDbS62Ms4wxBnZ5sdXnapk2Z7XRiGyX0llyAQ4nPLIWMyFtT43qWO8OyegKjKGyIvAejERcb+Q7w/2tUn4c4jWPnIOEQHPCR+mv+WRYdupincdr5wjXUdNsoxlmG0x0lbSY2CnOA/+pvMpFtL0L+mevdz5B329JrBx86WSzd6OFENCgq2oR5JIjI1GKuGDiLV93w/WRADlCls/cFq2lLqBM9u3hTFL0SyLtP4JuEJ4dK7N5TnnKd0ayXIgWVtHNclugN28gSSXKzmgWHkAobai4P/DHsXA9vWyh3Kzu5yj8D01fwFFar8SBUbKsLtwd5aV3JroNOOUEiM0dWcba7XS4ntbxBFgjJWVRJ69MH7vDOCFHyzumNDZbo3DYNpoxXeT3gAmYjyGnyAlhsejrXnnFrNBZKWH4aM8FqGeqvDNgBLxE8NBv2CcphjRCr6S9rM8fh2knyEaZpn1L6Pbp9/k5iXjm/+PSw6jl8NzN3ImnAc6Q3RDfQvMs14Y0x/EruA5cpWxJa7Taas83WZ1VzWTxxBXeIWGISNIf1Vf4n2qwYW+PePpBm6p7/GGgPIIc2c2bpRaXEBx4KidEF1gB7Ve44Smm77bMEbnoHPvJHknHHKvFh1pBbpy4n5QDAlHGFLrEaSI8siIho/jG7FhxTE4Q1IG+ucHoSz/Ilrs65tGX33TkNlxuzsVWuk/rJgvP6XvPZahFFysmEmrmMeMfCPU/wNqaEHDzJAPaKTyuhzvCBkyboLTwomtW9kRNNjkj3Ibv0oyNRJWzHsP/aXhvWzWoznuHxDttUn4l5ncRrt46VTth72qD38WQu60+2OjjJ793bv8dO96RzD5nWHpzfCIXARVkN6JUNS3ZdFsqssM1o6emzYKRlOQuFqMJRWAPvIh/rukDE3VDzjDDuL27LBx20nJm+LiMq1+6AVLG48XUYh7tuwUaYJm6gr83MmnxqzFLBr4uoluBYwUbgJ16aKSzjiUH65N1XvcEYzGG2kF1cebHtuBcr4DftOe3OveCqdqe4RTlE7FM+uhnq9+7yXIlnxJz6QUUtmOI8aGupNbPQdCQAHK/5EjtDQjMIrRBYXikIqeap5Skvon7UTOgcWJnlmm0R53MnS3dD8s2rCqKsC2nf92T+C8MnbmhT3YtHK7gG4D7DIXTp0IbfU4tU1LUVsHqOXFIVGjsiZqpevPJ/AuD+nJKe0eXkQmIh++Fko9YFhcMnAZSkuF96IcimXp+6gfuJAEwTUON6qmt6Ni/uQOy/SvyzZaGJgnh0W0wAkk1VAEkX9vZB72h19MO9Swh6iznDFk3TQGv4SY5nnu9z94j2vXf1f20yiG0vzvcd+URrbideSJmrq4uvTkDHYtos7vm14VOoMfOwAiyjihx4QAJnxspLMS3jc2OMR5tAjaKJTPHIlkxgc7J7ajDPIz0IImuowknPzqDHiANd21zc3yZYAhV3sJPh71WoIrQeCkJyBafu5Vbyom6t0qROfRIMD0bL4aqZ/6vQyolsBrrL5Lvv9uZ5k4BqSm316sZ+JO/jhrleJ3iESgFBImwvlcoFgtVo7RLhvxu7arR57ctLkrrN27vGlmclHODjEc3YsQoJUh4VrBgUj0sCAnqTHwOG2AVdAfL6A8Tf/MrTHBgPtQYrIuzdSPhOL8zL/IHFAeh6dH0HtwJvBxdw3xIfP7AUV/lHUH7VnwCK25ZV3Ryg3oJEzJmmECCPcyOcRmKhlFWpsYd0GxeGf9NvK27JujfH9XIM8tz1lf7VR90oWcD1+P/ZKse2MtSD1nETk33eKAIGAzWM2aE9tBedA7FUGhm3/EmHwpdcU3hk8OQbVu0Qv337y/aPBTXh/cwaRvZgo1NEYaRfYCMlGvq4AiOjkOao+7dLmN/fKO/NymmLvnMH2MqlLQgGP8AbPUqTjOKqLMejV4I/iE2HXra6DntRsrz4uLjIDmnFXlkeNauIY9te4mVZtYc2Irk4Gtal3wsJeVdSMRyX9kS6BNn0Kl2qv3FU609N8J3oyOAJ+qdeUfVgeoOZQTY07zK+UwkL1FkGrFWIPFPnKxvVoN2rzIqjmNs9WZ636br6iOJ1h7u1vfkgOfzR6xIKS6kJnYXxfwKDtAphlSDA0G8ihiSo4fgXaLUQ7ZwLV+8KS3xiegmtCKoDy23hIZGrhgS3E+0VmliaE5EPAzcKXOPg4DxoMx1ICGFOxAFCXuPQWdEzmFHnlT9yaHr1a0wayQ810KTeaoCHgipR1SSC4xKx/wcmrM3oC4akj5RlmtFe61IKkyQ9vw3GrV2J/SkV2ucKIT8/O0fmHG0izB2MGjhBrAPZRmRqaqg9c+c+QzaNwpnox3pLeqHjd8jlWaFlR92SFvPE2fdQomOFZuoVcLFXIgMyfenModVSR4C97lhjqy8qBuOqv22olskaJdjFJoFfN6EZqNJNS6kFa4vldw2weRYQhDBBwhT0vwsUnPCgjGTKTJzAeuMWlWXHPBU2TBf7CYeviKOKLf5RFJsBMSCayC2/q1Ka5qh8BQB0PKDwyp096nN/9lzxeisjGvOvdKzf7VCYb4nz2uZM3bOEJGBXeXlhKEOl3LcHMCXWaNWBz2+rsGgS0alUrqotpbiP5YGQtS+sPkGDDJQwULJKirl53O698NNZ+aK1msPgBGT0OGPyZqDSlv+eE5Fo7KFkHlDN8/wQaMMS75czdAYHob0dH4CZdA7j3ns49yhYrQhWIRACtO/rkcKHoA/gRefIfmcHZQ+ztNMOVPsz/FkfHz9QtUkwohBzFaDBLkcl9GhQ1YbBXn1Vh1IT2hscXfMqvWG/h6a8JqmtWIUoXCB1Shkn3EAcCDLOO4C/sUhf/GxePQid7ePAgw0jAoyjSgepKIHwjERFYdyHtJ2CbkTs8Fdu7l0WUahtDzz8klPu1whC0lJvwiXj40UL8od6vJTPgVzngvrXqfj5mKu0CIJohLXqV9/37gxsiwLDG00QN2E6OzPQaZm1roAxnhrg13USD51DQ1vzzE1Uyy47XPPR+uK6N6QHOzFElxfdlV26FvBXUzLZoWnzvdxqDa1MOyVgDxgoOLVOtmQwHofdIJPGHMKTj06QZjffiK+AVQ04m6WKwirlwIZZmSPnx0aiYN4OWUqj2c/xHMknRY5Kq9l79KY2vS1TP7MOWdnLm9c33Rctn4aQQi14oynfclR4eq551avK3+tIe7GcXSfkzDWLOLiIsScdhJ9AAHbXrpoPcA/jq7q6vQ/JDR95RQ5FcJ0CQbMjzVdwX1NqHJJD7fS8CQNuZYDqsrXgaEfqyB89aR0gm1j+JQ88DLw3wyKll5loy9GM0EMO+yD7lMLxXwUQiWSBmgHQfZxZj3+iJZ/SuEkIjmAskN8jHD1mSZEGhUa8lyZnjn5EZZogCu+tbpa89b8dzKZgx9dlxA4MTWlTTeY//Uproz1IRADrf15MqyhdEE4tAFGA2DBHtaOIoTqcps03wdVA2SZ/0b0Mf+Xpj0BfFwflyPGZhZKulPU81plezyD5Psl7vqd9MiXVMdNJgwFnRjgW6T8AgO/2LpBll8ZWnIIORV68QXd8oWIc6+bdMT2mH9UwyIGUJe3KRAmXMvGAEjQihqA0SFw/fRx7i3TpMRdp1pNbixph+e2TImFs7Vyvrr4t95/vF57zqF0NM64ef4WJweAHGwnxxPx9K2vjHM98izRQaJ3SSGtGqV6Wi+1wgolEHR7cOViiVaZLsMchuFzpftkhuJY9snapxD+XDrO1GKcjhzN1IsUMqO38b/tI8+TxUGYW6T0pcz3PpnTYsO18Ij+PTa5Jz/qhc2QtK17nBY8cFLbmCC5X95bsx4obHrrCMMzOAM0t1BU40AcSse+Cc154fJjChP6GoPDp4P87q4FT6Uu/LQJbrTcrdYdL5a9TPQ9XdI3IfNnmTuhDbCCcUVJp4AnD/q2HA0rutC5jiMdJtSGREiAETow+f4ru4rreLmkZMnovxE2+bZurF3QmFUUV02kpbLI6UDTc8MQhd5b6BGIriGHUTnE0oYcvuJ3wYNsAB5gq/P30hbUXT5ytq+VFAjSAbLbxyOo9NQJ9PsmYCBVaJI8Bj8zrkWOLi2GZYCWqOyhCEWeL7lbeWcQwqpCYuz4RUURw8eCw07wv/R90ZsX6o6p4ATHU+Pr+qCQIQrywwDD38cWVxJL6K9zkp1ZQtWYYkOmCDDE/IGVZfIxoxYFsTSS7frMyZCDxPHG1jzg5mz3R8tgXujublektTEppUHFaHVLHctCSA39GRbA9vJiPjSFhP4PWqJnjgYOFMLvtzwLp/jqbUGl3MHg2pvsDZnGAm2F23YaTfj+ovTJNpYsrmc4stxlp/FoPFfGhrdEWI2Xqk9BHHrUh6xXQjxq4NgUfC7ObKmGpqctVH0ozsdATq5nUDHGoAn/yelm3pRnDHfoL8ovYKTifG7gEVWrnVcWiwy5FpPSdsWDcbmkIoyahsEUNkOWnUyADs7q9VvLE5QYyLW9S79KutV8aZi3d386SIJTy7uTTcVZOJFpf2LwDcAPjUzxlOI0OkqoUWARfZM6QR1pvq1S00dZ1I8/ZqQQMKRge3n3qILbdxX6TAx4Vlk8k42ovp0m2Zb1jdrDrIbW6vKMWWNMwr4kNGByRBmoRspcD2JrN7fmudrEA3fy7dreUByjIZYNt9Oj0Rrr/1WrLarpuJu7pVUuq/Ux2+9JJDrq3XRDAPiH9aW+bSeI40OoZwIzuqg+ASHM3UWiAiv+RtbgQB581rc+dipsM9PI6XtoNgTUdYzYPFyREjCGJZjoS+yvWxHVQdS5/QJIh0+skIQxJp/L8L9b8JxPzB0SACfXG9ZN5u6yJcexNlnz/Qe8MIt9OVNIkck2C183eQhyCASTpwpx6flfAF2FD6WdESj2NWYeHdfrJucMWN82PPsRtJaEO7i7hHMbhsnQSzXwu7j1lxl/EXlPjN8vM7WLRVHKkMVsYseth6E6gyvWfie34zkzrYawJcsgzRebPS8GKdIIeUvLBzo/cm9fiLx/oat+PJH2KEzUqhrkH4UKTZo03/UIDXD2lpp+vIWooj0n6KcwuNpW9n/BcNVNeQLTYZUGmHjHi/TOtsZxBLrZSJOeQ9pbVQ2APGxViTV/VYrlV9qT5Rg1aHclGENoefET7djzpUiAcoRKBO1dIop+yxmZCWXSNOytu9tJiaxtG1e1s7NtcUUGYxkaCXEl4DCP9eNlOnnzMl9ZAh37sBlohvLxMmbMdL5EFxpt/r9ixrFjpXEEjhFuWSlpvCBNNFsf8MiDV+vYzdnDNghfpdz2GtKXH7gRIsMO6Cjr3Ip2mJxCy+tsv/EkaRd/A7LBNW6EWq7kvf2sRiq/AwGLV1gyeXJ2f+TURPTPCFGXhgrEBZKje0b4TH1MVAkqPqzt+EPYGJB0CmnhGLADRImcS7+fv4E2wJgs1JUlXuSkV4LyKwatXU/xCpSCE2GQFWzgktSrvN15E0Gbqdh16M3AsABHAGo5jNSHOPXlcYXMwPsnL6KNLaD6bKORDdM+JKRXzeIdc1A6KMvTHZTXlDGAVzMNEIkMWw+aIsf6e3NIV6cjSxq7ktJxjaXbSw5BU6lR/5ZMFUZMywfS2zWmP0w7OywtjCExq2z/wQJiPdjxRGKF5uFycz5x/L11Q5wkPfSoabqxdgKA3dKQxz9TLLbLf7mKbwbfa49Htr63HAO4g5abbsgq3hRw/iGywWNAKEdUvnAWIIr9ie6DHuy7ROR8mny7OZEHkv0MQK+UId3VhLn0mGESvsBWyHtBoCxz0V+Zx54sqXHZHJUJGsDkQeNqimSWLcSZI9w2daJa9kd+7HX21Adm/VgS9oNAMX76eQ7xvprfeav2nwCztw+3vAPSD1n06WS0DPSi6XP14Wr5h52Zl7rUaPSxRMB0vR6wN2UfbK3rLxlolSbdf+B4ibliIuN/e1JUhh7czYaUnkkIK6KWI8n2sg9FeHb6boZ5DPjgTPple9z2yognreg+QtLuUNMfa31YsMlS1pVbbho8mhGIT5eEnuYB4WxtLCfjClVAFSNww8Rclfqdy55s+pM+8XMF7lSOQd2am5mD9jvo/9Kp7z/CMEXeOxWCqiCkRK34ZttSduh0SFc34sxxBjxJs9GGnQAAYlmLAFurJmNuc+EObYlyyBgLVPK1h1PtSrSdOgsyUsxXKQpd2jw/J3hzfJbvau64J0QCAhCZDrKGmeonzJLwpEoztgmk3poFJdEIK63Rc2xiVDnLFQcc4xCYDWRtP3t5qZh+dildk9nHxAOdX65AvLrmGaTc3bjd28xs/PQEAVNoVSl0cfaWWqyyfQ5y6xuAnGpXboe3bxkO+jFdqbgAcsuiGe8t/3XTMz3+Sg8oLe4sIqAEPQE4AACagfG5IEKnUpZTQAbgm1QPyjg6Yeg3miccf3oAXRMQsE90z0kuHH3zva+53Mtdba3pP+Y5+ebvIMfAKDuFbO1oDzjEYO2vqOnjzwIF6PFJ8j01vGiNoGuoNdczmeixFbWvH/G3LF2H18fc8d0ylMDPnfEYQDHOww0KBQrVRdu59rdBgNsnNZZMdV8eYjQVSUYo2OHbJl+g7HEWatnbFy3VkXPYVC0xjNeAT2g2DPBxqhpjFlyhkfIGLEY0yswYqDw8NaQnAXtyqIRTik2DV8C+QweEZsSX7sJgwg/ZR9NevkDiTVxu4qEnxTFUv9EOf5XAQFftGDUEhLO9+fJHo1omfP4ILyTp8GV+derET0swa1Gt0poFs6f+YpJoKPjBBbM4JM4cfOrKSXLJdy6q87FvTGiIYR/XVkcuFtD4a9VLzNlbUHG+PUBG98xl3yOtpTsJxibD/AaPKN4qAA0KzTMXRPRfVc1ZiVLu9ce9KZdETqn5bJO88DMbEWH260BXqJKhDPccukfNL8PrSZxfdPBMuE6lv8B7jHo7kdlk9q+pEzbxUp4NInTx40GA3AAGjwDMkks3TbQ2Xr8DzKRk62pAHliki9PnNPMkgDbCfBpkOjSmHLGOc9NGOFAWUi6O+i5O2PnUJ+lf9lXC6qKCsEGuyLGh91lRJP0Wc+Yi3U3IJ8qYF+cclceOOiJnpQnvg8UWLscJA1mFHFAq6gpg6rkH1NlOGrkzNWS1IdnKWgIbbKbOx0Mq+6ohHm7mMOEjxIlKSEOgxAAN9ADjOx4tKyWRtdveryJP0AQ9oF+jZVV82W1c3wdXaF8bfAqk6Y+m3wbJqidXTjR/j7Xdw48zjlYA+rAFo45PPU2Op1Q/ELNq8/uzgTwLqwkG1TRho4sX0Gq3qLU0+2hEA/Eg/ww88KuzvdhxRw+ik6ReoEnCaIPxqrAHaQERSpPl+TLtPQDfAog7ZQs3GE42GUon6Us4mDRYpUmvKqasj2Ld6IpQ8lsttcP3TmdreF/3ctdPuNodt7Okz8retijtL8qwKXhHoazjUXdyKc47B+sPfcr/+y+zfooXhvuqvQafCVohpVGuCpyLF9bnDuPhQFU9z0Tj/yKDrloWsUQMvyJsIQN6O97Mm6h/0PB4/1xvZHt07lAiekuNsXbpZ01ueQWDo/jEITKwtYyCQllWXBsmOW2bC2VQkJzmmXxE2W8Zf8BQ35jJnGJH5BsvDEAaJ49VcRGUH156ngZUvY1F41zQIi7mUtIs4D79qVDSGjs75w0CDqENFF7xR5S82AAoc4TCHZCMkQS+P56Yy8ETyS1SSlr2KWU6XSi82xTR5xjJ+eF46bEvwNfhv+vxcTJaLVv7lWY51fv+tEvG7nGpnNiFQ465h95u3X2S9HhlFL3BIeiE1ljUmUmI41A5TOzMk7jMkvIt+bHLESbYz5j4UYAdrb8We9JK2NiDLQB5bTHu/ehjgzmRbLbYorvfqKMQdfBYBLvzdCepy5HQBZEvtPk0mudjsqPkaSexk79kmLzDFJasDSN3kGAT6n/8XJFUXaxq5rR3RcW75aL10QO4v0c++bVXwRmwC2Zc2LQm/U2YmKgquO2Evr2MaDxbEfA87TblTp8T853GPekH6rIX77psWzmH+R8+uu5IEfeAXVtGRn6ZRWR87EfJfJrHrnob16gVPsrO21Ed5JqISVAP5A++qX385z3lNSESxyU4wzfaTmknUn7Lbyh/Kp3VwwJXHTJTdCKU9eF7KO5FvLzvzbS/+kSyKP0IY3MYFW3UFbs/nhYPtIwvHYUYa0HJbTwMTDcpX2gJamXYM8ZdmBw+gwlSqJ/GFwvH7rcChUE6e6TDuD7M70DscYbd3d2AoHFLIpsKP2k8bR5eSpCaI9QrO/wbA8hHnLYQWcH3fjzosbaXpXoQFjOAgFCvwQVRslxqeh+WSsQh4qncvIYHNTce/ehd6uYl+7nVXTFBODCRgo37bJ/oo39wwa3b50x9ALF/L/3p5e+zM6x+miJV+0V6RW6e+jxg/7qNLYJNovUIGLIi8U+b+mZQenna3Rj9GqDYcVGkvypCuatfIGULeuT4fPhYJ7iL39iO3BMKLAQVZ/hB4xRp3We8jFxwCN/hxZmtjfwsAWFUy/Sm930XCPPXSuaAJ2J4ftHk3Us5f0Y+Cr9I0onWG4HPLiMcO4ASYALXOCl1CCwdq7GjM65Eih9fB4E9trshnuLJz9ryYjfOw7Ljb27TerBtFwPWfNz+JcECsIWXiueKQKI+sjNrx3/1vFV0R4HAdGgi6MI4u6hsPJAFBi9g7TuvxblPNTk/kUJ3oYXZnO0joVGwZhWcayTnrfK61gJuXfInd17NH7kzZ/XIwfvou+yX3uA8Zqsn4q4pYzSl7IoID0ncc41o/8JS6Ll/3AoteQNCDvOijbsUYURu//jKtDhdxWjVpNlXuaoBbwk/KalXoMWvVIxLNADjtl8d/ZLN3GLfbMDi0u5pUrNlZZ/3MYpLwqF5w4sSdwxATLxzZZT2Hr+UaweugepZUkwtb1JeZDGO0PVN7WPlVBo3WRvFfjoU+EJXGg5pUc/QbS66Cw8mzJcxgCUnwgz/j8NJ114QoB0S0e+MjQVtWpyUnjjjD8NrTin20gVzoYdEnymVe+w0oL/RaUVDJmq6de4VK9akG2PbH28T0imy50calsDJPFU2J877s2yQrUC7mfWJ0Jf/7PfGyU6i7UExT+arLPOZnO9aTErIeoth1yb1v4zwVke/SKuT5Nb321haEemRFqnILM9f+2QRTOcbE7CNG+NdUSnfEXoeUlhw0efGzkn1HR77WaFtJV8lIWYe65JSaXRQRuwrFejWcSJ9VvypVDWkcUjjZzVYgcX6ErGQQYssgiEWQBVRAqUkIcz20gFsip9zhHFG36wkMa55sFwpa3ILcw8ryjxKfzNJ0jTeKARG+GKGbherE0d7ct2WSWVhKp30nTp7iAsnzJp5zx1Sb1FPJvyH/vYQchKsz1Uq9vCFRpTeReyYXk1GG85q0XGLhijPmgXxaAI04OWriiut6qb/dXJgjLRC/UL6a3SgFr2n42e4DWqkwCzEkEiVJJiJQnidFhfCarTeAdon1BOXs4ruI8X5k7WJfNsHKi71Z8ptKNi/lkIXdlO1GLUczYu9G8q3fjSrNOidtwoUE6la96zWw6iEIP1EzO/FH//Vi6RbePZKWeVaGog6MZn/5Oh5JDFkfqGyst4iLys+Z22pA5lRiyaHGSJKBsVU52Acg2WFCR4niYGhAe5/4Dnp/QEsTrxbmtVvRGA0Y4fRAyEabbx4Cm26mn8kifqpyDuHd0Rp9mQVD19AsR3mc+HZURRHmrN0ufyoxvcqGPJEvSyPdWX7PSc5xgpEIdAa+b5eZGvMzahmhs1ubxXW+NyerfWUzuBAlE/5tRSpZT1/TSJKYCrTXBA8KsjE7B4VUeKG4IRDbTHUjROIPnZq2nD+gmAOc92keJRQRKNZSafmoYAFuBafbqueFg2mtiRCa4X57f3R03yjzjZoKnCuW0g/0zh4p+eN1S3XT2bNmQOaLEq4/nAXwSGaHYF6AuMVp3DvhG9QQOKQ+aPodS30Oip8Sg1DvkkwsiOfxO8oP8t8xyYKKu3uoMNpzaPNjXpvhG91kEgURPZaLUB9XXWL/OpgVB8IH8wjIDmymQKIcnTqDbnE48ksLAj+UTwffHmFT+nirM7AyybV4t1Ol+gQvHcKi75raaGSrIKKLHLAXoztTEjLId0323fkQROZQ+VqRE8jjg/kkCIK4lmy0VbwIXbrjHOIBpCogYiu/w3gBa46+6RXITOGXTrmKMKnMce7cp0VDV3gfj5UuJIAmBOkqzgscyuMTTebJbIEcWIKIB11viUWvTvg2ZEqBot+v9Ls3I3HrGP3Zs87w7IGektFvwmcgImPnp+KI/DQR7gBfrPxFKb2hq8s1Zdb+ly4q40lzxAO6mMQ0gCCsiL4BOOLva/e/a1e3XktTVwc4CF8lYCB33Znz+z14FbdCAiRtxnTJ3715W4avXMjho0KTwAbieqzaIWbg9qLsxjuHnKP9fltsFm7A48zgwl55UMIejUj0OUaK2JQA6tpOCwunioul8gLQ0W1xaTg3JMBHZjNggqx8RO+IPrTMuSeArd2aNMEpfy3Qs4+41gBZqEQhUqinOOZjm4l80lhOXd/bgDjfYliVIocjP/Tt9TPsHCweH/AbWwX8ay5fYAj0VdlE9im/HHIo0F2qwGsYRle/JmWKJMrot9deKpKzAwUs+AJXiI+xrbJbuDhME2jMqTfU62b3Iwjl88zicL8QrCSrKwjDD5Pqur9vyXrk1FKuHqW6CUry5/iq2gOyk/XM18EUu7VUAjrUfWv9QqcXncnRtUVR1QItw3qxrdfaFAnUjlCqRhbcL4I+1s28LU/VqQueBLN5fS8UhvhHZ0GJTibF7GtBGomNmDaO5WIJuzB01sVhsBW4ZPcLJICuFYdxjQFzEpMQRlOYzzI2b7JKn0TelSobDIUpUqa4XGI7zEyECaGftREwueBohiJjjMMy7EKFjNe3JBGIF9CArQK4qlo/QRGd0eRz97O4V0kbsBLNUeQrZbsJxAJIjrEkSjHtodElLMiu7E+9hS1QtFpvcS3zK+oXaXnmReRYPHKg1uYmu7UtSv3CiRx15y+taAe/xt1t+/R89Ow/DJ7bMIQwDKMfpA45JnQIaQhpPSZFLiBMly3Acok29Zs+EjPslmCmp5WAzjBv8kR5y/omxRu0m9eokXR+PJeeMo7RKHiEvtUwXmrT3iGMeD4+cLjgqGKWEUOpmkZQSNv07DYtXcJnksG2O9SWCPuh3247De6ZN3aRBYrp9Ysv5xBW99aUsDaJQ8Qbf4IyqDtrmGq1Vzl8yIFCzwhrslnJV19b0ljvsiySas6ZgMBSte/SzASeSCoMFLLvCMaX0E3OPAuuBByMoOliVd7ZapMatzqXPMx6kmf+Fa/beXIoBDeRnQLDJ/SS97UdHa/b/+9g4f8W/o8LL/T9yurkAUogRQ2g191t4L9BXo4M1zR67ePQq9uGxZh1xB/fClbYGjhs9Y3P5C00EqPD0O/CHxAt4+Jos+xo8i4CoWgwxNpj+cIMM4H+FFPHyFU0Kijfx8mUSs/cKm7Dd4PxLd53mxJvre+bO94Vjds+Zk+8SrpT2b3PaxnkPG+UcpQb5Bvt+Nfs/MsFZjAQ2Zrh+Msl02vDabhz1kxAzqn8GB7lvKEHdH4W7JkesiZhZqEUhUgs6BwNQyylC1s02S6EdjwaiHLvjRG6TBelcDqLMCYZkomHyUn6NRQ/dk+7bh9PIkGBU7IyNN86bfAXbTTqPxwXjbDxkl+7MI3Ls2nWm98zWNTah8l1nr4U8kgJ7+Xx7I59ssExGvLrzluIlLsd5qEM/Pvc3oHR+neKE0C5OMfuY0rxRwKlIQKDnT0s1dHcWA7nQe0QLFC4piydHWSCzBBFvnzXu/OCfoO1GW+gHuuKLz3C1q/Pm3xPGFrbMTVuoSFMR/tweLvj0GjwvYOFgkHqWdS8os0Xtp1YYOhnhEv67eNzQldqvngAgi1lQHvjGwtC6t6gyOYRZwXKgTqrist5qBk0cl06QAhQhRZJ7KWNE3jB/V8fiyG0P5Nr1aXw2jQOILHjae4ZCjkJQFvnmBeEIT+H9EFYB58sQyib0j0y0wuweinfw+ABz3a4aOtbCpbCqKRNvHIR+myREkZ45xzt0wMcZgIKUpZ1vEuqMk/gSXHj2Lwcqv0qE8QHIjgXgZ5lcoOgsKubEWtPV4hD591RT5j8XVMOxDlyaJQo+zLUXVp61AIuXl+L1B0auabmbTJpBm+V2hHCAlmS+bXgZJ8/PBzIC61WoUC2FsVeKobb+DxZzgZOVDYTM+82BSdgrWLgcruOvMEAISw4zY0AuWBBrW2NIbq5svNsx7a/yRr8RCH3xJT8uURPrI2uk2/BLjpEiwEUQmhFSyqf4AiPQS9HdU7QPavhI40j2mFKj4qiaTuT07P8JGgqPINr8kue7DfoxFwsbofcE4k3pS2x0ahZrLF/7D/6ZY+E8v+mZQFYcWnWJ8bueY6uqGZIKd0qgEWl/pHBTFwSW3mNexCkdT+L+q7R6Zd+nrbhhcMQjVcLR1MML3t1JyU+Y/QWbIzHXPykcc6GxENhsuJCmXoI3bBcuuBD2ignYphGJo1ShG5q4jj8QkcPC4bpkQeyV6Wu45XYnZ7hW/h+BK/647vxgXF6iNHlRR0+ui+eG4NR8AEsD1Lpuuo5xmVf9bZZp55pCQcJMTjkeLmef9Ujs4r50J+aAiYRbEM1YF6OttYot+BrZXyx9FafwlFBsm+HpJaZsuv4MtdyQ9ghCbTYDJ8AzIxEUM6gvMIcNUeOhgb9u0VHaWa1jX1nF+iE4VvODyuV7KqHPKYNskVEKS2oBIzpsvcsuPOcq8QrRu3Ll9NCt0OUYTWVTPAB0QWhyaBRGEWhba6lengdCOm5FrIskUhuXT+OBe7PfeRdywLU6le1A76Ms5arHJFQujh6qxZGbaMfSJFYOSeTtDw9F7mL0DBZHbnjFSmYhi8WjU0+/vs6BBhCr9bR70tyHK0prBt1mkk/7nWNY4rB8J+vC2aOPiBbzwhuZUft8pB68H0nEeZV9dWwYGv9GGx9EmwwFezj4Cj0lS8tDyPxYPUx0Asd6wn9mgGLjeocg86Gwz5RPbgKniMy8Ansp5tblDNekT86OpEH75A0r3GiwT/nMrxMsSSQ1QAKd2pWQkt3dJG5sbbcPRphydPurqSfpTZ2iGLKXnaFEyjVG23Vde1rCsBo95kV0BAxbaeqT6pMUiyugyIkvgE+maSxL208kxJrYCFPZicmU1Q+Se01k4v5bW/h2XRSuaHzz8n/nntwEgY/+c/A0wCUw+XCN0aWczLx9wsl288lGz7xvuzQzBpCg4z8ivHptrMGRtH3eV8WMlT5kifP5EBF1ViydRFc+Yu/CLtGC+KRFpbtMqYQJPLCL7g1Roht9wm7KggRlgoZy4xIrgYU8ngvbalQnqQTqpr/UhkDzYLUvBMGUd7ezeh2F1om14xaseOg5+im349OuDqwKTGVeSG5qqAnJfMjTB0NZQUF4F3l55yS04R6Y6pLvBqSKkHqnJYnRrJxLrMwjDo8g5V8d4juvQapQ7R1FsyY4hXQu/tllOc2WFZLOOyTyWt2/fBFWbH7jR9xQ5XS61rBhyaav7RjEGwQ0Vdr6BxpHJNnc6vTR45/OhTrPScWQGKZPQ0hbW5iXDtEXyvAOnf7mNEsvFtKjonKZDoy7QSR2guSw59b8Y+I53Xl5hJyceUS8oaVPNJme5pk6YaLA4yyOiZQQO2i0vlC0nCcUaGLrSefjra6z9efZN3/REgm/AdgzXorS7jdJg/+WlgA66g9jcKVOwP2eT3EahDeLIvyjK/y5XeDJDPqvGQslXcXuRIoiD2RzXZXZYGnfzWSobTsyG/jML4GCDlpg/fmHa+aVRZ+y0b7L15BsTPHnrx/6YNQzut3VBE2WvoFysjnLtFgIClCoNtFyMrQspAb5bCBxLm4fbkZ5BHHzOhV7/TfPa+OzaAzMaOmsNxMRkcgXxThhN06yM4vcDSEPXnxFnSJ9Fi4uEmfe+l8kWPutX+gin3mxxh2td6ahbaqgFZsJ+OpNlrUAtgHy1NRs1t4y7Mf5uYxVJpp8cZ4GQnmBcEz0IsrwEtknl0JbeoILv063oG/ZwiDrE+xMK8jmvH6oldQZ0NhdrUNARq41x5JB1RJ2HClaUCQ34+l36MIjgCb6aUPBrhZyRWAi1QLjraBOFTsgKTYMzHd601q8+tYzfzb+JoYXnEXVkmV6Rq8YYmH5N50surog66gulyPXShurpBpILtquad3s+tt4UnAgmxsjVYkVh3AA/FMylXwsHKJWjE2iL4dIsjEU2qoKrdydPN5T9iC5hb8kp5lqWPEaCUbnGrAyK+RIbAqsEyp9yNwtGwxX1oBgGKLj6KS6JbxPbh1jLspZF8y8kgA9GYt78bjdF/pcbHSuB7hgHi5422u0aB3igU2szruIV4+dKrhSVtr87lyQPitzGYmXlNUaee4fVFu/3SEbv5j7ZlnACtVE82EiNeiIpN2i9KbjM73iYAFuPF1g5TKJjIRcWWUrvT0x1HtAR5GskmO5SmOYZnnX17pJYTGQaPbYKpIX275LxIyJOawRN1VdsWnINVKmXLlCaIYr8ZXf/Ptvk8uuV9jyFsor8O4q55cHMEwTwLEmS1uyxr7Ry7mSZrpJ5zvYFJjsy9PaCN8wiesNQBXd8FjekCPot3nu3wgw64fdmSgswzRc1iv49mihY5DJhO9J0r1xbEJa2afShgoUiKsDYogYP7wTSETIjN1c4IxP97ptO1W6eIzVlsP9eGVT4Wlom9v/YD6egDJv/Ei7LJMCNf3Hw6aGWj6W6D/URjXWt9T7jezGljmsbDxiWn9mGVwUCevh1f5aTnMq5o2CzixENEHiBmaEzYxbkOszPsSsfbuqzRauSVqbmSpdjP/11o7FqIs6XgNgYSAqWdzb+QjY2OT5mQjXIvvnrUxHOi+Rvec/G3dbf+NbqaLNrtpVH/699b4ltMuIXk4cKpRab18duIiK96K3AO9TIqXRlZ/m+Mcgac1SJtbkyHYp0UtmMlrMKlowUooupnxxKlwBa6gun+b8ARIEdNV2caafUB0Pd636c2HCGQzrA7yDgXt9blWuNfgVJhDZJwX3NXbcMhP3ssZlEJs2K7UNcWaL/geA6l09J5ajTmcDd5k2aFE2koWfqI7MeUY6mspBdos9+Rb5cnFaXft+GZyCKF+A4yB69dCznR6VPFbHLyKMQvSs7+piTxpJuJHwNXGed0iCte7jGjQwLe8tQYkthbKVeKLljthYepUHbYsU8CdjAODC4lCTPMDLdj/8EiGz8EuJM9zZCRswwnEwW/QBHGtUtxtHavAFwbhebYDmeiRUZ6KfZVrB4D/h5Vwz93s3+vZF71/7bqtAYJioSW31G/FQ38fSx6etlwacM0zuS6dAGpLyfwLIeP9N6aa58poqG0h6/M5FJhv9A+e8CYELcFUVxmb4wWxfnUgvPSnetWgt8aAVmL3qM2f0Atnw7gePzBcTPw+EaBmCO8D2WeMrwZ+/eaqop3dqQEQHGGDyo5dAu89wONYKNCOWMcz6Z41d6IkBa9Cq5DyC2pec60I0nIGLrkFrCDn37HKQyXFMbjlce0OSBpMLmfyV9OjmuVG5XLu4zSaeT8JQ7+MBZACUQEdwAK81Sv8V2h9zL/qsFKieqSAXfnIhThaWmG6Y2+1EX07TTXjsT5xUvciRyN5nG/uE3WGsBZhVBg1nHl+bzbK8hi0gsuYYhWPiu/INvkEbpUQ1JNpjOLGyfTOLl4mt6MlFfVKnCRQd+FZtl989R1dB0wnkmxllDGJWU+cOHBSimR++uyLpP1tVFWZx3JSmfkyb2QQbR09FUAdD/E4J5CMP7pam6vXsp24XY5Ldf6HANdwgfKdMopDvDIPYexdOo/emcWL4jqSrDAs7qvC+4tuuCrcqXbw0xs8hoeRV7Wiz1r9WUlfHW8SHnT+ghSyAmdpqP4RaH8Wl9Agp7CoSHfE1+2KEb822fywAwHA3Smq4defvj9nCDwrydC9NrnTyNaW6oL2XoUHcr22Z4Zt1QIzcTH9gtf19Ta5x9MknMtqjgJG0060jWAm0EjemYKVTd/fzyHSsoTiasohz/nitAKeKzdbjg2AftCYbF+wYkP3NbENnia53v4BWysgn7pcXMv8XZacon52yxcmONO60HOz1PhVXoSM8ahgZn0jw+QEPvARdcHe1nLysYYBf7EnvGYZNpX4yM1Kffg8Lj5srRVVr1xKa1U8ec/hjBMuaJSe1FyVvSzwL5/pi623sxbftyALMALadj/iWtKaFW4yqmAKsQTSUGNiTRpIjLGWoJTxenoAbMEm8rFMWIS0r4RyxzNI0X1EUSGC6owIQyqagcwfrRXqbq9U10P/oEKybTfn1n3MFCOANnppCFQRaDXs8GfLus9M7FRYBLgK/eVTWBUjG4OR/cxTh4d9VG8l0ccPWu+cdAgaOidxMe7c6d4j9GRId4qB+0qrgN6eX2AJ8PcZtI4/bZLIzrEUTqZ4erNu1r3KzqW4Gzedkh9bsnX6v/6kQUmKyHn++Z9FGV4vJ8kSV8abWFtaEMHPH8M04Gn5GdbIKa8jIL46ngXMc2TuWbYuB93czbOqOkfMN2Z82ReExBUGkvep6JpOfoUxagzLyJl6NrzgGO28MVFXT/XhN1PSRYPwAhjvU6dwi5b3Rnlr8d7EneoRILBTX4uswu2w5l9TQ07/MRvEtS/BMbhgVpiRTbqEzxOJl5NmbDIsgPOWnszRSA0eIyyxh4RN1ytCORZBmC0QPZ6o6ozrtC/dNuLps914xsblKhVqEkbQd7PmD78yC/EN5MaSSD4nHFO37TKFt8QA/s+2llIU4nq1qE4nMjezxwubGGxjwD1Z7nK3bs7eJ/RHYZ26gM78/F5XSTTpOMN6JWa4nDS6rcBc7PmwSME7J9jY7/89WTpxFYLMesi4J9535DgLYwTti7+R+rLz83Z9qWZj0HEB9I+7vbBTRKtQ7LQDdiaSuOcNxNXAwzgc6S44EI9i978jLjId0M+GhbDRCK6bLGgsD30KdE0mU2jjvL66aRd7UifFMJKdGOhLTd2qJhsCyY/Ca9UX3+P2n5SVipjK1pIRXKi8k8AHU0EdcXX09chLpUfFWVe7lKkD+kOmfEBdQdFv6AZfG7ePSjmJKzr7x0T7uYmbZYOIuPeH+z58etifJSh9qycZ03alBhlztZeqInjarf+yaKyHsrrXDngUe9OrCK/SBm4qdDxnZZcoEXlKeDgjY3n19ToQT2On7dz9QucaZMPF3qH/R8nxEA++JJItLrLt2FwtczpMLhJz8CENYUGpIUKXA88Hzmk5GE8AXuAd8cwsepZXi0KCB3YwW14YpGb+g3rTlN1FwGqPYoxWXJFTESWsmW4UiuKy4Wuy4l9Nx76ug2ba6FoZMXMrSO+Kq0abAIMTHLwogdXWKJKiXgISjDmzNVTqccNQmR+cvLzARnEie7ExXECTH5vMwMvVN0mCIrKtNqIusVwuT57yPBE2z3u88HANgXC3QWrzcwJyuY50bZnhMO0XEzktL49bmLkSq62ftAc8CgH5wDkxTfuA7s2FL6gaJgE+0Gbd3qSEFAR8dvT5vREShhiSwcaZqHe3z70OVv4vIDL8xUEvv2TdbxouoZlVVMtr1FDDNzbPcaNPXTRFSMZ4nhtt3Z1MY+zLxGaAOMp8Lcmt7NERjqHq3OPJIyYzn8l1IWf/ZiBgUJ4a1BcHM/N9dU9PeE7FngUcTMAaK2HouB+WaJD2GWpf/wQ/2zQLR6SpUZp50ec1tzvzaIua7lHixUtLYyCuS82dTchJaQ5zpc4t9vXo/jJtxqvXjzwpilNtRXfxL9wTOcgEwlvMb95Cd+dH9niafJPq5FPwepMDBC+Bf6S0OdY4v+l/KzXKwsJNQWDAR4Bt8ELp7WGlLyKXqhEeeb4h0aw4lXBxbPDVKNROHa6rq4RDPrrhBC+R51QD862YGQNYWdz60sJJ+A/rTkdbYPCZ9CvD2iXnVIG6czVA87mzRUEc6DpSoJe6nRAddp9+6++tY317csbSi9arpnZywKNzH6WGn5JbazHrafGIAZYNH+bYlxyIHCZS+Xu2ueUsEI4HuEnNttNrvJGaHOXYfoDcCqf8opRCTZtsVfRSyMdoyeNq7X2E3XW6/BV+2MAElx1fwCEoA6jnTeregKNxGQn1b6i1w/M/XmcaxtfG3B9E4ZLlC5HIBO/Kbv4NhvAiBqB/G+4rJZscKtViRDm7ea76uYHt8m8oNnqg+NWF771vhoSs3J8Yk3zjRIi/ykusbsndQP0XLJnIMB4Idd8wq+WmkkN52kQglhDqxqDuArmUKp98vBhDCkMQsIoqbTkPSjJrFJ5z81W+1y5z9P3eoZ5wnbqmfMxZmeAZdy3kcHEvSBHenj6tYHZaNUqjWJC2F6qSsy+nUe5IdPASbnTuZUGryMczUtjiFA8gP/r3G+VA1LeIShjJX4aF7fDKzrOwYrkHpv4P6U1OmifHn4uls70ulWzWAbSGdEQBpRJKlLqAw0ePGBir5fYlmV2JvgUMbJonfiyJAN60RWHk66OXNHDDwKhkA8ewnF61iGW4BZV0ADktuEO/Tzv9k1BQ8UkgqNABgYeUNdrNa9W0ot0BRi2Pur9PEp+eafhPEAfauqRieXB88hi+DgnZWzVX6cbjB6sQ4COH9uHDe6fU+/FvI3/TIBqi9ArYlxzna6jQcsRrJqm6AuORWEpp7vbQvqEyVp0YxZO/UNQoMB51SeuhP/QTeya0TbsJ+qAEn8jhz0sidJcSRQCnvRQUrsxkrTLnEFg2HxyGYDo7ne7/4zrJvRc4kDnhVaEM5yJWD//EwnAdXzIYVsGIXP1Yf3bYoAZGLXdwuubPGP659MnRORZNauUE2M1SnkVahZ5Kzbuu5gNwqme/8pO1H6oeayWMa9x/vTUpUivNkQ18DLXLMkFruWAhDsWCIkqsigDNO0GmdXJgtp8BfjPhoW5xK6u3yJ1I3YX+MLdARW6oJZ4wDPlCAGKdQYT9QWJaK0spnByDpNaISozPR9ijeqKWDKfDuNruOmZL5J2ZnQt+FvIxyv1eocS9Wx33Vxkk81r66152YDAet3qU6KcODBAjK/4zg68dRUMoaN07YQENVLG+qs/C+uw85iLES8JAjaWucOfY+UpSexc/bJmetIkxO+wHY4dwN1XvQjraxzizEQLhawZwQOL1SC3LK5xxappoXMx9Vv2eO4Ag4KqU4pESjSF6C9DWz+S+4Oyge0VeYOFxi2LoJQHWVTTfKfse1r5CbGvs/BjfE6NA5y/MsagLGn+tQqG8mf5NZT4mDhDt3Oo514nAm9ViFzvVFKnn/FbCdMQUOwIY+i2CgvytBoFrTct7QIx/LG8z86qCP07Hj8QCSAED62hLm30Viu7y8f1JfYTVt1LVx4fbll4QxqX9u3QSkcZzn0gHpNgGFPmwBts2LUhJMAEot24y7yd1O26JoJ/SYe/ZXq0icZ2xuvkfpqOhuZqzMdSw6Blxmo70KWvyAOFWxdEzaIkxj25pQ311iyM2VE/firDP5PqUplH1PzhcBK3oqyGozGWFHsG0xRVudv+kk1tEAgWNiPvPoFpVqLTCZzE7IBrnAbGUm+GZROduozVOJetOGB88Fp3cksXcE5Y2TmWHJ2iBBbffIKw0j8GH0WplWgv0//tVm0mjIfKZKQf8P5P5NKlk0vXW/B38GuyNcMIQNo/aA74uQxSVubRNRzqoRElQpfanNf5wit6IeWuhY51V+NF1Luar3VoD8NJi2LUF1nVneXjFvt76MuxXnf7SuJlcciTfA85zntKV01BOF1hSYgbdRVKReLiOL01+gxkHxs5CCsO+4f8OPUvpZsthbOthFUIHwV0DIuyOqZvnCtlmCR2eH/tfLckrgQp6taUuFZFfg4v44hc8T1vnsOpGcw8FixkVaIV3a/WUh3qekY1va/oAUxrsLgVd2410XwRN3vgJ/LR/rdaPcNn/fiOoj3FB0Zz3THrQjwRskh4hS5mxaZrwuWpXwXutlHO65/wTbP15OMdOKvl7iEZhDa3UmtXYMGBk1qpE32GMaFJVaou+BZ1lLeqIOuaC/YqhPgXefMOZf1QShAP5YImAx1LwQFXjUq7sL8SWlFIC87GUQ7dXFv+1l8G/bpSOeuivBm5dJQN/OJB6wto/HRAiCnlz8UE1WHpLxZuGrxBg1C2V0KrZM0mWkc0mnUJ0Dsi2PWyKqs9Z4hyNh96ixu4cbEnr4NvuBCZMFj1K4a1h5wS73SANcK6aaluJyHrb/C1EftMhkqhNbaCMxJFKRzoemKfnzeJN3xj/1Rmvv2BFsm3EHN97w+MTrgcbIwtj0CRBbAzJOs+ZjyXkG9T1YS1Y9rVSBwcQ/zY0LJrrJxNG0Q0it2nd3SPfjNpxZvis98ZzJD6RtqZfT6O655JC01O8Nj/vA054oDEmcw36a57rO26JIa0zMIq/Q4HkDN4GbCeeO/pG04QaxK+0/dLF+SmoIZePtUnv4X/QRBgMgVj8Yv3mbkizx/MPg2NcKj+YJQ9OSHDYyZ69s+g/2Ard87nY6Pqmusx1dTz+krIbRtt+j1VnE3XppJ/fRVvmKkVCYN97UR/3CD3ygteNn46AaVV/X7dh+CSIdyFpCUVRQifhBMvhIYTPkyGvgqYEGVvmg9VcWw0FBuGr1erFh4NaoAxmPKN2AEL3ROHFbsjoVX2GcCtOUsZiycfT8yLCUPGMjDLzR8DvF9NI3bkobkaU4eMAwToOsH4s5VYCVR/prHZK27NTIOnP2f4bfjkxjeDwZ0TuJviai17MrfRhqn8QWbUZQM2ctIcSgVusNv3d7YE1a7T5JYhFhIkcclAGYJc8EkOYTF8HpQrJ9O5K50O+xQMNi5ri4Fazl/odJ1N35oksNNlinumAobGk5GiLNrmJ0gUtc7fdPtuVGeX9WK7y/jNXt31zd9A0NnCxS56F+WMvtT9B1LRh4yZXBZWizYThXLFpGzDHIEHIgdVK93SScQUpvSE5HxTaDzrrWVdS1CEfWyny5tZpNCREepYE6a/ejGyfSIPbZjIHN8zGr7aOKdrH/eFPF+6MxdKB3ZmiFRDnQtqjf5mb7EN3nwDUWdd5zM/Vdcw3tzKne/prCaWRFYPU9N5/uh4T1xTJDT8J3U1inplQEULWIhJmHcc41szOOVdld+q3ThvR8xh9si0M7BS0ROxwe8iM22Qwflu8l6NdQkVjoBJ0QMsxpxqE5PYvwvbb2J70gvWKi7pbuvXf5HGk9uJxW1ThlF4GW8OMJAXuu2ZCnrtIPL6Y+yfn/o37PPsbXO4fCK/j8J9Fff/8zbiosf+uzx/71bGORBUOKolc2u2RBR9uJbCfR4SVeWXM1aY0VMO8MU0pl3eslBTO6kYBbxQcp+kQeY3Sb3HnmObSwsUQOlXyWLC/1HL1hZ8Smt6zlzMIZ3wj44+mFcyuECeGS3A8VgjktuWjzng+H/440RlcpgXqHczZvvMvuRd+ok5jpOGZ68R+GE7FMwTUht0SIaVsDuYyXsvYJqsAWziHmDo2pMTWdiEEe8sESPFApl0NbTG4kIOMrUj0BfpoXP7B2Q/z1faCDyJNTSWn+Iak5Vp1hInQWkogDwFTaceLd3GaeZWqjvf1Eg5YLBSFawTuJYk2PpGpCGgHupxgWDniKDpN7rT51djYVhgy49qD399T004foDbY2fVmXb8Q0gkYkMU1Wpo+8pdwVgDTnJzbrPTb4+QdydfYESpFzFtmxCNSXe4qncDaM60+p+6OfneYKHsiaE7RFbSzDimg75o1gZsTC7F4riT+KAsdsY5MX/S+ODGwJBQ3J8H/hcYHD4Y4f1TSVkzp2QzZs2hPzbp/gng8eBa6S8X5p7HFlbZvs5nL8clpMMPs+Sx4NMGCpl1LCz1iNdUT0gLzIBo9bO1DjG9mEEJdi5ikJzNyY5zqkfZVXS1njZuADj+9HS0BMg6fSm09xsToDafzRV18CwVFinmU3qHxi768+TkLuGK5ww139E+viXqj0asocr66Q1JiT7L5SUJWocg0PxCiZdAYBNTtLIVni/m6TwlbIGLeX1jifUbhNLKdw+AGdPKk0tNS5Fi4H/5o/8/DwXbXSevEUM796X0H/jFmYJAqot5w4nBbUUWc9hIHm+wFBEyv2PlRcqEHVczWjj0E89k/v7iWHsR0AniM6B2dOC1aSaePRrX5Z4KudeHbVmvfpfg1IKJV6q2Po1cKJlMJWlgkIam0ge1hR6tJe4CKxwbyvM/wKjyV3OU2FRZ2eTXWaNH3bsfDxY4oMSPmIn9x4pxeF3r+Gm2B1e06OIv1whdsfzFToXa7YavDlNxN1fKpBxL8OAt7MQBd5EUBDPHKvmXkkdBZ7/wEELIgigCTURx+aKo0/nERAaPDrYnRLoWsWPiCyuSLVma3SWzuISOmXyA/Z6Emst6P5GQinlPlpYGPVORfvp+lO9yyxIrWc4WygqJx1neiyMXH48gGelrCFoo41ZuWbXk5bRCmsRy8LnLhcj0A5A8GmgBDjM/L4hwW4oltWasG9WSpDn3CJdfsW7guafHMKyoX6acm63u5VMzHh9P+E1vCpKr7fPCdMWpU3qPJkBT82v/uLFipX5LEFIzXUmokUHuvdnZScIb7SJdbtwEFTgNwdoeyH0Ru4rE8mIwoIPQrQUYynS8jV2+lMx+pqetAETOP4NfAJBwlzGXiSUb0dhniwRFAvZ6thyFXZA7xL69TFeJ5lm8sJ1q67fJKuCzMip0sDEbGJOlzOFzeB2YxKkl7uV5kcslom9ufOkXIRR1d+v947ZSWtw/UNGWQX0TZSbH00ZNZZchmWLaULTfnei9XNmuci+ZsBCssg49sCULqj8apDwol66gnlvZNiysslLWxx57Y5Cwq/+wSwosxCkYckOwN6XtenfyE+0hdmWw4yfcekUx2BBGbMnr+r0WeXdOQ/6Q4d7zMfIQGWeSxAoZQK2dWeMI80Xzecmo+pp5tVw7/97p1bTcRVp6uvNT9YGUrc84K8JtDq+anf8gKKP595tbFk/RL7lMMCM4e3pKNVxEGmeeTr+oObQTiIoRQAHdU1kbMNBpiscikk4yU7NQCrKhjY5XalLzrJGwOlQEIBYKkqCqc0xK1uQ5b9mb4EiSxPZBpqoinoi0fWzrAMdz0ce7w1PlQVCV6UYhUTZLvVZghFohpXjiWxPvsVsFprGGPLi3kTBqd1L1yAdsWQtf6QYyP8vY10B74vNtull1h8y411pRRdIAYEuZc41Os31kiMR7UkJWEYNoN6S8MwO89b+iC7KwjyMIL0gylvYgcyS34fX7awN6m0Us/iS4A27TdZLcHU4UPHJvtWOYtgVwQNtlkIezUzWISo6ggPYUF4kFoVJ6zmwCkJ10DL1e9IIq5Bk0LpOeDeBp5LI3dH59bwXxkYkERWq5vc4d+1bKm/TEPFbtjRI/FMtfPYDabx6LWcnZ+nVHYrYkPZlnavCoGiCsRMd01ewzlVCmCK/uyiJeta9qbFaTf1Xwqrm1ml98FQnE5hlOgyMrryHt9lGcpO43isnYQtovibIiyIZvoEXo9Do3vJ4Awa0hIZeR5ZIRmggKDKblwWAwI0OausJl2qUp/yiNHGY2a2TnbBDtWJdls2ZcWyuUCHGJcI2p4UtQpIY9aN+dh4oYfsRBVT/bgrDv+5+X7YjA9j6gbOtrLzRdZRSJFIsjJ8tvPgw5SWUpaLFdQVAUviekEWSOgTM7Cy6+82wWKdgIGl8hJ3vloKaZ8y31IoYPOWZYf7P2ZyApZ1aqIElEyiFpNycQlgqz8RRLXp+hA85oyZuNkU2NrXOR2iC8/2w4O2RAr6hWTb6OhK3xm+/GK5QrU16Q7XRebmubl7KBoYHufDIThfkdUFnie/8zsMG1Wk0ciT+biPgCpy3lbS8yoMF75SEWEz2Nbhix15Nlc12EHDxFEJ1JxHahlmTtHWK2QQirGXbFWj+5VKth1NJds6Qw4uvN9ke+3QbaEigvlsHTCDOgAI3xCTR0v7dDHv51jVKPXXgMGMcTLE/WpIOiGZNv+VFLNJ57Lu7/f9cYsRoKw6maRXr+pRGhs7AxpTJDpS2kWl41K9X/ZQ7ek7YY4oUn/ScfC5CmXymgR6hIh465BKhP/WV6arqo2UUQTtYpzZ+M3y20Sb247+aukq5Q2tByuFx+ZCURjziAlLpjo3mXUftymkIVenIwW5dzrK7iOA8mDtOMq+nV2fQyr5M1ZTdGeanzVpNj602vStXXXUJxFLdbLxGxzu5vekm+R8lILMXiWlsHxzuHRv5MC5dnXRaigyse9bruia3tELsLBwTSbBjulUEVb0DakDwxvtzcinxE/Hh4saA5iWkWeq9I6rE6xkyLZPSta0ar+NXAwse51raI0OmFNC9nKdmXp/R/yUTUUIQqTwe+QvGmSqEa/6zuzYWw2svtlZSIDucazKHO2WxzFY79XkdBpzRntPrzl9+kBL/K7FKTBDEUmOIH71yg9iMru/nAanUYFpMbdbtE0gmeJUEjvjGAqylcOYjpea0xOJ4sOTi3KprDsCXFrE29fJcSCakiTMTJ6G+65M5bdBQFvh1qKxn7ENrm923laZK9Wr+/DuxTk4jonfxSWOAHkbR3/mt/fcSN4t+tXrVyOEbcGdCrTP9d4H28vvvzVfF/4RLzgLXA7c/G+jHsxHPLykOzEcHN8VRjHkKjnVE2fDJNUFmZzvjdioM3dqhso7lXNISJI1STRvISPxMm9twaDveCXpm8Vj5q0gs7r3ybI3AfFuWZuW8sBfHmv60eU6evIVKHMXUClbvZEPjs9tTyKu7GWsRjesU+uRi3tVFT9kj+e4ls9qpmhV21mnkefCSYHYvAcCjoXlbsjW4xlhdaVUuWRn58xeLA4MXzG5MefEcvYR5QFferUtuHPAaQ02W2TGzjedq7K5dkDzdo1aihW0xHyFQ1d2o1zTd2CfCewvoYgPJQ2DxtIEQk7jq14af1/8VHuAtqm1kWEE7mfYclWCXv37N+YP2EBL4Rbc6UEDkGBhjTu2+YC5k3Gh90Abyhl+JFQBjtXUhIVEXpA1HhnGq6Zv6RZKcUqja0gjHDRAM+TXE+pDvclEc9a2sJf3/P/FDaKG/aBreWrmU55wt8wDn9jAwm2BMEqCTgvZ990IXBnwPL86ESky23sxb7ireqUqsj87oMypxmMoXy3QN7oUvbAuUz0Fp5Bo+S3eTAdM2CD2l8TpTYaXDifSBDBFZ97kQJ+IxEKNhGrvJtqhwmT2GruC3Ks3YGaTb4WxciSn14hj/5dsYrZkQZhinMrRt7knK6xNM4UxzmiAx8b7oxEMhccFacsz9mOj5c4WTwMsIqCHjaFqKhivL2kmxUldjr1lbTrX9vyvUguRvkLCu8JxsnQAUp3sGBBuj4eZigokUbK4sBCjT+kM6e15UqMUPh26+qiNmvA7aU8cqwZkRRPbfLioHZ8Ah4a7u0P78QzbUJ3CxKE12kMNkIdoY7QtJBZR+nrnsq2fuNUEE7AItiLVT5u5sgDR4ZrPCd851/h0NS5d6XxISEJOKrk0Bc083Y3L2ozNftPdSfaqpfKC5wTzMAhG/TLqtjfvGy5ILJ9RAUIDBJUJWjN82vAZVG/mruGIYdg2rH+7LkrGYFu5ifePIug7PfS+J34Gy1e30c2rpFKOyEa+Iko11oXClJQyTHkk3Abo17rxBVCfjARcrJD7GyEUCEBtJMNh76ymkOljOvWwaI7xNudGWyajLfdNgWjiIPGZpl1nHr92QPPAFR0m30JqtIuyhwkGpM/5c3RkZHyOMzw0nJE1G3YGoL+5jQQZlsz5T6yvsVlRshO+srUwZQ/uBkvNJWl+IJA+WM5vn5WtNlf6TgEGcrHXMXMYDxL8m2Cj7nKXazGL/a9EsYx0vY9aL3FYZUtter+zT3UPaI++J5jhOwXcJKjg7rTMi/3Ta+wGWrtiB+J2RmfBG1KFMtxChYbLngbVBHMP500wjEeoqnMgu76oycGlUlJqoMmtBNrkgaKwNjjew+/JZ12y3oQIlj7YstJKwDpbe13orf9zfmo75Yz+rRO2BJ/zQimzCgWuwD2uGsKFuuuTesJ6imuMD0XoJRJUGRQ5Rv2mc5Ed/TprpF/p+9wbRr9MUKew4mP6Ik6AZIsco5VN89vXXTkEbm2Hgv1hHEwmFGDsDZ3hCe1CltNXzBoyxtjeCVTbSK/9ylnzXZjXi34q3iTXV75iozxuBEdlpvndMAd4ethceh+afZJ7iM+PxPrMNJJ+OLbXSA/uMuhU5kgI7yuudE7H3bP1PH4W5Bicirb3yrtR2VnG7qUaYPoFPwUeMk6Uf1UXh+Emp8qMzIgj87mrgZxWfqsjdlgpVNtliTjUJX8cPiQjrQgUTL/DjifK1kep/+D9WSkkqZxEN7mtSmUzxeuXsJLLUl9ImNPeqVfvJVH9o6YPJVyCVavPOgXPwmzDDMusztSkheVDcQ/3bjiYvnkft453Xte+oCl+HIiNTf7rPZdvconfMjXKfdqSUp1Hgaw6P1wmPdD/kJz5GSK+c5/SERQ4xIkxqhCuhOdUioANu4/EF6OQlwBwKnjst1E0ffs68GRch3C3mndIpXc+cSQ7rd1m1G6l5FJJQMYCmN9Z4H0YuyU2+q4C7J/Odr12ypcWKhabBRiT68oAXySHhsyFODkrPpyAuwmj8Mz93u1/nzcnknixW1Kr8iN/hGB4LfmVm5yYAnZsIVOz052CSM5K8mh7GL8BGNetbVpL7sDDQIdWtMjuLpWtB7eOxvbII6+3AupvuKLXIrNqum9NESatHi/PlfP+zWpjRtZXqFDhZT19+A6G79MJEqFs0w8dHFGSjtOj/A+lNXIuq5QJ9IeYmeQjynMc1xTN/eNIf2dhAkjWI3yNff6ThxjjBigGqrfomr5FiVWL13K3ixJ2V/f8ltiAJmWjK9dH9IoXsGfH7+rrgYnNI88UmEGWFuoea9Fs45LK2O/nGDFIHla5sPM30AFqApNaTluxu9M9e6gnfJ8Kf+5qa9dMNXWpx9wiWZ6jh7qVlR0ZWBqXTY5UJ9oI4M9/Hsv+YEMQROhWNiEFu/Wr/pZqmAoMsTPNWd1NgdHZNc37oyHQEqSwzIEtd0EgQ0gtkRifmEiQ5t5tqGK82+GezIUJ6CS9K3Y40BSvPe+9LNHgWf8pFVP1RLeflCYmgI9+a4exA6aqK9BGp86XiRBoEplY8gX//RA8t1byGLxrV6IBLNMOcqKPMLTQU8Qnpz0S84TxFKouF0yAot7dsb/RRss+iHaSU3ax0gBs2e3zeSxcEszfWU3PG4vlmKqdiP/xceSRzXJmkQTuVtx/T9kd+bVQzrEk1csQiM6pjUsUhhGFZE8UOqTfmE5INZktHqAriZxoxQomL7opIHOJX/13Cdk4027fD5s7IWBsElLzJtcZYrwvMhir84qSkTBJGk4qDWENUPcXf1zDRHMn9148arDw9g7E5piDl2aGWpY/O31vw567oxo6wCz+YspBcOxpW7gEBljTv3tKe19Aq3z3znelhs4m/NwSd1o6o0VTOyy3r+FY+k9dx1DKrl1KRx81FYmFSA5EHs12SvJulmoS7r5RkBBbgB5x6+Cx7t8f5XIEo6XsjeSWZThElm9ozbHXqZRVZZKWjfPHNY4DJojIBY1kpD8csWZcpdDjS0tiVy2p4pQpCyccx7eCStzEn7M4kRqoU1ALHK+RjeXhBcpmfTL3CL/wVopusJT9QGDICgQwPmHtXwQzpEiBi1oRmVoF75zGKhteddanr8uXfiJW3IyFgDUYoRoJBjyJxhFyW/uqCOPXGRxdMhAm4WuxoJyQ4VgFwqftPtGGYagFpAu97UpkEJ+f3wtvn2oAjoQ3gk95iPO7fbPimKqB29L52Ya4kVLyJlS2vCtcoqpYB7cU6tXLBKWI+b3GzZzlntRSigruqJZ60MhlGcoEtNRMsylE43Tr3B9IGpW5HeGHWGHAfRpjpldzFyMEqcg4v2f9ZGgVBIYxwZ/Sg6iSk+3iy5ebdbwQwrkX9zwVA96R19ftys+zBplsF62R1Sizai9+59mE1TW5WHuLFfhznsrDlJGuZlH9fYGN4nuOGjf+xd+sJfnpXI/QKakP7L6wfdwkuejMU36KNwp7Skqk9bj7wH2BTThQXPuriHuGttQHADZKGG3aNnoquFfOUZXLXmsiNPkk8RZikqErlJbgOiZ1xl9WglUgU0us7xeXS4Ndf2hjjpEOnRpa9c9e/MRuN3zg5Vo+F34/mzuwpHSfOYM26oWrZmZjUTXkchQncawDuZ9yRDrLIt27xpbNXmqjZy5h5VJ0z4dRPtO/tSzhwLilslcBQlzufk9jwkfbFIiAq1qSJ86pgZmMrC1oPB4+R7V3L1Evgx9CKaaMMedlUqoQZpEUkHluA8h/yVmcr2qYKKtJZsEvqC9GB8qafzvjkz7jvLKKLje2fNbOVdP/ocDU1ErTDZLUfPbSkiJLqDdpNhQzgkztskEE5uLVdkPw6zaBRzCELIL8w3eznKwMowZNqzxpJw2QEJ7H/Xmwrs/9sAWIvwowmuAWEYsqCIsSKv7faV+WAiGdif2MOJX6syPkeJeLY77u6iNkJmnYDQIavzkjvxBTuVkX4FO0Oes6H5XdUJl4AoejOPhd5O2LSd1GBFjaVeE7REu4LBmazI70xVBAwIBHJ17cTlVW9+A8ixn6oOr5ECLVcSAfZt5BIngiFPHqsMq1uf/kNBUGHBbHM28lA7Md1iOmhL9h5R7gOYjH2U8h2uzukdDWaZmu2iYp6qWtQpXbkhaRiROEwWb7RECUaln6K0pYh5OFvwiH1Ap3Xitl3FAGhycRTkaZb6ebqF8pUK5kowWMUC0/uinTuBGL+4gq3leqKG5HFtli8NjC1exRIKxIDcAlM5aXELBLwSJD6t1D/BYUSokxrCjpX1035uK/1asu/zkmT9eNe7fjXFxevcU4EaRWHvlajVZLEeLlskKMAuI+ZK3AqrprcTjobuk4j8FuHt6OJ0z7tnKlmwq7quTU57xwacmW1hoZB+IOLBaufaVV5BBg76PsIMokdEbWAwfyF78TM/Qg2EMLGnWLw+x4ayrEaOe139c7nRXJ6wNXUYLaZiPNgnCr7ltE7B0jmKrXTLBFuFjmYhtX0j7OBjY8n7eH32uj5DcEGj12TUkTd/zx/V+QiuN6fmsgvJWJEn+sWK7Ta9My3PmRK8QEzKWZgqzI3nDcshWuWFoMlBhYQ9vo+K75euzOIlUEA6xU+9qCnBL2cFbEluvlm7oMGexh+97SkSmTX83eLM0oidEb3GZK4YPJWk/OoiTHdGVg9LfI3Lth0ZCcTiKGxnOeRuskm0y01O9SIq171IsfZsEhBGwJEJxU1GZYh/QoSphw6o0eciYZ3uq11g==" title="Mekko Graphics Chart">
            <a:extLst>
              <a:ext uri="{FF2B5EF4-FFF2-40B4-BE49-F238E27FC236}">
                <a16:creationId xmlns:a16="http://schemas.microsoft.com/office/drawing/2014/main" id="{ADF9A08C-FD77-4FF3-9307-10D9D9652E8E}"/>
              </a:ext>
            </a:extLst>
          </p:cNvPr>
          <p:cNvSpPr>
            <a:spLocks noChangeAspect="1"/>
          </p:cNvSpPr>
          <p:nvPr>
            <p:custDataLst>
              <p:tags r:id="rId3"/>
            </p:custDataLst>
          </p:nvPr>
        </p:nvSpPr>
        <p:spPr bwMode="gray">
          <a:xfrm>
            <a:off x="279048" y="1271002"/>
            <a:ext cx="11525538" cy="5009809"/>
          </a:xfrm>
          <a:prstGeom prst="rect">
            <a:avLst/>
          </a:prstGeom>
          <a:blipFill>
            <a:blip r:embed="rId12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43" name="btfpColumnIndicatorGroup2">
            <a:extLst>
              <a:ext uri="{FF2B5EF4-FFF2-40B4-BE49-F238E27FC236}">
                <a16:creationId xmlns:a16="http://schemas.microsoft.com/office/drawing/2014/main" id="{1E684987-FD41-4CE4-9655-BD1C7E4FF729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40" name="btfpColumnGapBlocker942773">
              <a:extLst>
                <a:ext uri="{FF2B5EF4-FFF2-40B4-BE49-F238E27FC236}">
                  <a16:creationId xmlns:a16="http://schemas.microsoft.com/office/drawing/2014/main" id="{07779027-31DB-4A7B-87DE-AFB775D41FD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38" name="btfpColumnGapBlocker648732">
              <a:extLst>
                <a:ext uri="{FF2B5EF4-FFF2-40B4-BE49-F238E27FC236}">
                  <a16:creationId xmlns:a16="http://schemas.microsoft.com/office/drawing/2014/main" id="{D17D13B3-729A-4E10-933D-64E784401C1C}"/>
                </a:ext>
              </a:extLst>
            </p:cNvPr>
            <p:cNvSpPr/>
            <p:nvPr/>
          </p:nvSpPr>
          <p:spPr bwMode="gray">
            <a:xfrm>
              <a:off x="7837752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1" name="btfpColumnIndicator913244">
              <a:extLst>
                <a:ext uri="{FF2B5EF4-FFF2-40B4-BE49-F238E27FC236}">
                  <a16:creationId xmlns:a16="http://schemas.microsoft.com/office/drawing/2014/main" id="{C0267C4C-2040-4D67-99FD-04C22F5A14C8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btfpColumnIndicator700844">
              <a:extLst>
                <a:ext uri="{FF2B5EF4-FFF2-40B4-BE49-F238E27FC236}">
                  <a16:creationId xmlns:a16="http://schemas.microsoft.com/office/drawing/2014/main" id="{990689FB-5D33-43EB-A1C6-7B303FCEC0D2}"/>
                </a:ext>
              </a:extLst>
            </p:cNvPr>
            <p:cNvCxnSpPr/>
            <p:nvPr/>
          </p:nvCxnSpPr>
          <p:spPr bwMode="gray">
            <a:xfrm flipV="1">
              <a:off x="8378296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btfpColumnGapBlocker148025">
              <a:extLst>
                <a:ext uri="{FF2B5EF4-FFF2-40B4-BE49-F238E27FC236}">
                  <a16:creationId xmlns:a16="http://schemas.microsoft.com/office/drawing/2014/main" id="{7215A000-5BAF-441F-8F94-F84154727208}"/>
                </a:ext>
              </a:extLst>
            </p:cNvPr>
            <p:cNvSpPr/>
            <p:nvPr/>
          </p:nvSpPr>
          <p:spPr bwMode="gray">
            <a:xfrm>
              <a:off x="3813704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4" name="btfpColumnIndicator943053">
              <a:extLst>
                <a:ext uri="{FF2B5EF4-FFF2-40B4-BE49-F238E27FC236}">
                  <a16:creationId xmlns:a16="http://schemas.microsoft.com/office/drawing/2014/main" id="{A618271D-E2CE-4734-AE89-2CECCBAFF6EB}"/>
                </a:ext>
              </a:extLst>
            </p:cNvPr>
            <p:cNvCxnSpPr/>
            <p:nvPr/>
          </p:nvCxnSpPr>
          <p:spPr bwMode="gray">
            <a:xfrm flipV="1">
              <a:off x="783775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btfpColumnIndicator725581">
              <a:extLst>
                <a:ext uri="{FF2B5EF4-FFF2-40B4-BE49-F238E27FC236}">
                  <a16:creationId xmlns:a16="http://schemas.microsoft.com/office/drawing/2014/main" id="{E65A491C-9342-417A-AB76-FCE644C6B7A2}"/>
                </a:ext>
              </a:extLst>
            </p:cNvPr>
            <p:cNvCxnSpPr/>
            <p:nvPr/>
          </p:nvCxnSpPr>
          <p:spPr bwMode="gray">
            <a:xfrm flipV="1">
              <a:off x="435424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btfpColumnGapBlocker789773">
              <a:extLst>
                <a:ext uri="{FF2B5EF4-FFF2-40B4-BE49-F238E27FC236}">
                  <a16:creationId xmlns:a16="http://schemas.microsoft.com/office/drawing/2014/main" id="{7D319600-C5F3-4516-A666-99EC07F575BB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8" name="btfpColumnIndicator175847">
              <a:extLst>
                <a:ext uri="{FF2B5EF4-FFF2-40B4-BE49-F238E27FC236}">
                  <a16:creationId xmlns:a16="http://schemas.microsoft.com/office/drawing/2014/main" id="{4A99A18B-4592-485A-BCD0-479561679136}"/>
                </a:ext>
              </a:extLst>
            </p:cNvPr>
            <p:cNvCxnSpPr/>
            <p:nvPr/>
          </p:nvCxnSpPr>
          <p:spPr bwMode="gray">
            <a:xfrm flipV="1">
              <a:off x="3813704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253055">
              <a:extLst>
                <a:ext uri="{FF2B5EF4-FFF2-40B4-BE49-F238E27FC236}">
                  <a16:creationId xmlns:a16="http://schemas.microsoft.com/office/drawing/2014/main" id="{E5F20E72-CED5-41BB-8625-42E4883D0D17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2" name="btfpColumnIndicatorGroup1">
            <a:extLst>
              <a:ext uri="{FF2B5EF4-FFF2-40B4-BE49-F238E27FC236}">
                <a16:creationId xmlns:a16="http://schemas.microsoft.com/office/drawing/2014/main" id="{D9A572FE-67A9-4E0B-B67C-5C82B156F5B6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39" name="btfpColumnGapBlocker299740">
              <a:extLst>
                <a:ext uri="{FF2B5EF4-FFF2-40B4-BE49-F238E27FC236}">
                  <a16:creationId xmlns:a16="http://schemas.microsoft.com/office/drawing/2014/main" id="{B21BF74B-6198-4EBF-9D0A-D9351472AC78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35" name="btfpColumnGapBlocker281797">
              <a:extLst>
                <a:ext uri="{FF2B5EF4-FFF2-40B4-BE49-F238E27FC236}">
                  <a16:creationId xmlns:a16="http://schemas.microsoft.com/office/drawing/2014/main" id="{E959CFBF-4C0D-4A4B-94C7-44AF5A760415}"/>
                </a:ext>
              </a:extLst>
            </p:cNvPr>
            <p:cNvSpPr/>
            <p:nvPr/>
          </p:nvSpPr>
          <p:spPr bwMode="gray">
            <a:xfrm>
              <a:off x="7837752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9" name="btfpColumnIndicator499124">
              <a:extLst>
                <a:ext uri="{FF2B5EF4-FFF2-40B4-BE49-F238E27FC236}">
                  <a16:creationId xmlns:a16="http://schemas.microsoft.com/office/drawing/2014/main" id="{3FFD4269-D08A-4944-A7C3-60C133D2F3FA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btfpColumnIndicator834502">
              <a:extLst>
                <a:ext uri="{FF2B5EF4-FFF2-40B4-BE49-F238E27FC236}">
                  <a16:creationId xmlns:a16="http://schemas.microsoft.com/office/drawing/2014/main" id="{2B9295D0-BFA4-4985-B1BD-437383117985}"/>
                </a:ext>
              </a:extLst>
            </p:cNvPr>
            <p:cNvCxnSpPr/>
            <p:nvPr/>
          </p:nvCxnSpPr>
          <p:spPr bwMode="gray">
            <a:xfrm flipV="1">
              <a:off x="8378296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btfpColumnGapBlocker725468">
              <a:extLst>
                <a:ext uri="{FF2B5EF4-FFF2-40B4-BE49-F238E27FC236}">
                  <a16:creationId xmlns:a16="http://schemas.microsoft.com/office/drawing/2014/main" id="{6406FC8A-9158-47BB-A3E4-309F5D1883FC}"/>
                </a:ext>
              </a:extLst>
            </p:cNvPr>
            <p:cNvSpPr/>
            <p:nvPr/>
          </p:nvSpPr>
          <p:spPr bwMode="gray">
            <a:xfrm>
              <a:off x="3813704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3" name="btfpColumnIndicator207414">
              <a:extLst>
                <a:ext uri="{FF2B5EF4-FFF2-40B4-BE49-F238E27FC236}">
                  <a16:creationId xmlns:a16="http://schemas.microsoft.com/office/drawing/2014/main" id="{66693C35-70BD-4952-82AF-0C19305D4133}"/>
                </a:ext>
              </a:extLst>
            </p:cNvPr>
            <p:cNvCxnSpPr/>
            <p:nvPr/>
          </p:nvCxnSpPr>
          <p:spPr bwMode="gray">
            <a:xfrm flipV="1">
              <a:off x="783775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btfpColumnIndicator891237">
              <a:extLst>
                <a:ext uri="{FF2B5EF4-FFF2-40B4-BE49-F238E27FC236}">
                  <a16:creationId xmlns:a16="http://schemas.microsoft.com/office/drawing/2014/main" id="{E22E6B23-E6F4-4EED-9429-040AA09ABC1E}"/>
                </a:ext>
              </a:extLst>
            </p:cNvPr>
            <p:cNvCxnSpPr/>
            <p:nvPr/>
          </p:nvCxnSpPr>
          <p:spPr bwMode="gray">
            <a:xfrm flipV="1">
              <a:off x="435424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btfpColumnGapBlocker568354">
              <a:extLst>
                <a:ext uri="{FF2B5EF4-FFF2-40B4-BE49-F238E27FC236}">
                  <a16:creationId xmlns:a16="http://schemas.microsoft.com/office/drawing/2014/main" id="{A0A72D13-0FA5-4F74-A821-727CCD2D3F71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5" name="btfpColumnIndicator252422">
              <a:extLst>
                <a:ext uri="{FF2B5EF4-FFF2-40B4-BE49-F238E27FC236}">
                  <a16:creationId xmlns:a16="http://schemas.microsoft.com/office/drawing/2014/main" id="{C1B7B5E9-DAFE-419A-BDD7-0ACD42EB3483}"/>
                </a:ext>
              </a:extLst>
            </p:cNvPr>
            <p:cNvCxnSpPr/>
            <p:nvPr/>
          </p:nvCxnSpPr>
          <p:spPr bwMode="gray">
            <a:xfrm flipV="1">
              <a:off x="3813704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" name="btfpColumnIndicator889916">
              <a:extLst>
                <a:ext uri="{FF2B5EF4-FFF2-40B4-BE49-F238E27FC236}">
                  <a16:creationId xmlns:a16="http://schemas.microsoft.com/office/drawing/2014/main" id="{720F5DD7-A17A-49CD-B49F-4B097E76E749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2" name="btfpRunningAgenda2Level228391">
            <a:extLst>
              <a:ext uri="{FF2B5EF4-FFF2-40B4-BE49-F238E27FC236}">
                <a16:creationId xmlns:a16="http://schemas.microsoft.com/office/drawing/2014/main" id="{3C3ED3CF-9695-4C80-ACD0-EF63C1245ECF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-1" y="944429"/>
            <a:ext cx="4397095" cy="257442"/>
            <a:chOff x="-1" y="876300"/>
            <a:chExt cx="4397095" cy="257442"/>
          </a:xfrm>
        </p:grpSpPr>
        <p:sp>
          <p:nvSpPr>
            <p:cNvPr id="33" name="btfpRunningAgenda2LevelBarLeft228391">
              <a:extLst>
                <a:ext uri="{FF2B5EF4-FFF2-40B4-BE49-F238E27FC236}">
                  <a16:creationId xmlns:a16="http://schemas.microsoft.com/office/drawing/2014/main" id="{28C9D338-C5AF-48A5-A47C-2AEBA4F1D927}"/>
                </a:ext>
              </a:extLst>
            </p:cNvPr>
            <p:cNvSpPr/>
            <p:nvPr/>
          </p:nvSpPr>
          <p:spPr bwMode="gray">
            <a:xfrm>
              <a:off x="-1" y="876300"/>
              <a:ext cx="2327781" cy="257442"/>
            </a:xfrm>
            <a:custGeom>
              <a:avLst/>
              <a:gdLst>
                <a:gd name="connsiteX0" fmla="*/ 986067 w 2696920"/>
                <a:gd name="connsiteY0" fmla="*/ 0 h 257442"/>
                <a:gd name="connsiteX1" fmla="*/ 2696920 w 2696920"/>
                <a:gd name="connsiteY1" fmla="*/ 0 h 257442"/>
                <a:gd name="connsiteX2" fmla="*/ 2642199 w 2696920"/>
                <a:gd name="connsiteY2" fmla="*/ 257442 h 257442"/>
                <a:gd name="connsiteX3" fmla="*/ 0 w 2696920"/>
                <a:gd name="connsiteY3" fmla="*/ 257442 h 257442"/>
                <a:gd name="connsiteX0" fmla="*/ 986067 w 2642199"/>
                <a:gd name="connsiteY0" fmla="*/ 0 h 257442"/>
                <a:gd name="connsiteX1" fmla="*/ 931346 w 2642199"/>
                <a:gd name="connsiteY1" fmla="*/ 257442 h 257442"/>
                <a:gd name="connsiteX2" fmla="*/ 2642199 w 2642199"/>
                <a:gd name="connsiteY2" fmla="*/ 257442 h 257442"/>
                <a:gd name="connsiteX3" fmla="*/ 0 w 2642199"/>
                <a:gd name="connsiteY3" fmla="*/ 257442 h 257442"/>
                <a:gd name="connsiteX0" fmla="*/ 986067 w 986067"/>
                <a:gd name="connsiteY0" fmla="*/ 0 h 257442"/>
                <a:gd name="connsiteX1" fmla="*/ 931346 w 986067"/>
                <a:gd name="connsiteY1" fmla="*/ 257442 h 257442"/>
                <a:gd name="connsiteX2" fmla="*/ 1 w 986067"/>
                <a:gd name="connsiteY2" fmla="*/ 257442 h 257442"/>
                <a:gd name="connsiteX3" fmla="*/ 0 w 986067"/>
                <a:gd name="connsiteY3" fmla="*/ 257442 h 257442"/>
                <a:gd name="connsiteX0" fmla="*/ 986066 w 986066"/>
                <a:gd name="connsiteY0" fmla="*/ 0 h 257442"/>
                <a:gd name="connsiteX1" fmla="*/ 931345 w 986066"/>
                <a:gd name="connsiteY1" fmla="*/ 257442 h 257442"/>
                <a:gd name="connsiteX2" fmla="*/ 0 w 986066"/>
                <a:gd name="connsiteY2" fmla="*/ 257442 h 257442"/>
                <a:gd name="connsiteX3" fmla="*/ 0 w 986066"/>
                <a:gd name="connsiteY3" fmla="*/ 0 h 257442"/>
                <a:gd name="connsiteX0" fmla="*/ 1163999 w 1163999"/>
                <a:gd name="connsiteY0" fmla="*/ 0 h 257442"/>
                <a:gd name="connsiteX1" fmla="*/ 931345 w 1163999"/>
                <a:gd name="connsiteY1" fmla="*/ 257442 h 257442"/>
                <a:gd name="connsiteX2" fmla="*/ 0 w 1163999"/>
                <a:gd name="connsiteY2" fmla="*/ 257442 h 257442"/>
                <a:gd name="connsiteX3" fmla="*/ 0 w 1163999"/>
                <a:gd name="connsiteY3" fmla="*/ 0 h 257442"/>
                <a:gd name="connsiteX0" fmla="*/ 1163999 w 1163999"/>
                <a:gd name="connsiteY0" fmla="*/ 0 h 257442"/>
                <a:gd name="connsiteX1" fmla="*/ 1109278 w 1163999"/>
                <a:gd name="connsiteY1" fmla="*/ 257442 h 257442"/>
                <a:gd name="connsiteX2" fmla="*/ 0 w 1163999"/>
                <a:gd name="connsiteY2" fmla="*/ 257442 h 257442"/>
                <a:gd name="connsiteX3" fmla="*/ 0 w 1163999"/>
                <a:gd name="connsiteY3" fmla="*/ 0 h 257442"/>
                <a:gd name="connsiteX0" fmla="*/ 1164000 w 1164000"/>
                <a:gd name="connsiteY0" fmla="*/ 0 h 257442"/>
                <a:gd name="connsiteX1" fmla="*/ 1109279 w 1164000"/>
                <a:gd name="connsiteY1" fmla="*/ 257442 h 257442"/>
                <a:gd name="connsiteX2" fmla="*/ 0 w 1164000"/>
                <a:gd name="connsiteY2" fmla="*/ 257442 h 257442"/>
                <a:gd name="connsiteX3" fmla="*/ 1 w 1164000"/>
                <a:gd name="connsiteY3" fmla="*/ 0 h 257442"/>
                <a:gd name="connsiteX0" fmla="*/ 1164000 w 1164000"/>
                <a:gd name="connsiteY0" fmla="*/ 0 h 257442"/>
                <a:gd name="connsiteX1" fmla="*/ 1109279 w 1164000"/>
                <a:gd name="connsiteY1" fmla="*/ 257442 h 257442"/>
                <a:gd name="connsiteX2" fmla="*/ 0 w 1164000"/>
                <a:gd name="connsiteY2" fmla="*/ 257442 h 257442"/>
                <a:gd name="connsiteX3" fmla="*/ 0 w 1164000"/>
                <a:gd name="connsiteY3" fmla="*/ 0 h 257442"/>
                <a:gd name="connsiteX0" fmla="*/ 1332316 w 1332316"/>
                <a:gd name="connsiteY0" fmla="*/ 0 h 257442"/>
                <a:gd name="connsiteX1" fmla="*/ 1109279 w 1332316"/>
                <a:gd name="connsiteY1" fmla="*/ 257442 h 257442"/>
                <a:gd name="connsiteX2" fmla="*/ 0 w 1332316"/>
                <a:gd name="connsiteY2" fmla="*/ 257442 h 257442"/>
                <a:gd name="connsiteX3" fmla="*/ 0 w 1332316"/>
                <a:gd name="connsiteY3" fmla="*/ 0 h 257442"/>
                <a:gd name="connsiteX0" fmla="*/ 1332316 w 1332316"/>
                <a:gd name="connsiteY0" fmla="*/ 0 h 257442"/>
                <a:gd name="connsiteX1" fmla="*/ 1277595 w 1332316"/>
                <a:gd name="connsiteY1" fmla="*/ 257442 h 257442"/>
                <a:gd name="connsiteX2" fmla="*/ 0 w 1332316"/>
                <a:gd name="connsiteY2" fmla="*/ 257442 h 257442"/>
                <a:gd name="connsiteX3" fmla="*/ 0 w 1332316"/>
                <a:gd name="connsiteY3" fmla="*/ 0 h 257442"/>
                <a:gd name="connsiteX0" fmla="*/ 1332316 w 1332316"/>
                <a:gd name="connsiteY0" fmla="*/ 0 h 257442"/>
                <a:gd name="connsiteX1" fmla="*/ 1277595 w 1332316"/>
                <a:gd name="connsiteY1" fmla="*/ 257442 h 257442"/>
                <a:gd name="connsiteX2" fmla="*/ 0 w 1332316"/>
                <a:gd name="connsiteY2" fmla="*/ 257442 h 257442"/>
                <a:gd name="connsiteX3" fmla="*/ 0 w 1332316"/>
                <a:gd name="connsiteY3" fmla="*/ 0 h 257442"/>
                <a:gd name="connsiteX0" fmla="*/ 1332316 w 1332316"/>
                <a:gd name="connsiteY0" fmla="*/ 0 h 257442"/>
                <a:gd name="connsiteX1" fmla="*/ 1277595 w 1332316"/>
                <a:gd name="connsiteY1" fmla="*/ 257442 h 257442"/>
                <a:gd name="connsiteX2" fmla="*/ 0 w 1332316"/>
                <a:gd name="connsiteY2" fmla="*/ 257442 h 257442"/>
                <a:gd name="connsiteX3" fmla="*/ 0 w 1332316"/>
                <a:gd name="connsiteY3" fmla="*/ 0 h 257442"/>
                <a:gd name="connsiteX0" fmla="*/ 1164000 w 1277595"/>
                <a:gd name="connsiteY0" fmla="*/ 0 h 257442"/>
                <a:gd name="connsiteX1" fmla="*/ 1277595 w 1277595"/>
                <a:gd name="connsiteY1" fmla="*/ 257442 h 257442"/>
                <a:gd name="connsiteX2" fmla="*/ 0 w 1277595"/>
                <a:gd name="connsiteY2" fmla="*/ 257442 h 257442"/>
                <a:gd name="connsiteX3" fmla="*/ 0 w 1277595"/>
                <a:gd name="connsiteY3" fmla="*/ 0 h 257442"/>
                <a:gd name="connsiteX0" fmla="*/ 1164000 w 1164000"/>
                <a:gd name="connsiteY0" fmla="*/ 0 h 257442"/>
                <a:gd name="connsiteX1" fmla="*/ 1109280 w 1164000"/>
                <a:gd name="connsiteY1" fmla="*/ 257442 h 257442"/>
                <a:gd name="connsiteX2" fmla="*/ 0 w 1164000"/>
                <a:gd name="connsiteY2" fmla="*/ 257442 h 257442"/>
                <a:gd name="connsiteX3" fmla="*/ 0 w 1164000"/>
                <a:gd name="connsiteY3" fmla="*/ 0 h 257442"/>
                <a:gd name="connsiteX0" fmla="*/ 1164000 w 1164000"/>
                <a:gd name="connsiteY0" fmla="*/ 0 h 257442"/>
                <a:gd name="connsiteX1" fmla="*/ 1109280 w 1164000"/>
                <a:gd name="connsiteY1" fmla="*/ 257442 h 257442"/>
                <a:gd name="connsiteX2" fmla="*/ 1 w 1164000"/>
                <a:gd name="connsiteY2" fmla="*/ 257442 h 257442"/>
                <a:gd name="connsiteX3" fmla="*/ 0 w 1164000"/>
                <a:gd name="connsiteY3" fmla="*/ 0 h 257442"/>
                <a:gd name="connsiteX0" fmla="*/ 1163999 w 1163999"/>
                <a:gd name="connsiteY0" fmla="*/ 0 h 257442"/>
                <a:gd name="connsiteX1" fmla="*/ 1109279 w 1163999"/>
                <a:gd name="connsiteY1" fmla="*/ 257442 h 257442"/>
                <a:gd name="connsiteX2" fmla="*/ 0 w 1163999"/>
                <a:gd name="connsiteY2" fmla="*/ 257442 h 257442"/>
                <a:gd name="connsiteX3" fmla="*/ 0 w 1163999"/>
                <a:gd name="connsiteY3" fmla="*/ 0 h 257442"/>
                <a:gd name="connsiteX0" fmla="*/ 986067 w 1109279"/>
                <a:gd name="connsiteY0" fmla="*/ 0 h 257442"/>
                <a:gd name="connsiteX1" fmla="*/ 1109279 w 1109279"/>
                <a:gd name="connsiteY1" fmla="*/ 257442 h 257442"/>
                <a:gd name="connsiteX2" fmla="*/ 0 w 1109279"/>
                <a:gd name="connsiteY2" fmla="*/ 257442 h 257442"/>
                <a:gd name="connsiteX3" fmla="*/ 0 w 1109279"/>
                <a:gd name="connsiteY3" fmla="*/ 0 h 257442"/>
                <a:gd name="connsiteX0" fmla="*/ 986067 w 986067"/>
                <a:gd name="connsiteY0" fmla="*/ 0 h 257442"/>
                <a:gd name="connsiteX1" fmla="*/ 931346 w 986067"/>
                <a:gd name="connsiteY1" fmla="*/ 257442 h 257442"/>
                <a:gd name="connsiteX2" fmla="*/ 0 w 986067"/>
                <a:gd name="connsiteY2" fmla="*/ 257442 h 257442"/>
                <a:gd name="connsiteX3" fmla="*/ 0 w 986067"/>
                <a:gd name="connsiteY3" fmla="*/ 0 h 257442"/>
                <a:gd name="connsiteX0" fmla="*/ 986067 w 986067"/>
                <a:gd name="connsiteY0" fmla="*/ 0 h 257442"/>
                <a:gd name="connsiteX1" fmla="*/ 931346 w 986067"/>
                <a:gd name="connsiteY1" fmla="*/ 257442 h 257442"/>
                <a:gd name="connsiteX2" fmla="*/ 0 w 986067"/>
                <a:gd name="connsiteY2" fmla="*/ 257442 h 257442"/>
                <a:gd name="connsiteX3" fmla="*/ 0 w 986067"/>
                <a:gd name="connsiteY3" fmla="*/ 0 h 257442"/>
                <a:gd name="connsiteX0" fmla="*/ 986067 w 986067"/>
                <a:gd name="connsiteY0" fmla="*/ 0 h 257442"/>
                <a:gd name="connsiteX1" fmla="*/ 931346 w 986067"/>
                <a:gd name="connsiteY1" fmla="*/ 257442 h 257442"/>
                <a:gd name="connsiteX2" fmla="*/ 0 w 986067"/>
                <a:gd name="connsiteY2" fmla="*/ 257442 h 257442"/>
                <a:gd name="connsiteX3" fmla="*/ 0 w 986067"/>
                <a:gd name="connsiteY3" fmla="*/ 0 h 257442"/>
                <a:gd name="connsiteX0" fmla="*/ 782550 w 931346"/>
                <a:gd name="connsiteY0" fmla="*/ 0 h 257442"/>
                <a:gd name="connsiteX1" fmla="*/ 931346 w 931346"/>
                <a:gd name="connsiteY1" fmla="*/ 257442 h 257442"/>
                <a:gd name="connsiteX2" fmla="*/ 0 w 931346"/>
                <a:gd name="connsiteY2" fmla="*/ 257442 h 257442"/>
                <a:gd name="connsiteX3" fmla="*/ 0 w 931346"/>
                <a:gd name="connsiteY3" fmla="*/ 0 h 257442"/>
                <a:gd name="connsiteX0" fmla="*/ 782550 w 782550"/>
                <a:gd name="connsiteY0" fmla="*/ 0 h 257442"/>
                <a:gd name="connsiteX1" fmla="*/ 727829 w 782550"/>
                <a:gd name="connsiteY1" fmla="*/ 257442 h 257442"/>
                <a:gd name="connsiteX2" fmla="*/ 0 w 782550"/>
                <a:gd name="connsiteY2" fmla="*/ 257442 h 257442"/>
                <a:gd name="connsiteX3" fmla="*/ 0 w 782550"/>
                <a:gd name="connsiteY3" fmla="*/ 0 h 257442"/>
                <a:gd name="connsiteX0" fmla="*/ 782550 w 782550"/>
                <a:gd name="connsiteY0" fmla="*/ 0 h 257442"/>
                <a:gd name="connsiteX1" fmla="*/ 727829 w 782550"/>
                <a:gd name="connsiteY1" fmla="*/ 257442 h 257442"/>
                <a:gd name="connsiteX2" fmla="*/ 0 w 782550"/>
                <a:gd name="connsiteY2" fmla="*/ 257442 h 257442"/>
                <a:gd name="connsiteX3" fmla="*/ 0 w 782550"/>
                <a:gd name="connsiteY3" fmla="*/ 0 h 257442"/>
                <a:gd name="connsiteX0" fmla="*/ 782550 w 782550"/>
                <a:gd name="connsiteY0" fmla="*/ 0 h 257442"/>
                <a:gd name="connsiteX1" fmla="*/ 727829 w 782550"/>
                <a:gd name="connsiteY1" fmla="*/ 257442 h 257442"/>
                <a:gd name="connsiteX2" fmla="*/ 0 w 782550"/>
                <a:gd name="connsiteY2" fmla="*/ 257442 h 257442"/>
                <a:gd name="connsiteX3" fmla="*/ 0 w 782550"/>
                <a:gd name="connsiteY3" fmla="*/ 0 h 257442"/>
                <a:gd name="connsiteX0" fmla="*/ 986067 w 986067"/>
                <a:gd name="connsiteY0" fmla="*/ 0 h 257442"/>
                <a:gd name="connsiteX1" fmla="*/ 727829 w 986067"/>
                <a:gd name="connsiteY1" fmla="*/ 257442 h 257442"/>
                <a:gd name="connsiteX2" fmla="*/ 0 w 986067"/>
                <a:gd name="connsiteY2" fmla="*/ 257442 h 257442"/>
                <a:gd name="connsiteX3" fmla="*/ 0 w 986067"/>
                <a:gd name="connsiteY3" fmla="*/ 0 h 257442"/>
                <a:gd name="connsiteX0" fmla="*/ 986067 w 986067"/>
                <a:gd name="connsiteY0" fmla="*/ 0 h 257442"/>
                <a:gd name="connsiteX1" fmla="*/ 931346 w 986067"/>
                <a:gd name="connsiteY1" fmla="*/ 257442 h 257442"/>
                <a:gd name="connsiteX2" fmla="*/ 0 w 986067"/>
                <a:gd name="connsiteY2" fmla="*/ 257442 h 257442"/>
                <a:gd name="connsiteX3" fmla="*/ 0 w 986067"/>
                <a:gd name="connsiteY3" fmla="*/ 0 h 257442"/>
                <a:gd name="connsiteX0" fmla="*/ 986067 w 986067"/>
                <a:gd name="connsiteY0" fmla="*/ 0 h 257442"/>
                <a:gd name="connsiteX1" fmla="*/ 931346 w 986067"/>
                <a:gd name="connsiteY1" fmla="*/ 257442 h 257442"/>
                <a:gd name="connsiteX2" fmla="*/ 0 w 986067"/>
                <a:gd name="connsiteY2" fmla="*/ 257442 h 257442"/>
                <a:gd name="connsiteX3" fmla="*/ 0 w 986067"/>
                <a:gd name="connsiteY3" fmla="*/ 0 h 257442"/>
                <a:gd name="connsiteX0" fmla="*/ 986067 w 986067"/>
                <a:gd name="connsiteY0" fmla="*/ 0 h 257442"/>
                <a:gd name="connsiteX1" fmla="*/ 931346 w 986067"/>
                <a:gd name="connsiteY1" fmla="*/ 257442 h 257442"/>
                <a:gd name="connsiteX2" fmla="*/ 0 w 986067"/>
                <a:gd name="connsiteY2" fmla="*/ 257442 h 257442"/>
                <a:gd name="connsiteX3" fmla="*/ 0 w 986067"/>
                <a:gd name="connsiteY3" fmla="*/ 0 h 257442"/>
                <a:gd name="connsiteX0" fmla="*/ 1164000 w 1164000"/>
                <a:gd name="connsiteY0" fmla="*/ 0 h 257442"/>
                <a:gd name="connsiteX1" fmla="*/ 931346 w 1164000"/>
                <a:gd name="connsiteY1" fmla="*/ 257442 h 257442"/>
                <a:gd name="connsiteX2" fmla="*/ 0 w 1164000"/>
                <a:gd name="connsiteY2" fmla="*/ 257442 h 257442"/>
                <a:gd name="connsiteX3" fmla="*/ 0 w 1164000"/>
                <a:gd name="connsiteY3" fmla="*/ 0 h 257442"/>
                <a:gd name="connsiteX0" fmla="*/ 1164000 w 1164000"/>
                <a:gd name="connsiteY0" fmla="*/ 0 h 257442"/>
                <a:gd name="connsiteX1" fmla="*/ 1109278 w 1164000"/>
                <a:gd name="connsiteY1" fmla="*/ 257442 h 257442"/>
                <a:gd name="connsiteX2" fmla="*/ 0 w 1164000"/>
                <a:gd name="connsiteY2" fmla="*/ 257442 h 257442"/>
                <a:gd name="connsiteX3" fmla="*/ 0 w 1164000"/>
                <a:gd name="connsiteY3" fmla="*/ 0 h 257442"/>
                <a:gd name="connsiteX0" fmla="*/ 1164001 w 1164001"/>
                <a:gd name="connsiteY0" fmla="*/ 0 h 257442"/>
                <a:gd name="connsiteX1" fmla="*/ 1109279 w 1164001"/>
                <a:gd name="connsiteY1" fmla="*/ 257442 h 257442"/>
                <a:gd name="connsiteX2" fmla="*/ 0 w 1164001"/>
                <a:gd name="connsiteY2" fmla="*/ 257442 h 257442"/>
                <a:gd name="connsiteX3" fmla="*/ 1 w 1164001"/>
                <a:gd name="connsiteY3" fmla="*/ 0 h 257442"/>
                <a:gd name="connsiteX0" fmla="*/ 1164001 w 1164001"/>
                <a:gd name="connsiteY0" fmla="*/ 0 h 257442"/>
                <a:gd name="connsiteX1" fmla="*/ 1109279 w 1164001"/>
                <a:gd name="connsiteY1" fmla="*/ 257442 h 257442"/>
                <a:gd name="connsiteX2" fmla="*/ 0 w 1164001"/>
                <a:gd name="connsiteY2" fmla="*/ 257442 h 257442"/>
                <a:gd name="connsiteX3" fmla="*/ 1 w 1164001"/>
                <a:gd name="connsiteY3" fmla="*/ 0 h 257442"/>
                <a:gd name="connsiteX0" fmla="*/ 1332317 w 1332317"/>
                <a:gd name="connsiteY0" fmla="*/ 0 h 257442"/>
                <a:gd name="connsiteX1" fmla="*/ 1109279 w 1332317"/>
                <a:gd name="connsiteY1" fmla="*/ 257442 h 257442"/>
                <a:gd name="connsiteX2" fmla="*/ 0 w 1332317"/>
                <a:gd name="connsiteY2" fmla="*/ 257442 h 257442"/>
                <a:gd name="connsiteX3" fmla="*/ 1 w 1332317"/>
                <a:gd name="connsiteY3" fmla="*/ 0 h 257442"/>
                <a:gd name="connsiteX0" fmla="*/ 1332317 w 1332317"/>
                <a:gd name="connsiteY0" fmla="*/ 0 h 257442"/>
                <a:gd name="connsiteX1" fmla="*/ 1277596 w 1332317"/>
                <a:gd name="connsiteY1" fmla="*/ 257442 h 257442"/>
                <a:gd name="connsiteX2" fmla="*/ 0 w 1332317"/>
                <a:gd name="connsiteY2" fmla="*/ 257442 h 257442"/>
                <a:gd name="connsiteX3" fmla="*/ 1 w 1332317"/>
                <a:gd name="connsiteY3" fmla="*/ 0 h 257442"/>
                <a:gd name="connsiteX0" fmla="*/ 1332316 w 1332316"/>
                <a:gd name="connsiteY0" fmla="*/ 0 h 257442"/>
                <a:gd name="connsiteX1" fmla="*/ 1277595 w 1332316"/>
                <a:gd name="connsiteY1" fmla="*/ 257442 h 257442"/>
                <a:gd name="connsiteX2" fmla="*/ 0 w 1332316"/>
                <a:gd name="connsiteY2" fmla="*/ 257442 h 257442"/>
                <a:gd name="connsiteX3" fmla="*/ 0 w 1332316"/>
                <a:gd name="connsiteY3" fmla="*/ 0 h 257442"/>
                <a:gd name="connsiteX0" fmla="*/ 1332317 w 1332317"/>
                <a:gd name="connsiteY0" fmla="*/ 0 h 257442"/>
                <a:gd name="connsiteX1" fmla="*/ 1277596 w 1332317"/>
                <a:gd name="connsiteY1" fmla="*/ 257442 h 257442"/>
                <a:gd name="connsiteX2" fmla="*/ 1 w 1332317"/>
                <a:gd name="connsiteY2" fmla="*/ 257442 h 257442"/>
                <a:gd name="connsiteX3" fmla="*/ 0 w 1332317"/>
                <a:gd name="connsiteY3" fmla="*/ 0 h 257442"/>
                <a:gd name="connsiteX0" fmla="*/ 1500632 w 1500632"/>
                <a:gd name="connsiteY0" fmla="*/ 0 h 257442"/>
                <a:gd name="connsiteX1" fmla="*/ 1277596 w 1500632"/>
                <a:gd name="connsiteY1" fmla="*/ 257442 h 257442"/>
                <a:gd name="connsiteX2" fmla="*/ 1 w 1500632"/>
                <a:gd name="connsiteY2" fmla="*/ 257442 h 257442"/>
                <a:gd name="connsiteX3" fmla="*/ 0 w 1500632"/>
                <a:gd name="connsiteY3" fmla="*/ 0 h 257442"/>
                <a:gd name="connsiteX0" fmla="*/ 1500632 w 1500632"/>
                <a:gd name="connsiteY0" fmla="*/ 0 h 257442"/>
                <a:gd name="connsiteX1" fmla="*/ 1445910 w 1500632"/>
                <a:gd name="connsiteY1" fmla="*/ 257442 h 257442"/>
                <a:gd name="connsiteX2" fmla="*/ 1 w 1500632"/>
                <a:gd name="connsiteY2" fmla="*/ 257442 h 257442"/>
                <a:gd name="connsiteX3" fmla="*/ 0 w 1500632"/>
                <a:gd name="connsiteY3" fmla="*/ 0 h 257442"/>
                <a:gd name="connsiteX0" fmla="*/ 1500632 w 1500632"/>
                <a:gd name="connsiteY0" fmla="*/ 0 h 257442"/>
                <a:gd name="connsiteX1" fmla="*/ 1445910 w 1500632"/>
                <a:gd name="connsiteY1" fmla="*/ 257442 h 257442"/>
                <a:gd name="connsiteX2" fmla="*/ 0 w 1500632"/>
                <a:gd name="connsiteY2" fmla="*/ 257442 h 257442"/>
                <a:gd name="connsiteX3" fmla="*/ 0 w 1500632"/>
                <a:gd name="connsiteY3" fmla="*/ 0 h 257442"/>
                <a:gd name="connsiteX0" fmla="*/ 1500632 w 1500632"/>
                <a:gd name="connsiteY0" fmla="*/ 0 h 257442"/>
                <a:gd name="connsiteX1" fmla="*/ 1445910 w 1500632"/>
                <a:gd name="connsiteY1" fmla="*/ 257442 h 257442"/>
                <a:gd name="connsiteX2" fmla="*/ 0 w 1500632"/>
                <a:gd name="connsiteY2" fmla="*/ 257442 h 257442"/>
                <a:gd name="connsiteX3" fmla="*/ 0 w 1500632"/>
                <a:gd name="connsiteY3" fmla="*/ 0 h 257442"/>
                <a:gd name="connsiteX0" fmla="*/ 1652916 w 1652916"/>
                <a:gd name="connsiteY0" fmla="*/ 0 h 257442"/>
                <a:gd name="connsiteX1" fmla="*/ 1445910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652916 w 1652916"/>
                <a:gd name="connsiteY0" fmla="*/ 0 h 257442"/>
                <a:gd name="connsiteX1" fmla="*/ 1598195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652916 w 1652916"/>
                <a:gd name="connsiteY0" fmla="*/ 0 h 257442"/>
                <a:gd name="connsiteX1" fmla="*/ 1598195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652916 w 1652916"/>
                <a:gd name="connsiteY0" fmla="*/ 0 h 257442"/>
                <a:gd name="connsiteX1" fmla="*/ 1598195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821231 w 1821231"/>
                <a:gd name="connsiteY0" fmla="*/ 0 h 257442"/>
                <a:gd name="connsiteX1" fmla="*/ 1598195 w 1821231"/>
                <a:gd name="connsiteY1" fmla="*/ 257442 h 257442"/>
                <a:gd name="connsiteX2" fmla="*/ 0 w 1821231"/>
                <a:gd name="connsiteY2" fmla="*/ 257442 h 257442"/>
                <a:gd name="connsiteX3" fmla="*/ 0 w 1821231"/>
                <a:gd name="connsiteY3" fmla="*/ 0 h 257442"/>
                <a:gd name="connsiteX0" fmla="*/ 1821231 w 1821231"/>
                <a:gd name="connsiteY0" fmla="*/ 0 h 257442"/>
                <a:gd name="connsiteX1" fmla="*/ 1766510 w 1821231"/>
                <a:gd name="connsiteY1" fmla="*/ 257442 h 257442"/>
                <a:gd name="connsiteX2" fmla="*/ 0 w 1821231"/>
                <a:gd name="connsiteY2" fmla="*/ 257442 h 257442"/>
                <a:gd name="connsiteX3" fmla="*/ 0 w 1821231"/>
                <a:gd name="connsiteY3" fmla="*/ 0 h 257442"/>
                <a:gd name="connsiteX0" fmla="*/ 1821231 w 1821231"/>
                <a:gd name="connsiteY0" fmla="*/ 0 h 257442"/>
                <a:gd name="connsiteX1" fmla="*/ 1766510 w 1821231"/>
                <a:gd name="connsiteY1" fmla="*/ 257442 h 257442"/>
                <a:gd name="connsiteX2" fmla="*/ 0 w 1821231"/>
                <a:gd name="connsiteY2" fmla="*/ 257442 h 257442"/>
                <a:gd name="connsiteX3" fmla="*/ 0 w 1821231"/>
                <a:gd name="connsiteY3" fmla="*/ 0 h 257442"/>
                <a:gd name="connsiteX0" fmla="*/ 1821231 w 1821231"/>
                <a:gd name="connsiteY0" fmla="*/ 0 h 257442"/>
                <a:gd name="connsiteX1" fmla="*/ 1766510 w 1821231"/>
                <a:gd name="connsiteY1" fmla="*/ 257442 h 257442"/>
                <a:gd name="connsiteX2" fmla="*/ 0 w 1821231"/>
                <a:gd name="connsiteY2" fmla="*/ 257442 h 257442"/>
                <a:gd name="connsiteX3" fmla="*/ 0 w 1821231"/>
                <a:gd name="connsiteY3" fmla="*/ 0 h 257442"/>
                <a:gd name="connsiteX0" fmla="*/ 1999165 w 1999165"/>
                <a:gd name="connsiteY0" fmla="*/ 0 h 257442"/>
                <a:gd name="connsiteX1" fmla="*/ 1766510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2167480 w 2167480"/>
                <a:gd name="connsiteY0" fmla="*/ 0 h 257442"/>
                <a:gd name="connsiteX1" fmla="*/ 1944444 w 2167480"/>
                <a:gd name="connsiteY1" fmla="*/ 257442 h 257442"/>
                <a:gd name="connsiteX2" fmla="*/ 0 w 2167480"/>
                <a:gd name="connsiteY2" fmla="*/ 257442 h 257442"/>
                <a:gd name="connsiteX3" fmla="*/ 0 w 2167480"/>
                <a:gd name="connsiteY3" fmla="*/ 0 h 257442"/>
                <a:gd name="connsiteX0" fmla="*/ 2167480 w 2167480"/>
                <a:gd name="connsiteY0" fmla="*/ 0 h 257442"/>
                <a:gd name="connsiteX1" fmla="*/ 2112758 w 2167480"/>
                <a:gd name="connsiteY1" fmla="*/ 257442 h 257442"/>
                <a:gd name="connsiteX2" fmla="*/ 0 w 2167480"/>
                <a:gd name="connsiteY2" fmla="*/ 257442 h 257442"/>
                <a:gd name="connsiteX3" fmla="*/ 0 w 2167480"/>
                <a:gd name="connsiteY3" fmla="*/ 0 h 257442"/>
                <a:gd name="connsiteX0" fmla="*/ 2167481 w 2167481"/>
                <a:gd name="connsiteY0" fmla="*/ 0 h 257442"/>
                <a:gd name="connsiteX1" fmla="*/ 2112759 w 2167481"/>
                <a:gd name="connsiteY1" fmla="*/ 257442 h 257442"/>
                <a:gd name="connsiteX2" fmla="*/ 0 w 2167481"/>
                <a:gd name="connsiteY2" fmla="*/ 257442 h 257442"/>
                <a:gd name="connsiteX3" fmla="*/ 1 w 2167481"/>
                <a:gd name="connsiteY3" fmla="*/ 0 h 257442"/>
                <a:gd name="connsiteX0" fmla="*/ 2167481 w 2167481"/>
                <a:gd name="connsiteY0" fmla="*/ 0 h 257442"/>
                <a:gd name="connsiteX1" fmla="*/ 2112759 w 2167481"/>
                <a:gd name="connsiteY1" fmla="*/ 257442 h 257442"/>
                <a:gd name="connsiteX2" fmla="*/ 0 w 2167481"/>
                <a:gd name="connsiteY2" fmla="*/ 257442 h 257442"/>
                <a:gd name="connsiteX3" fmla="*/ 1 w 2167481"/>
                <a:gd name="connsiteY3" fmla="*/ 0 h 257442"/>
                <a:gd name="connsiteX0" fmla="*/ 2327781 w 2327781"/>
                <a:gd name="connsiteY0" fmla="*/ 0 h 257442"/>
                <a:gd name="connsiteX1" fmla="*/ 2112759 w 2327781"/>
                <a:gd name="connsiteY1" fmla="*/ 257442 h 257442"/>
                <a:gd name="connsiteX2" fmla="*/ 0 w 2327781"/>
                <a:gd name="connsiteY2" fmla="*/ 257442 h 257442"/>
                <a:gd name="connsiteX3" fmla="*/ 1 w 2327781"/>
                <a:gd name="connsiteY3" fmla="*/ 0 h 257442"/>
                <a:gd name="connsiteX0" fmla="*/ 2327781 w 2327781"/>
                <a:gd name="connsiteY0" fmla="*/ 0 h 257442"/>
                <a:gd name="connsiteX1" fmla="*/ 2273060 w 2327781"/>
                <a:gd name="connsiteY1" fmla="*/ 257442 h 257442"/>
                <a:gd name="connsiteX2" fmla="*/ 0 w 2327781"/>
                <a:gd name="connsiteY2" fmla="*/ 257442 h 257442"/>
                <a:gd name="connsiteX3" fmla="*/ 1 w 2327781"/>
                <a:gd name="connsiteY3" fmla="*/ 0 h 257442"/>
                <a:gd name="connsiteX0" fmla="*/ 2327780 w 2327780"/>
                <a:gd name="connsiteY0" fmla="*/ 0 h 257442"/>
                <a:gd name="connsiteX1" fmla="*/ 2273059 w 2327780"/>
                <a:gd name="connsiteY1" fmla="*/ 257442 h 257442"/>
                <a:gd name="connsiteX2" fmla="*/ 0 w 2327780"/>
                <a:gd name="connsiteY2" fmla="*/ 257442 h 257442"/>
                <a:gd name="connsiteX3" fmla="*/ 0 w 2327780"/>
                <a:gd name="connsiteY3" fmla="*/ 0 h 257442"/>
                <a:gd name="connsiteX0" fmla="*/ 2327781 w 2327781"/>
                <a:gd name="connsiteY0" fmla="*/ 0 h 257442"/>
                <a:gd name="connsiteX1" fmla="*/ 2273060 w 2327781"/>
                <a:gd name="connsiteY1" fmla="*/ 257442 h 257442"/>
                <a:gd name="connsiteX2" fmla="*/ 1 w 2327781"/>
                <a:gd name="connsiteY2" fmla="*/ 257442 h 257442"/>
                <a:gd name="connsiteX3" fmla="*/ 0 w 2327781"/>
                <a:gd name="connsiteY3" fmla="*/ 0 h 257442"/>
                <a:gd name="connsiteX0" fmla="*/ 2167481 w 2273060"/>
                <a:gd name="connsiteY0" fmla="*/ 0 h 257442"/>
                <a:gd name="connsiteX1" fmla="*/ 2273060 w 2273060"/>
                <a:gd name="connsiteY1" fmla="*/ 257442 h 257442"/>
                <a:gd name="connsiteX2" fmla="*/ 1 w 2273060"/>
                <a:gd name="connsiteY2" fmla="*/ 257442 h 257442"/>
                <a:gd name="connsiteX3" fmla="*/ 0 w 2273060"/>
                <a:gd name="connsiteY3" fmla="*/ 0 h 257442"/>
                <a:gd name="connsiteX0" fmla="*/ 2167481 w 2167481"/>
                <a:gd name="connsiteY0" fmla="*/ 0 h 257442"/>
                <a:gd name="connsiteX1" fmla="*/ 2112760 w 2167481"/>
                <a:gd name="connsiteY1" fmla="*/ 257442 h 257442"/>
                <a:gd name="connsiteX2" fmla="*/ 1 w 2167481"/>
                <a:gd name="connsiteY2" fmla="*/ 257442 h 257442"/>
                <a:gd name="connsiteX3" fmla="*/ 0 w 2167481"/>
                <a:gd name="connsiteY3" fmla="*/ 0 h 257442"/>
                <a:gd name="connsiteX0" fmla="*/ 2167481 w 2167481"/>
                <a:gd name="connsiteY0" fmla="*/ 0 h 257442"/>
                <a:gd name="connsiteX1" fmla="*/ 2112760 w 2167481"/>
                <a:gd name="connsiteY1" fmla="*/ 257442 h 257442"/>
                <a:gd name="connsiteX2" fmla="*/ 2 w 2167481"/>
                <a:gd name="connsiteY2" fmla="*/ 257442 h 257442"/>
                <a:gd name="connsiteX3" fmla="*/ 0 w 2167481"/>
                <a:gd name="connsiteY3" fmla="*/ 0 h 257442"/>
                <a:gd name="connsiteX0" fmla="*/ 2167479 w 2167479"/>
                <a:gd name="connsiteY0" fmla="*/ 0 h 257442"/>
                <a:gd name="connsiteX1" fmla="*/ 2112758 w 2167479"/>
                <a:gd name="connsiteY1" fmla="*/ 257442 h 257442"/>
                <a:gd name="connsiteX2" fmla="*/ 0 w 2167479"/>
                <a:gd name="connsiteY2" fmla="*/ 257442 h 257442"/>
                <a:gd name="connsiteX3" fmla="*/ 0 w 2167479"/>
                <a:gd name="connsiteY3" fmla="*/ 0 h 257442"/>
                <a:gd name="connsiteX0" fmla="*/ 1999165 w 2112758"/>
                <a:gd name="connsiteY0" fmla="*/ 0 h 257442"/>
                <a:gd name="connsiteX1" fmla="*/ 2112758 w 2112758"/>
                <a:gd name="connsiteY1" fmla="*/ 257442 h 257442"/>
                <a:gd name="connsiteX2" fmla="*/ 0 w 2112758"/>
                <a:gd name="connsiteY2" fmla="*/ 257442 h 257442"/>
                <a:gd name="connsiteX3" fmla="*/ 0 w 2112758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1 w 1999165"/>
                <a:gd name="connsiteY2" fmla="*/ 257442 h 257442"/>
                <a:gd name="connsiteX3" fmla="*/ 0 w 1999165"/>
                <a:gd name="connsiteY3" fmla="*/ 0 h 257442"/>
                <a:gd name="connsiteX0" fmla="*/ 1999164 w 1999164"/>
                <a:gd name="connsiteY0" fmla="*/ 0 h 257442"/>
                <a:gd name="connsiteX1" fmla="*/ 1944443 w 1999164"/>
                <a:gd name="connsiteY1" fmla="*/ 257442 h 257442"/>
                <a:gd name="connsiteX2" fmla="*/ 0 w 1999164"/>
                <a:gd name="connsiteY2" fmla="*/ 257442 h 257442"/>
                <a:gd name="connsiteX3" fmla="*/ 0 w 1999164"/>
                <a:gd name="connsiteY3" fmla="*/ 0 h 257442"/>
                <a:gd name="connsiteX0" fmla="*/ 1821230 w 1944443"/>
                <a:gd name="connsiteY0" fmla="*/ 0 h 257442"/>
                <a:gd name="connsiteX1" fmla="*/ 1944443 w 1944443"/>
                <a:gd name="connsiteY1" fmla="*/ 257442 h 257442"/>
                <a:gd name="connsiteX2" fmla="*/ 0 w 1944443"/>
                <a:gd name="connsiteY2" fmla="*/ 257442 h 257442"/>
                <a:gd name="connsiteX3" fmla="*/ 0 w 1944443"/>
                <a:gd name="connsiteY3" fmla="*/ 0 h 257442"/>
                <a:gd name="connsiteX0" fmla="*/ 1821230 w 1821230"/>
                <a:gd name="connsiteY0" fmla="*/ 0 h 257442"/>
                <a:gd name="connsiteX1" fmla="*/ 1766510 w 1821230"/>
                <a:gd name="connsiteY1" fmla="*/ 257442 h 257442"/>
                <a:gd name="connsiteX2" fmla="*/ 0 w 1821230"/>
                <a:gd name="connsiteY2" fmla="*/ 257442 h 257442"/>
                <a:gd name="connsiteX3" fmla="*/ 0 w 1821230"/>
                <a:gd name="connsiteY3" fmla="*/ 0 h 257442"/>
                <a:gd name="connsiteX0" fmla="*/ 1821230 w 1821230"/>
                <a:gd name="connsiteY0" fmla="*/ 0 h 257442"/>
                <a:gd name="connsiteX1" fmla="*/ 1766510 w 1821230"/>
                <a:gd name="connsiteY1" fmla="*/ 257442 h 257442"/>
                <a:gd name="connsiteX2" fmla="*/ 0 w 1821230"/>
                <a:gd name="connsiteY2" fmla="*/ 257442 h 257442"/>
                <a:gd name="connsiteX3" fmla="*/ 0 w 1821230"/>
                <a:gd name="connsiteY3" fmla="*/ 0 h 257442"/>
                <a:gd name="connsiteX0" fmla="*/ 1821230 w 1821230"/>
                <a:gd name="connsiteY0" fmla="*/ 0 h 257442"/>
                <a:gd name="connsiteX1" fmla="*/ 1766510 w 1821230"/>
                <a:gd name="connsiteY1" fmla="*/ 257442 h 257442"/>
                <a:gd name="connsiteX2" fmla="*/ 0 w 1821230"/>
                <a:gd name="connsiteY2" fmla="*/ 257442 h 257442"/>
                <a:gd name="connsiteX3" fmla="*/ 0 w 1821230"/>
                <a:gd name="connsiteY3" fmla="*/ 0 h 257442"/>
                <a:gd name="connsiteX0" fmla="*/ 1652916 w 1766510"/>
                <a:gd name="connsiteY0" fmla="*/ 0 h 257442"/>
                <a:gd name="connsiteX1" fmla="*/ 1766510 w 1766510"/>
                <a:gd name="connsiteY1" fmla="*/ 257442 h 257442"/>
                <a:gd name="connsiteX2" fmla="*/ 0 w 1766510"/>
                <a:gd name="connsiteY2" fmla="*/ 257442 h 257442"/>
                <a:gd name="connsiteX3" fmla="*/ 0 w 1766510"/>
                <a:gd name="connsiteY3" fmla="*/ 0 h 257442"/>
                <a:gd name="connsiteX0" fmla="*/ 1652916 w 1652916"/>
                <a:gd name="connsiteY0" fmla="*/ 0 h 257442"/>
                <a:gd name="connsiteX1" fmla="*/ 1598195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652916 w 1652916"/>
                <a:gd name="connsiteY0" fmla="*/ 0 h 257442"/>
                <a:gd name="connsiteX1" fmla="*/ 1598195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652916 w 1652916"/>
                <a:gd name="connsiteY0" fmla="*/ 0 h 257442"/>
                <a:gd name="connsiteX1" fmla="*/ 1598195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830849 w 1830849"/>
                <a:gd name="connsiteY0" fmla="*/ 0 h 257442"/>
                <a:gd name="connsiteX1" fmla="*/ 1598195 w 1830849"/>
                <a:gd name="connsiteY1" fmla="*/ 257442 h 257442"/>
                <a:gd name="connsiteX2" fmla="*/ 0 w 1830849"/>
                <a:gd name="connsiteY2" fmla="*/ 257442 h 257442"/>
                <a:gd name="connsiteX3" fmla="*/ 0 w 1830849"/>
                <a:gd name="connsiteY3" fmla="*/ 0 h 257442"/>
                <a:gd name="connsiteX0" fmla="*/ 1830849 w 1830849"/>
                <a:gd name="connsiteY0" fmla="*/ 0 h 257442"/>
                <a:gd name="connsiteX1" fmla="*/ 1776128 w 1830849"/>
                <a:gd name="connsiteY1" fmla="*/ 257442 h 257442"/>
                <a:gd name="connsiteX2" fmla="*/ 0 w 1830849"/>
                <a:gd name="connsiteY2" fmla="*/ 257442 h 257442"/>
                <a:gd name="connsiteX3" fmla="*/ 0 w 1830849"/>
                <a:gd name="connsiteY3" fmla="*/ 0 h 257442"/>
                <a:gd name="connsiteX0" fmla="*/ 1830849 w 1830849"/>
                <a:gd name="connsiteY0" fmla="*/ 0 h 257442"/>
                <a:gd name="connsiteX1" fmla="*/ 1776128 w 1830849"/>
                <a:gd name="connsiteY1" fmla="*/ 257442 h 257442"/>
                <a:gd name="connsiteX2" fmla="*/ 0 w 1830849"/>
                <a:gd name="connsiteY2" fmla="*/ 257442 h 257442"/>
                <a:gd name="connsiteX3" fmla="*/ 0 w 1830849"/>
                <a:gd name="connsiteY3" fmla="*/ 0 h 257442"/>
                <a:gd name="connsiteX0" fmla="*/ 1830849 w 1830849"/>
                <a:gd name="connsiteY0" fmla="*/ 0 h 257442"/>
                <a:gd name="connsiteX1" fmla="*/ 1776128 w 1830849"/>
                <a:gd name="connsiteY1" fmla="*/ 257442 h 257442"/>
                <a:gd name="connsiteX2" fmla="*/ 0 w 1830849"/>
                <a:gd name="connsiteY2" fmla="*/ 257442 h 257442"/>
                <a:gd name="connsiteX3" fmla="*/ 0 w 1830849"/>
                <a:gd name="connsiteY3" fmla="*/ 0 h 257442"/>
                <a:gd name="connsiteX0" fmla="*/ 1999165 w 1999165"/>
                <a:gd name="connsiteY0" fmla="*/ 0 h 257442"/>
                <a:gd name="connsiteX1" fmla="*/ 1776128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2167480 w 2167480"/>
                <a:gd name="connsiteY0" fmla="*/ 0 h 257442"/>
                <a:gd name="connsiteX1" fmla="*/ 1944444 w 2167480"/>
                <a:gd name="connsiteY1" fmla="*/ 257442 h 257442"/>
                <a:gd name="connsiteX2" fmla="*/ 0 w 2167480"/>
                <a:gd name="connsiteY2" fmla="*/ 257442 h 257442"/>
                <a:gd name="connsiteX3" fmla="*/ 0 w 2167480"/>
                <a:gd name="connsiteY3" fmla="*/ 0 h 257442"/>
                <a:gd name="connsiteX0" fmla="*/ 2167480 w 2167480"/>
                <a:gd name="connsiteY0" fmla="*/ 0 h 257442"/>
                <a:gd name="connsiteX1" fmla="*/ 2112758 w 2167480"/>
                <a:gd name="connsiteY1" fmla="*/ 257442 h 257442"/>
                <a:gd name="connsiteX2" fmla="*/ 0 w 2167480"/>
                <a:gd name="connsiteY2" fmla="*/ 257442 h 257442"/>
                <a:gd name="connsiteX3" fmla="*/ 0 w 2167480"/>
                <a:gd name="connsiteY3" fmla="*/ 0 h 257442"/>
                <a:gd name="connsiteX0" fmla="*/ 2167481 w 2167481"/>
                <a:gd name="connsiteY0" fmla="*/ 0 h 257442"/>
                <a:gd name="connsiteX1" fmla="*/ 2112759 w 2167481"/>
                <a:gd name="connsiteY1" fmla="*/ 257442 h 257442"/>
                <a:gd name="connsiteX2" fmla="*/ 0 w 2167481"/>
                <a:gd name="connsiteY2" fmla="*/ 257442 h 257442"/>
                <a:gd name="connsiteX3" fmla="*/ 1 w 2167481"/>
                <a:gd name="connsiteY3" fmla="*/ 0 h 257442"/>
                <a:gd name="connsiteX0" fmla="*/ 2167481 w 2167481"/>
                <a:gd name="connsiteY0" fmla="*/ 0 h 257442"/>
                <a:gd name="connsiteX1" fmla="*/ 2112759 w 2167481"/>
                <a:gd name="connsiteY1" fmla="*/ 257442 h 257442"/>
                <a:gd name="connsiteX2" fmla="*/ 0 w 2167481"/>
                <a:gd name="connsiteY2" fmla="*/ 257442 h 257442"/>
                <a:gd name="connsiteX3" fmla="*/ 1 w 2167481"/>
                <a:gd name="connsiteY3" fmla="*/ 0 h 257442"/>
                <a:gd name="connsiteX0" fmla="*/ 2327781 w 2327781"/>
                <a:gd name="connsiteY0" fmla="*/ 0 h 257442"/>
                <a:gd name="connsiteX1" fmla="*/ 2112759 w 2327781"/>
                <a:gd name="connsiteY1" fmla="*/ 257442 h 257442"/>
                <a:gd name="connsiteX2" fmla="*/ 0 w 2327781"/>
                <a:gd name="connsiteY2" fmla="*/ 257442 h 257442"/>
                <a:gd name="connsiteX3" fmla="*/ 1 w 2327781"/>
                <a:gd name="connsiteY3" fmla="*/ 0 h 257442"/>
                <a:gd name="connsiteX0" fmla="*/ 2327781 w 2327781"/>
                <a:gd name="connsiteY0" fmla="*/ 0 h 257442"/>
                <a:gd name="connsiteX1" fmla="*/ 2273060 w 2327781"/>
                <a:gd name="connsiteY1" fmla="*/ 257442 h 257442"/>
                <a:gd name="connsiteX2" fmla="*/ 0 w 2327781"/>
                <a:gd name="connsiteY2" fmla="*/ 257442 h 257442"/>
                <a:gd name="connsiteX3" fmla="*/ 1 w 2327781"/>
                <a:gd name="connsiteY3" fmla="*/ 0 h 257442"/>
                <a:gd name="connsiteX0" fmla="*/ 2327780 w 2327780"/>
                <a:gd name="connsiteY0" fmla="*/ 0 h 257442"/>
                <a:gd name="connsiteX1" fmla="*/ 2273059 w 2327780"/>
                <a:gd name="connsiteY1" fmla="*/ 257442 h 257442"/>
                <a:gd name="connsiteX2" fmla="*/ 0 w 2327780"/>
                <a:gd name="connsiteY2" fmla="*/ 257442 h 257442"/>
                <a:gd name="connsiteX3" fmla="*/ 0 w 2327780"/>
                <a:gd name="connsiteY3" fmla="*/ 0 h 257442"/>
                <a:gd name="connsiteX0" fmla="*/ 2327781 w 2327781"/>
                <a:gd name="connsiteY0" fmla="*/ 0 h 257442"/>
                <a:gd name="connsiteX1" fmla="*/ 2273060 w 2327781"/>
                <a:gd name="connsiteY1" fmla="*/ 257442 h 257442"/>
                <a:gd name="connsiteX2" fmla="*/ 1 w 2327781"/>
                <a:gd name="connsiteY2" fmla="*/ 257442 h 257442"/>
                <a:gd name="connsiteX3" fmla="*/ 0 w 2327781"/>
                <a:gd name="connsiteY3" fmla="*/ 0 h 257442"/>
                <a:gd name="connsiteX0" fmla="*/ 960420 w 2273060"/>
                <a:gd name="connsiteY0" fmla="*/ 0 h 257442"/>
                <a:gd name="connsiteX1" fmla="*/ 2273060 w 2273060"/>
                <a:gd name="connsiteY1" fmla="*/ 257442 h 257442"/>
                <a:gd name="connsiteX2" fmla="*/ 1 w 2273060"/>
                <a:gd name="connsiteY2" fmla="*/ 257442 h 257442"/>
                <a:gd name="connsiteX3" fmla="*/ 0 w 2273060"/>
                <a:gd name="connsiteY3" fmla="*/ 0 h 257442"/>
                <a:gd name="connsiteX0" fmla="*/ 960420 w 960420"/>
                <a:gd name="connsiteY0" fmla="*/ 0 h 257442"/>
                <a:gd name="connsiteX1" fmla="*/ 905699 w 960420"/>
                <a:gd name="connsiteY1" fmla="*/ 257442 h 257442"/>
                <a:gd name="connsiteX2" fmla="*/ 1 w 960420"/>
                <a:gd name="connsiteY2" fmla="*/ 257442 h 257442"/>
                <a:gd name="connsiteX3" fmla="*/ 0 w 960420"/>
                <a:gd name="connsiteY3" fmla="*/ 0 h 257442"/>
                <a:gd name="connsiteX0" fmla="*/ 960420 w 960420"/>
                <a:gd name="connsiteY0" fmla="*/ 0 h 257442"/>
                <a:gd name="connsiteX1" fmla="*/ 905699 w 960420"/>
                <a:gd name="connsiteY1" fmla="*/ 257442 h 257442"/>
                <a:gd name="connsiteX2" fmla="*/ 1 w 960420"/>
                <a:gd name="connsiteY2" fmla="*/ 257442 h 257442"/>
                <a:gd name="connsiteX3" fmla="*/ 0 w 960420"/>
                <a:gd name="connsiteY3" fmla="*/ 0 h 257442"/>
                <a:gd name="connsiteX0" fmla="*/ 960419 w 960419"/>
                <a:gd name="connsiteY0" fmla="*/ 0 h 257442"/>
                <a:gd name="connsiteX1" fmla="*/ 905698 w 960419"/>
                <a:gd name="connsiteY1" fmla="*/ 257442 h 257442"/>
                <a:gd name="connsiteX2" fmla="*/ 0 w 960419"/>
                <a:gd name="connsiteY2" fmla="*/ 257442 h 257442"/>
                <a:gd name="connsiteX3" fmla="*/ 0 w 960419"/>
                <a:gd name="connsiteY3" fmla="*/ 0 h 257442"/>
                <a:gd name="connsiteX0" fmla="*/ 1128734 w 1128734"/>
                <a:gd name="connsiteY0" fmla="*/ 0 h 257442"/>
                <a:gd name="connsiteX1" fmla="*/ 905698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128734 w 1128734"/>
                <a:gd name="connsiteY0" fmla="*/ 0 h 257442"/>
                <a:gd name="connsiteX1" fmla="*/ 1074012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128735 w 1128735"/>
                <a:gd name="connsiteY0" fmla="*/ 0 h 257442"/>
                <a:gd name="connsiteX1" fmla="*/ 1074013 w 1128735"/>
                <a:gd name="connsiteY1" fmla="*/ 257442 h 257442"/>
                <a:gd name="connsiteX2" fmla="*/ 0 w 1128735"/>
                <a:gd name="connsiteY2" fmla="*/ 257442 h 257442"/>
                <a:gd name="connsiteX3" fmla="*/ 1 w 1128735"/>
                <a:gd name="connsiteY3" fmla="*/ 0 h 257442"/>
                <a:gd name="connsiteX0" fmla="*/ 1128735 w 1128735"/>
                <a:gd name="connsiteY0" fmla="*/ 0 h 257442"/>
                <a:gd name="connsiteX1" fmla="*/ 1074013 w 1128735"/>
                <a:gd name="connsiteY1" fmla="*/ 257442 h 257442"/>
                <a:gd name="connsiteX2" fmla="*/ 0 w 1128735"/>
                <a:gd name="connsiteY2" fmla="*/ 257442 h 257442"/>
                <a:gd name="connsiteX3" fmla="*/ 1 w 1128735"/>
                <a:gd name="connsiteY3" fmla="*/ 0 h 257442"/>
                <a:gd name="connsiteX0" fmla="*/ 1306669 w 1306669"/>
                <a:gd name="connsiteY0" fmla="*/ 0 h 257442"/>
                <a:gd name="connsiteX1" fmla="*/ 1074013 w 1306669"/>
                <a:gd name="connsiteY1" fmla="*/ 257442 h 257442"/>
                <a:gd name="connsiteX2" fmla="*/ 0 w 1306669"/>
                <a:gd name="connsiteY2" fmla="*/ 257442 h 257442"/>
                <a:gd name="connsiteX3" fmla="*/ 1 w 1306669"/>
                <a:gd name="connsiteY3" fmla="*/ 0 h 257442"/>
                <a:gd name="connsiteX0" fmla="*/ 1306669 w 1306669"/>
                <a:gd name="connsiteY0" fmla="*/ 0 h 257442"/>
                <a:gd name="connsiteX1" fmla="*/ 1251948 w 1306669"/>
                <a:gd name="connsiteY1" fmla="*/ 257442 h 257442"/>
                <a:gd name="connsiteX2" fmla="*/ 0 w 1306669"/>
                <a:gd name="connsiteY2" fmla="*/ 257442 h 257442"/>
                <a:gd name="connsiteX3" fmla="*/ 1 w 1306669"/>
                <a:gd name="connsiteY3" fmla="*/ 0 h 257442"/>
                <a:gd name="connsiteX0" fmla="*/ 1306668 w 1306668"/>
                <a:gd name="connsiteY0" fmla="*/ 0 h 257442"/>
                <a:gd name="connsiteX1" fmla="*/ 1251947 w 1306668"/>
                <a:gd name="connsiteY1" fmla="*/ 257442 h 257442"/>
                <a:gd name="connsiteX2" fmla="*/ 0 w 1306668"/>
                <a:gd name="connsiteY2" fmla="*/ 257442 h 257442"/>
                <a:gd name="connsiteX3" fmla="*/ 0 w 1306668"/>
                <a:gd name="connsiteY3" fmla="*/ 0 h 257442"/>
                <a:gd name="connsiteX0" fmla="*/ 1306669 w 1306669"/>
                <a:gd name="connsiteY0" fmla="*/ 0 h 257442"/>
                <a:gd name="connsiteX1" fmla="*/ 1251948 w 1306669"/>
                <a:gd name="connsiteY1" fmla="*/ 257442 h 257442"/>
                <a:gd name="connsiteX2" fmla="*/ 1 w 1306669"/>
                <a:gd name="connsiteY2" fmla="*/ 257442 h 257442"/>
                <a:gd name="connsiteX3" fmla="*/ 0 w 1306669"/>
                <a:gd name="connsiteY3" fmla="*/ 0 h 257442"/>
                <a:gd name="connsiteX0" fmla="*/ 1407657 w 1407657"/>
                <a:gd name="connsiteY0" fmla="*/ 0 h 257442"/>
                <a:gd name="connsiteX1" fmla="*/ 1251948 w 1407657"/>
                <a:gd name="connsiteY1" fmla="*/ 257442 h 257442"/>
                <a:gd name="connsiteX2" fmla="*/ 1 w 1407657"/>
                <a:gd name="connsiteY2" fmla="*/ 257442 h 257442"/>
                <a:gd name="connsiteX3" fmla="*/ 0 w 1407657"/>
                <a:gd name="connsiteY3" fmla="*/ 0 h 257442"/>
                <a:gd name="connsiteX0" fmla="*/ 1407657 w 1407657"/>
                <a:gd name="connsiteY0" fmla="*/ 0 h 257442"/>
                <a:gd name="connsiteX1" fmla="*/ 1352936 w 1407657"/>
                <a:gd name="connsiteY1" fmla="*/ 257442 h 257442"/>
                <a:gd name="connsiteX2" fmla="*/ 1 w 1407657"/>
                <a:gd name="connsiteY2" fmla="*/ 257442 h 257442"/>
                <a:gd name="connsiteX3" fmla="*/ 0 w 1407657"/>
                <a:gd name="connsiteY3" fmla="*/ 0 h 257442"/>
                <a:gd name="connsiteX0" fmla="*/ 1407657 w 1407657"/>
                <a:gd name="connsiteY0" fmla="*/ 0 h 257442"/>
                <a:gd name="connsiteX1" fmla="*/ 1352936 w 1407657"/>
                <a:gd name="connsiteY1" fmla="*/ 257442 h 257442"/>
                <a:gd name="connsiteX2" fmla="*/ 1 w 1407657"/>
                <a:gd name="connsiteY2" fmla="*/ 257442 h 257442"/>
                <a:gd name="connsiteX3" fmla="*/ 0 w 1407657"/>
                <a:gd name="connsiteY3" fmla="*/ 0 h 257442"/>
                <a:gd name="connsiteX0" fmla="*/ 1407656 w 1407656"/>
                <a:gd name="connsiteY0" fmla="*/ 0 h 257442"/>
                <a:gd name="connsiteX1" fmla="*/ 1352935 w 1407656"/>
                <a:gd name="connsiteY1" fmla="*/ 257442 h 257442"/>
                <a:gd name="connsiteX2" fmla="*/ 0 w 1407656"/>
                <a:gd name="connsiteY2" fmla="*/ 257442 h 257442"/>
                <a:gd name="connsiteX3" fmla="*/ 0 w 1407656"/>
                <a:gd name="connsiteY3" fmla="*/ 0 h 257442"/>
                <a:gd name="connsiteX0" fmla="*/ 1585589 w 1585589"/>
                <a:gd name="connsiteY0" fmla="*/ 0 h 257442"/>
                <a:gd name="connsiteX1" fmla="*/ 1352935 w 1585589"/>
                <a:gd name="connsiteY1" fmla="*/ 257442 h 257442"/>
                <a:gd name="connsiteX2" fmla="*/ 0 w 1585589"/>
                <a:gd name="connsiteY2" fmla="*/ 257442 h 257442"/>
                <a:gd name="connsiteX3" fmla="*/ 0 w 1585589"/>
                <a:gd name="connsiteY3" fmla="*/ 0 h 257442"/>
                <a:gd name="connsiteX0" fmla="*/ 1585589 w 1585589"/>
                <a:gd name="connsiteY0" fmla="*/ 0 h 257442"/>
                <a:gd name="connsiteX1" fmla="*/ 1530868 w 1585589"/>
                <a:gd name="connsiteY1" fmla="*/ 257442 h 257442"/>
                <a:gd name="connsiteX2" fmla="*/ 0 w 1585589"/>
                <a:gd name="connsiteY2" fmla="*/ 257442 h 257442"/>
                <a:gd name="connsiteX3" fmla="*/ 0 w 1585589"/>
                <a:gd name="connsiteY3" fmla="*/ 0 h 257442"/>
                <a:gd name="connsiteX0" fmla="*/ 1585590 w 1585590"/>
                <a:gd name="connsiteY0" fmla="*/ 0 h 257442"/>
                <a:gd name="connsiteX1" fmla="*/ 1530869 w 1585590"/>
                <a:gd name="connsiteY1" fmla="*/ 257442 h 257442"/>
                <a:gd name="connsiteX2" fmla="*/ 0 w 1585590"/>
                <a:gd name="connsiteY2" fmla="*/ 257442 h 257442"/>
                <a:gd name="connsiteX3" fmla="*/ 1 w 1585590"/>
                <a:gd name="connsiteY3" fmla="*/ 0 h 257442"/>
                <a:gd name="connsiteX0" fmla="*/ 1585590 w 1585590"/>
                <a:gd name="connsiteY0" fmla="*/ 0 h 257442"/>
                <a:gd name="connsiteX1" fmla="*/ 1530869 w 1585590"/>
                <a:gd name="connsiteY1" fmla="*/ 257442 h 257442"/>
                <a:gd name="connsiteX2" fmla="*/ 0 w 1585590"/>
                <a:gd name="connsiteY2" fmla="*/ 257442 h 257442"/>
                <a:gd name="connsiteX3" fmla="*/ 0 w 1585590"/>
                <a:gd name="connsiteY3" fmla="*/ 0 h 257442"/>
                <a:gd name="connsiteX0" fmla="*/ 1745891 w 1745891"/>
                <a:gd name="connsiteY0" fmla="*/ 0 h 257442"/>
                <a:gd name="connsiteX1" fmla="*/ 1530869 w 1745891"/>
                <a:gd name="connsiteY1" fmla="*/ 257442 h 257442"/>
                <a:gd name="connsiteX2" fmla="*/ 0 w 1745891"/>
                <a:gd name="connsiteY2" fmla="*/ 257442 h 257442"/>
                <a:gd name="connsiteX3" fmla="*/ 0 w 1745891"/>
                <a:gd name="connsiteY3" fmla="*/ 0 h 257442"/>
                <a:gd name="connsiteX0" fmla="*/ 1745891 w 1745891"/>
                <a:gd name="connsiteY0" fmla="*/ 0 h 257442"/>
                <a:gd name="connsiteX1" fmla="*/ 1691170 w 1745891"/>
                <a:gd name="connsiteY1" fmla="*/ 257442 h 257442"/>
                <a:gd name="connsiteX2" fmla="*/ 0 w 1745891"/>
                <a:gd name="connsiteY2" fmla="*/ 257442 h 257442"/>
                <a:gd name="connsiteX3" fmla="*/ 0 w 1745891"/>
                <a:gd name="connsiteY3" fmla="*/ 0 h 257442"/>
                <a:gd name="connsiteX0" fmla="*/ 1745891 w 1745891"/>
                <a:gd name="connsiteY0" fmla="*/ 0 h 257442"/>
                <a:gd name="connsiteX1" fmla="*/ 1691170 w 1745891"/>
                <a:gd name="connsiteY1" fmla="*/ 257442 h 257442"/>
                <a:gd name="connsiteX2" fmla="*/ 0 w 1745891"/>
                <a:gd name="connsiteY2" fmla="*/ 257442 h 257442"/>
                <a:gd name="connsiteX3" fmla="*/ 0 w 1745891"/>
                <a:gd name="connsiteY3" fmla="*/ 0 h 257442"/>
                <a:gd name="connsiteX0" fmla="*/ 1745891 w 1745891"/>
                <a:gd name="connsiteY0" fmla="*/ 0 h 257442"/>
                <a:gd name="connsiteX1" fmla="*/ 1691170 w 1745891"/>
                <a:gd name="connsiteY1" fmla="*/ 257442 h 257442"/>
                <a:gd name="connsiteX2" fmla="*/ 0 w 1745891"/>
                <a:gd name="connsiteY2" fmla="*/ 257442 h 257442"/>
                <a:gd name="connsiteX3" fmla="*/ 0 w 1745891"/>
                <a:gd name="connsiteY3" fmla="*/ 0 h 257442"/>
                <a:gd name="connsiteX0" fmla="*/ 1906191 w 1906191"/>
                <a:gd name="connsiteY0" fmla="*/ 0 h 257442"/>
                <a:gd name="connsiteX1" fmla="*/ 1691170 w 1906191"/>
                <a:gd name="connsiteY1" fmla="*/ 257442 h 257442"/>
                <a:gd name="connsiteX2" fmla="*/ 0 w 1906191"/>
                <a:gd name="connsiteY2" fmla="*/ 257442 h 257442"/>
                <a:gd name="connsiteX3" fmla="*/ 0 w 1906191"/>
                <a:gd name="connsiteY3" fmla="*/ 0 h 257442"/>
                <a:gd name="connsiteX0" fmla="*/ 1906191 w 1906191"/>
                <a:gd name="connsiteY0" fmla="*/ 0 h 257442"/>
                <a:gd name="connsiteX1" fmla="*/ 1851470 w 1906191"/>
                <a:gd name="connsiteY1" fmla="*/ 257442 h 257442"/>
                <a:gd name="connsiteX2" fmla="*/ 0 w 1906191"/>
                <a:gd name="connsiteY2" fmla="*/ 257442 h 257442"/>
                <a:gd name="connsiteX3" fmla="*/ 0 w 1906191"/>
                <a:gd name="connsiteY3" fmla="*/ 0 h 257442"/>
                <a:gd name="connsiteX0" fmla="*/ 1906191 w 1906191"/>
                <a:gd name="connsiteY0" fmla="*/ 0 h 257442"/>
                <a:gd name="connsiteX1" fmla="*/ 1851470 w 1906191"/>
                <a:gd name="connsiteY1" fmla="*/ 257442 h 257442"/>
                <a:gd name="connsiteX2" fmla="*/ 0 w 1906191"/>
                <a:gd name="connsiteY2" fmla="*/ 257442 h 257442"/>
                <a:gd name="connsiteX3" fmla="*/ 0 w 1906191"/>
                <a:gd name="connsiteY3" fmla="*/ 0 h 257442"/>
                <a:gd name="connsiteX0" fmla="*/ 1906191 w 1906191"/>
                <a:gd name="connsiteY0" fmla="*/ 0 h 257442"/>
                <a:gd name="connsiteX1" fmla="*/ 1851470 w 1906191"/>
                <a:gd name="connsiteY1" fmla="*/ 257442 h 257442"/>
                <a:gd name="connsiteX2" fmla="*/ 0 w 1906191"/>
                <a:gd name="connsiteY2" fmla="*/ 257442 h 257442"/>
                <a:gd name="connsiteX3" fmla="*/ 0 w 1906191"/>
                <a:gd name="connsiteY3" fmla="*/ 0 h 257442"/>
                <a:gd name="connsiteX0" fmla="*/ 2074506 w 2074506"/>
                <a:gd name="connsiteY0" fmla="*/ 0 h 257442"/>
                <a:gd name="connsiteX1" fmla="*/ 1851470 w 2074506"/>
                <a:gd name="connsiteY1" fmla="*/ 257442 h 257442"/>
                <a:gd name="connsiteX2" fmla="*/ 0 w 2074506"/>
                <a:gd name="connsiteY2" fmla="*/ 257442 h 257442"/>
                <a:gd name="connsiteX3" fmla="*/ 0 w 2074506"/>
                <a:gd name="connsiteY3" fmla="*/ 0 h 257442"/>
                <a:gd name="connsiteX0" fmla="*/ 2074506 w 2074506"/>
                <a:gd name="connsiteY0" fmla="*/ 0 h 257442"/>
                <a:gd name="connsiteX1" fmla="*/ 2019784 w 2074506"/>
                <a:gd name="connsiteY1" fmla="*/ 257442 h 257442"/>
                <a:gd name="connsiteX2" fmla="*/ 0 w 2074506"/>
                <a:gd name="connsiteY2" fmla="*/ 257442 h 257442"/>
                <a:gd name="connsiteX3" fmla="*/ 0 w 2074506"/>
                <a:gd name="connsiteY3" fmla="*/ 0 h 257442"/>
                <a:gd name="connsiteX0" fmla="*/ 2074507 w 2074507"/>
                <a:gd name="connsiteY0" fmla="*/ 0 h 257442"/>
                <a:gd name="connsiteX1" fmla="*/ 2019785 w 2074507"/>
                <a:gd name="connsiteY1" fmla="*/ 257442 h 257442"/>
                <a:gd name="connsiteX2" fmla="*/ 0 w 2074507"/>
                <a:gd name="connsiteY2" fmla="*/ 257442 h 257442"/>
                <a:gd name="connsiteX3" fmla="*/ 1 w 2074507"/>
                <a:gd name="connsiteY3" fmla="*/ 0 h 257442"/>
                <a:gd name="connsiteX0" fmla="*/ 2074507 w 2074507"/>
                <a:gd name="connsiteY0" fmla="*/ 0 h 257442"/>
                <a:gd name="connsiteX1" fmla="*/ 2019785 w 2074507"/>
                <a:gd name="connsiteY1" fmla="*/ 257442 h 257442"/>
                <a:gd name="connsiteX2" fmla="*/ 0 w 2074507"/>
                <a:gd name="connsiteY2" fmla="*/ 257442 h 257442"/>
                <a:gd name="connsiteX3" fmla="*/ 1 w 2074507"/>
                <a:gd name="connsiteY3" fmla="*/ 0 h 257442"/>
                <a:gd name="connsiteX0" fmla="*/ 2232050 w 2232050"/>
                <a:gd name="connsiteY0" fmla="*/ 0 h 257442"/>
                <a:gd name="connsiteX1" fmla="*/ 2019785 w 2232050"/>
                <a:gd name="connsiteY1" fmla="*/ 257442 h 257442"/>
                <a:gd name="connsiteX2" fmla="*/ 0 w 2232050"/>
                <a:gd name="connsiteY2" fmla="*/ 257442 h 257442"/>
                <a:gd name="connsiteX3" fmla="*/ 1 w 2232050"/>
                <a:gd name="connsiteY3" fmla="*/ 0 h 257442"/>
                <a:gd name="connsiteX0" fmla="*/ 2232050 w 2232050"/>
                <a:gd name="connsiteY0" fmla="*/ 0 h 257442"/>
                <a:gd name="connsiteX1" fmla="*/ 2177328 w 2232050"/>
                <a:gd name="connsiteY1" fmla="*/ 257442 h 257442"/>
                <a:gd name="connsiteX2" fmla="*/ 0 w 2232050"/>
                <a:gd name="connsiteY2" fmla="*/ 257442 h 257442"/>
                <a:gd name="connsiteX3" fmla="*/ 1 w 2232050"/>
                <a:gd name="connsiteY3" fmla="*/ 0 h 257442"/>
                <a:gd name="connsiteX0" fmla="*/ 2232050 w 2232050"/>
                <a:gd name="connsiteY0" fmla="*/ 0 h 257442"/>
                <a:gd name="connsiteX1" fmla="*/ 2177328 w 2232050"/>
                <a:gd name="connsiteY1" fmla="*/ 257442 h 257442"/>
                <a:gd name="connsiteX2" fmla="*/ 0 w 2232050"/>
                <a:gd name="connsiteY2" fmla="*/ 257442 h 257442"/>
                <a:gd name="connsiteX3" fmla="*/ 1 w 2232050"/>
                <a:gd name="connsiteY3" fmla="*/ 0 h 257442"/>
                <a:gd name="connsiteX0" fmla="*/ 2232050 w 2232050"/>
                <a:gd name="connsiteY0" fmla="*/ 0 h 257442"/>
                <a:gd name="connsiteX1" fmla="*/ 2177328 w 2232050"/>
                <a:gd name="connsiteY1" fmla="*/ 257442 h 257442"/>
                <a:gd name="connsiteX2" fmla="*/ 0 w 2232050"/>
                <a:gd name="connsiteY2" fmla="*/ 257442 h 257442"/>
                <a:gd name="connsiteX3" fmla="*/ 0 w 2232050"/>
                <a:gd name="connsiteY3" fmla="*/ 0 h 257442"/>
                <a:gd name="connsiteX0" fmla="*/ 2333038 w 2333038"/>
                <a:gd name="connsiteY0" fmla="*/ 0 h 257442"/>
                <a:gd name="connsiteX1" fmla="*/ 2177328 w 2333038"/>
                <a:gd name="connsiteY1" fmla="*/ 257442 h 257442"/>
                <a:gd name="connsiteX2" fmla="*/ 0 w 2333038"/>
                <a:gd name="connsiteY2" fmla="*/ 257442 h 257442"/>
                <a:gd name="connsiteX3" fmla="*/ 0 w 2333038"/>
                <a:gd name="connsiteY3" fmla="*/ 0 h 257442"/>
                <a:gd name="connsiteX0" fmla="*/ 2333038 w 2333038"/>
                <a:gd name="connsiteY0" fmla="*/ 0 h 257442"/>
                <a:gd name="connsiteX1" fmla="*/ 2278317 w 2333038"/>
                <a:gd name="connsiteY1" fmla="*/ 257442 h 257442"/>
                <a:gd name="connsiteX2" fmla="*/ 0 w 2333038"/>
                <a:gd name="connsiteY2" fmla="*/ 257442 h 257442"/>
                <a:gd name="connsiteX3" fmla="*/ 0 w 2333038"/>
                <a:gd name="connsiteY3" fmla="*/ 0 h 257442"/>
                <a:gd name="connsiteX0" fmla="*/ 2333038 w 2333038"/>
                <a:gd name="connsiteY0" fmla="*/ 0 h 257442"/>
                <a:gd name="connsiteX1" fmla="*/ 2278317 w 2333038"/>
                <a:gd name="connsiteY1" fmla="*/ 257442 h 257442"/>
                <a:gd name="connsiteX2" fmla="*/ 0 w 2333038"/>
                <a:gd name="connsiteY2" fmla="*/ 257442 h 257442"/>
                <a:gd name="connsiteX3" fmla="*/ 0 w 2333038"/>
                <a:gd name="connsiteY3" fmla="*/ 0 h 257442"/>
                <a:gd name="connsiteX0" fmla="*/ 2333038 w 2333038"/>
                <a:gd name="connsiteY0" fmla="*/ 0 h 257442"/>
                <a:gd name="connsiteX1" fmla="*/ 2278317 w 2333038"/>
                <a:gd name="connsiteY1" fmla="*/ 257442 h 257442"/>
                <a:gd name="connsiteX2" fmla="*/ 0 w 2333038"/>
                <a:gd name="connsiteY2" fmla="*/ 257442 h 257442"/>
                <a:gd name="connsiteX3" fmla="*/ 0 w 2333038"/>
                <a:gd name="connsiteY3" fmla="*/ 0 h 257442"/>
                <a:gd name="connsiteX0" fmla="*/ 2493338 w 2493338"/>
                <a:gd name="connsiteY0" fmla="*/ 0 h 257442"/>
                <a:gd name="connsiteX1" fmla="*/ 2278317 w 2493338"/>
                <a:gd name="connsiteY1" fmla="*/ 257442 h 257442"/>
                <a:gd name="connsiteX2" fmla="*/ 0 w 2493338"/>
                <a:gd name="connsiteY2" fmla="*/ 257442 h 257442"/>
                <a:gd name="connsiteX3" fmla="*/ 0 w 2493338"/>
                <a:gd name="connsiteY3" fmla="*/ 0 h 257442"/>
                <a:gd name="connsiteX0" fmla="*/ 2493338 w 2493338"/>
                <a:gd name="connsiteY0" fmla="*/ 0 h 257442"/>
                <a:gd name="connsiteX1" fmla="*/ 2438617 w 2493338"/>
                <a:gd name="connsiteY1" fmla="*/ 257442 h 257442"/>
                <a:gd name="connsiteX2" fmla="*/ 0 w 2493338"/>
                <a:gd name="connsiteY2" fmla="*/ 257442 h 257442"/>
                <a:gd name="connsiteX3" fmla="*/ 0 w 2493338"/>
                <a:gd name="connsiteY3" fmla="*/ 0 h 257442"/>
                <a:gd name="connsiteX0" fmla="*/ 2493338 w 2493338"/>
                <a:gd name="connsiteY0" fmla="*/ 0 h 257442"/>
                <a:gd name="connsiteX1" fmla="*/ 2438617 w 2493338"/>
                <a:gd name="connsiteY1" fmla="*/ 257442 h 257442"/>
                <a:gd name="connsiteX2" fmla="*/ 0 w 2493338"/>
                <a:gd name="connsiteY2" fmla="*/ 257442 h 257442"/>
                <a:gd name="connsiteX3" fmla="*/ 0 w 2493338"/>
                <a:gd name="connsiteY3" fmla="*/ 0 h 257442"/>
                <a:gd name="connsiteX0" fmla="*/ 2493338 w 2493338"/>
                <a:gd name="connsiteY0" fmla="*/ 0 h 257442"/>
                <a:gd name="connsiteX1" fmla="*/ 2438617 w 2493338"/>
                <a:gd name="connsiteY1" fmla="*/ 257442 h 257442"/>
                <a:gd name="connsiteX2" fmla="*/ 0 w 2493338"/>
                <a:gd name="connsiteY2" fmla="*/ 257442 h 257442"/>
                <a:gd name="connsiteX3" fmla="*/ 0 w 2493338"/>
                <a:gd name="connsiteY3" fmla="*/ 0 h 257442"/>
                <a:gd name="connsiteX0" fmla="*/ 2696920 w 2696920"/>
                <a:gd name="connsiteY0" fmla="*/ 0 h 257442"/>
                <a:gd name="connsiteX1" fmla="*/ 2438617 w 2696920"/>
                <a:gd name="connsiteY1" fmla="*/ 257442 h 257442"/>
                <a:gd name="connsiteX2" fmla="*/ 0 w 2696920"/>
                <a:gd name="connsiteY2" fmla="*/ 257442 h 257442"/>
                <a:gd name="connsiteX3" fmla="*/ 0 w 2696920"/>
                <a:gd name="connsiteY3" fmla="*/ 0 h 257442"/>
                <a:gd name="connsiteX0" fmla="*/ 2696920 w 2696920"/>
                <a:gd name="connsiteY0" fmla="*/ 0 h 257442"/>
                <a:gd name="connsiteX1" fmla="*/ 2642199 w 2696920"/>
                <a:gd name="connsiteY1" fmla="*/ 257442 h 257442"/>
                <a:gd name="connsiteX2" fmla="*/ 0 w 2696920"/>
                <a:gd name="connsiteY2" fmla="*/ 257442 h 257442"/>
                <a:gd name="connsiteX3" fmla="*/ 0 w 2696920"/>
                <a:gd name="connsiteY3" fmla="*/ 0 h 257442"/>
                <a:gd name="connsiteX0" fmla="*/ 2696920 w 2696920"/>
                <a:gd name="connsiteY0" fmla="*/ 0 h 257442"/>
                <a:gd name="connsiteX1" fmla="*/ 2642199 w 2696920"/>
                <a:gd name="connsiteY1" fmla="*/ 257442 h 257442"/>
                <a:gd name="connsiteX2" fmla="*/ 0 w 2696920"/>
                <a:gd name="connsiteY2" fmla="*/ 257442 h 257442"/>
                <a:gd name="connsiteX3" fmla="*/ 0 w 2696920"/>
                <a:gd name="connsiteY3" fmla="*/ 0 h 257442"/>
                <a:gd name="connsiteX0" fmla="*/ 2696920 w 2696920"/>
                <a:gd name="connsiteY0" fmla="*/ 0 h 257442"/>
                <a:gd name="connsiteX1" fmla="*/ 2642199 w 2696920"/>
                <a:gd name="connsiteY1" fmla="*/ 257442 h 257442"/>
                <a:gd name="connsiteX2" fmla="*/ 0 w 2696920"/>
                <a:gd name="connsiteY2" fmla="*/ 257442 h 257442"/>
                <a:gd name="connsiteX3" fmla="*/ 0 w 2696920"/>
                <a:gd name="connsiteY3" fmla="*/ 0 h 257442"/>
                <a:gd name="connsiteX0" fmla="*/ 986067 w 2642199"/>
                <a:gd name="connsiteY0" fmla="*/ 0 h 257442"/>
                <a:gd name="connsiteX1" fmla="*/ 2642199 w 2642199"/>
                <a:gd name="connsiteY1" fmla="*/ 257442 h 257442"/>
                <a:gd name="connsiteX2" fmla="*/ 0 w 2642199"/>
                <a:gd name="connsiteY2" fmla="*/ 257442 h 257442"/>
                <a:gd name="connsiteX3" fmla="*/ 0 w 2642199"/>
                <a:gd name="connsiteY3" fmla="*/ 0 h 257442"/>
                <a:gd name="connsiteX0" fmla="*/ 986067 w 986067"/>
                <a:gd name="connsiteY0" fmla="*/ 0 h 257442"/>
                <a:gd name="connsiteX1" fmla="*/ 931347 w 986067"/>
                <a:gd name="connsiteY1" fmla="*/ 257442 h 257442"/>
                <a:gd name="connsiteX2" fmla="*/ 0 w 986067"/>
                <a:gd name="connsiteY2" fmla="*/ 257442 h 257442"/>
                <a:gd name="connsiteX3" fmla="*/ 0 w 986067"/>
                <a:gd name="connsiteY3" fmla="*/ 0 h 257442"/>
                <a:gd name="connsiteX0" fmla="*/ 986067 w 986067"/>
                <a:gd name="connsiteY0" fmla="*/ 0 h 257442"/>
                <a:gd name="connsiteX1" fmla="*/ 931347 w 986067"/>
                <a:gd name="connsiteY1" fmla="*/ 257442 h 257442"/>
                <a:gd name="connsiteX2" fmla="*/ 1 w 986067"/>
                <a:gd name="connsiteY2" fmla="*/ 257442 h 257442"/>
                <a:gd name="connsiteX3" fmla="*/ 0 w 986067"/>
                <a:gd name="connsiteY3" fmla="*/ 0 h 257442"/>
                <a:gd name="connsiteX0" fmla="*/ 986066 w 986066"/>
                <a:gd name="connsiteY0" fmla="*/ 0 h 257442"/>
                <a:gd name="connsiteX1" fmla="*/ 931346 w 986066"/>
                <a:gd name="connsiteY1" fmla="*/ 257442 h 257442"/>
                <a:gd name="connsiteX2" fmla="*/ 0 w 986066"/>
                <a:gd name="connsiteY2" fmla="*/ 257442 h 257442"/>
                <a:gd name="connsiteX3" fmla="*/ 0 w 986066"/>
                <a:gd name="connsiteY3" fmla="*/ 0 h 257442"/>
                <a:gd name="connsiteX0" fmla="*/ 1163999 w 1163999"/>
                <a:gd name="connsiteY0" fmla="*/ 0 h 257442"/>
                <a:gd name="connsiteX1" fmla="*/ 931346 w 1163999"/>
                <a:gd name="connsiteY1" fmla="*/ 257442 h 257442"/>
                <a:gd name="connsiteX2" fmla="*/ 0 w 1163999"/>
                <a:gd name="connsiteY2" fmla="*/ 257442 h 257442"/>
                <a:gd name="connsiteX3" fmla="*/ 0 w 1163999"/>
                <a:gd name="connsiteY3" fmla="*/ 0 h 257442"/>
                <a:gd name="connsiteX0" fmla="*/ 1163999 w 1163999"/>
                <a:gd name="connsiteY0" fmla="*/ 0 h 257442"/>
                <a:gd name="connsiteX1" fmla="*/ 1109278 w 1163999"/>
                <a:gd name="connsiteY1" fmla="*/ 257442 h 257442"/>
                <a:gd name="connsiteX2" fmla="*/ 0 w 1163999"/>
                <a:gd name="connsiteY2" fmla="*/ 257442 h 257442"/>
                <a:gd name="connsiteX3" fmla="*/ 0 w 1163999"/>
                <a:gd name="connsiteY3" fmla="*/ 0 h 257442"/>
                <a:gd name="connsiteX0" fmla="*/ 1164000 w 1164000"/>
                <a:gd name="connsiteY0" fmla="*/ 0 h 257442"/>
                <a:gd name="connsiteX1" fmla="*/ 1109279 w 1164000"/>
                <a:gd name="connsiteY1" fmla="*/ 257442 h 257442"/>
                <a:gd name="connsiteX2" fmla="*/ 0 w 1164000"/>
                <a:gd name="connsiteY2" fmla="*/ 257442 h 257442"/>
                <a:gd name="connsiteX3" fmla="*/ 1 w 1164000"/>
                <a:gd name="connsiteY3" fmla="*/ 0 h 257442"/>
                <a:gd name="connsiteX0" fmla="*/ 1164000 w 1164000"/>
                <a:gd name="connsiteY0" fmla="*/ 0 h 257442"/>
                <a:gd name="connsiteX1" fmla="*/ 1109279 w 1164000"/>
                <a:gd name="connsiteY1" fmla="*/ 257442 h 257442"/>
                <a:gd name="connsiteX2" fmla="*/ 0 w 1164000"/>
                <a:gd name="connsiteY2" fmla="*/ 257442 h 257442"/>
                <a:gd name="connsiteX3" fmla="*/ 0 w 1164000"/>
                <a:gd name="connsiteY3" fmla="*/ 0 h 257442"/>
                <a:gd name="connsiteX0" fmla="*/ 1332316 w 1332316"/>
                <a:gd name="connsiteY0" fmla="*/ 0 h 257442"/>
                <a:gd name="connsiteX1" fmla="*/ 1109279 w 1332316"/>
                <a:gd name="connsiteY1" fmla="*/ 257442 h 257442"/>
                <a:gd name="connsiteX2" fmla="*/ 0 w 1332316"/>
                <a:gd name="connsiteY2" fmla="*/ 257442 h 257442"/>
                <a:gd name="connsiteX3" fmla="*/ 0 w 1332316"/>
                <a:gd name="connsiteY3" fmla="*/ 0 h 257442"/>
                <a:gd name="connsiteX0" fmla="*/ 1332316 w 1332316"/>
                <a:gd name="connsiteY0" fmla="*/ 0 h 257442"/>
                <a:gd name="connsiteX1" fmla="*/ 1277595 w 1332316"/>
                <a:gd name="connsiteY1" fmla="*/ 257442 h 257442"/>
                <a:gd name="connsiteX2" fmla="*/ 0 w 1332316"/>
                <a:gd name="connsiteY2" fmla="*/ 257442 h 257442"/>
                <a:gd name="connsiteX3" fmla="*/ 0 w 1332316"/>
                <a:gd name="connsiteY3" fmla="*/ 0 h 257442"/>
                <a:gd name="connsiteX0" fmla="*/ 1332316 w 1332316"/>
                <a:gd name="connsiteY0" fmla="*/ 0 h 257442"/>
                <a:gd name="connsiteX1" fmla="*/ 1277595 w 1332316"/>
                <a:gd name="connsiteY1" fmla="*/ 257442 h 257442"/>
                <a:gd name="connsiteX2" fmla="*/ 0 w 1332316"/>
                <a:gd name="connsiteY2" fmla="*/ 257442 h 257442"/>
                <a:gd name="connsiteX3" fmla="*/ 0 w 1332316"/>
                <a:gd name="connsiteY3" fmla="*/ 0 h 257442"/>
                <a:gd name="connsiteX0" fmla="*/ 1332316 w 1332316"/>
                <a:gd name="connsiteY0" fmla="*/ 0 h 257442"/>
                <a:gd name="connsiteX1" fmla="*/ 1277595 w 1332316"/>
                <a:gd name="connsiteY1" fmla="*/ 257442 h 257442"/>
                <a:gd name="connsiteX2" fmla="*/ 0 w 1332316"/>
                <a:gd name="connsiteY2" fmla="*/ 257442 h 257442"/>
                <a:gd name="connsiteX3" fmla="*/ 0 w 1332316"/>
                <a:gd name="connsiteY3" fmla="*/ 0 h 257442"/>
                <a:gd name="connsiteX0" fmla="*/ 1500631 w 1500631"/>
                <a:gd name="connsiteY0" fmla="*/ 0 h 257442"/>
                <a:gd name="connsiteX1" fmla="*/ 1277595 w 1500631"/>
                <a:gd name="connsiteY1" fmla="*/ 257442 h 257442"/>
                <a:gd name="connsiteX2" fmla="*/ 0 w 1500631"/>
                <a:gd name="connsiteY2" fmla="*/ 257442 h 257442"/>
                <a:gd name="connsiteX3" fmla="*/ 0 w 1500631"/>
                <a:gd name="connsiteY3" fmla="*/ 0 h 257442"/>
                <a:gd name="connsiteX0" fmla="*/ 1500631 w 1500631"/>
                <a:gd name="connsiteY0" fmla="*/ 0 h 257442"/>
                <a:gd name="connsiteX1" fmla="*/ 1445910 w 1500631"/>
                <a:gd name="connsiteY1" fmla="*/ 257442 h 257442"/>
                <a:gd name="connsiteX2" fmla="*/ 0 w 1500631"/>
                <a:gd name="connsiteY2" fmla="*/ 257442 h 257442"/>
                <a:gd name="connsiteX3" fmla="*/ 0 w 1500631"/>
                <a:gd name="connsiteY3" fmla="*/ 0 h 257442"/>
                <a:gd name="connsiteX0" fmla="*/ 1500631 w 1500631"/>
                <a:gd name="connsiteY0" fmla="*/ 0 h 257442"/>
                <a:gd name="connsiteX1" fmla="*/ 1445910 w 1500631"/>
                <a:gd name="connsiteY1" fmla="*/ 257442 h 257442"/>
                <a:gd name="connsiteX2" fmla="*/ 0 w 1500631"/>
                <a:gd name="connsiteY2" fmla="*/ 257442 h 257442"/>
                <a:gd name="connsiteX3" fmla="*/ 0 w 1500631"/>
                <a:gd name="connsiteY3" fmla="*/ 0 h 257442"/>
                <a:gd name="connsiteX0" fmla="*/ 1500631 w 1500631"/>
                <a:gd name="connsiteY0" fmla="*/ 0 h 257442"/>
                <a:gd name="connsiteX1" fmla="*/ 1445910 w 1500631"/>
                <a:gd name="connsiteY1" fmla="*/ 257442 h 257442"/>
                <a:gd name="connsiteX2" fmla="*/ 0 w 1500631"/>
                <a:gd name="connsiteY2" fmla="*/ 257442 h 257442"/>
                <a:gd name="connsiteX3" fmla="*/ 0 w 1500631"/>
                <a:gd name="connsiteY3" fmla="*/ 0 h 257442"/>
                <a:gd name="connsiteX0" fmla="*/ 1652916 w 1652916"/>
                <a:gd name="connsiteY0" fmla="*/ 0 h 257442"/>
                <a:gd name="connsiteX1" fmla="*/ 1445910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652916 w 1652916"/>
                <a:gd name="connsiteY0" fmla="*/ 0 h 257442"/>
                <a:gd name="connsiteX1" fmla="*/ 1598194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652917 w 1652917"/>
                <a:gd name="connsiteY0" fmla="*/ 0 h 257442"/>
                <a:gd name="connsiteX1" fmla="*/ 1598195 w 1652917"/>
                <a:gd name="connsiteY1" fmla="*/ 257442 h 257442"/>
                <a:gd name="connsiteX2" fmla="*/ 0 w 1652917"/>
                <a:gd name="connsiteY2" fmla="*/ 257442 h 257442"/>
                <a:gd name="connsiteX3" fmla="*/ 1 w 1652917"/>
                <a:gd name="connsiteY3" fmla="*/ 0 h 257442"/>
                <a:gd name="connsiteX0" fmla="*/ 1652917 w 1652917"/>
                <a:gd name="connsiteY0" fmla="*/ 0 h 257442"/>
                <a:gd name="connsiteX1" fmla="*/ 1598195 w 1652917"/>
                <a:gd name="connsiteY1" fmla="*/ 257442 h 257442"/>
                <a:gd name="connsiteX2" fmla="*/ 0 w 1652917"/>
                <a:gd name="connsiteY2" fmla="*/ 257442 h 257442"/>
                <a:gd name="connsiteX3" fmla="*/ 1 w 1652917"/>
                <a:gd name="connsiteY3" fmla="*/ 0 h 257442"/>
                <a:gd name="connsiteX0" fmla="*/ 1830850 w 1830850"/>
                <a:gd name="connsiteY0" fmla="*/ 0 h 257442"/>
                <a:gd name="connsiteX1" fmla="*/ 1598195 w 1830850"/>
                <a:gd name="connsiteY1" fmla="*/ 257442 h 257442"/>
                <a:gd name="connsiteX2" fmla="*/ 0 w 1830850"/>
                <a:gd name="connsiteY2" fmla="*/ 257442 h 257442"/>
                <a:gd name="connsiteX3" fmla="*/ 1 w 1830850"/>
                <a:gd name="connsiteY3" fmla="*/ 0 h 257442"/>
                <a:gd name="connsiteX0" fmla="*/ 1830850 w 1830850"/>
                <a:gd name="connsiteY0" fmla="*/ 0 h 257442"/>
                <a:gd name="connsiteX1" fmla="*/ 1776128 w 1830850"/>
                <a:gd name="connsiteY1" fmla="*/ 257442 h 257442"/>
                <a:gd name="connsiteX2" fmla="*/ 0 w 1830850"/>
                <a:gd name="connsiteY2" fmla="*/ 257442 h 257442"/>
                <a:gd name="connsiteX3" fmla="*/ 1 w 1830850"/>
                <a:gd name="connsiteY3" fmla="*/ 0 h 257442"/>
                <a:gd name="connsiteX0" fmla="*/ 1830850 w 1830850"/>
                <a:gd name="connsiteY0" fmla="*/ 0 h 257442"/>
                <a:gd name="connsiteX1" fmla="*/ 1776128 w 1830850"/>
                <a:gd name="connsiteY1" fmla="*/ 257442 h 257442"/>
                <a:gd name="connsiteX2" fmla="*/ 0 w 1830850"/>
                <a:gd name="connsiteY2" fmla="*/ 257442 h 257442"/>
                <a:gd name="connsiteX3" fmla="*/ 1 w 1830850"/>
                <a:gd name="connsiteY3" fmla="*/ 0 h 257442"/>
                <a:gd name="connsiteX0" fmla="*/ 1830850 w 1830850"/>
                <a:gd name="connsiteY0" fmla="*/ 0 h 257442"/>
                <a:gd name="connsiteX1" fmla="*/ 1776128 w 1830850"/>
                <a:gd name="connsiteY1" fmla="*/ 257442 h 257442"/>
                <a:gd name="connsiteX2" fmla="*/ 0 w 1830850"/>
                <a:gd name="connsiteY2" fmla="*/ 257442 h 257442"/>
                <a:gd name="connsiteX3" fmla="*/ 0 w 1830850"/>
                <a:gd name="connsiteY3" fmla="*/ 0 h 257442"/>
                <a:gd name="connsiteX0" fmla="*/ 1999165 w 1999165"/>
                <a:gd name="connsiteY0" fmla="*/ 0 h 257442"/>
                <a:gd name="connsiteX1" fmla="*/ 1776128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2167480 w 2167480"/>
                <a:gd name="connsiteY0" fmla="*/ 0 h 257442"/>
                <a:gd name="connsiteX1" fmla="*/ 1944444 w 2167480"/>
                <a:gd name="connsiteY1" fmla="*/ 257442 h 257442"/>
                <a:gd name="connsiteX2" fmla="*/ 0 w 2167480"/>
                <a:gd name="connsiteY2" fmla="*/ 257442 h 257442"/>
                <a:gd name="connsiteX3" fmla="*/ 0 w 2167480"/>
                <a:gd name="connsiteY3" fmla="*/ 0 h 257442"/>
                <a:gd name="connsiteX0" fmla="*/ 2167480 w 2167480"/>
                <a:gd name="connsiteY0" fmla="*/ 0 h 257442"/>
                <a:gd name="connsiteX1" fmla="*/ 2112758 w 2167480"/>
                <a:gd name="connsiteY1" fmla="*/ 257442 h 257442"/>
                <a:gd name="connsiteX2" fmla="*/ 0 w 2167480"/>
                <a:gd name="connsiteY2" fmla="*/ 257442 h 257442"/>
                <a:gd name="connsiteX3" fmla="*/ 0 w 2167480"/>
                <a:gd name="connsiteY3" fmla="*/ 0 h 257442"/>
                <a:gd name="connsiteX0" fmla="*/ 2167481 w 2167481"/>
                <a:gd name="connsiteY0" fmla="*/ 0 h 257442"/>
                <a:gd name="connsiteX1" fmla="*/ 2112759 w 2167481"/>
                <a:gd name="connsiteY1" fmla="*/ 257442 h 257442"/>
                <a:gd name="connsiteX2" fmla="*/ 0 w 2167481"/>
                <a:gd name="connsiteY2" fmla="*/ 257442 h 257442"/>
                <a:gd name="connsiteX3" fmla="*/ 1 w 2167481"/>
                <a:gd name="connsiteY3" fmla="*/ 0 h 257442"/>
                <a:gd name="connsiteX0" fmla="*/ 2167481 w 2167481"/>
                <a:gd name="connsiteY0" fmla="*/ 0 h 257442"/>
                <a:gd name="connsiteX1" fmla="*/ 2112759 w 2167481"/>
                <a:gd name="connsiteY1" fmla="*/ 257442 h 257442"/>
                <a:gd name="connsiteX2" fmla="*/ 0 w 2167481"/>
                <a:gd name="connsiteY2" fmla="*/ 257442 h 257442"/>
                <a:gd name="connsiteX3" fmla="*/ 1 w 2167481"/>
                <a:gd name="connsiteY3" fmla="*/ 0 h 257442"/>
                <a:gd name="connsiteX0" fmla="*/ 2327781 w 2327781"/>
                <a:gd name="connsiteY0" fmla="*/ 0 h 257442"/>
                <a:gd name="connsiteX1" fmla="*/ 2112759 w 2327781"/>
                <a:gd name="connsiteY1" fmla="*/ 257442 h 257442"/>
                <a:gd name="connsiteX2" fmla="*/ 0 w 2327781"/>
                <a:gd name="connsiteY2" fmla="*/ 257442 h 257442"/>
                <a:gd name="connsiteX3" fmla="*/ 1 w 2327781"/>
                <a:gd name="connsiteY3" fmla="*/ 0 h 257442"/>
                <a:gd name="connsiteX0" fmla="*/ 2327781 w 2327781"/>
                <a:gd name="connsiteY0" fmla="*/ 0 h 257442"/>
                <a:gd name="connsiteX1" fmla="*/ 2273060 w 2327781"/>
                <a:gd name="connsiteY1" fmla="*/ 257442 h 257442"/>
                <a:gd name="connsiteX2" fmla="*/ 0 w 2327781"/>
                <a:gd name="connsiteY2" fmla="*/ 257442 h 257442"/>
                <a:gd name="connsiteX3" fmla="*/ 1 w 2327781"/>
                <a:gd name="connsiteY3" fmla="*/ 0 h 257442"/>
                <a:gd name="connsiteX0" fmla="*/ 2327780 w 2327780"/>
                <a:gd name="connsiteY0" fmla="*/ 0 h 257442"/>
                <a:gd name="connsiteX1" fmla="*/ 2273059 w 2327780"/>
                <a:gd name="connsiteY1" fmla="*/ 257442 h 257442"/>
                <a:gd name="connsiteX2" fmla="*/ 0 w 2327780"/>
                <a:gd name="connsiteY2" fmla="*/ 257442 h 257442"/>
                <a:gd name="connsiteX3" fmla="*/ 0 w 2327780"/>
                <a:gd name="connsiteY3" fmla="*/ 0 h 257442"/>
                <a:gd name="connsiteX0" fmla="*/ 2327781 w 2327781"/>
                <a:gd name="connsiteY0" fmla="*/ 0 h 257442"/>
                <a:gd name="connsiteX1" fmla="*/ 2273060 w 2327781"/>
                <a:gd name="connsiteY1" fmla="*/ 257442 h 257442"/>
                <a:gd name="connsiteX2" fmla="*/ 1 w 2327781"/>
                <a:gd name="connsiteY2" fmla="*/ 257442 h 257442"/>
                <a:gd name="connsiteX3" fmla="*/ 0 w 2327781"/>
                <a:gd name="connsiteY3" fmla="*/ 0 h 257442"/>
                <a:gd name="connsiteX0" fmla="*/ 950802 w 2273060"/>
                <a:gd name="connsiteY0" fmla="*/ 0 h 257442"/>
                <a:gd name="connsiteX1" fmla="*/ 2273060 w 2273060"/>
                <a:gd name="connsiteY1" fmla="*/ 257442 h 257442"/>
                <a:gd name="connsiteX2" fmla="*/ 1 w 2273060"/>
                <a:gd name="connsiteY2" fmla="*/ 257442 h 257442"/>
                <a:gd name="connsiteX3" fmla="*/ 0 w 2273060"/>
                <a:gd name="connsiteY3" fmla="*/ 0 h 257442"/>
                <a:gd name="connsiteX0" fmla="*/ 950802 w 950802"/>
                <a:gd name="connsiteY0" fmla="*/ 0 h 257442"/>
                <a:gd name="connsiteX1" fmla="*/ 896081 w 950802"/>
                <a:gd name="connsiteY1" fmla="*/ 257442 h 257442"/>
                <a:gd name="connsiteX2" fmla="*/ 1 w 950802"/>
                <a:gd name="connsiteY2" fmla="*/ 257442 h 257442"/>
                <a:gd name="connsiteX3" fmla="*/ 0 w 950802"/>
                <a:gd name="connsiteY3" fmla="*/ 0 h 257442"/>
                <a:gd name="connsiteX0" fmla="*/ 950802 w 950802"/>
                <a:gd name="connsiteY0" fmla="*/ 0 h 257442"/>
                <a:gd name="connsiteX1" fmla="*/ 896081 w 950802"/>
                <a:gd name="connsiteY1" fmla="*/ 257442 h 257442"/>
                <a:gd name="connsiteX2" fmla="*/ 1 w 950802"/>
                <a:gd name="connsiteY2" fmla="*/ 257442 h 257442"/>
                <a:gd name="connsiteX3" fmla="*/ 0 w 950802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1128734 w 1128734"/>
                <a:gd name="connsiteY0" fmla="*/ 0 h 257442"/>
                <a:gd name="connsiteX1" fmla="*/ 896080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128734 w 1128734"/>
                <a:gd name="connsiteY0" fmla="*/ 0 h 257442"/>
                <a:gd name="connsiteX1" fmla="*/ 1074012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128735 w 1128735"/>
                <a:gd name="connsiteY0" fmla="*/ 0 h 257442"/>
                <a:gd name="connsiteX1" fmla="*/ 1074013 w 1128735"/>
                <a:gd name="connsiteY1" fmla="*/ 257442 h 257442"/>
                <a:gd name="connsiteX2" fmla="*/ 0 w 1128735"/>
                <a:gd name="connsiteY2" fmla="*/ 257442 h 257442"/>
                <a:gd name="connsiteX3" fmla="*/ 1 w 1128735"/>
                <a:gd name="connsiteY3" fmla="*/ 0 h 257442"/>
                <a:gd name="connsiteX0" fmla="*/ 1128735 w 1128735"/>
                <a:gd name="connsiteY0" fmla="*/ 0 h 257442"/>
                <a:gd name="connsiteX1" fmla="*/ 1074013 w 1128735"/>
                <a:gd name="connsiteY1" fmla="*/ 257442 h 257442"/>
                <a:gd name="connsiteX2" fmla="*/ 0 w 1128735"/>
                <a:gd name="connsiteY2" fmla="*/ 257442 h 257442"/>
                <a:gd name="connsiteX3" fmla="*/ 1 w 1128735"/>
                <a:gd name="connsiteY3" fmla="*/ 0 h 257442"/>
                <a:gd name="connsiteX0" fmla="*/ 1314683 w 1314683"/>
                <a:gd name="connsiteY0" fmla="*/ 0 h 257442"/>
                <a:gd name="connsiteX1" fmla="*/ 1074013 w 1314683"/>
                <a:gd name="connsiteY1" fmla="*/ 257442 h 257442"/>
                <a:gd name="connsiteX2" fmla="*/ 0 w 1314683"/>
                <a:gd name="connsiteY2" fmla="*/ 257442 h 257442"/>
                <a:gd name="connsiteX3" fmla="*/ 1 w 1314683"/>
                <a:gd name="connsiteY3" fmla="*/ 0 h 257442"/>
                <a:gd name="connsiteX0" fmla="*/ 1314683 w 1314683"/>
                <a:gd name="connsiteY0" fmla="*/ 0 h 257442"/>
                <a:gd name="connsiteX1" fmla="*/ 1259962 w 1314683"/>
                <a:gd name="connsiteY1" fmla="*/ 257442 h 257442"/>
                <a:gd name="connsiteX2" fmla="*/ 0 w 1314683"/>
                <a:gd name="connsiteY2" fmla="*/ 257442 h 257442"/>
                <a:gd name="connsiteX3" fmla="*/ 1 w 1314683"/>
                <a:gd name="connsiteY3" fmla="*/ 0 h 257442"/>
                <a:gd name="connsiteX0" fmla="*/ 1314682 w 1314682"/>
                <a:gd name="connsiteY0" fmla="*/ 0 h 257442"/>
                <a:gd name="connsiteX1" fmla="*/ 1259961 w 1314682"/>
                <a:gd name="connsiteY1" fmla="*/ 257442 h 257442"/>
                <a:gd name="connsiteX2" fmla="*/ 0 w 1314682"/>
                <a:gd name="connsiteY2" fmla="*/ 257442 h 257442"/>
                <a:gd name="connsiteX3" fmla="*/ 0 w 1314682"/>
                <a:gd name="connsiteY3" fmla="*/ 0 h 257442"/>
                <a:gd name="connsiteX0" fmla="*/ 1314683 w 1314683"/>
                <a:gd name="connsiteY0" fmla="*/ 0 h 257442"/>
                <a:gd name="connsiteX1" fmla="*/ 1259962 w 1314683"/>
                <a:gd name="connsiteY1" fmla="*/ 257442 h 257442"/>
                <a:gd name="connsiteX2" fmla="*/ 1 w 1314683"/>
                <a:gd name="connsiteY2" fmla="*/ 257442 h 257442"/>
                <a:gd name="connsiteX3" fmla="*/ 0 w 1314683"/>
                <a:gd name="connsiteY3" fmla="*/ 0 h 257442"/>
                <a:gd name="connsiteX0" fmla="*/ 1474984 w 1474984"/>
                <a:gd name="connsiteY0" fmla="*/ 0 h 257442"/>
                <a:gd name="connsiteX1" fmla="*/ 1259962 w 1474984"/>
                <a:gd name="connsiteY1" fmla="*/ 257442 h 257442"/>
                <a:gd name="connsiteX2" fmla="*/ 1 w 1474984"/>
                <a:gd name="connsiteY2" fmla="*/ 257442 h 257442"/>
                <a:gd name="connsiteX3" fmla="*/ 0 w 1474984"/>
                <a:gd name="connsiteY3" fmla="*/ 0 h 257442"/>
                <a:gd name="connsiteX0" fmla="*/ 1474984 w 1474984"/>
                <a:gd name="connsiteY0" fmla="*/ 0 h 257442"/>
                <a:gd name="connsiteX1" fmla="*/ 1420262 w 1474984"/>
                <a:gd name="connsiteY1" fmla="*/ 257442 h 257442"/>
                <a:gd name="connsiteX2" fmla="*/ 1 w 1474984"/>
                <a:gd name="connsiteY2" fmla="*/ 257442 h 257442"/>
                <a:gd name="connsiteX3" fmla="*/ 0 w 1474984"/>
                <a:gd name="connsiteY3" fmla="*/ 0 h 257442"/>
                <a:gd name="connsiteX0" fmla="*/ 1474984 w 1474984"/>
                <a:gd name="connsiteY0" fmla="*/ 0 h 257442"/>
                <a:gd name="connsiteX1" fmla="*/ 1420262 w 1474984"/>
                <a:gd name="connsiteY1" fmla="*/ 257442 h 257442"/>
                <a:gd name="connsiteX2" fmla="*/ 0 w 1474984"/>
                <a:gd name="connsiteY2" fmla="*/ 257442 h 257442"/>
                <a:gd name="connsiteX3" fmla="*/ 0 w 1474984"/>
                <a:gd name="connsiteY3" fmla="*/ 0 h 257442"/>
                <a:gd name="connsiteX0" fmla="*/ 1474984 w 1474984"/>
                <a:gd name="connsiteY0" fmla="*/ 0 h 257442"/>
                <a:gd name="connsiteX1" fmla="*/ 1420262 w 1474984"/>
                <a:gd name="connsiteY1" fmla="*/ 257442 h 257442"/>
                <a:gd name="connsiteX2" fmla="*/ 0 w 1474984"/>
                <a:gd name="connsiteY2" fmla="*/ 257442 h 257442"/>
                <a:gd name="connsiteX3" fmla="*/ 0 w 1474984"/>
                <a:gd name="connsiteY3" fmla="*/ 0 h 257442"/>
                <a:gd name="connsiteX0" fmla="*/ 1635283 w 1635283"/>
                <a:gd name="connsiteY0" fmla="*/ 0 h 257442"/>
                <a:gd name="connsiteX1" fmla="*/ 1420262 w 1635283"/>
                <a:gd name="connsiteY1" fmla="*/ 257442 h 257442"/>
                <a:gd name="connsiteX2" fmla="*/ 0 w 1635283"/>
                <a:gd name="connsiteY2" fmla="*/ 257442 h 257442"/>
                <a:gd name="connsiteX3" fmla="*/ 0 w 1635283"/>
                <a:gd name="connsiteY3" fmla="*/ 0 h 257442"/>
                <a:gd name="connsiteX0" fmla="*/ 1635283 w 1635283"/>
                <a:gd name="connsiteY0" fmla="*/ 0 h 257442"/>
                <a:gd name="connsiteX1" fmla="*/ 1580562 w 1635283"/>
                <a:gd name="connsiteY1" fmla="*/ 257442 h 257442"/>
                <a:gd name="connsiteX2" fmla="*/ 0 w 1635283"/>
                <a:gd name="connsiteY2" fmla="*/ 257442 h 257442"/>
                <a:gd name="connsiteX3" fmla="*/ 0 w 1635283"/>
                <a:gd name="connsiteY3" fmla="*/ 0 h 257442"/>
                <a:gd name="connsiteX0" fmla="*/ 1635283 w 1635283"/>
                <a:gd name="connsiteY0" fmla="*/ 0 h 257442"/>
                <a:gd name="connsiteX1" fmla="*/ 1580562 w 1635283"/>
                <a:gd name="connsiteY1" fmla="*/ 257442 h 257442"/>
                <a:gd name="connsiteX2" fmla="*/ 0 w 1635283"/>
                <a:gd name="connsiteY2" fmla="*/ 257442 h 257442"/>
                <a:gd name="connsiteX3" fmla="*/ 0 w 1635283"/>
                <a:gd name="connsiteY3" fmla="*/ 0 h 257442"/>
                <a:gd name="connsiteX0" fmla="*/ 1635283 w 1635283"/>
                <a:gd name="connsiteY0" fmla="*/ 0 h 257442"/>
                <a:gd name="connsiteX1" fmla="*/ 1580562 w 1635283"/>
                <a:gd name="connsiteY1" fmla="*/ 257442 h 257442"/>
                <a:gd name="connsiteX2" fmla="*/ 0 w 1635283"/>
                <a:gd name="connsiteY2" fmla="*/ 257442 h 257442"/>
                <a:gd name="connsiteX3" fmla="*/ 0 w 1635283"/>
                <a:gd name="connsiteY3" fmla="*/ 0 h 257442"/>
                <a:gd name="connsiteX0" fmla="*/ 1787569 w 1787569"/>
                <a:gd name="connsiteY0" fmla="*/ 0 h 257442"/>
                <a:gd name="connsiteX1" fmla="*/ 1580562 w 1787569"/>
                <a:gd name="connsiteY1" fmla="*/ 257442 h 257442"/>
                <a:gd name="connsiteX2" fmla="*/ 0 w 1787569"/>
                <a:gd name="connsiteY2" fmla="*/ 257442 h 257442"/>
                <a:gd name="connsiteX3" fmla="*/ 0 w 1787569"/>
                <a:gd name="connsiteY3" fmla="*/ 0 h 257442"/>
                <a:gd name="connsiteX0" fmla="*/ 1787569 w 1787569"/>
                <a:gd name="connsiteY0" fmla="*/ 0 h 257442"/>
                <a:gd name="connsiteX1" fmla="*/ 1732848 w 1787569"/>
                <a:gd name="connsiteY1" fmla="*/ 257442 h 257442"/>
                <a:gd name="connsiteX2" fmla="*/ 0 w 1787569"/>
                <a:gd name="connsiteY2" fmla="*/ 257442 h 257442"/>
                <a:gd name="connsiteX3" fmla="*/ 0 w 1787569"/>
                <a:gd name="connsiteY3" fmla="*/ 0 h 257442"/>
                <a:gd name="connsiteX0" fmla="*/ 1787569 w 1787569"/>
                <a:gd name="connsiteY0" fmla="*/ 0 h 257442"/>
                <a:gd name="connsiteX1" fmla="*/ 1732848 w 1787569"/>
                <a:gd name="connsiteY1" fmla="*/ 257442 h 257442"/>
                <a:gd name="connsiteX2" fmla="*/ 0 w 1787569"/>
                <a:gd name="connsiteY2" fmla="*/ 257442 h 257442"/>
                <a:gd name="connsiteX3" fmla="*/ 0 w 1787569"/>
                <a:gd name="connsiteY3" fmla="*/ 0 h 257442"/>
                <a:gd name="connsiteX0" fmla="*/ 1787569 w 1787569"/>
                <a:gd name="connsiteY0" fmla="*/ 0 h 257442"/>
                <a:gd name="connsiteX1" fmla="*/ 1732848 w 1787569"/>
                <a:gd name="connsiteY1" fmla="*/ 257442 h 257442"/>
                <a:gd name="connsiteX2" fmla="*/ 0 w 1787569"/>
                <a:gd name="connsiteY2" fmla="*/ 257442 h 257442"/>
                <a:gd name="connsiteX3" fmla="*/ 0 w 1787569"/>
                <a:gd name="connsiteY3" fmla="*/ 0 h 257442"/>
                <a:gd name="connsiteX0" fmla="*/ 1888557 w 1888557"/>
                <a:gd name="connsiteY0" fmla="*/ 0 h 257442"/>
                <a:gd name="connsiteX1" fmla="*/ 1732848 w 1888557"/>
                <a:gd name="connsiteY1" fmla="*/ 257442 h 257442"/>
                <a:gd name="connsiteX2" fmla="*/ 0 w 1888557"/>
                <a:gd name="connsiteY2" fmla="*/ 257442 h 257442"/>
                <a:gd name="connsiteX3" fmla="*/ 0 w 1888557"/>
                <a:gd name="connsiteY3" fmla="*/ 0 h 257442"/>
                <a:gd name="connsiteX0" fmla="*/ 1888557 w 1888557"/>
                <a:gd name="connsiteY0" fmla="*/ 0 h 257442"/>
                <a:gd name="connsiteX1" fmla="*/ 1833836 w 1888557"/>
                <a:gd name="connsiteY1" fmla="*/ 257442 h 257442"/>
                <a:gd name="connsiteX2" fmla="*/ 0 w 1888557"/>
                <a:gd name="connsiteY2" fmla="*/ 257442 h 257442"/>
                <a:gd name="connsiteX3" fmla="*/ 0 w 1888557"/>
                <a:gd name="connsiteY3" fmla="*/ 0 h 257442"/>
                <a:gd name="connsiteX0" fmla="*/ 1888557 w 1888557"/>
                <a:gd name="connsiteY0" fmla="*/ 0 h 257442"/>
                <a:gd name="connsiteX1" fmla="*/ 1833836 w 1888557"/>
                <a:gd name="connsiteY1" fmla="*/ 257442 h 257442"/>
                <a:gd name="connsiteX2" fmla="*/ 0 w 1888557"/>
                <a:gd name="connsiteY2" fmla="*/ 257442 h 257442"/>
                <a:gd name="connsiteX3" fmla="*/ 0 w 1888557"/>
                <a:gd name="connsiteY3" fmla="*/ 0 h 257442"/>
                <a:gd name="connsiteX0" fmla="*/ 1888557 w 1888557"/>
                <a:gd name="connsiteY0" fmla="*/ 0 h 257442"/>
                <a:gd name="connsiteX1" fmla="*/ 1833836 w 1888557"/>
                <a:gd name="connsiteY1" fmla="*/ 257442 h 257442"/>
                <a:gd name="connsiteX2" fmla="*/ 0 w 1888557"/>
                <a:gd name="connsiteY2" fmla="*/ 257442 h 257442"/>
                <a:gd name="connsiteX3" fmla="*/ 0 w 1888557"/>
                <a:gd name="connsiteY3" fmla="*/ 0 h 257442"/>
                <a:gd name="connsiteX0" fmla="*/ 2040843 w 2040843"/>
                <a:gd name="connsiteY0" fmla="*/ 0 h 257442"/>
                <a:gd name="connsiteX1" fmla="*/ 1833836 w 2040843"/>
                <a:gd name="connsiteY1" fmla="*/ 257442 h 257442"/>
                <a:gd name="connsiteX2" fmla="*/ 0 w 2040843"/>
                <a:gd name="connsiteY2" fmla="*/ 257442 h 257442"/>
                <a:gd name="connsiteX3" fmla="*/ 0 w 2040843"/>
                <a:gd name="connsiteY3" fmla="*/ 0 h 257442"/>
                <a:gd name="connsiteX0" fmla="*/ 2040843 w 2040843"/>
                <a:gd name="connsiteY0" fmla="*/ 0 h 257442"/>
                <a:gd name="connsiteX1" fmla="*/ 1986122 w 2040843"/>
                <a:gd name="connsiteY1" fmla="*/ 257442 h 257442"/>
                <a:gd name="connsiteX2" fmla="*/ 0 w 2040843"/>
                <a:gd name="connsiteY2" fmla="*/ 257442 h 257442"/>
                <a:gd name="connsiteX3" fmla="*/ 0 w 2040843"/>
                <a:gd name="connsiteY3" fmla="*/ 0 h 257442"/>
                <a:gd name="connsiteX0" fmla="*/ 2040843 w 2040843"/>
                <a:gd name="connsiteY0" fmla="*/ 0 h 257442"/>
                <a:gd name="connsiteX1" fmla="*/ 1986122 w 2040843"/>
                <a:gd name="connsiteY1" fmla="*/ 257442 h 257442"/>
                <a:gd name="connsiteX2" fmla="*/ 0 w 2040843"/>
                <a:gd name="connsiteY2" fmla="*/ 257442 h 257442"/>
                <a:gd name="connsiteX3" fmla="*/ 0 w 2040843"/>
                <a:gd name="connsiteY3" fmla="*/ 0 h 257442"/>
                <a:gd name="connsiteX0" fmla="*/ 2040843 w 2040843"/>
                <a:gd name="connsiteY0" fmla="*/ 0 h 257442"/>
                <a:gd name="connsiteX1" fmla="*/ 1986122 w 2040843"/>
                <a:gd name="connsiteY1" fmla="*/ 257442 h 257442"/>
                <a:gd name="connsiteX2" fmla="*/ 0 w 2040843"/>
                <a:gd name="connsiteY2" fmla="*/ 257442 h 257442"/>
                <a:gd name="connsiteX3" fmla="*/ 0 w 2040843"/>
                <a:gd name="connsiteY3" fmla="*/ 0 h 257442"/>
                <a:gd name="connsiteX0" fmla="*/ 2141832 w 2141832"/>
                <a:gd name="connsiteY0" fmla="*/ 0 h 257442"/>
                <a:gd name="connsiteX1" fmla="*/ 1986122 w 2141832"/>
                <a:gd name="connsiteY1" fmla="*/ 257442 h 257442"/>
                <a:gd name="connsiteX2" fmla="*/ 0 w 2141832"/>
                <a:gd name="connsiteY2" fmla="*/ 257442 h 257442"/>
                <a:gd name="connsiteX3" fmla="*/ 0 w 2141832"/>
                <a:gd name="connsiteY3" fmla="*/ 0 h 257442"/>
                <a:gd name="connsiteX0" fmla="*/ 2141832 w 2141832"/>
                <a:gd name="connsiteY0" fmla="*/ 0 h 257442"/>
                <a:gd name="connsiteX1" fmla="*/ 2087110 w 2141832"/>
                <a:gd name="connsiteY1" fmla="*/ 257442 h 257442"/>
                <a:gd name="connsiteX2" fmla="*/ 0 w 2141832"/>
                <a:gd name="connsiteY2" fmla="*/ 257442 h 257442"/>
                <a:gd name="connsiteX3" fmla="*/ 0 w 2141832"/>
                <a:gd name="connsiteY3" fmla="*/ 0 h 257442"/>
                <a:gd name="connsiteX0" fmla="*/ 2141833 w 2141833"/>
                <a:gd name="connsiteY0" fmla="*/ 0 h 257442"/>
                <a:gd name="connsiteX1" fmla="*/ 2087111 w 2141833"/>
                <a:gd name="connsiteY1" fmla="*/ 257442 h 257442"/>
                <a:gd name="connsiteX2" fmla="*/ 0 w 2141833"/>
                <a:gd name="connsiteY2" fmla="*/ 257442 h 257442"/>
                <a:gd name="connsiteX3" fmla="*/ 1 w 2141833"/>
                <a:gd name="connsiteY3" fmla="*/ 0 h 257442"/>
                <a:gd name="connsiteX0" fmla="*/ 2141833 w 2141833"/>
                <a:gd name="connsiteY0" fmla="*/ 0 h 257442"/>
                <a:gd name="connsiteX1" fmla="*/ 2087111 w 2141833"/>
                <a:gd name="connsiteY1" fmla="*/ 257442 h 257442"/>
                <a:gd name="connsiteX2" fmla="*/ 0 w 2141833"/>
                <a:gd name="connsiteY2" fmla="*/ 257442 h 257442"/>
                <a:gd name="connsiteX3" fmla="*/ 1 w 2141833"/>
                <a:gd name="connsiteY3" fmla="*/ 0 h 257442"/>
                <a:gd name="connsiteX0" fmla="*/ 2302133 w 2302133"/>
                <a:gd name="connsiteY0" fmla="*/ 0 h 257442"/>
                <a:gd name="connsiteX1" fmla="*/ 2087111 w 2302133"/>
                <a:gd name="connsiteY1" fmla="*/ 257442 h 257442"/>
                <a:gd name="connsiteX2" fmla="*/ 0 w 2302133"/>
                <a:gd name="connsiteY2" fmla="*/ 257442 h 257442"/>
                <a:gd name="connsiteX3" fmla="*/ 1 w 2302133"/>
                <a:gd name="connsiteY3" fmla="*/ 0 h 257442"/>
                <a:gd name="connsiteX0" fmla="*/ 2302133 w 2302133"/>
                <a:gd name="connsiteY0" fmla="*/ 0 h 257442"/>
                <a:gd name="connsiteX1" fmla="*/ 2247412 w 2302133"/>
                <a:gd name="connsiteY1" fmla="*/ 257442 h 257442"/>
                <a:gd name="connsiteX2" fmla="*/ 0 w 2302133"/>
                <a:gd name="connsiteY2" fmla="*/ 257442 h 257442"/>
                <a:gd name="connsiteX3" fmla="*/ 1 w 2302133"/>
                <a:gd name="connsiteY3" fmla="*/ 0 h 257442"/>
                <a:gd name="connsiteX0" fmla="*/ 2302132 w 2302132"/>
                <a:gd name="connsiteY0" fmla="*/ 0 h 257442"/>
                <a:gd name="connsiteX1" fmla="*/ 2247411 w 2302132"/>
                <a:gd name="connsiteY1" fmla="*/ 257442 h 257442"/>
                <a:gd name="connsiteX2" fmla="*/ 0 w 2302132"/>
                <a:gd name="connsiteY2" fmla="*/ 257442 h 257442"/>
                <a:gd name="connsiteX3" fmla="*/ 0 w 2302132"/>
                <a:gd name="connsiteY3" fmla="*/ 0 h 257442"/>
                <a:gd name="connsiteX0" fmla="*/ 2302133 w 2302133"/>
                <a:gd name="connsiteY0" fmla="*/ 0 h 257442"/>
                <a:gd name="connsiteX1" fmla="*/ 2247412 w 2302133"/>
                <a:gd name="connsiteY1" fmla="*/ 257442 h 257442"/>
                <a:gd name="connsiteX2" fmla="*/ 1 w 2302133"/>
                <a:gd name="connsiteY2" fmla="*/ 257442 h 257442"/>
                <a:gd name="connsiteX3" fmla="*/ 0 w 2302133"/>
                <a:gd name="connsiteY3" fmla="*/ 0 h 257442"/>
                <a:gd name="connsiteX0" fmla="*/ 2462433 w 2462433"/>
                <a:gd name="connsiteY0" fmla="*/ 0 h 257442"/>
                <a:gd name="connsiteX1" fmla="*/ 2247412 w 2462433"/>
                <a:gd name="connsiteY1" fmla="*/ 257442 h 257442"/>
                <a:gd name="connsiteX2" fmla="*/ 1 w 2462433"/>
                <a:gd name="connsiteY2" fmla="*/ 257442 h 257442"/>
                <a:gd name="connsiteX3" fmla="*/ 0 w 2462433"/>
                <a:gd name="connsiteY3" fmla="*/ 0 h 257442"/>
                <a:gd name="connsiteX0" fmla="*/ 2462433 w 2462433"/>
                <a:gd name="connsiteY0" fmla="*/ 0 h 257442"/>
                <a:gd name="connsiteX1" fmla="*/ 2407712 w 2462433"/>
                <a:gd name="connsiteY1" fmla="*/ 257442 h 257442"/>
                <a:gd name="connsiteX2" fmla="*/ 1 w 2462433"/>
                <a:gd name="connsiteY2" fmla="*/ 257442 h 257442"/>
                <a:gd name="connsiteX3" fmla="*/ 0 w 2462433"/>
                <a:gd name="connsiteY3" fmla="*/ 0 h 257442"/>
                <a:gd name="connsiteX0" fmla="*/ 2462433 w 2462433"/>
                <a:gd name="connsiteY0" fmla="*/ 0 h 257442"/>
                <a:gd name="connsiteX1" fmla="*/ 2407712 w 2462433"/>
                <a:gd name="connsiteY1" fmla="*/ 257442 h 257442"/>
                <a:gd name="connsiteX2" fmla="*/ 1 w 2462433"/>
                <a:gd name="connsiteY2" fmla="*/ 257442 h 257442"/>
                <a:gd name="connsiteX3" fmla="*/ 0 w 2462433"/>
                <a:gd name="connsiteY3" fmla="*/ 0 h 257442"/>
                <a:gd name="connsiteX0" fmla="*/ 2462432 w 2462432"/>
                <a:gd name="connsiteY0" fmla="*/ 0 h 257442"/>
                <a:gd name="connsiteX1" fmla="*/ 2407711 w 2462432"/>
                <a:gd name="connsiteY1" fmla="*/ 257442 h 257442"/>
                <a:gd name="connsiteX2" fmla="*/ 0 w 2462432"/>
                <a:gd name="connsiteY2" fmla="*/ 257442 h 257442"/>
                <a:gd name="connsiteX3" fmla="*/ 0 w 2462432"/>
                <a:gd name="connsiteY3" fmla="*/ 0 h 257442"/>
                <a:gd name="connsiteX0" fmla="*/ 2563421 w 2563421"/>
                <a:gd name="connsiteY0" fmla="*/ 0 h 257442"/>
                <a:gd name="connsiteX1" fmla="*/ 2407711 w 2563421"/>
                <a:gd name="connsiteY1" fmla="*/ 257442 h 257442"/>
                <a:gd name="connsiteX2" fmla="*/ 0 w 2563421"/>
                <a:gd name="connsiteY2" fmla="*/ 257442 h 257442"/>
                <a:gd name="connsiteX3" fmla="*/ 0 w 2563421"/>
                <a:gd name="connsiteY3" fmla="*/ 0 h 257442"/>
                <a:gd name="connsiteX0" fmla="*/ 2563421 w 2563421"/>
                <a:gd name="connsiteY0" fmla="*/ 0 h 257442"/>
                <a:gd name="connsiteX1" fmla="*/ 2508700 w 2563421"/>
                <a:gd name="connsiteY1" fmla="*/ 257442 h 257442"/>
                <a:gd name="connsiteX2" fmla="*/ 0 w 2563421"/>
                <a:gd name="connsiteY2" fmla="*/ 257442 h 257442"/>
                <a:gd name="connsiteX3" fmla="*/ 0 w 2563421"/>
                <a:gd name="connsiteY3" fmla="*/ 0 h 257442"/>
                <a:gd name="connsiteX0" fmla="*/ 2563422 w 2563422"/>
                <a:gd name="connsiteY0" fmla="*/ 0 h 257442"/>
                <a:gd name="connsiteX1" fmla="*/ 2508701 w 2563422"/>
                <a:gd name="connsiteY1" fmla="*/ 257442 h 257442"/>
                <a:gd name="connsiteX2" fmla="*/ 0 w 2563422"/>
                <a:gd name="connsiteY2" fmla="*/ 257442 h 257442"/>
                <a:gd name="connsiteX3" fmla="*/ 1 w 2563422"/>
                <a:gd name="connsiteY3" fmla="*/ 0 h 257442"/>
                <a:gd name="connsiteX0" fmla="*/ 2563422 w 2563422"/>
                <a:gd name="connsiteY0" fmla="*/ 0 h 257442"/>
                <a:gd name="connsiteX1" fmla="*/ 2508701 w 2563422"/>
                <a:gd name="connsiteY1" fmla="*/ 257442 h 257442"/>
                <a:gd name="connsiteX2" fmla="*/ 0 w 2563422"/>
                <a:gd name="connsiteY2" fmla="*/ 257442 h 257442"/>
                <a:gd name="connsiteX3" fmla="*/ 0 w 2563422"/>
                <a:gd name="connsiteY3" fmla="*/ 0 h 257442"/>
                <a:gd name="connsiteX0" fmla="*/ 2731737 w 2731737"/>
                <a:gd name="connsiteY0" fmla="*/ 0 h 257442"/>
                <a:gd name="connsiteX1" fmla="*/ 2508701 w 2731737"/>
                <a:gd name="connsiteY1" fmla="*/ 257442 h 257442"/>
                <a:gd name="connsiteX2" fmla="*/ 0 w 2731737"/>
                <a:gd name="connsiteY2" fmla="*/ 257442 h 257442"/>
                <a:gd name="connsiteX3" fmla="*/ 0 w 2731737"/>
                <a:gd name="connsiteY3" fmla="*/ 0 h 257442"/>
                <a:gd name="connsiteX0" fmla="*/ 2731737 w 2731737"/>
                <a:gd name="connsiteY0" fmla="*/ 0 h 257442"/>
                <a:gd name="connsiteX1" fmla="*/ 2677016 w 2731737"/>
                <a:gd name="connsiteY1" fmla="*/ 257442 h 257442"/>
                <a:gd name="connsiteX2" fmla="*/ 0 w 2731737"/>
                <a:gd name="connsiteY2" fmla="*/ 257442 h 257442"/>
                <a:gd name="connsiteX3" fmla="*/ 0 w 2731737"/>
                <a:gd name="connsiteY3" fmla="*/ 0 h 257442"/>
                <a:gd name="connsiteX0" fmla="*/ 2731737 w 2731737"/>
                <a:gd name="connsiteY0" fmla="*/ 0 h 257442"/>
                <a:gd name="connsiteX1" fmla="*/ 2677016 w 2731737"/>
                <a:gd name="connsiteY1" fmla="*/ 257442 h 257442"/>
                <a:gd name="connsiteX2" fmla="*/ 0 w 2731737"/>
                <a:gd name="connsiteY2" fmla="*/ 257442 h 257442"/>
                <a:gd name="connsiteX3" fmla="*/ 0 w 2731737"/>
                <a:gd name="connsiteY3" fmla="*/ 0 h 257442"/>
                <a:gd name="connsiteX0" fmla="*/ 2731737 w 2731737"/>
                <a:gd name="connsiteY0" fmla="*/ 0 h 257442"/>
                <a:gd name="connsiteX1" fmla="*/ 2677016 w 2731737"/>
                <a:gd name="connsiteY1" fmla="*/ 257442 h 257442"/>
                <a:gd name="connsiteX2" fmla="*/ 0 w 2731737"/>
                <a:gd name="connsiteY2" fmla="*/ 257442 h 257442"/>
                <a:gd name="connsiteX3" fmla="*/ 0 w 2731737"/>
                <a:gd name="connsiteY3" fmla="*/ 0 h 257442"/>
                <a:gd name="connsiteX0" fmla="*/ 2892037 w 2892037"/>
                <a:gd name="connsiteY0" fmla="*/ 0 h 257442"/>
                <a:gd name="connsiteX1" fmla="*/ 2677016 w 2892037"/>
                <a:gd name="connsiteY1" fmla="*/ 257442 h 257442"/>
                <a:gd name="connsiteX2" fmla="*/ 0 w 2892037"/>
                <a:gd name="connsiteY2" fmla="*/ 257442 h 257442"/>
                <a:gd name="connsiteX3" fmla="*/ 0 w 2892037"/>
                <a:gd name="connsiteY3" fmla="*/ 0 h 257442"/>
                <a:gd name="connsiteX0" fmla="*/ 2892037 w 2892037"/>
                <a:gd name="connsiteY0" fmla="*/ 0 h 257442"/>
                <a:gd name="connsiteX1" fmla="*/ 2837316 w 2892037"/>
                <a:gd name="connsiteY1" fmla="*/ 257442 h 257442"/>
                <a:gd name="connsiteX2" fmla="*/ 0 w 2892037"/>
                <a:gd name="connsiteY2" fmla="*/ 257442 h 257442"/>
                <a:gd name="connsiteX3" fmla="*/ 0 w 2892037"/>
                <a:gd name="connsiteY3" fmla="*/ 0 h 257442"/>
                <a:gd name="connsiteX0" fmla="*/ 2892037 w 2892037"/>
                <a:gd name="connsiteY0" fmla="*/ 0 h 257442"/>
                <a:gd name="connsiteX1" fmla="*/ 2837316 w 2892037"/>
                <a:gd name="connsiteY1" fmla="*/ 257442 h 257442"/>
                <a:gd name="connsiteX2" fmla="*/ 0 w 2892037"/>
                <a:gd name="connsiteY2" fmla="*/ 257442 h 257442"/>
                <a:gd name="connsiteX3" fmla="*/ 0 w 2892037"/>
                <a:gd name="connsiteY3" fmla="*/ 0 h 257442"/>
                <a:gd name="connsiteX0" fmla="*/ 2892037 w 2892037"/>
                <a:gd name="connsiteY0" fmla="*/ 0 h 257442"/>
                <a:gd name="connsiteX1" fmla="*/ 2837316 w 2892037"/>
                <a:gd name="connsiteY1" fmla="*/ 257442 h 257442"/>
                <a:gd name="connsiteX2" fmla="*/ 0 w 2892037"/>
                <a:gd name="connsiteY2" fmla="*/ 257442 h 257442"/>
                <a:gd name="connsiteX3" fmla="*/ 0 w 2892037"/>
                <a:gd name="connsiteY3" fmla="*/ 0 h 257442"/>
                <a:gd name="connsiteX0" fmla="*/ 3060353 w 3060353"/>
                <a:gd name="connsiteY0" fmla="*/ 0 h 257442"/>
                <a:gd name="connsiteX1" fmla="*/ 2837316 w 3060353"/>
                <a:gd name="connsiteY1" fmla="*/ 257442 h 257442"/>
                <a:gd name="connsiteX2" fmla="*/ 0 w 3060353"/>
                <a:gd name="connsiteY2" fmla="*/ 257442 h 257442"/>
                <a:gd name="connsiteX3" fmla="*/ 0 w 3060353"/>
                <a:gd name="connsiteY3" fmla="*/ 0 h 257442"/>
                <a:gd name="connsiteX0" fmla="*/ 3060353 w 3060353"/>
                <a:gd name="connsiteY0" fmla="*/ 0 h 257442"/>
                <a:gd name="connsiteX1" fmla="*/ 3005632 w 3060353"/>
                <a:gd name="connsiteY1" fmla="*/ 257442 h 257442"/>
                <a:gd name="connsiteX2" fmla="*/ 0 w 3060353"/>
                <a:gd name="connsiteY2" fmla="*/ 257442 h 257442"/>
                <a:gd name="connsiteX3" fmla="*/ 0 w 3060353"/>
                <a:gd name="connsiteY3" fmla="*/ 0 h 257442"/>
                <a:gd name="connsiteX0" fmla="*/ 3060353 w 3060353"/>
                <a:gd name="connsiteY0" fmla="*/ 0 h 257442"/>
                <a:gd name="connsiteX1" fmla="*/ 3005632 w 3060353"/>
                <a:gd name="connsiteY1" fmla="*/ 257442 h 257442"/>
                <a:gd name="connsiteX2" fmla="*/ 0 w 3060353"/>
                <a:gd name="connsiteY2" fmla="*/ 257442 h 257442"/>
                <a:gd name="connsiteX3" fmla="*/ 0 w 3060353"/>
                <a:gd name="connsiteY3" fmla="*/ 0 h 257442"/>
                <a:gd name="connsiteX0" fmla="*/ 3060353 w 3060353"/>
                <a:gd name="connsiteY0" fmla="*/ 0 h 257442"/>
                <a:gd name="connsiteX1" fmla="*/ 3005632 w 3060353"/>
                <a:gd name="connsiteY1" fmla="*/ 257442 h 257442"/>
                <a:gd name="connsiteX2" fmla="*/ 0 w 3060353"/>
                <a:gd name="connsiteY2" fmla="*/ 257442 h 257442"/>
                <a:gd name="connsiteX3" fmla="*/ 0 w 3060353"/>
                <a:gd name="connsiteY3" fmla="*/ 0 h 257442"/>
                <a:gd name="connsiteX0" fmla="*/ 3228668 w 3228668"/>
                <a:gd name="connsiteY0" fmla="*/ 0 h 257442"/>
                <a:gd name="connsiteX1" fmla="*/ 3005632 w 3228668"/>
                <a:gd name="connsiteY1" fmla="*/ 257442 h 257442"/>
                <a:gd name="connsiteX2" fmla="*/ 0 w 3228668"/>
                <a:gd name="connsiteY2" fmla="*/ 257442 h 257442"/>
                <a:gd name="connsiteX3" fmla="*/ 0 w 3228668"/>
                <a:gd name="connsiteY3" fmla="*/ 0 h 257442"/>
                <a:gd name="connsiteX0" fmla="*/ 3228668 w 3228668"/>
                <a:gd name="connsiteY0" fmla="*/ 0 h 257442"/>
                <a:gd name="connsiteX1" fmla="*/ 3173946 w 3228668"/>
                <a:gd name="connsiteY1" fmla="*/ 257442 h 257442"/>
                <a:gd name="connsiteX2" fmla="*/ 0 w 3228668"/>
                <a:gd name="connsiteY2" fmla="*/ 257442 h 257442"/>
                <a:gd name="connsiteX3" fmla="*/ 0 w 3228668"/>
                <a:gd name="connsiteY3" fmla="*/ 0 h 257442"/>
                <a:gd name="connsiteX0" fmla="*/ 3228669 w 3228669"/>
                <a:gd name="connsiteY0" fmla="*/ 0 h 257442"/>
                <a:gd name="connsiteX1" fmla="*/ 3173947 w 3228669"/>
                <a:gd name="connsiteY1" fmla="*/ 257442 h 257442"/>
                <a:gd name="connsiteX2" fmla="*/ 0 w 3228669"/>
                <a:gd name="connsiteY2" fmla="*/ 257442 h 257442"/>
                <a:gd name="connsiteX3" fmla="*/ 1 w 3228669"/>
                <a:gd name="connsiteY3" fmla="*/ 0 h 257442"/>
                <a:gd name="connsiteX0" fmla="*/ 3228669 w 3228669"/>
                <a:gd name="connsiteY0" fmla="*/ 0 h 257442"/>
                <a:gd name="connsiteX1" fmla="*/ 3173947 w 3228669"/>
                <a:gd name="connsiteY1" fmla="*/ 257442 h 257442"/>
                <a:gd name="connsiteX2" fmla="*/ 0 w 3228669"/>
                <a:gd name="connsiteY2" fmla="*/ 257442 h 257442"/>
                <a:gd name="connsiteX3" fmla="*/ 1 w 3228669"/>
                <a:gd name="connsiteY3" fmla="*/ 0 h 257442"/>
                <a:gd name="connsiteX0" fmla="*/ 3414617 w 3414617"/>
                <a:gd name="connsiteY0" fmla="*/ 0 h 257442"/>
                <a:gd name="connsiteX1" fmla="*/ 3173947 w 3414617"/>
                <a:gd name="connsiteY1" fmla="*/ 257442 h 257442"/>
                <a:gd name="connsiteX2" fmla="*/ 0 w 3414617"/>
                <a:gd name="connsiteY2" fmla="*/ 257442 h 257442"/>
                <a:gd name="connsiteX3" fmla="*/ 1 w 3414617"/>
                <a:gd name="connsiteY3" fmla="*/ 0 h 257442"/>
                <a:gd name="connsiteX0" fmla="*/ 3414617 w 3414617"/>
                <a:gd name="connsiteY0" fmla="*/ 0 h 257442"/>
                <a:gd name="connsiteX1" fmla="*/ 3359896 w 3414617"/>
                <a:gd name="connsiteY1" fmla="*/ 257442 h 257442"/>
                <a:gd name="connsiteX2" fmla="*/ 0 w 3414617"/>
                <a:gd name="connsiteY2" fmla="*/ 257442 h 257442"/>
                <a:gd name="connsiteX3" fmla="*/ 1 w 3414617"/>
                <a:gd name="connsiteY3" fmla="*/ 0 h 257442"/>
                <a:gd name="connsiteX0" fmla="*/ 3414616 w 3414616"/>
                <a:gd name="connsiteY0" fmla="*/ 0 h 257442"/>
                <a:gd name="connsiteX1" fmla="*/ 3359895 w 3414616"/>
                <a:gd name="connsiteY1" fmla="*/ 257442 h 257442"/>
                <a:gd name="connsiteX2" fmla="*/ 0 w 3414616"/>
                <a:gd name="connsiteY2" fmla="*/ 257442 h 257442"/>
                <a:gd name="connsiteX3" fmla="*/ 0 w 3414616"/>
                <a:gd name="connsiteY3" fmla="*/ 0 h 257442"/>
                <a:gd name="connsiteX0" fmla="*/ 3414617 w 3414617"/>
                <a:gd name="connsiteY0" fmla="*/ 0 h 257442"/>
                <a:gd name="connsiteX1" fmla="*/ 3359896 w 3414617"/>
                <a:gd name="connsiteY1" fmla="*/ 257442 h 257442"/>
                <a:gd name="connsiteX2" fmla="*/ 1 w 3414617"/>
                <a:gd name="connsiteY2" fmla="*/ 257442 h 257442"/>
                <a:gd name="connsiteX3" fmla="*/ 0 w 3414617"/>
                <a:gd name="connsiteY3" fmla="*/ 0 h 257442"/>
                <a:gd name="connsiteX0" fmla="*/ 3515607 w 3515607"/>
                <a:gd name="connsiteY0" fmla="*/ 0 h 257442"/>
                <a:gd name="connsiteX1" fmla="*/ 3359896 w 3515607"/>
                <a:gd name="connsiteY1" fmla="*/ 257442 h 257442"/>
                <a:gd name="connsiteX2" fmla="*/ 1 w 3515607"/>
                <a:gd name="connsiteY2" fmla="*/ 257442 h 257442"/>
                <a:gd name="connsiteX3" fmla="*/ 0 w 3515607"/>
                <a:gd name="connsiteY3" fmla="*/ 0 h 257442"/>
                <a:gd name="connsiteX0" fmla="*/ 3515607 w 3515607"/>
                <a:gd name="connsiteY0" fmla="*/ 0 h 257442"/>
                <a:gd name="connsiteX1" fmla="*/ 3460886 w 3515607"/>
                <a:gd name="connsiteY1" fmla="*/ 257442 h 257442"/>
                <a:gd name="connsiteX2" fmla="*/ 1 w 3515607"/>
                <a:gd name="connsiteY2" fmla="*/ 257442 h 257442"/>
                <a:gd name="connsiteX3" fmla="*/ 0 w 3515607"/>
                <a:gd name="connsiteY3" fmla="*/ 0 h 257442"/>
                <a:gd name="connsiteX0" fmla="*/ 3515607 w 3515607"/>
                <a:gd name="connsiteY0" fmla="*/ 0 h 257442"/>
                <a:gd name="connsiteX1" fmla="*/ 3460886 w 3515607"/>
                <a:gd name="connsiteY1" fmla="*/ 257442 h 257442"/>
                <a:gd name="connsiteX2" fmla="*/ 1 w 3515607"/>
                <a:gd name="connsiteY2" fmla="*/ 257442 h 257442"/>
                <a:gd name="connsiteX3" fmla="*/ 0 w 3515607"/>
                <a:gd name="connsiteY3" fmla="*/ 0 h 257442"/>
                <a:gd name="connsiteX0" fmla="*/ 3515606 w 3515606"/>
                <a:gd name="connsiteY0" fmla="*/ 0 h 257442"/>
                <a:gd name="connsiteX1" fmla="*/ 3460885 w 3515606"/>
                <a:gd name="connsiteY1" fmla="*/ 257442 h 257442"/>
                <a:gd name="connsiteX2" fmla="*/ 0 w 3515606"/>
                <a:gd name="connsiteY2" fmla="*/ 257442 h 257442"/>
                <a:gd name="connsiteX3" fmla="*/ 0 w 3515606"/>
                <a:gd name="connsiteY3" fmla="*/ 0 h 257442"/>
                <a:gd name="connsiteX0" fmla="*/ 3683920 w 3683920"/>
                <a:gd name="connsiteY0" fmla="*/ 0 h 257442"/>
                <a:gd name="connsiteX1" fmla="*/ 3460885 w 3683920"/>
                <a:gd name="connsiteY1" fmla="*/ 257442 h 257442"/>
                <a:gd name="connsiteX2" fmla="*/ 0 w 3683920"/>
                <a:gd name="connsiteY2" fmla="*/ 257442 h 257442"/>
                <a:gd name="connsiteX3" fmla="*/ 0 w 3683920"/>
                <a:gd name="connsiteY3" fmla="*/ 0 h 257442"/>
                <a:gd name="connsiteX0" fmla="*/ 3683920 w 3683920"/>
                <a:gd name="connsiteY0" fmla="*/ 0 h 257442"/>
                <a:gd name="connsiteX1" fmla="*/ 3629199 w 3683920"/>
                <a:gd name="connsiteY1" fmla="*/ 257442 h 257442"/>
                <a:gd name="connsiteX2" fmla="*/ 0 w 3683920"/>
                <a:gd name="connsiteY2" fmla="*/ 257442 h 257442"/>
                <a:gd name="connsiteX3" fmla="*/ 0 w 3683920"/>
                <a:gd name="connsiteY3" fmla="*/ 0 h 257442"/>
                <a:gd name="connsiteX0" fmla="*/ 3683921 w 3683921"/>
                <a:gd name="connsiteY0" fmla="*/ 0 h 257442"/>
                <a:gd name="connsiteX1" fmla="*/ 3629200 w 3683921"/>
                <a:gd name="connsiteY1" fmla="*/ 257442 h 257442"/>
                <a:gd name="connsiteX2" fmla="*/ 0 w 3683921"/>
                <a:gd name="connsiteY2" fmla="*/ 257442 h 257442"/>
                <a:gd name="connsiteX3" fmla="*/ 1 w 3683921"/>
                <a:gd name="connsiteY3" fmla="*/ 0 h 257442"/>
                <a:gd name="connsiteX0" fmla="*/ 3683921 w 3683921"/>
                <a:gd name="connsiteY0" fmla="*/ 0 h 257442"/>
                <a:gd name="connsiteX1" fmla="*/ 3629200 w 3683921"/>
                <a:gd name="connsiteY1" fmla="*/ 257442 h 257442"/>
                <a:gd name="connsiteX2" fmla="*/ 0 w 3683921"/>
                <a:gd name="connsiteY2" fmla="*/ 257442 h 257442"/>
                <a:gd name="connsiteX3" fmla="*/ 1 w 3683921"/>
                <a:gd name="connsiteY3" fmla="*/ 0 h 257442"/>
                <a:gd name="connsiteX0" fmla="*/ 3844222 w 3844222"/>
                <a:gd name="connsiteY0" fmla="*/ 0 h 257442"/>
                <a:gd name="connsiteX1" fmla="*/ 3629200 w 3844222"/>
                <a:gd name="connsiteY1" fmla="*/ 257442 h 257442"/>
                <a:gd name="connsiteX2" fmla="*/ 0 w 3844222"/>
                <a:gd name="connsiteY2" fmla="*/ 257442 h 257442"/>
                <a:gd name="connsiteX3" fmla="*/ 1 w 3844222"/>
                <a:gd name="connsiteY3" fmla="*/ 0 h 257442"/>
                <a:gd name="connsiteX0" fmla="*/ 3844222 w 3844222"/>
                <a:gd name="connsiteY0" fmla="*/ 0 h 257442"/>
                <a:gd name="connsiteX1" fmla="*/ 3789500 w 3844222"/>
                <a:gd name="connsiteY1" fmla="*/ 257442 h 257442"/>
                <a:gd name="connsiteX2" fmla="*/ 0 w 3844222"/>
                <a:gd name="connsiteY2" fmla="*/ 257442 h 257442"/>
                <a:gd name="connsiteX3" fmla="*/ 1 w 3844222"/>
                <a:gd name="connsiteY3" fmla="*/ 0 h 257442"/>
                <a:gd name="connsiteX0" fmla="*/ 3844222 w 3844222"/>
                <a:gd name="connsiteY0" fmla="*/ 0 h 257442"/>
                <a:gd name="connsiteX1" fmla="*/ 3789500 w 3844222"/>
                <a:gd name="connsiteY1" fmla="*/ 257442 h 257442"/>
                <a:gd name="connsiteX2" fmla="*/ 0 w 3844222"/>
                <a:gd name="connsiteY2" fmla="*/ 257442 h 257442"/>
                <a:gd name="connsiteX3" fmla="*/ 1 w 3844222"/>
                <a:gd name="connsiteY3" fmla="*/ 0 h 257442"/>
                <a:gd name="connsiteX0" fmla="*/ 3844222 w 3844222"/>
                <a:gd name="connsiteY0" fmla="*/ 0 h 257442"/>
                <a:gd name="connsiteX1" fmla="*/ 3789500 w 3844222"/>
                <a:gd name="connsiteY1" fmla="*/ 257442 h 257442"/>
                <a:gd name="connsiteX2" fmla="*/ 0 w 3844222"/>
                <a:gd name="connsiteY2" fmla="*/ 257442 h 257442"/>
                <a:gd name="connsiteX3" fmla="*/ 0 w 3844222"/>
                <a:gd name="connsiteY3" fmla="*/ 0 h 257442"/>
                <a:gd name="connsiteX0" fmla="*/ 986067 w 3789500"/>
                <a:gd name="connsiteY0" fmla="*/ 0 h 257442"/>
                <a:gd name="connsiteX1" fmla="*/ 3789500 w 3789500"/>
                <a:gd name="connsiteY1" fmla="*/ 257442 h 257442"/>
                <a:gd name="connsiteX2" fmla="*/ 0 w 3789500"/>
                <a:gd name="connsiteY2" fmla="*/ 257442 h 257442"/>
                <a:gd name="connsiteX3" fmla="*/ 0 w 3789500"/>
                <a:gd name="connsiteY3" fmla="*/ 0 h 257442"/>
                <a:gd name="connsiteX0" fmla="*/ 986067 w 986067"/>
                <a:gd name="connsiteY0" fmla="*/ 0 h 257442"/>
                <a:gd name="connsiteX1" fmla="*/ 931346 w 986067"/>
                <a:gd name="connsiteY1" fmla="*/ 257442 h 257442"/>
                <a:gd name="connsiteX2" fmla="*/ 0 w 986067"/>
                <a:gd name="connsiteY2" fmla="*/ 257442 h 257442"/>
                <a:gd name="connsiteX3" fmla="*/ 0 w 986067"/>
                <a:gd name="connsiteY3" fmla="*/ 0 h 257442"/>
                <a:gd name="connsiteX0" fmla="*/ 986067 w 986067"/>
                <a:gd name="connsiteY0" fmla="*/ 0 h 257442"/>
                <a:gd name="connsiteX1" fmla="*/ 931346 w 986067"/>
                <a:gd name="connsiteY1" fmla="*/ 257442 h 257442"/>
                <a:gd name="connsiteX2" fmla="*/ 1 w 986067"/>
                <a:gd name="connsiteY2" fmla="*/ 257442 h 257442"/>
                <a:gd name="connsiteX3" fmla="*/ 0 w 986067"/>
                <a:gd name="connsiteY3" fmla="*/ 0 h 257442"/>
                <a:gd name="connsiteX0" fmla="*/ 986066 w 986066"/>
                <a:gd name="connsiteY0" fmla="*/ 0 h 257442"/>
                <a:gd name="connsiteX1" fmla="*/ 931345 w 986066"/>
                <a:gd name="connsiteY1" fmla="*/ 257442 h 257442"/>
                <a:gd name="connsiteX2" fmla="*/ 0 w 986066"/>
                <a:gd name="connsiteY2" fmla="*/ 257442 h 257442"/>
                <a:gd name="connsiteX3" fmla="*/ 0 w 986066"/>
                <a:gd name="connsiteY3" fmla="*/ 0 h 257442"/>
                <a:gd name="connsiteX0" fmla="*/ 1163999 w 1163999"/>
                <a:gd name="connsiteY0" fmla="*/ 0 h 257442"/>
                <a:gd name="connsiteX1" fmla="*/ 931345 w 1163999"/>
                <a:gd name="connsiteY1" fmla="*/ 257442 h 257442"/>
                <a:gd name="connsiteX2" fmla="*/ 0 w 1163999"/>
                <a:gd name="connsiteY2" fmla="*/ 257442 h 257442"/>
                <a:gd name="connsiteX3" fmla="*/ 0 w 1163999"/>
                <a:gd name="connsiteY3" fmla="*/ 0 h 257442"/>
                <a:gd name="connsiteX0" fmla="*/ 1163999 w 1163999"/>
                <a:gd name="connsiteY0" fmla="*/ 0 h 257442"/>
                <a:gd name="connsiteX1" fmla="*/ 1109278 w 1163999"/>
                <a:gd name="connsiteY1" fmla="*/ 257442 h 257442"/>
                <a:gd name="connsiteX2" fmla="*/ 0 w 1163999"/>
                <a:gd name="connsiteY2" fmla="*/ 257442 h 257442"/>
                <a:gd name="connsiteX3" fmla="*/ 0 w 1163999"/>
                <a:gd name="connsiteY3" fmla="*/ 0 h 257442"/>
                <a:gd name="connsiteX0" fmla="*/ 1164000 w 1164000"/>
                <a:gd name="connsiteY0" fmla="*/ 0 h 257442"/>
                <a:gd name="connsiteX1" fmla="*/ 1109279 w 1164000"/>
                <a:gd name="connsiteY1" fmla="*/ 257442 h 257442"/>
                <a:gd name="connsiteX2" fmla="*/ 0 w 1164000"/>
                <a:gd name="connsiteY2" fmla="*/ 257442 h 257442"/>
                <a:gd name="connsiteX3" fmla="*/ 1 w 1164000"/>
                <a:gd name="connsiteY3" fmla="*/ 0 h 257442"/>
                <a:gd name="connsiteX0" fmla="*/ 1164000 w 1164000"/>
                <a:gd name="connsiteY0" fmla="*/ 0 h 257442"/>
                <a:gd name="connsiteX1" fmla="*/ 1109279 w 1164000"/>
                <a:gd name="connsiteY1" fmla="*/ 257442 h 257442"/>
                <a:gd name="connsiteX2" fmla="*/ 0 w 1164000"/>
                <a:gd name="connsiteY2" fmla="*/ 257442 h 257442"/>
                <a:gd name="connsiteX3" fmla="*/ 0 w 1164000"/>
                <a:gd name="connsiteY3" fmla="*/ 0 h 257442"/>
                <a:gd name="connsiteX0" fmla="*/ 1332316 w 1332316"/>
                <a:gd name="connsiteY0" fmla="*/ 0 h 257442"/>
                <a:gd name="connsiteX1" fmla="*/ 1109279 w 1332316"/>
                <a:gd name="connsiteY1" fmla="*/ 257442 h 257442"/>
                <a:gd name="connsiteX2" fmla="*/ 0 w 1332316"/>
                <a:gd name="connsiteY2" fmla="*/ 257442 h 257442"/>
                <a:gd name="connsiteX3" fmla="*/ 0 w 1332316"/>
                <a:gd name="connsiteY3" fmla="*/ 0 h 257442"/>
                <a:gd name="connsiteX0" fmla="*/ 1332316 w 1332316"/>
                <a:gd name="connsiteY0" fmla="*/ 0 h 257442"/>
                <a:gd name="connsiteX1" fmla="*/ 1277595 w 1332316"/>
                <a:gd name="connsiteY1" fmla="*/ 257442 h 257442"/>
                <a:gd name="connsiteX2" fmla="*/ 0 w 1332316"/>
                <a:gd name="connsiteY2" fmla="*/ 257442 h 257442"/>
                <a:gd name="connsiteX3" fmla="*/ 0 w 1332316"/>
                <a:gd name="connsiteY3" fmla="*/ 0 h 257442"/>
                <a:gd name="connsiteX0" fmla="*/ 1332316 w 1332316"/>
                <a:gd name="connsiteY0" fmla="*/ 0 h 257442"/>
                <a:gd name="connsiteX1" fmla="*/ 1277595 w 1332316"/>
                <a:gd name="connsiteY1" fmla="*/ 257442 h 257442"/>
                <a:gd name="connsiteX2" fmla="*/ 0 w 1332316"/>
                <a:gd name="connsiteY2" fmla="*/ 257442 h 257442"/>
                <a:gd name="connsiteX3" fmla="*/ 0 w 1332316"/>
                <a:gd name="connsiteY3" fmla="*/ 0 h 257442"/>
                <a:gd name="connsiteX0" fmla="*/ 1332316 w 1332316"/>
                <a:gd name="connsiteY0" fmla="*/ 0 h 257442"/>
                <a:gd name="connsiteX1" fmla="*/ 1277595 w 1332316"/>
                <a:gd name="connsiteY1" fmla="*/ 257442 h 257442"/>
                <a:gd name="connsiteX2" fmla="*/ 0 w 1332316"/>
                <a:gd name="connsiteY2" fmla="*/ 257442 h 257442"/>
                <a:gd name="connsiteX3" fmla="*/ 0 w 1332316"/>
                <a:gd name="connsiteY3" fmla="*/ 0 h 257442"/>
                <a:gd name="connsiteX0" fmla="*/ 1500631 w 1500631"/>
                <a:gd name="connsiteY0" fmla="*/ 0 h 257442"/>
                <a:gd name="connsiteX1" fmla="*/ 1277595 w 1500631"/>
                <a:gd name="connsiteY1" fmla="*/ 257442 h 257442"/>
                <a:gd name="connsiteX2" fmla="*/ 0 w 1500631"/>
                <a:gd name="connsiteY2" fmla="*/ 257442 h 257442"/>
                <a:gd name="connsiteX3" fmla="*/ 0 w 1500631"/>
                <a:gd name="connsiteY3" fmla="*/ 0 h 257442"/>
                <a:gd name="connsiteX0" fmla="*/ 1500631 w 1500631"/>
                <a:gd name="connsiteY0" fmla="*/ 0 h 257442"/>
                <a:gd name="connsiteX1" fmla="*/ 1445910 w 1500631"/>
                <a:gd name="connsiteY1" fmla="*/ 257442 h 257442"/>
                <a:gd name="connsiteX2" fmla="*/ 0 w 1500631"/>
                <a:gd name="connsiteY2" fmla="*/ 257442 h 257442"/>
                <a:gd name="connsiteX3" fmla="*/ 0 w 1500631"/>
                <a:gd name="connsiteY3" fmla="*/ 0 h 257442"/>
                <a:gd name="connsiteX0" fmla="*/ 1500631 w 1500631"/>
                <a:gd name="connsiteY0" fmla="*/ 0 h 257442"/>
                <a:gd name="connsiteX1" fmla="*/ 1445910 w 1500631"/>
                <a:gd name="connsiteY1" fmla="*/ 257442 h 257442"/>
                <a:gd name="connsiteX2" fmla="*/ 0 w 1500631"/>
                <a:gd name="connsiteY2" fmla="*/ 257442 h 257442"/>
                <a:gd name="connsiteX3" fmla="*/ 0 w 1500631"/>
                <a:gd name="connsiteY3" fmla="*/ 0 h 257442"/>
                <a:gd name="connsiteX0" fmla="*/ 1500631 w 1500631"/>
                <a:gd name="connsiteY0" fmla="*/ 0 h 257442"/>
                <a:gd name="connsiteX1" fmla="*/ 1445910 w 1500631"/>
                <a:gd name="connsiteY1" fmla="*/ 257442 h 257442"/>
                <a:gd name="connsiteX2" fmla="*/ 0 w 1500631"/>
                <a:gd name="connsiteY2" fmla="*/ 257442 h 257442"/>
                <a:gd name="connsiteX3" fmla="*/ 0 w 1500631"/>
                <a:gd name="connsiteY3" fmla="*/ 0 h 257442"/>
                <a:gd name="connsiteX0" fmla="*/ 1652916 w 1652916"/>
                <a:gd name="connsiteY0" fmla="*/ 0 h 257442"/>
                <a:gd name="connsiteX1" fmla="*/ 1445910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652916 w 1652916"/>
                <a:gd name="connsiteY0" fmla="*/ 0 h 257442"/>
                <a:gd name="connsiteX1" fmla="*/ 1598194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652917 w 1652917"/>
                <a:gd name="connsiteY0" fmla="*/ 0 h 257442"/>
                <a:gd name="connsiteX1" fmla="*/ 1598195 w 1652917"/>
                <a:gd name="connsiteY1" fmla="*/ 257442 h 257442"/>
                <a:gd name="connsiteX2" fmla="*/ 0 w 1652917"/>
                <a:gd name="connsiteY2" fmla="*/ 257442 h 257442"/>
                <a:gd name="connsiteX3" fmla="*/ 1 w 1652917"/>
                <a:gd name="connsiteY3" fmla="*/ 0 h 257442"/>
                <a:gd name="connsiteX0" fmla="*/ 1652917 w 1652917"/>
                <a:gd name="connsiteY0" fmla="*/ 0 h 257442"/>
                <a:gd name="connsiteX1" fmla="*/ 1598195 w 1652917"/>
                <a:gd name="connsiteY1" fmla="*/ 257442 h 257442"/>
                <a:gd name="connsiteX2" fmla="*/ 0 w 1652917"/>
                <a:gd name="connsiteY2" fmla="*/ 257442 h 257442"/>
                <a:gd name="connsiteX3" fmla="*/ 1 w 1652917"/>
                <a:gd name="connsiteY3" fmla="*/ 0 h 257442"/>
                <a:gd name="connsiteX0" fmla="*/ 1830850 w 1830850"/>
                <a:gd name="connsiteY0" fmla="*/ 0 h 257442"/>
                <a:gd name="connsiteX1" fmla="*/ 1598195 w 1830850"/>
                <a:gd name="connsiteY1" fmla="*/ 257442 h 257442"/>
                <a:gd name="connsiteX2" fmla="*/ 0 w 1830850"/>
                <a:gd name="connsiteY2" fmla="*/ 257442 h 257442"/>
                <a:gd name="connsiteX3" fmla="*/ 1 w 1830850"/>
                <a:gd name="connsiteY3" fmla="*/ 0 h 257442"/>
                <a:gd name="connsiteX0" fmla="*/ 1830850 w 1830850"/>
                <a:gd name="connsiteY0" fmla="*/ 0 h 257442"/>
                <a:gd name="connsiteX1" fmla="*/ 1776128 w 1830850"/>
                <a:gd name="connsiteY1" fmla="*/ 257442 h 257442"/>
                <a:gd name="connsiteX2" fmla="*/ 0 w 1830850"/>
                <a:gd name="connsiteY2" fmla="*/ 257442 h 257442"/>
                <a:gd name="connsiteX3" fmla="*/ 1 w 1830850"/>
                <a:gd name="connsiteY3" fmla="*/ 0 h 257442"/>
                <a:gd name="connsiteX0" fmla="*/ 1830850 w 1830850"/>
                <a:gd name="connsiteY0" fmla="*/ 0 h 257442"/>
                <a:gd name="connsiteX1" fmla="*/ 1776128 w 1830850"/>
                <a:gd name="connsiteY1" fmla="*/ 257442 h 257442"/>
                <a:gd name="connsiteX2" fmla="*/ 0 w 1830850"/>
                <a:gd name="connsiteY2" fmla="*/ 257442 h 257442"/>
                <a:gd name="connsiteX3" fmla="*/ 1 w 1830850"/>
                <a:gd name="connsiteY3" fmla="*/ 0 h 257442"/>
                <a:gd name="connsiteX0" fmla="*/ 1830850 w 1830850"/>
                <a:gd name="connsiteY0" fmla="*/ 0 h 257442"/>
                <a:gd name="connsiteX1" fmla="*/ 1776128 w 1830850"/>
                <a:gd name="connsiteY1" fmla="*/ 257442 h 257442"/>
                <a:gd name="connsiteX2" fmla="*/ 0 w 1830850"/>
                <a:gd name="connsiteY2" fmla="*/ 257442 h 257442"/>
                <a:gd name="connsiteX3" fmla="*/ 0 w 1830850"/>
                <a:gd name="connsiteY3" fmla="*/ 0 h 257442"/>
                <a:gd name="connsiteX0" fmla="*/ 1999165 w 1999165"/>
                <a:gd name="connsiteY0" fmla="*/ 0 h 257442"/>
                <a:gd name="connsiteX1" fmla="*/ 1776128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2167480 w 2167480"/>
                <a:gd name="connsiteY0" fmla="*/ 0 h 257442"/>
                <a:gd name="connsiteX1" fmla="*/ 1944444 w 2167480"/>
                <a:gd name="connsiteY1" fmla="*/ 257442 h 257442"/>
                <a:gd name="connsiteX2" fmla="*/ 0 w 2167480"/>
                <a:gd name="connsiteY2" fmla="*/ 257442 h 257442"/>
                <a:gd name="connsiteX3" fmla="*/ 0 w 2167480"/>
                <a:gd name="connsiteY3" fmla="*/ 0 h 257442"/>
                <a:gd name="connsiteX0" fmla="*/ 2167480 w 2167480"/>
                <a:gd name="connsiteY0" fmla="*/ 0 h 257442"/>
                <a:gd name="connsiteX1" fmla="*/ 2112758 w 2167480"/>
                <a:gd name="connsiteY1" fmla="*/ 257442 h 257442"/>
                <a:gd name="connsiteX2" fmla="*/ 0 w 2167480"/>
                <a:gd name="connsiteY2" fmla="*/ 257442 h 257442"/>
                <a:gd name="connsiteX3" fmla="*/ 0 w 2167480"/>
                <a:gd name="connsiteY3" fmla="*/ 0 h 257442"/>
                <a:gd name="connsiteX0" fmla="*/ 2167481 w 2167481"/>
                <a:gd name="connsiteY0" fmla="*/ 0 h 257442"/>
                <a:gd name="connsiteX1" fmla="*/ 2112759 w 2167481"/>
                <a:gd name="connsiteY1" fmla="*/ 257442 h 257442"/>
                <a:gd name="connsiteX2" fmla="*/ 0 w 2167481"/>
                <a:gd name="connsiteY2" fmla="*/ 257442 h 257442"/>
                <a:gd name="connsiteX3" fmla="*/ 1 w 2167481"/>
                <a:gd name="connsiteY3" fmla="*/ 0 h 257442"/>
                <a:gd name="connsiteX0" fmla="*/ 2167481 w 2167481"/>
                <a:gd name="connsiteY0" fmla="*/ 0 h 257442"/>
                <a:gd name="connsiteX1" fmla="*/ 2112759 w 2167481"/>
                <a:gd name="connsiteY1" fmla="*/ 257442 h 257442"/>
                <a:gd name="connsiteX2" fmla="*/ 0 w 2167481"/>
                <a:gd name="connsiteY2" fmla="*/ 257442 h 257442"/>
                <a:gd name="connsiteX3" fmla="*/ 1 w 2167481"/>
                <a:gd name="connsiteY3" fmla="*/ 0 h 257442"/>
                <a:gd name="connsiteX0" fmla="*/ 2327781 w 2327781"/>
                <a:gd name="connsiteY0" fmla="*/ 0 h 257442"/>
                <a:gd name="connsiteX1" fmla="*/ 2112759 w 2327781"/>
                <a:gd name="connsiteY1" fmla="*/ 257442 h 257442"/>
                <a:gd name="connsiteX2" fmla="*/ 0 w 2327781"/>
                <a:gd name="connsiteY2" fmla="*/ 257442 h 257442"/>
                <a:gd name="connsiteX3" fmla="*/ 1 w 2327781"/>
                <a:gd name="connsiteY3" fmla="*/ 0 h 257442"/>
                <a:gd name="connsiteX0" fmla="*/ 2327781 w 2327781"/>
                <a:gd name="connsiteY0" fmla="*/ 0 h 257442"/>
                <a:gd name="connsiteX1" fmla="*/ 2273060 w 2327781"/>
                <a:gd name="connsiteY1" fmla="*/ 257442 h 257442"/>
                <a:gd name="connsiteX2" fmla="*/ 0 w 2327781"/>
                <a:gd name="connsiteY2" fmla="*/ 257442 h 257442"/>
                <a:gd name="connsiteX3" fmla="*/ 1 w 2327781"/>
                <a:gd name="connsiteY3" fmla="*/ 0 h 257442"/>
                <a:gd name="connsiteX0" fmla="*/ 2327780 w 2327780"/>
                <a:gd name="connsiteY0" fmla="*/ 0 h 257442"/>
                <a:gd name="connsiteX1" fmla="*/ 2273059 w 2327780"/>
                <a:gd name="connsiteY1" fmla="*/ 257442 h 257442"/>
                <a:gd name="connsiteX2" fmla="*/ 0 w 2327780"/>
                <a:gd name="connsiteY2" fmla="*/ 257442 h 257442"/>
                <a:gd name="connsiteX3" fmla="*/ 0 w 2327780"/>
                <a:gd name="connsiteY3" fmla="*/ 0 h 257442"/>
                <a:gd name="connsiteX0" fmla="*/ 2327781 w 2327781"/>
                <a:gd name="connsiteY0" fmla="*/ 0 h 257442"/>
                <a:gd name="connsiteX1" fmla="*/ 2273060 w 2327781"/>
                <a:gd name="connsiteY1" fmla="*/ 257442 h 257442"/>
                <a:gd name="connsiteX2" fmla="*/ 1 w 2327781"/>
                <a:gd name="connsiteY2" fmla="*/ 257442 h 257442"/>
                <a:gd name="connsiteX3" fmla="*/ 0 w 2327781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27781" h="257442">
                  <a:moveTo>
                    <a:pt x="2327781" y="0"/>
                  </a:moveTo>
                  <a:lnTo>
                    <a:pt x="2273060" y="257442"/>
                  </a:lnTo>
                  <a:lnTo>
                    <a:pt x="1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4" name="btfpRunningAgenda2LevelTextLeft228391">
              <a:extLst>
                <a:ext uri="{FF2B5EF4-FFF2-40B4-BE49-F238E27FC236}">
                  <a16:creationId xmlns:a16="http://schemas.microsoft.com/office/drawing/2014/main" id="{E66786D9-6F83-4AC7-9FA1-063103B29BC6}"/>
                </a:ext>
              </a:extLst>
            </p:cNvPr>
            <p:cNvSpPr txBox="1"/>
            <p:nvPr/>
          </p:nvSpPr>
          <p:spPr bwMode="gray">
            <a:xfrm>
              <a:off x="0" y="876300"/>
              <a:ext cx="2273059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all" spc="4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WORKFORCE</a:t>
              </a:r>
            </a:p>
          </p:txBody>
        </p:sp>
        <p:sp>
          <p:nvSpPr>
            <p:cNvPr id="36" name="btfpRunningAgenda2LevelBarRight228391">
              <a:extLst>
                <a:ext uri="{FF2B5EF4-FFF2-40B4-BE49-F238E27FC236}">
                  <a16:creationId xmlns:a16="http://schemas.microsoft.com/office/drawing/2014/main" id="{35FAFE6B-9B21-476F-94C6-C69C98E86AAB}"/>
                </a:ext>
              </a:extLst>
            </p:cNvPr>
            <p:cNvSpPr/>
            <p:nvPr/>
          </p:nvSpPr>
          <p:spPr bwMode="gray">
            <a:xfrm>
              <a:off x="2192937" y="876300"/>
              <a:ext cx="2204157" cy="257442"/>
            </a:xfrm>
            <a:custGeom>
              <a:avLst/>
              <a:gdLst>
                <a:gd name="connsiteX0" fmla="*/ 934771 w 2367856"/>
                <a:gd name="connsiteY0" fmla="*/ 0 h 257442"/>
                <a:gd name="connsiteX1" fmla="*/ 2367856 w 2367856"/>
                <a:gd name="connsiteY1" fmla="*/ 0 h 257442"/>
                <a:gd name="connsiteX2" fmla="*/ 2313135 w 2367856"/>
                <a:gd name="connsiteY2" fmla="*/ 257442 h 257442"/>
                <a:gd name="connsiteX3" fmla="*/ 0 w 2367856"/>
                <a:gd name="connsiteY3" fmla="*/ 257442 h 257442"/>
                <a:gd name="connsiteX0" fmla="*/ 934771 w 2313135"/>
                <a:gd name="connsiteY0" fmla="*/ 0 h 257442"/>
                <a:gd name="connsiteX1" fmla="*/ 880050 w 2313135"/>
                <a:gd name="connsiteY1" fmla="*/ 257442 h 257442"/>
                <a:gd name="connsiteX2" fmla="*/ 2313135 w 2313135"/>
                <a:gd name="connsiteY2" fmla="*/ 257442 h 257442"/>
                <a:gd name="connsiteX3" fmla="*/ 0 w 2313135"/>
                <a:gd name="connsiteY3" fmla="*/ 257442 h 257442"/>
                <a:gd name="connsiteX0" fmla="*/ 934771 w 934771"/>
                <a:gd name="connsiteY0" fmla="*/ 0 h 257442"/>
                <a:gd name="connsiteX1" fmla="*/ 880050 w 934771"/>
                <a:gd name="connsiteY1" fmla="*/ 257442 h 257442"/>
                <a:gd name="connsiteX2" fmla="*/ 1 w 934771"/>
                <a:gd name="connsiteY2" fmla="*/ 257442 h 257442"/>
                <a:gd name="connsiteX3" fmla="*/ 0 w 934771"/>
                <a:gd name="connsiteY3" fmla="*/ 257442 h 257442"/>
                <a:gd name="connsiteX0" fmla="*/ 934770 w 934770"/>
                <a:gd name="connsiteY0" fmla="*/ 0 h 257442"/>
                <a:gd name="connsiteX1" fmla="*/ 880049 w 934770"/>
                <a:gd name="connsiteY1" fmla="*/ 257442 h 257442"/>
                <a:gd name="connsiteX2" fmla="*/ 0 w 934770"/>
                <a:gd name="connsiteY2" fmla="*/ 257442 h 257442"/>
                <a:gd name="connsiteX3" fmla="*/ 54721 w 934770"/>
                <a:gd name="connsiteY3" fmla="*/ 0 h 257442"/>
                <a:gd name="connsiteX0" fmla="*/ 1103085 w 1103085"/>
                <a:gd name="connsiteY0" fmla="*/ 0 h 257442"/>
                <a:gd name="connsiteX1" fmla="*/ 880049 w 1103085"/>
                <a:gd name="connsiteY1" fmla="*/ 257442 h 257442"/>
                <a:gd name="connsiteX2" fmla="*/ 0 w 1103085"/>
                <a:gd name="connsiteY2" fmla="*/ 257442 h 257442"/>
                <a:gd name="connsiteX3" fmla="*/ 54721 w 1103085"/>
                <a:gd name="connsiteY3" fmla="*/ 0 h 257442"/>
                <a:gd name="connsiteX0" fmla="*/ 1103085 w 1103085"/>
                <a:gd name="connsiteY0" fmla="*/ 0 h 257442"/>
                <a:gd name="connsiteX1" fmla="*/ 1048364 w 1103085"/>
                <a:gd name="connsiteY1" fmla="*/ 257442 h 257442"/>
                <a:gd name="connsiteX2" fmla="*/ 0 w 1103085"/>
                <a:gd name="connsiteY2" fmla="*/ 257442 h 257442"/>
                <a:gd name="connsiteX3" fmla="*/ 54721 w 1103085"/>
                <a:gd name="connsiteY3" fmla="*/ 0 h 257442"/>
                <a:gd name="connsiteX0" fmla="*/ 1103086 w 1103086"/>
                <a:gd name="connsiteY0" fmla="*/ 0 h 257442"/>
                <a:gd name="connsiteX1" fmla="*/ 1048365 w 1103086"/>
                <a:gd name="connsiteY1" fmla="*/ 257442 h 257442"/>
                <a:gd name="connsiteX2" fmla="*/ 0 w 1103086"/>
                <a:gd name="connsiteY2" fmla="*/ 257442 h 257442"/>
                <a:gd name="connsiteX3" fmla="*/ 54722 w 1103086"/>
                <a:gd name="connsiteY3" fmla="*/ 0 h 257442"/>
                <a:gd name="connsiteX0" fmla="*/ 1103086 w 1103086"/>
                <a:gd name="connsiteY0" fmla="*/ 0 h 257442"/>
                <a:gd name="connsiteX1" fmla="*/ 1048365 w 1103086"/>
                <a:gd name="connsiteY1" fmla="*/ 257442 h 257442"/>
                <a:gd name="connsiteX2" fmla="*/ 0 w 1103086"/>
                <a:gd name="connsiteY2" fmla="*/ 257442 h 257442"/>
                <a:gd name="connsiteX3" fmla="*/ 54721 w 1103086"/>
                <a:gd name="connsiteY3" fmla="*/ 0 h 257442"/>
                <a:gd name="connsiteX0" fmla="*/ 1271402 w 1271402"/>
                <a:gd name="connsiteY0" fmla="*/ 0 h 257442"/>
                <a:gd name="connsiteX1" fmla="*/ 1048365 w 1271402"/>
                <a:gd name="connsiteY1" fmla="*/ 257442 h 257442"/>
                <a:gd name="connsiteX2" fmla="*/ 0 w 1271402"/>
                <a:gd name="connsiteY2" fmla="*/ 257442 h 257442"/>
                <a:gd name="connsiteX3" fmla="*/ 54721 w 1271402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54721 w 1271402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54721 w 1271402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54721 w 1271402"/>
                <a:gd name="connsiteY3" fmla="*/ 0 h 257442"/>
                <a:gd name="connsiteX0" fmla="*/ 1439717 w 1439717"/>
                <a:gd name="connsiteY0" fmla="*/ 0 h 257442"/>
                <a:gd name="connsiteX1" fmla="*/ 1216681 w 1439717"/>
                <a:gd name="connsiteY1" fmla="*/ 257442 h 257442"/>
                <a:gd name="connsiteX2" fmla="*/ 0 w 1439717"/>
                <a:gd name="connsiteY2" fmla="*/ 257442 h 257442"/>
                <a:gd name="connsiteX3" fmla="*/ 54721 w 1439717"/>
                <a:gd name="connsiteY3" fmla="*/ 0 h 257442"/>
                <a:gd name="connsiteX0" fmla="*/ 1439717 w 1439717"/>
                <a:gd name="connsiteY0" fmla="*/ 0 h 257442"/>
                <a:gd name="connsiteX1" fmla="*/ 1384996 w 1439717"/>
                <a:gd name="connsiteY1" fmla="*/ 257442 h 257442"/>
                <a:gd name="connsiteX2" fmla="*/ 0 w 1439717"/>
                <a:gd name="connsiteY2" fmla="*/ 257442 h 257442"/>
                <a:gd name="connsiteX3" fmla="*/ 54721 w 1439717"/>
                <a:gd name="connsiteY3" fmla="*/ 0 h 257442"/>
                <a:gd name="connsiteX0" fmla="*/ 1439717 w 1439717"/>
                <a:gd name="connsiteY0" fmla="*/ 0 h 257442"/>
                <a:gd name="connsiteX1" fmla="*/ 1384996 w 1439717"/>
                <a:gd name="connsiteY1" fmla="*/ 257442 h 257442"/>
                <a:gd name="connsiteX2" fmla="*/ 0 w 1439717"/>
                <a:gd name="connsiteY2" fmla="*/ 257442 h 257442"/>
                <a:gd name="connsiteX3" fmla="*/ 54721 w 1439717"/>
                <a:gd name="connsiteY3" fmla="*/ 0 h 257442"/>
                <a:gd name="connsiteX0" fmla="*/ 1439717 w 1439717"/>
                <a:gd name="connsiteY0" fmla="*/ 0 h 257442"/>
                <a:gd name="connsiteX1" fmla="*/ 1384996 w 1439717"/>
                <a:gd name="connsiteY1" fmla="*/ 257442 h 257442"/>
                <a:gd name="connsiteX2" fmla="*/ 0 w 1439717"/>
                <a:gd name="connsiteY2" fmla="*/ 257442 h 257442"/>
                <a:gd name="connsiteX3" fmla="*/ 54721 w 1439717"/>
                <a:gd name="connsiteY3" fmla="*/ 0 h 257442"/>
                <a:gd name="connsiteX0" fmla="*/ 1692991 w 1692991"/>
                <a:gd name="connsiteY0" fmla="*/ 0 h 257442"/>
                <a:gd name="connsiteX1" fmla="*/ 1384996 w 1692991"/>
                <a:gd name="connsiteY1" fmla="*/ 257442 h 257442"/>
                <a:gd name="connsiteX2" fmla="*/ 0 w 1692991"/>
                <a:gd name="connsiteY2" fmla="*/ 257442 h 257442"/>
                <a:gd name="connsiteX3" fmla="*/ 54721 w 1692991"/>
                <a:gd name="connsiteY3" fmla="*/ 0 h 257442"/>
                <a:gd name="connsiteX0" fmla="*/ 1692991 w 1692991"/>
                <a:gd name="connsiteY0" fmla="*/ 0 h 257442"/>
                <a:gd name="connsiteX1" fmla="*/ 1638270 w 1692991"/>
                <a:gd name="connsiteY1" fmla="*/ 257442 h 257442"/>
                <a:gd name="connsiteX2" fmla="*/ 0 w 1692991"/>
                <a:gd name="connsiteY2" fmla="*/ 257442 h 257442"/>
                <a:gd name="connsiteX3" fmla="*/ 54721 w 1692991"/>
                <a:gd name="connsiteY3" fmla="*/ 0 h 257442"/>
                <a:gd name="connsiteX0" fmla="*/ 1692991 w 1692991"/>
                <a:gd name="connsiteY0" fmla="*/ 0 h 257442"/>
                <a:gd name="connsiteX1" fmla="*/ 1638270 w 1692991"/>
                <a:gd name="connsiteY1" fmla="*/ 257442 h 257442"/>
                <a:gd name="connsiteX2" fmla="*/ 0 w 1692991"/>
                <a:gd name="connsiteY2" fmla="*/ 257442 h 257442"/>
                <a:gd name="connsiteX3" fmla="*/ 54721 w 1692991"/>
                <a:gd name="connsiteY3" fmla="*/ 0 h 257442"/>
                <a:gd name="connsiteX0" fmla="*/ 1692991 w 1692991"/>
                <a:gd name="connsiteY0" fmla="*/ 0 h 257442"/>
                <a:gd name="connsiteX1" fmla="*/ 1638270 w 1692991"/>
                <a:gd name="connsiteY1" fmla="*/ 257442 h 257442"/>
                <a:gd name="connsiteX2" fmla="*/ 0 w 1692991"/>
                <a:gd name="connsiteY2" fmla="*/ 257442 h 257442"/>
                <a:gd name="connsiteX3" fmla="*/ 54721 w 1692991"/>
                <a:gd name="connsiteY3" fmla="*/ 0 h 257442"/>
                <a:gd name="connsiteX0" fmla="*/ 1870925 w 1870925"/>
                <a:gd name="connsiteY0" fmla="*/ 0 h 257442"/>
                <a:gd name="connsiteX1" fmla="*/ 1638270 w 1870925"/>
                <a:gd name="connsiteY1" fmla="*/ 257442 h 257442"/>
                <a:gd name="connsiteX2" fmla="*/ 0 w 1870925"/>
                <a:gd name="connsiteY2" fmla="*/ 257442 h 257442"/>
                <a:gd name="connsiteX3" fmla="*/ 54721 w 1870925"/>
                <a:gd name="connsiteY3" fmla="*/ 0 h 257442"/>
                <a:gd name="connsiteX0" fmla="*/ 1870925 w 1870925"/>
                <a:gd name="connsiteY0" fmla="*/ 0 h 257442"/>
                <a:gd name="connsiteX1" fmla="*/ 1816204 w 1870925"/>
                <a:gd name="connsiteY1" fmla="*/ 257442 h 257442"/>
                <a:gd name="connsiteX2" fmla="*/ 0 w 1870925"/>
                <a:gd name="connsiteY2" fmla="*/ 257442 h 257442"/>
                <a:gd name="connsiteX3" fmla="*/ 54721 w 1870925"/>
                <a:gd name="connsiteY3" fmla="*/ 0 h 257442"/>
                <a:gd name="connsiteX0" fmla="*/ 1870925 w 1870925"/>
                <a:gd name="connsiteY0" fmla="*/ 0 h 257442"/>
                <a:gd name="connsiteX1" fmla="*/ 1816204 w 1870925"/>
                <a:gd name="connsiteY1" fmla="*/ 257442 h 257442"/>
                <a:gd name="connsiteX2" fmla="*/ 0 w 1870925"/>
                <a:gd name="connsiteY2" fmla="*/ 257442 h 257442"/>
                <a:gd name="connsiteX3" fmla="*/ 54721 w 1870925"/>
                <a:gd name="connsiteY3" fmla="*/ 0 h 257442"/>
                <a:gd name="connsiteX0" fmla="*/ 1870925 w 1870925"/>
                <a:gd name="connsiteY0" fmla="*/ 0 h 257442"/>
                <a:gd name="connsiteX1" fmla="*/ 1816204 w 1870925"/>
                <a:gd name="connsiteY1" fmla="*/ 257442 h 257442"/>
                <a:gd name="connsiteX2" fmla="*/ 0 w 1870925"/>
                <a:gd name="connsiteY2" fmla="*/ 257442 h 257442"/>
                <a:gd name="connsiteX3" fmla="*/ 54721 w 1870925"/>
                <a:gd name="connsiteY3" fmla="*/ 0 h 257442"/>
                <a:gd name="connsiteX0" fmla="*/ 2039240 w 2039240"/>
                <a:gd name="connsiteY0" fmla="*/ 0 h 257442"/>
                <a:gd name="connsiteX1" fmla="*/ 1816204 w 2039240"/>
                <a:gd name="connsiteY1" fmla="*/ 257442 h 257442"/>
                <a:gd name="connsiteX2" fmla="*/ 0 w 2039240"/>
                <a:gd name="connsiteY2" fmla="*/ 257442 h 257442"/>
                <a:gd name="connsiteX3" fmla="*/ 54721 w 2039240"/>
                <a:gd name="connsiteY3" fmla="*/ 0 h 257442"/>
                <a:gd name="connsiteX0" fmla="*/ 2039240 w 2039240"/>
                <a:gd name="connsiteY0" fmla="*/ 0 h 257442"/>
                <a:gd name="connsiteX1" fmla="*/ 1984518 w 2039240"/>
                <a:gd name="connsiteY1" fmla="*/ 257442 h 257442"/>
                <a:gd name="connsiteX2" fmla="*/ 0 w 2039240"/>
                <a:gd name="connsiteY2" fmla="*/ 257442 h 257442"/>
                <a:gd name="connsiteX3" fmla="*/ 54721 w 2039240"/>
                <a:gd name="connsiteY3" fmla="*/ 0 h 257442"/>
                <a:gd name="connsiteX0" fmla="*/ 2039241 w 2039241"/>
                <a:gd name="connsiteY0" fmla="*/ 0 h 257442"/>
                <a:gd name="connsiteX1" fmla="*/ 1984519 w 2039241"/>
                <a:gd name="connsiteY1" fmla="*/ 257442 h 257442"/>
                <a:gd name="connsiteX2" fmla="*/ 0 w 2039241"/>
                <a:gd name="connsiteY2" fmla="*/ 257442 h 257442"/>
                <a:gd name="connsiteX3" fmla="*/ 54722 w 2039241"/>
                <a:gd name="connsiteY3" fmla="*/ 0 h 257442"/>
                <a:gd name="connsiteX0" fmla="*/ 2039241 w 2039241"/>
                <a:gd name="connsiteY0" fmla="*/ 0 h 257442"/>
                <a:gd name="connsiteX1" fmla="*/ 1984519 w 2039241"/>
                <a:gd name="connsiteY1" fmla="*/ 257442 h 257442"/>
                <a:gd name="connsiteX2" fmla="*/ 0 w 2039241"/>
                <a:gd name="connsiteY2" fmla="*/ 257442 h 257442"/>
                <a:gd name="connsiteX3" fmla="*/ 54722 w 2039241"/>
                <a:gd name="connsiteY3" fmla="*/ 0 h 257442"/>
                <a:gd name="connsiteX0" fmla="*/ 950801 w 1984519"/>
                <a:gd name="connsiteY0" fmla="*/ 0 h 257442"/>
                <a:gd name="connsiteX1" fmla="*/ 1984519 w 1984519"/>
                <a:gd name="connsiteY1" fmla="*/ 257442 h 257442"/>
                <a:gd name="connsiteX2" fmla="*/ 0 w 1984519"/>
                <a:gd name="connsiteY2" fmla="*/ 257442 h 257442"/>
                <a:gd name="connsiteX3" fmla="*/ 54722 w 1984519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54722 w 950801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54722 w 950801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54721 w 950801"/>
                <a:gd name="connsiteY3" fmla="*/ 0 h 257442"/>
                <a:gd name="connsiteX0" fmla="*/ 1119116 w 1119116"/>
                <a:gd name="connsiteY0" fmla="*/ 0 h 257442"/>
                <a:gd name="connsiteX1" fmla="*/ 896080 w 1119116"/>
                <a:gd name="connsiteY1" fmla="*/ 257442 h 257442"/>
                <a:gd name="connsiteX2" fmla="*/ 0 w 1119116"/>
                <a:gd name="connsiteY2" fmla="*/ 257442 h 257442"/>
                <a:gd name="connsiteX3" fmla="*/ 54721 w 1119116"/>
                <a:gd name="connsiteY3" fmla="*/ 0 h 257442"/>
                <a:gd name="connsiteX0" fmla="*/ 1119116 w 1119116"/>
                <a:gd name="connsiteY0" fmla="*/ 0 h 257442"/>
                <a:gd name="connsiteX1" fmla="*/ 1064394 w 1119116"/>
                <a:gd name="connsiteY1" fmla="*/ 257442 h 257442"/>
                <a:gd name="connsiteX2" fmla="*/ 0 w 1119116"/>
                <a:gd name="connsiteY2" fmla="*/ 257442 h 257442"/>
                <a:gd name="connsiteX3" fmla="*/ 54721 w 1119116"/>
                <a:gd name="connsiteY3" fmla="*/ 0 h 257442"/>
                <a:gd name="connsiteX0" fmla="*/ 1119117 w 1119117"/>
                <a:gd name="connsiteY0" fmla="*/ 0 h 257442"/>
                <a:gd name="connsiteX1" fmla="*/ 1064395 w 1119117"/>
                <a:gd name="connsiteY1" fmla="*/ 257442 h 257442"/>
                <a:gd name="connsiteX2" fmla="*/ 0 w 1119117"/>
                <a:gd name="connsiteY2" fmla="*/ 257442 h 257442"/>
                <a:gd name="connsiteX3" fmla="*/ 54722 w 1119117"/>
                <a:gd name="connsiteY3" fmla="*/ 0 h 257442"/>
                <a:gd name="connsiteX0" fmla="*/ 1119117 w 1119117"/>
                <a:gd name="connsiteY0" fmla="*/ 0 h 257442"/>
                <a:gd name="connsiteX1" fmla="*/ 1064395 w 1119117"/>
                <a:gd name="connsiteY1" fmla="*/ 257442 h 257442"/>
                <a:gd name="connsiteX2" fmla="*/ 0 w 1119117"/>
                <a:gd name="connsiteY2" fmla="*/ 257442 h 257442"/>
                <a:gd name="connsiteX3" fmla="*/ 54722 w 1119117"/>
                <a:gd name="connsiteY3" fmla="*/ 0 h 257442"/>
                <a:gd name="connsiteX0" fmla="*/ 1287433 w 1287433"/>
                <a:gd name="connsiteY0" fmla="*/ 0 h 257442"/>
                <a:gd name="connsiteX1" fmla="*/ 1064395 w 1287433"/>
                <a:gd name="connsiteY1" fmla="*/ 257442 h 257442"/>
                <a:gd name="connsiteX2" fmla="*/ 0 w 1287433"/>
                <a:gd name="connsiteY2" fmla="*/ 257442 h 257442"/>
                <a:gd name="connsiteX3" fmla="*/ 54722 w 1287433"/>
                <a:gd name="connsiteY3" fmla="*/ 0 h 257442"/>
                <a:gd name="connsiteX0" fmla="*/ 1287433 w 1287433"/>
                <a:gd name="connsiteY0" fmla="*/ 0 h 257442"/>
                <a:gd name="connsiteX1" fmla="*/ 1232712 w 1287433"/>
                <a:gd name="connsiteY1" fmla="*/ 257442 h 257442"/>
                <a:gd name="connsiteX2" fmla="*/ 0 w 1287433"/>
                <a:gd name="connsiteY2" fmla="*/ 257442 h 257442"/>
                <a:gd name="connsiteX3" fmla="*/ 54722 w 1287433"/>
                <a:gd name="connsiteY3" fmla="*/ 0 h 257442"/>
                <a:gd name="connsiteX0" fmla="*/ 1287432 w 1287432"/>
                <a:gd name="connsiteY0" fmla="*/ 0 h 257442"/>
                <a:gd name="connsiteX1" fmla="*/ 1232711 w 1287432"/>
                <a:gd name="connsiteY1" fmla="*/ 257442 h 257442"/>
                <a:gd name="connsiteX2" fmla="*/ 0 w 1287432"/>
                <a:gd name="connsiteY2" fmla="*/ 257442 h 257442"/>
                <a:gd name="connsiteX3" fmla="*/ 54721 w 1287432"/>
                <a:gd name="connsiteY3" fmla="*/ 0 h 257442"/>
                <a:gd name="connsiteX0" fmla="*/ 1287432 w 1287432"/>
                <a:gd name="connsiteY0" fmla="*/ 0 h 257442"/>
                <a:gd name="connsiteX1" fmla="*/ 1232711 w 1287432"/>
                <a:gd name="connsiteY1" fmla="*/ 257442 h 257442"/>
                <a:gd name="connsiteX2" fmla="*/ 0 w 1287432"/>
                <a:gd name="connsiteY2" fmla="*/ 257442 h 257442"/>
                <a:gd name="connsiteX3" fmla="*/ 54720 w 1287432"/>
                <a:gd name="connsiteY3" fmla="*/ 0 h 257442"/>
                <a:gd name="connsiteX0" fmla="*/ 1455746 w 1455746"/>
                <a:gd name="connsiteY0" fmla="*/ 0 h 257442"/>
                <a:gd name="connsiteX1" fmla="*/ 1232711 w 1455746"/>
                <a:gd name="connsiteY1" fmla="*/ 257442 h 257442"/>
                <a:gd name="connsiteX2" fmla="*/ 0 w 1455746"/>
                <a:gd name="connsiteY2" fmla="*/ 257442 h 257442"/>
                <a:gd name="connsiteX3" fmla="*/ 54720 w 1455746"/>
                <a:gd name="connsiteY3" fmla="*/ 0 h 257442"/>
                <a:gd name="connsiteX0" fmla="*/ 1455746 w 1455746"/>
                <a:gd name="connsiteY0" fmla="*/ 0 h 257442"/>
                <a:gd name="connsiteX1" fmla="*/ 1401025 w 1455746"/>
                <a:gd name="connsiteY1" fmla="*/ 257442 h 257442"/>
                <a:gd name="connsiteX2" fmla="*/ 0 w 1455746"/>
                <a:gd name="connsiteY2" fmla="*/ 257442 h 257442"/>
                <a:gd name="connsiteX3" fmla="*/ 54720 w 1455746"/>
                <a:gd name="connsiteY3" fmla="*/ 0 h 257442"/>
                <a:gd name="connsiteX0" fmla="*/ 1455747 w 1455747"/>
                <a:gd name="connsiteY0" fmla="*/ 0 h 257442"/>
                <a:gd name="connsiteX1" fmla="*/ 1401026 w 1455747"/>
                <a:gd name="connsiteY1" fmla="*/ 257442 h 257442"/>
                <a:gd name="connsiteX2" fmla="*/ 0 w 1455747"/>
                <a:gd name="connsiteY2" fmla="*/ 257442 h 257442"/>
                <a:gd name="connsiteX3" fmla="*/ 54721 w 1455747"/>
                <a:gd name="connsiteY3" fmla="*/ 0 h 257442"/>
                <a:gd name="connsiteX0" fmla="*/ 1455747 w 1455747"/>
                <a:gd name="connsiteY0" fmla="*/ 0 h 257442"/>
                <a:gd name="connsiteX1" fmla="*/ 1401026 w 1455747"/>
                <a:gd name="connsiteY1" fmla="*/ 257442 h 257442"/>
                <a:gd name="connsiteX2" fmla="*/ 0 w 1455747"/>
                <a:gd name="connsiteY2" fmla="*/ 257442 h 257442"/>
                <a:gd name="connsiteX3" fmla="*/ 54722 w 1455747"/>
                <a:gd name="connsiteY3" fmla="*/ 0 h 257442"/>
                <a:gd name="connsiteX0" fmla="*/ 1633681 w 1633681"/>
                <a:gd name="connsiteY0" fmla="*/ 0 h 257442"/>
                <a:gd name="connsiteX1" fmla="*/ 1401026 w 1633681"/>
                <a:gd name="connsiteY1" fmla="*/ 257442 h 257442"/>
                <a:gd name="connsiteX2" fmla="*/ 0 w 1633681"/>
                <a:gd name="connsiteY2" fmla="*/ 257442 h 257442"/>
                <a:gd name="connsiteX3" fmla="*/ 54722 w 1633681"/>
                <a:gd name="connsiteY3" fmla="*/ 0 h 257442"/>
                <a:gd name="connsiteX0" fmla="*/ 1633681 w 1633681"/>
                <a:gd name="connsiteY0" fmla="*/ 0 h 257442"/>
                <a:gd name="connsiteX1" fmla="*/ 1578960 w 1633681"/>
                <a:gd name="connsiteY1" fmla="*/ 257442 h 257442"/>
                <a:gd name="connsiteX2" fmla="*/ 0 w 1633681"/>
                <a:gd name="connsiteY2" fmla="*/ 257442 h 257442"/>
                <a:gd name="connsiteX3" fmla="*/ 54722 w 1633681"/>
                <a:gd name="connsiteY3" fmla="*/ 0 h 257442"/>
                <a:gd name="connsiteX0" fmla="*/ 1633680 w 1633680"/>
                <a:gd name="connsiteY0" fmla="*/ 0 h 257442"/>
                <a:gd name="connsiteX1" fmla="*/ 1578959 w 1633680"/>
                <a:gd name="connsiteY1" fmla="*/ 257442 h 257442"/>
                <a:gd name="connsiteX2" fmla="*/ 0 w 1633680"/>
                <a:gd name="connsiteY2" fmla="*/ 257442 h 257442"/>
                <a:gd name="connsiteX3" fmla="*/ 54721 w 1633680"/>
                <a:gd name="connsiteY3" fmla="*/ 0 h 257442"/>
                <a:gd name="connsiteX0" fmla="*/ 1633680 w 1633680"/>
                <a:gd name="connsiteY0" fmla="*/ 0 h 257442"/>
                <a:gd name="connsiteX1" fmla="*/ 1578959 w 1633680"/>
                <a:gd name="connsiteY1" fmla="*/ 257442 h 257442"/>
                <a:gd name="connsiteX2" fmla="*/ 0 w 1633680"/>
                <a:gd name="connsiteY2" fmla="*/ 257442 h 257442"/>
                <a:gd name="connsiteX3" fmla="*/ 54720 w 1633680"/>
                <a:gd name="connsiteY3" fmla="*/ 0 h 257442"/>
                <a:gd name="connsiteX0" fmla="*/ 1801994 w 1801994"/>
                <a:gd name="connsiteY0" fmla="*/ 0 h 257442"/>
                <a:gd name="connsiteX1" fmla="*/ 1578959 w 1801994"/>
                <a:gd name="connsiteY1" fmla="*/ 257442 h 257442"/>
                <a:gd name="connsiteX2" fmla="*/ 0 w 1801994"/>
                <a:gd name="connsiteY2" fmla="*/ 257442 h 257442"/>
                <a:gd name="connsiteX3" fmla="*/ 54720 w 1801994"/>
                <a:gd name="connsiteY3" fmla="*/ 0 h 257442"/>
                <a:gd name="connsiteX0" fmla="*/ 1801994 w 1801994"/>
                <a:gd name="connsiteY0" fmla="*/ 0 h 257442"/>
                <a:gd name="connsiteX1" fmla="*/ 1747273 w 1801994"/>
                <a:gd name="connsiteY1" fmla="*/ 257442 h 257442"/>
                <a:gd name="connsiteX2" fmla="*/ 0 w 1801994"/>
                <a:gd name="connsiteY2" fmla="*/ 257442 h 257442"/>
                <a:gd name="connsiteX3" fmla="*/ 54720 w 1801994"/>
                <a:gd name="connsiteY3" fmla="*/ 0 h 257442"/>
                <a:gd name="connsiteX0" fmla="*/ 1801995 w 1801995"/>
                <a:gd name="connsiteY0" fmla="*/ 0 h 257442"/>
                <a:gd name="connsiteX1" fmla="*/ 1747274 w 1801995"/>
                <a:gd name="connsiteY1" fmla="*/ 257442 h 257442"/>
                <a:gd name="connsiteX2" fmla="*/ 0 w 1801995"/>
                <a:gd name="connsiteY2" fmla="*/ 257442 h 257442"/>
                <a:gd name="connsiteX3" fmla="*/ 54721 w 1801995"/>
                <a:gd name="connsiteY3" fmla="*/ 0 h 257442"/>
                <a:gd name="connsiteX0" fmla="*/ 1801995 w 1801995"/>
                <a:gd name="connsiteY0" fmla="*/ 0 h 257442"/>
                <a:gd name="connsiteX1" fmla="*/ 1747274 w 1801995"/>
                <a:gd name="connsiteY1" fmla="*/ 257442 h 257442"/>
                <a:gd name="connsiteX2" fmla="*/ 0 w 1801995"/>
                <a:gd name="connsiteY2" fmla="*/ 257442 h 257442"/>
                <a:gd name="connsiteX3" fmla="*/ 54722 w 1801995"/>
                <a:gd name="connsiteY3" fmla="*/ 0 h 257442"/>
                <a:gd name="connsiteX0" fmla="*/ 1979930 w 1979930"/>
                <a:gd name="connsiteY0" fmla="*/ 0 h 257442"/>
                <a:gd name="connsiteX1" fmla="*/ 1747274 w 1979930"/>
                <a:gd name="connsiteY1" fmla="*/ 257442 h 257442"/>
                <a:gd name="connsiteX2" fmla="*/ 0 w 1979930"/>
                <a:gd name="connsiteY2" fmla="*/ 257442 h 257442"/>
                <a:gd name="connsiteX3" fmla="*/ 54722 w 1979930"/>
                <a:gd name="connsiteY3" fmla="*/ 0 h 257442"/>
                <a:gd name="connsiteX0" fmla="*/ 1979930 w 1979930"/>
                <a:gd name="connsiteY0" fmla="*/ 0 h 257442"/>
                <a:gd name="connsiteX1" fmla="*/ 1925208 w 1979930"/>
                <a:gd name="connsiteY1" fmla="*/ 257442 h 257442"/>
                <a:gd name="connsiteX2" fmla="*/ 0 w 1979930"/>
                <a:gd name="connsiteY2" fmla="*/ 257442 h 257442"/>
                <a:gd name="connsiteX3" fmla="*/ 54722 w 1979930"/>
                <a:gd name="connsiteY3" fmla="*/ 0 h 257442"/>
                <a:gd name="connsiteX0" fmla="*/ 1979930 w 1979930"/>
                <a:gd name="connsiteY0" fmla="*/ 0 h 257442"/>
                <a:gd name="connsiteX1" fmla="*/ 1925208 w 1979930"/>
                <a:gd name="connsiteY1" fmla="*/ 257442 h 257442"/>
                <a:gd name="connsiteX2" fmla="*/ 0 w 1979930"/>
                <a:gd name="connsiteY2" fmla="*/ 257442 h 257442"/>
                <a:gd name="connsiteX3" fmla="*/ 54722 w 1979930"/>
                <a:gd name="connsiteY3" fmla="*/ 0 h 257442"/>
                <a:gd name="connsiteX0" fmla="*/ 1979930 w 1979930"/>
                <a:gd name="connsiteY0" fmla="*/ 0 h 257442"/>
                <a:gd name="connsiteX1" fmla="*/ 1925208 w 1979930"/>
                <a:gd name="connsiteY1" fmla="*/ 257442 h 257442"/>
                <a:gd name="connsiteX2" fmla="*/ 0 w 1979930"/>
                <a:gd name="connsiteY2" fmla="*/ 257442 h 257442"/>
                <a:gd name="connsiteX3" fmla="*/ 54721 w 1979930"/>
                <a:gd name="connsiteY3" fmla="*/ 0 h 257442"/>
                <a:gd name="connsiteX0" fmla="*/ 2148244 w 2148244"/>
                <a:gd name="connsiteY0" fmla="*/ 0 h 257442"/>
                <a:gd name="connsiteX1" fmla="*/ 1925208 w 2148244"/>
                <a:gd name="connsiteY1" fmla="*/ 257442 h 257442"/>
                <a:gd name="connsiteX2" fmla="*/ 0 w 2148244"/>
                <a:gd name="connsiteY2" fmla="*/ 257442 h 257442"/>
                <a:gd name="connsiteX3" fmla="*/ 54721 w 2148244"/>
                <a:gd name="connsiteY3" fmla="*/ 0 h 257442"/>
                <a:gd name="connsiteX0" fmla="*/ 2148244 w 2148244"/>
                <a:gd name="connsiteY0" fmla="*/ 0 h 257442"/>
                <a:gd name="connsiteX1" fmla="*/ 2093523 w 2148244"/>
                <a:gd name="connsiteY1" fmla="*/ 257442 h 257442"/>
                <a:gd name="connsiteX2" fmla="*/ 0 w 2148244"/>
                <a:gd name="connsiteY2" fmla="*/ 257442 h 257442"/>
                <a:gd name="connsiteX3" fmla="*/ 54721 w 2148244"/>
                <a:gd name="connsiteY3" fmla="*/ 0 h 257442"/>
                <a:gd name="connsiteX0" fmla="*/ 2148244 w 2148244"/>
                <a:gd name="connsiteY0" fmla="*/ 0 h 257442"/>
                <a:gd name="connsiteX1" fmla="*/ 2093523 w 2148244"/>
                <a:gd name="connsiteY1" fmla="*/ 257442 h 257442"/>
                <a:gd name="connsiteX2" fmla="*/ 0 w 2148244"/>
                <a:gd name="connsiteY2" fmla="*/ 257442 h 257442"/>
                <a:gd name="connsiteX3" fmla="*/ 54721 w 2148244"/>
                <a:gd name="connsiteY3" fmla="*/ 0 h 257442"/>
                <a:gd name="connsiteX0" fmla="*/ 2148244 w 2148244"/>
                <a:gd name="connsiteY0" fmla="*/ 0 h 257442"/>
                <a:gd name="connsiteX1" fmla="*/ 2093523 w 2148244"/>
                <a:gd name="connsiteY1" fmla="*/ 257442 h 257442"/>
                <a:gd name="connsiteX2" fmla="*/ 0 w 2148244"/>
                <a:gd name="connsiteY2" fmla="*/ 257442 h 257442"/>
                <a:gd name="connsiteX3" fmla="*/ 54721 w 2148244"/>
                <a:gd name="connsiteY3" fmla="*/ 0 h 257442"/>
                <a:gd name="connsiteX0" fmla="*/ 2316560 w 2316560"/>
                <a:gd name="connsiteY0" fmla="*/ 0 h 257442"/>
                <a:gd name="connsiteX1" fmla="*/ 2093523 w 2316560"/>
                <a:gd name="connsiteY1" fmla="*/ 257442 h 257442"/>
                <a:gd name="connsiteX2" fmla="*/ 0 w 2316560"/>
                <a:gd name="connsiteY2" fmla="*/ 257442 h 257442"/>
                <a:gd name="connsiteX3" fmla="*/ 54721 w 2316560"/>
                <a:gd name="connsiteY3" fmla="*/ 0 h 257442"/>
                <a:gd name="connsiteX0" fmla="*/ 2316560 w 2316560"/>
                <a:gd name="connsiteY0" fmla="*/ 0 h 257442"/>
                <a:gd name="connsiteX1" fmla="*/ 2261839 w 2316560"/>
                <a:gd name="connsiteY1" fmla="*/ 257442 h 257442"/>
                <a:gd name="connsiteX2" fmla="*/ 0 w 2316560"/>
                <a:gd name="connsiteY2" fmla="*/ 257442 h 257442"/>
                <a:gd name="connsiteX3" fmla="*/ 54721 w 2316560"/>
                <a:gd name="connsiteY3" fmla="*/ 0 h 257442"/>
                <a:gd name="connsiteX0" fmla="*/ 2316560 w 2316560"/>
                <a:gd name="connsiteY0" fmla="*/ 0 h 257442"/>
                <a:gd name="connsiteX1" fmla="*/ 2261839 w 2316560"/>
                <a:gd name="connsiteY1" fmla="*/ 257442 h 257442"/>
                <a:gd name="connsiteX2" fmla="*/ 0 w 2316560"/>
                <a:gd name="connsiteY2" fmla="*/ 257442 h 257442"/>
                <a:gd name="connsiteX3" fmla="*/ 54721 w 2316560"/>
                <a:gd name="connsiteY3" fmla="*/ 0 h 257442"/>
                <a:gd name="connsiteX0" fmla="*/ 2316560 w 2316560"/>
                <a:gd name="connsiteY0" fmla="*/ 0 h 257442"/>
                <a:gd name="connsiteX1" fmla="*/ 2261839 w 2316560"/>
                <a:gd name="connsiteY1" fmla="*/ 257442 h 257442"/>
                <a:gd name="connsiteX2" fmla="*/ 0 w 2316560"/>
                <a:gd name="connsiteY2" fmla="*/ 257442 h 257442"/>
                <a:gd name="connsiteX3" fmla="*/ 54721 w 2316560"/>
                <a:gd name="connsiteY3" fmla="*/ 0 h 257442"/>
                <a:gd name="connsiteX0" fmla="*/ 2484874 w 2484874"/>
                <a:gd name="connsiteY0" fmla="*/ 0 h 257442"/>
                <a:gd name="connsiteX1" fmla="*/ 2261839 w 2484874"/>
                <a:gd name="connsiteY1" fmla="*/ 257442 h 257442"/>
                <a:gd name="connsiteX2" fmla="*/ 0 w 2484874"/>
                <a:gd name="connsiteY2" fmla="*/ 257442 h 257442"/>
                <a:gd name="connsiteX3" fmla="*/ 54721 w 2484874"/>
                <a:gd name="connsiteY3" fmla="*/ 0 h 257442"/>
                <a:gd name="connsiteX0" fmla="*/ 2484874 w 2484874"/>
                <a:gd name="connsiteY0" fmla="*/ 0 h 257442"/>
                <a:gd name="connsiteX1" fmla="*/ 2430153 w 2484874"/>
                <a:gd name="connsiteY1" fmla="*/ 257442 h 257442"/>
                <a:gd name="connsiteX2" fmla="*/ 0 w 2484874"/>
                <a:gd name="connsiteY2" fmla="*/ 257442 h 257442"/>
                <a:gd name="connsiteX3" fmla="*/ 54721 w 2484874"/>
                <a:gd name="connsiteY3" fmla="*/ 0 h 257442"/>
                <a:gd name="connsiteX0" fmla="*/ 2484874 w 2484874"/>
                <a:gd name="connsiteY0" fmla="*/ 0 h 257442"/>
                <a:gd name="connsiteX1" fmla="*/ 2430153 w 2484874"/>
                <a:gd name="connsiteY1" fmla="*/ 257442 h 257442"/>
                <a:gd name="connsiteX2" fmla="*/ 0 w 2484874"/>
                <a:gd name="connsiteY2" fmla="*/ 257442 h 257442"/>
                <a:gd name="connsiteX3" fmla="*/ 54721 w 2484874"/>
                <a:gd name="connsiteY3" fmla="*/ 0 h 257442"/>
                <a:gd name="connsiteX0" fmla="*/ 2484874 w 2484874"/>
                <a:gd name="connsiteY0" fmla="*/ 0 h 257442"/>
                <a:gd name="connsiteX1" fmla="*/ 2430153 w 2484874"/>
                <a:gd name="connsiteY1" fmla="*/ 257442 h 257442"/>
                <a:gd name="connsiteX2" fmla="*/ 0 w 2484874"/>
                <a:gd name="connsiteY2" fmla="*/ 257442 h 257442"/>
                <a:gd name="connsiteX3" fmla="*/ 54721 w 2484874"/>
                <a:gd name="connsiteY3" fmla="*/ 0 h 257442"/>
                <a:gd name="connsiteX0" fmla="*/ 2645175 w 2645175"/>
                <a:gd name="connsiteY0" fmla="*/ 0 h 257442"/>
                <a:gd name="connsiteX1" fmla="*/ 2430153 w 2645175"/>
                <a:gd name="connsiteY1" fmla="*/ 257442 h 257442"/>
                <a:gd name="connsiteX2" fmla="*/ 0 w 2645175"/>
                <a:gd name="connsiteY2" fmla="*/ 257442 h 257442"/>
                <a:gd name="connsiteX3" fmla="*/ 54721 w 2645175"/>
                <a:gd name="connsiteY3" fmla="*/ 0 h 257442"/>
                <a:gd name="connsiteX0" fmla="*/ 2645175 w 2645175"/>
                <a:gd name="connsiteY0" fmla="*/ 0 h 257442"/>
                <a:gd name="connsiteX1" fmla="*/ 2590454 w 2645175"/>
                <a:gd name="connsiteY1" fmla="*/ 257442 h 257442"/>
                <a:gd name="connsiteX2" fmla="*/ 0 w 2645175"/>
                <a:gd name="connsiteY2" fmla="*/ 257442 h 257442"/>
                <a:gd name="connsiteX3" fmla="*/ 54721 w 2645175"/>
                <a:gd name="connsiteY3" fmla="*/ 0 h 257442"/>
                <a:gd name="connsiteX0" fmla="*/ 2645175 w 2645175"/>
                <a:gd name="connsiteY0" fmla="*/ 0 h 257442"/>
                <a:gd name="connsiteX1" fmla="*/ 2590454 w 2645175"/>
                <a:gd name="connsiteY1" fmla="*/ 257442 h 257442"/>
                <a:gd name="connsiteX2" fmla="*/ 0 w 2645175"/>
                <a:gd name="connsiteY2" fmla="*/ 257442 h 257442"/>
                <a:gd name="connsiteX3" fmla="*/ 54721 w 2645175"/>
                <a:gd name="connsiteY3" fmla="*/ 0 h 257442"/>
                <a:gd name="connsiteX0" fmla="*/ 2645175 w 2645175"/>
                <a:gd name="connsiteY0" fmla="*/ 0 h 257442"/>
                <a:gd name="connsiteX1" fmla="*/ 2590454 w 2645175"/>
                <a:gd name="connsiteY1" fmla="*/ 257442 h 257442"/>
                <a:gd name="connsiteX2" fmla="*/ 0 w 2645175"/>
                <a:gd name="connsiteY2" fmla="*/ 257442 h 257442"/>
                <a:gd name="connsiteX3" fmla="*/ 54721 w 2645175"/>
                <a:gd name="connsiteY3" fmla="*/ 0 h 257442"/>
                <a:gd name="connsiteX0" fmla="*/ 2813491 w 2813491"/>
                <a:gd name="connsiteY0" fmla="*/ 0 h 257442"/>
                <a:gd name="connsiteX1" fmla="*/ 2590454 w 2813491"/>
                <a:gd name="connsiteY1" fmla="*/ 257442 h 257442"/>
                <a:gd name="connsiteX2" fmla="*/ 0 w 2813491"/>
                <a:gd name="connsiteY2" fmla="*/ 257442 h 257442"/>
                <a:gd name="connsiteX3" fmla="*/ 54721 w 2813491"/>
                <a:gd name="connsiteY3" fmla="*/ 0 h 257442"/>
                <a:gd name="connsiteX0" fmla="*/ 2813491 w 2813491"/>
                <a:gd name="connsiteY0" fmla="*/ 0 h 257442"/>
                <a:gd name="connsiteX1" fmla="*/ 2758770 w 2813491"/>
                <a:gd name="connsiteY1" fmla="*/ 257442 h 257442"/>
                <a:gd name="connsiteX2" fmla="*/ 0 w 2813491"/>
                <a:gd name="connsiteY2" fmla="*/ 257442 h 257442"/>
                <a:gd name="connsiteX3" fmla="*/ 54721 w 2813491"/>
                <a:gd name="connsiteY3" fmla="*/ 0 h 257442"/>
                <a:gd name="connsiteX0" fmla="*/ 2813491 w 2813491"/>
                <a:gd name="connsiteY0" fmla="*/ 0 h 257442"/>
                <a:gd name="connsiteX1" fmla="*/ 2758770 w 2813491"/>
                <a:gd name="connsiteY1" fmla="*/ 257442 h 257442"/>
                <a:gd name="connsiteX2" fmla="*/ 0 w 2813491"/>
                <a:gd name="connsiteY2" fmla="*/ 257442 h 257442"/>
                <a:gd name="connsiteX3" fmla="*/ 54721 w 2813491"/>
                <a:gd name="connsiteY3" fmla="*/ 0 h 257442"/>
                <a:gd name="connsiteX0" fmla="*/ 2813491 w 2813491"/>
                <a:gd name="connsiteY0" fmla="*/ 0 h 257442"/>
                <a:gd name="connsiteX1" fmla="*/ 2758770 w 2813491"/>
                <a:gd name="connsiteY1" fmla="*/ 257442 h 257442"/>
                <a:gd name="connsiteX2" fmla="*/ 0 w 2813491"/>
                <a:gd name="connsiteY2" fmla="*/ 257442 h 257442"/>
                <a:gd name="connsiteX3" fmla="*/ 54721 w 2813491"/>
                <a:gd name="connsiteY3" fmla="*/ 0 h 257442"/>
                <a:gd name="connsiteX0" fmla="*/ 2981805 w 2981805"/>
                <a:gd name="connsiteY0" fmla="*/ 0 h 257442"/>
                <a:gd name="connsiteX1" fmla="*/ 2758770 w 2981805"/>
                <a:gd name="connsiteY1" fmla="*/ 257442 h 257442"/>
                <a:gd name="connsiteX2" fmla="*/ 0 w 2981805"/>
                <a:gd name="connsiteY2" fmla="*/ 257442 h 257442"/>
                <a:gd name="connsiteX3" fmla="*/ 54721 w 2981805"/>
                <a:gd name="connsiteY3" fmla="*/ 0 h 257442"/>
                <a:gd name="connsiteX0" fmla="*/ 2981805 w 2981805"/>
                <a:gd name="connsiteY0" fmla="*/ 0 h 257442"/>
                <a:gd name="connsiteX1" fmla="*/ 2927084 w 2981805"/>
                <a:gd name="connsiteY1" fmla="*/ 257442 h 257442"/>
                <a:gd name="connsiteX2" fmla="*/ 0 w 2981805"/>
                <a:gd name="connsiteY2" fmla="*/ 257442 h 257442"/>
                <a:gd name="connsiteX3" fmla="*/ 54721 w 2981805"/>
                <a:gd name="connsiteY3" fmla="*/ 0 h 257442"/>
                <a:gd name="connsiteX0" fmla="*/ 2981805 w 2981805"/>
                <a:gd name="connsiteY0" fmla="*/ 0 h 257442"/>
                <a:gd name="connsiteX1" fmla="*/ 2927084 w 2981805"/>
                <a:gd name="connsiteY1" fmla="*/ 257442 h 257442"/>
                <a:gd name="connsiteX2" fmla="*/ 0 w 2981805"/>
                <a:gd name="connsiteY2" fmla="*/ 257442 h 257442"/>
                <a:gd name="connsiteX3" fmla="*/ 54721 w 2981805"/>
                <a:gd name="connsiteY3" fmla="*/ 0 h 257442"/>
                <a:gd name="connsiteX0" fmla="*/ 2981805 w 2981805"/>
                <a:gd name="connsiteY0" fmla="*/ 0 h 257442"/>
                <a:gd name="connsiteX1" fmla="*/ 2927084 w 2981805"/>
                <a:gd name="connsiteY1" fmla="*/ 257442 h 257442"/>
                <a:gd name="connsiteX2" fmla="*/ 0 w 2981805"/>
                <a:gd name="connsiteY2" fmla="*/ 257442 h 257442"/>
                <a:gd name="connsiteX3" fmla="*/ 54721 w 2981805"/>
                <a:gd name="connsiteY3" fmla="*/ 0 h 257442"/>
                <a:gd name="connsiteX0" fmla="*/ 3150121 w 3150121"/>
                <a:gd name="connsiteY0" fmla="*/ 0 h 257442"/>
                <a:gd name="connsiteX1" fmla="*/ 2927084 w 3150121"/>
                <a:gd name="connsiteY1" fmla="*/ 257442 h 257442"/>
                <a:gd name="connsiteX2" fmla="*/ 0 w 3150121"/>
                <a:gd name="connsiteY2" fmla="*/ 257442 h 257442"/>
                <a:gd name="connsiteX3" fmla="*/ 54721 w 3150121"/>
                <a:gd name="connsiteY3" fmla="*/ 0 h 257442"/>
                <a:gd name="connsiteX0" fmla="*/ 3150121 w 3150121"/>
                <a:gd name="connsiteY0" fmla="*/ 0 h 257442"/>
                <a:gd name="connsiteX1" fmla="*/ 3095400 w 3150121"/>
                <a:gd name="connsiteY1" fmla="*/ 257442 h 257442"/>
                <a:gd name="connsiteX2" fmla="*/ 0 w 3150121"/>
                <a:gd name="connsiteY2" fmla="*/ 257442 h 257442"/>
                <a:gd name="connsiteX3" fmla="*/ 54721 w 3150121"/>
                <a:gd name="connsiteY3" fmla="*/ 0 h 257442"/>
                <a:gd name="connsiteX0" fmla="*/ 3150121 w 3150121"/>
                <a:gd name="connsiteY0" fmla="*/ 0 h 257442"/>
                <a:gd name="connsiteX1" fmla="*/ 3095400 w 3150121"/>
                <a:gd name="connsiteY1" fmla="*/ 257442 h 257442"/>
                <a:gd name="connsiteX2" fmla="*/ 0 w 3150121"/>
                <a:gd name="connsiteY2" fmla="*/ 257442 h 257442"/>
                <a:gd name="connsiteX3" fmla="*/ 54721 w 3150121"/>
                <a:gd name="connsiteY3" fmla="*/ 0 h 257442"/>
                <a:gd name="connsiteX0" fmla="*/ 3150121 w 3150121"/>
                <a:gd name="connsiteY0" fmla="*/ 0 h 257442"/>
                <a:gd name="connsiteX1" fmla="*/ 3095400 w 3150121"/>
                <a:gd name="connsiteY1" fmla="*/ 257442 h 257442"/>
                <a:gd name="connsiteX2" fmla="*/ 0 w 3150121"/>
                <a:gd name="connsiteY2" fmla="*/ 257442 h 257442"/>
                <a:gd name="connsiteX3" fmla="*/ 54721 w 3150121"/>
                <a:gd name="connsiteY3" fmla="*/ 0 h 257442"/>
                <a:gd name="connsiteX0" fmla="*/ 3318436 w 3318436"/>
                <a:gd name="connsiteY0" fmla="*/ 0 h 257442"/>
                <a:gd name="connsiteX1" fmla="*/ 3095400 w 3318436"/>
                <a:gd name="connsiteY1" fmla="*/ 257442 h 257442"/>
                <a:gd name="connsiteX2" fmla="*/ 0 w 3318436"/>
                <a:gd name="connsiteY2" fmla="*/ 257442 h 257442"/>
                <a:gd name="connsiteX3" fmla="*/ 54721 w 3318436"/>
                <a:gd name="connsiteY3" fmla="*/ 0 h 257442"/>
                <a:gd name="connsiteX0" fmla="*/ 3318436 w 3318436"/>
                <a:gd name="connsiteY0" fmla="*/ 0 h 257442"/>
                <a:gd name="connsiteX1" fmla="*/ 3263714 w 3318436"/>
                <a:gd name="connsiteY1" fmla="*/ 257442 h 257442"/>
                <a:gd name="connsiteX2" fmla="*/ 0 w 3318436"/>
                <a:gd name="connsiteY2" fmla="*/ 257442 h 257442"/>
                <a:gd name="connsiteX3" fmla="*/ 54721 w 3318436"/>
                <a:gd name="connsiteY3" fmla="*/ 0 h 257442"/>
                <a:gd name="connsiteX0" fmla="*/ 3318437 w 3318437"/>
                <a:gd name="connsiteY0" fmla="*/ 0 h 257442"/>
                <a:gd name="connsiteX1" fmla="*/ 3263715 w 3318437"/>
                <a:gd name="connsiteY1" fmla="*/ 257442 h 257442"/>
                <a:gd name="connsiteX2" fmla="*/ 0 w 3318437"/>
                <a:gd name="connsiteY2" fmla="*/ 257442 h 257442"/>
                <a:gd name="connsiteX3" fmla="*/ 54722 w 3318437"/>
                <a:gd name="connsiteY3" fmla="*/ 0 h 257442"/>
                <a:gd name="connsiteX0" fmla="*/ 3318437 w 3318437"/>
                <a:gd name="connsiteY0" fmla="*/ 0 h 257442"/>
                <a:gd name="connsiteX1" fmla="*/ 3263715 w 3318437"/>
                <a:gd name="connsiteY1" fmla="*/ 257442 h 257442"/>
                <a:gd name="connsiteX2" fmla="*/ 0 w 3318437"/>
                <a:gd name="connsiteY2" fmla="*/ 257442 h 257442"/>
                <a:gd name="connsiteX3" fmla="*/ 54722 w 3318437"/>
                <a:gd name="connsiteY3" fmla="*/ 0 h 257442"/>
                <a:gd name="connsiteX0" fmla="*/ 3560298 w 3560298"/>
                <a:gd name="connsiteY0" fmla="*/ 0 h 257442"/>
                <a:gd name="connsiteX1" fmla="*/ 3263715 w 3560298"/>
                <a:gd name="connsiteY1" fmla="*/ 257442 h 257442"/>
                <a:gd name="connsiteX2" fmla="*/ 0 w 3560298"/>
                <a:gd name="connsiteY2" fmla="*/ 257442 h 257442"/>
                <a:gd name="connsiteX3" fmla="*/ 54722 w 3560298"/>
                <a:gd name="connsiteY3" fmla="*/ 0 h 257442"/>
                <a:gd name="connsiteX0" fmla="*/ 3560298 w 3560298"/>
                <a:gd name="connsiteY0" fmla="*/ 0 h 257442"/>
                <a:gd name="connsiteX1" fmla="*/ 3505576 w 3560298"/>
                <a:gd name="connsiteY1" fmla="*/ 257442 h 257442"/>
                <a:gd name="connsiteX2" fmla="*/ 0 w 3560298"/>
                <a:gd name="connsiteY2" fmla="*/ 257442 h 257442"/>
                <a:gd name="connsiteX3" fmla="*/ 54722 w 3560298"/>
                <a:gd name="connsiteY3" fmla="*/ 0 h 257442"/>
                <a:gd name="connsiteX0" fmla="*/ 3560298 w 3560298"/>
                <a:gd name="connsiteY0" fmla="*/ 0 h 257442"/>
                <a:gd name="connsiteX1" fmla="*/ 3505576 w 3560298"/>
                <a:gd name="connsiteY1" fmla="*/ 257442 h 257442"/>
                <a:gd name="connsiteX2" fmla="*/ 0 w 3560298"/>
                <a:gd name="connsiteY2" fmla="*/ 257442 h 257442"/>
                <a:gd name="connsiteX3" fmla="*/ 54722 w 3560298"/>
                <a:gd name="connsiteY3" fmla="*/ 0 h 257442"/>
                <a:gd name="connsiteX0" fmla="*/ 3560298 w 3560298"/>
                <a:gd name="connsiteY0" fmla="*/ 0 h 257442"/>
                <a:gd name="connsiteX1" fmla="*/ 3505576 w 3560298"/>
                <a:gd name="connsiteY1" fmla="*/ 257442 h 257442"/>
                <a:gd name="connsiteX2" fmla="*/ 0 w 3560298"/>
                <a:gd name="connsiteY2" fmla="*/ 257442 h 257442"/>
                <a:gd name="connsiteX3" fmla="*/ 54721 w 3560298"/>
                <a:gd name="connsiteY3" fmla="*/ 0 h 257442"/>
                <a:gd name="connsiteX0" fmla="*/ 3738231 w 3738231"/>
                <a:gd name="connsiteY0" fmla="*/ 0 h 257442"/>
                <a:gd name="connsiteX1" fmla="*/ 3505576 w 3738231"/>
                <a:gd name="connsiteY1" fmla="*/ 257442 h 257442"/>
                <a:gd name="connsiteX2" fmla="*/ 0 w 3738231"/>
                <a:gd name="connsiteY2" fmla="*/ 257442 h 257442"/>
                <a:gd name="connsiteX3" fmla="*/ 54721 w 3738231"/>
                <a:gd name="connsiteY3" fmla="*/ 0 h 257442"/>
                <a:gd name="connsiteX0" fmla="*/ 3738231 w 3738231"/>
                <a:gd name="connsiteY0" fmla="*/ 0 h 257442"/>
                <a:gd name="connsiteX1" fmla="*/ 3683510 w 3738231"/>
                <a:gd name="connsiteY1" fmla="*/ 257442 h 257442"/>
                <a:gd name="connsiteX2" fmla="*/ 0 w 3738231"/>
                <a:gd name="connsiteY2" fmla="*/ 257442 h 257442"/>
                <a:gd name="connsiteX3" fmla="*/ 54721 w 3738231"/>
                <a:gd name="connsiteY3" fmla="*/ 0 h 257442"/>
                <a:gd name="connsiteX0" fmla="*/ 3738231 w 3738231"/>
                <a:gd name="connsiteY0" fmla="*/ 0 h 257442"/>
                <a:gd name="connsiteX1" fmla="*/ 3683510 w 3738231"/>
                <a:gd name="connsiteY1" fmla="*/ 257442 h 257442"/>
                <a:gd name="connsiteX2" fmla="*/ 0 w 3738231"/>
                <a:gd name="connsiteY2" fmla="*/ 257442 h 257442"/>
                <a:gd name="connsiteX3" fmla="*/ 54721 w 3738231"/>
                <a:gd name="connsiteY3" fmla="*/ 0 h 257442"/>
                <a:gd name="connsiteX0" fmla="*/ 3738231 w 3738231"/>
                <a:gd name="connsiteY0" fmla="*/ 0 h 257442"/>
                <a:gd name="connsiteX1" fmla="*/ 3683510 w 3738231"/>
                <a:gd name="connsiteY1" fmla="*/ 257442 h 257442"/>
                <a:gd name="connsiteX2" fmla="*/ 0 w 3738231"/>
                <a:gd name="connsiteY2" fmla="*/ 257442 h 257442"/>
                <a:gd name="connsiteX3" fmla="*/ 54721 w 3738231"/>
                <a:gd name="connsiteY3" fmla="*/ 0 h 257442"/>
                <a:gd name="connsiteX0" fmla="*/ 3906546 w 3906546"/>
                <a:gd name="connsiteY0" fmla="*/ 0 h 257442"/>
                <a:gd name="connsiteX1" fmla="*/ 3683510 w 3906546"/>
                <a:gd name="connsiteY1" fmla="*/ 257442 h 257442"/>
                <a:gd name="connsiteX2" fmla="*/ 0 w 3906546"/>
                <a:gd name="connsiteY2" fmla="*/ 257442 h 257442"/>
                <a:gd name="connsiteX3" fmla="*/ 54721 w 3906546"/>
                <a:gd name="connsiteY3" fmla="*/ 0 h 257442"/>
                <a:gd name="connsiteX0" fmla="*/ 3906546 w 3906546"/>
                <a:gd name="connsiteY0" fmla="*/ 0 h 257442"/>
                <a:gd name="connsiteX1" fmla="*/ 3851824 w 3906546"/>
                <a:gd name="connsiteY1" fmla="*/ 257442 h 257442"/>
                <a:gd name="connsiteX2" fmla="*/ 0 w 3906546"/>
                <a:gd name="connsiteY2" fmla="*/ 257442 h 257442"/>
                <a:gd name="connsiteX3" fmla="*/ 54721 w 3906546"/>
                <a:gd name="connsiteY3" fmla="*/ 0 h 257442"/>
                <a:gd name="connsiteX0" fmla="*/ 3906547 w 3906547"/>
                <a:gd name="connsiteY0" fmla="*/ 0 h 257442"/>
                <a:gd name="connsiteX1" fmla="*/ 3851825 w 3906547"/>
                <a:gd name="connsiteY1" fmla="*/ 257442 h 257442"/>
                <a:gd name="connsiteX2" fmla="*/ 0 w 3906547"/>
                <a:gd name="connsiteY2" fmla="*/ 257442 h 257442"/>
                <a:gd name="connsiteX3" fmla="*/ 54722 w 3906547"/>
                <a:gd name="connsiteY3" fmla="*/ 0 h 257442"/>
                <a:gd name="connsiteX0" fmla="*/ 3906547 w 3906547"/>
                <a:gd name="connsiteY0" fmla="*/ 0 h 257442"/>
                <a:gd name="connsiteX1" fmla="*/ 3851825 w 3906547"/>
                <a:gd name="connsiteY1" fmla="*/ 257442 h 257442"/>
                <a:gd name="connsiteX2" fmla="*/ 0 w 3906547"/>
                <a:gd name="connsiteY2" fmla="*/ 257442 h 257442"/>
                <a:gd name="connsiteX3" fmla="*/ 54722 w 3906547"/>
                <a:gd name="connsiteY3" fmla="*/ 0 h 257442"/>
                <a:gd name="connsiteX0" fmla="*/ 4074863 w 4074863"/>
                <a:gd name="connsiteY0" fmla="*/ 0 h 257442"/>
                <a:gd name="connsiteX1" fmla="*/ 3851825 w 4074863"/>
                <a:gd name="connsiteY1" fmla="*/ 257442 h 257442"/>
                <a:gd name="connsiteX2" fmla="*/ 0 w 4074863"/>
                <a:gd name="connsiteY2" fmla="*/ 257442 h 257442"/>
                <a:gd name="connsiteX3" fmla="*/ 54722 w 4074863"/>
                <a:gd name="connsiteY3" fmla="*/ 0 h 257442"/>
                <a:gd name="connsiteX0" fmla="*/ 4074863 w 4074863"/>
                <a:gd name="connsiteY0" fmla="*/ 0 h 257442"/>
                <a:gd name="connsiteX1" fmla="*/ 4020142 w 4074863"/>
                <a:gd name="connsiteY1" fmla="*/ 257442 h 257442"/>
                <a:gd name="connsiteX2" fmla="*/ 0 w 4074863"/>
                <a:gd name="connsiteY2" fmla="*/ 257442 h 257442"/>
                <a:gd name="connsiteX3" fmla="*/ 54722 w 4074863"/>
                <a:gd name="connsiteY3" fmla="*/ 0 h 257442"/>
                <a:gd name="connsiteX0" fmla="*/ 4074862 w 4074862"/>
                <a:gd name="connsiteY0" fmla="*/ 0 h 257442"/>
                <a:gd name="connsiteX1" fmla="*/ 4020141 w 4074862"/>
                <a:gd name="connsiteY1" fmla="*/ 257442 h 257442"/>
                <a:gd name="connsiteX2" fmla="*/ 0 w 4074862"/>
                <a:gd name="connsiteY2" fmla="*/ 257442 h 257442"/>
                <a:gd name="connsiteX3" fmla="*/ 54721 w 4074862"/>
                <a:gd name="connsiteY3" fmla="*/ 0 h 257442"/>
                <a:gd name="connsiteX0" fmla="*/ 4074862 w 4074862"/>
                <a:gd name="connsiteY0" fmla="*/ 0 h 257442"/>
                <a:gd name="connsiteX1" fmla="*/ 4020141 w 4074862"/>
                <a:gd name="connsiteY1" fmla="*/ 257442 h 257442"/>
                <a:gd name="connsiteX2" fmla="*/ 0 w 4074862"/>
                <a:gd name="connsiteY2" fmla="*/ 257442 h 257442"/>
                <a:gd name="connsiteX3" fmla="*/ 54720 w 4074862"/>
                <a:gd name="connsiteY3" fmla="*/ 0 h 257442"/>
                <a:gd name="connsiteX0" fmla="*/ 4325377 w 4325377"/>
                <a:gd name="connsiteY0" fmla="*/ 0 h 257442"/>
                <a:gd name="connsiteX1" fmla="*/ 4020141 w 4325377"/>
                <a:gd name="connsiteY1" fmla="*/ 257442 h 257442"/>
                <a:gd name="connsiteX2" fmla="*/ 0 w 4325377"/>
                <a:gd name="connsiteY2" fmla="*/ 257442 h 257442"/>
                <a:gd name="connsiteX3" fmla="*/ 54720 w 4325377"/>
                <a:gd name="connsiteY3" fmla="*/ 0 h 257442"/>
                <a:gd name="connsiteX0" fmla="*/ 4325377 w 4325377"/>
                <a:gd name="connsiteY0" fmla="*/ 0 h 257442"/>
                <a:gd name="connsiteX1" fmla="*/ 4270656 w 4325377"/>
                <a:gd name="connsiteY1" fmla="*/ 257442 h 257442"/>
                <a:gd name="connsiteX2" fmla="*/ 0 w 4325377"/>
                <a:gd name="connsiteY2" fmla="*/ 257442 h 257442"/>
                <a:gd name="connsiteX3" fmla="*/ 54720 w 4325377"/>
                <a:gd name="connsiteY3" fmla="*/ 0 h 257442"/>
                <a:gd name="connsiteX0" fmla="*/ 4325378 w 4325378"/>
                <a:gd name="connsiteY0" fmla="*/ 0 h 257442"/>
                <a:gd name="connsiteX1" fmla="*/ 4270657 w 4325378"/>
                <a:gd name="connsiteY1" fmla="*/ 257442 h 257442"/>
                <a:gd name="connsiteX2" fmla="*/ 0 w 4325378"/>
                <a:gd name="connsiteY2" fmla="*/ 257442 h 257442"/>
                <a:gd name="connsiteX3" fmla="*/ 54721 w 4325378"/>
                <a:gd name="connsiteY3" fmla="*/ 0 h 257442"/>
                <a:gd name="connsiteX0" fmla="*/ 4325378 w 4325378"/>
                <a:gd name="connsiteY0" fmla="*/ 0 h 257442"/>
                <a:gd name="connsiteX1" fmla="*/ 4270657 w 4325378"/>
                <a:gd name="connsiteY1" fmla="*/ 257442 h 257442"/>
                <a:gd name="connsiteX2" fmla="*/ 0 w 4325378"/>
                <a:gd name="connsiteY2" fmla="*/ 257442 h 257442"/>
                <a:gd name="connsiteX3" fmla="*/ 54721 w 4325378"/>
                <a:gd name="connsiteY3" fmla="*/ 0 h 257442"/>
                <a:gd name="connsiteX0" fmla="*/ 942786 w 4270657"/>
                <a:gd name="connsiteY0" fmla="*/ 0 h 257442"/>
                <a:gd name="connsiteX1" fmla="*/ 4270657 w 4270657"/>
                <a:gd name="connsiteY1" fmla="*/ 257442 h 257442"/>
                <a:gd name="connsiteX2" fmla="*/ 0 w 4270657"/>
                <a:gd name="connsiteY2" fmla="*/ 257442 h 257442"/>
                <a:gd name="connsiteX3" fmla="*/ 54721 w 4270657"/>
                <a:gd name="connsiteY3" fmla="*/ 0 h 257442"/>
                <a:gd name="connsiteX0" fmla="*/ 942786 w 942786"/>
                <a:gd name="connsiteY0" fmla="*/ 0 h 257442"/>
                <a:gd name="connsiteX1" fmla="*/ 888066 w 942786"/>
                <a:gd name="connsiteY1" fmla="*/ 257442 h 257442"/>
                <a:gd name="connsiteX2" fmla="*/ 0 w 942786"/>
                <a:gd name="connsiteY2" fmla="*/ 257442 h 257442"/>
                <a:gd name="connsiteX3" fmla="*/ 54721 w 942786"/>
                <a:gd name="connsiteY3" fmla="*/ 0 h 257442"/>
                <a:gd name="connsiteX0" fmla="*/ 942785 w 942785"/>
                <a:gd name="connsiteY0" fmla="*/ 0 h 257442"/>
                <a:gd name="connsiteX1" fmla="*/ 888065 w 942785"/>
                <a:gd name="connsiteY1" fmla="*/ 257442 h 257442"/>
                <a:gd name="connsiteX2" fmla="*/ 0 w 942785"/>
                <a:gd name="connsiteY2" fmla="*/ 257442 h 257442"/>
                <a:gd name="connsiteX3" fmla="*/ 54720 w 942785"/>
                <a:gd name="connsiteY3" fmla="*/ 0 h 257442"/>
                <a:gd name="connsiteX0" fmla="*/ 942785 w 942785"/>
                <a:gd name="connsiteY0" fmla="*/ 0 h 257442"/>
                <a:gd name="connsiteX1" fmla="*/ 888065 w 942785"/>
                <a:gd name="connsiteY1" fmla="*/ 257442 h 257442"/>
                <a:gd name="connsiteX2" fmla="*/ 0 w 942785"/>
                <a:gd name="connsiteY2" fmla="*/ 257442 h 257442"/>
                <a:gd name="connsiteX3" fmla="*/ 54721 w 942785"/>
                <a:gd name="connsiteY3" fmla="*/ 0 h 257442"/>
                <a:gd name="connsiteX0" fmla="*/ 1111101 w 1111101"/>
                <a:gd name="connsiteY0" fmla="*/ 0 h 257442"/>
                <a:gd name="connsiteX1" fmla="*/ 888065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279416 w 1279416"/>
                <a:gd name="connsiteY0" fmla="*/ 0 h 257442"/>
                <a:gd name="connsiteX1" fmla="*/ 1056380 w 1279416"/>
                <a:gd name="connsiteY1" fmla="*/ 257442 h 257442"/>
                <a:gd name="connsiteX2" fmla="*/ 0 w 1279416"/>
                <a:gd name="connsiteY2" fmla="*/ 257442 h 257442"/>
                <a:gd name="connsiteX3" fmla="*/ 54721 w 1279416"/>
                <a:gd name="connsiteY3" fmla="*/ 0 h 257442"/>
                <a:gd name="connsiteX0" fmla="*/ 1279416 w 1279416"/>
                <a:gd name="connsiteY0" fmla="*/ 0 h 257442"/>
                <a:gd name="connsiteX1" fmla="*/ 1224694 w 1279416"/>
                <a:gd name="connsiteY1" fmla="*/ 257442 h 257442"/>
                <a:gd name="connsiteX2" fmla="*/ 0 w 1279416"/>
                <a:gd name="connsiteY2" fmla="*/ 257442 h 257442"/>
                <a:gd name="connsiteX3" fmla="*/ 54721 w 1279416"/>
                <a:gd name="connsiteY3" fmla="*/ 0 h 257442"/>
                <a:gd name="connsiteX0" fmla="*/ 1279417 w 1279417"/>
                <a:gd name="connsiteY0" fmla="*/ 0 h 257442"/>
                <a:gd name="connsiteX1" fmla="*/ 1224695 w 1279417"/>
                <a:gd name="connsiteY1" fmla="*/ 257442 h 257442"/>
                <a:gd name="connsiteX2" fmla="*/ 0 w 1279417"/>
                <a:gd name="connsiteY2" fmla="*/ 257442 h 257442"/>
                <a:gd name="connsiteX3" fmla="*/ 54722 w 1279417"/>
                <a:gd name="connsiteY3" fmla="*/ 0 h 257442"/>
                <a:gd name="connsiteX0" fmla="*/ 1279417 w 1279417"/>
                <a:gd name="connsiteY0" fmla="*/ 0 h 257442"/>
                <a:gd name="connsiteX1" fmla="*/ 1224695 w 1279417"/>
                <a:gd name="connsiteY1" fmla="*/ 257442 h 257442"/>
                <a:gd name="connsiteX2" fmla="*/ 0 w 1279417"/>
                <a:gd name="connsiteY2" fmla="*/ 257442 h 257442"/>
                <a:gd name="connsiteX3" fmla="*/ 54722 w 1279417"/>
                <a:gd name="connsiteY3" fmla="*/ 0 h 257442"/>
                <a:gd name="connsiteX0" fmla="*/ 1447733 w 1447733"/>
                <a:gd name="connsiteY0" fmla="*/ 0 h 257442"/>
                <a:gd name="connsiteX1" fmla="*/ 1224695 w 1447733"/>
                <a:gd name="connsiteY1" fmla="*/ 257442 h 257442"/>
                <a:gd name="connsiteX2" fmla="*/ 0 w 1447733"/>
                <a:gd name="connsiteY2" fmla="*/ 257442 h 257442"/>
                <a:gd name="connsiteX3" fmla="*/ 54722 w 1447733"/>
                <a:gd name="connsiteY3" fmla="*/ 0 h 257442"/>
                <a:gd name="connsiteX0" fmla="*/ 1447733 w 1447733"/>
                <a:gd name="connsiteY0" fmla="*/ 0 h 257442"/>
                <a:gd name="connsiteX1" fmla="*/ 1393012 w 1447733"/>
                <a:gd name="connsiteY1" fmla="*/ 257442 h 257442"/>
                <a:gd name="connsiteX2" fmla="*/ 0 w 1447733"/>
                <a:gd name="connsiteY2" fmla="*/ 257442 h 257442"/>
                <a:gd name="connsiteX3" fmla="*/ 54722 w 1447733"/>
                <a:gd name="connsiteY3" fmla="*/ 0 h 257442"/>
                <a:gd name="connsiteX0" fmla="*/ 1447732 w 1447732"/>
                <a:gd name="connsiteY0" fmla="*/ 0 h 257442"/>
                <a:gd name="connsiteX1" fmla="*/ 1393011 w 1447732"/>
                <a:gd name="connsiteY1" fmla="*/ 257442 h 257442"/>
                <a:gd name="connsiteX2" fmla="*/ 0 w 1447732"/>
                <a:gd name="connsiteY2" fmla="*/ 257442 h 257442"/>
                <a:gd name="connsiteX3" fmla="*/ 54721 w 1447732"/>
                <a:gd name="connsiteY3" fmla="*/ 0 h 257442"/>
                <a:gd name="connsiteX0" fmla="*/ 1447732 w 1447732"/>
                <a:gd name="connsiteY0" fmla="*/ 0 h 257442"/>
                <a:gd name="connsiteX1" fmla="*/ 1393011 w 1447732"/>
                <a:gd name="connsiteY1" fmla="*/ 257442 h 257442"/>
                <a:gd name="connsiteX2" fmla="*/ 0 w 1447732"/>
                <a:gd name="connsiteY2" fmla="*/ 257442 h 257442"/>
                <a:gd name="connsiteX3" fmla="*/ 54720 w 1447732"/>
                <a:gd name="connsiteY3" fmla="*/ 0 h 257442"/>
                <a:gd name="connsiteX0" fmla="*/ 1616046 w 1616046"/>
                <a:gd name="connsiteY0" fmla="*/ 0 h 257442"/>
                <a:gd name="connsiteX1" fmla="*/ 1393011 w 1616046"/>
                <a:gd name="connsiteY1" fmla="*/ 257442 h 257442"/>
                <a:gd name="connsiteX2" fmla="*/ 0 w 1616046"/>
                <a:gd name="connsiteY2" fmla="*/ 257442 h 257442"/>
                <a:gd name="connsiteX3" fmla="*/ 54720 w 1616046"/>
                <a:gd name="connsiteY3" fmla="*/ 0 h 257442"/>
                <a:gd name="connsiteX0" fmla="*/ 1616046 w 1616046"/>
                <a:gd name="connsiteY0" fmla="*/ 0 h 257442"/>
                <a:gd name="connsiteX1" fmla="*/ 1561325 w 1616046"/>
                <a:gd name="connsiteY1" fmla="*/ 257442 h 257442"/>
                <a:gd name="connsiteX2" fmla="*/ 0 w 1616046"/>
                <a:gd name="connsiteY2" fmla="*/ 257442 h 257442"/>
                <a:gd name="connsiteX3" fmla="*/ 54720 w 1616046"/>
                <a:gd name="connsiteY3" fmla="*/ 0 h 257442"/>
                <a:gd name="connsiteX0" fmla="*/ 1616047 w 1616047"/>
                <a:gd name="connsiteY0" fmla="*/ 0 h 257442"/>
                <a:gd name="connsiteX1" fmla="*/ 1561326 w 1616047"/>
                <a:gd name="connsiteY1" fmla="*/ 257442 h 257442"/>
                <a:gd name="connsiteX2" fmla="*/ 0 w 1616047"/>
                <a:gd name="connsiteY2" fmla="*/ 257442 h 257442"/>
                <a:gd name="connsiteX3" fmla="*/ 54721 w 1616047"/>
                <a:gd name="connsiteY3" fmla="*/ 0 h 257442"/>
                <a:gd name="connsiteX0" fmla="*/ 1616047 w 1616047"/>
                <a:gd name="connsiteY0" fmla="*/ 0 h 257442"/>
                <a:gd name="connsiteX1" fmla="*/ 1561326 w 1616047"/>
                <a:gd name="connsiteY1" fmla="*/ 257442 h 257442"/>
                <a:gd name="connsiteX2" fmla="*/ 0 w 1616047"/>
                <a:gd name="connsiteY2" fmla="*/ 257442 h 257442"/>
                <a:gd name="connsiteX3" fmla="*/ 54722 w 1616047"/>
                <a:gd name="connsiteY3" fmla="*/ 0 h 257442"/>
                <a:gd name="connsiteX0" fmla="*/ 1857909 w 1857909"/>
                <a:gd name="connsiteY0" fmla="*/ 0 h 257442"/>
                <a:gd name="connsiteX1" fmla="*/ 1561326 w 1857909"/>
                <a:gd name="connsiteY1" fmla="*/ 257442 h 257442"/>
                <a:gd name="connsiteX2" fmla="*/ 0 w 1857909"/>
                <a:gd name="connsiteY2" fmla="*/ 257442 h 257442"/>
                <a:gd name="connsiteX3" fmla="*/ 54722 w 1857909"/>
                <a:gd name="connsiteY3" fmla="*/ 0 h 257442"/>
                <a:gd name="connsiteX0" fmla="*/ 1857909 w 1857909"/>
                <a:gd name="connsiteY0" fmla="*/ 0 h 257442"/>
                <a:gd name="connsiteX1" fmla="*/ 1803188 w 1857909"/>
                <a:gd name="connsiteY1" fmla="*/ 257442 h 257442"/>
                <a:gd name="connsiteX2" fmla="*/ 0 w 1857909"/>
                <a:gd name="connsiteY2" fmla="*/ 257442 h 257442"/>
                <a:gd name="connsiteX3" fmla="*/ 54722 w 1857909"/>
                <a:gd name="connsiteY3" fmla="*/ 0 h 257442"/>
                <a:gd name="connsiteX0" fmla="*/ 1857908 w 1857908"/>
                <a:gd name="connsiteY0" fmla="*/ 0 h 257442"/>
                <a:gd name="connsiteX1" fmla="*/ 1803187 w 1857908"/>
                <a:gd name="connsiteY1" fmla="*/ 257442 h 257442"/>
                <a:gd name="connsiteX2" fmla="*/ 0 w 1857908"/>
                <a:gd name="connsiteY2" fmla="*/ 257442 h 257442"/>
                <a:gd name="connsiteX3" fmla="*/ 54721 w 1857908"/>
                <a:gd name="connsiteY3" fmla="*/ 0 h 257442"/>
                <a:gd name="connsiteX0" fmla="*/ 1857908 w 1857908"/>
                <a:gd name="connsiteY0" fmla="*/ 0 h 257442"/>
                <a:gd name="connsiteX1" fmla="*/ 1803187 w 1857908"/>
                <a:gd name="connsiteY1" fmla="*/ 257442 h 257442"/>
                <a:gd name="connsiteX2" fmla="*/ 0 w 1857908"/>
                <a:gd name="connsiteY2" fmla="*/ 257442 h 257442"/>
                <a:gd name="connsiteX3" fmla="*/ 54720 w 1857908"/>
                <a:gd name="connsiteY3" fmla="*/ 0 h 257442"/>
                <a:gd name="connsiteX0" fmla="*/ 2035841 w 2035841"/>
                <a:gd name="connsiteY0" fmla="*/ 0 h 257442"/>
                <a:gd name="connsiteX1" fmla="*/ 1803187 w 2035841"/>
                <a:gd name="connsiteY1" fmla="*/ 257442 h 257442"/>
                <a:gd name="connsiteX2" fmla="*/ 0 w 2035841"/>
                <a:gd name="connsiteY2" fmla="*/ 257442 h 257442"/>
                <a:gd name="connsiteX3" fmla="*/ 54720 w 2035841"/>
                <a:gd name="connsiteY3" fmla="*/ 0 h 257442"/>
                <a:gd name="connsiteX0" fmla="*/ 2035841 w 2035841"/>
                <a:gd name="connsiteY0" fmla="*/ 0 h 257442"/>
                <a:gd name="connsiteX1" fmla="*/ 1981120 w 2035841"/>
                <a:gd name="connsiteY1" fmla="*/ 257442 h 257442"/>
                <a:gd name="connsiteX2" fmla="*/ 0 w 2035841"/>
                <a:gd name="connsiteY2" fmla="*/ 257442 h 257442"/>
                <a:gd name="connsiteX3" fmla="*/ 54720 w 2035841"/>
                <a:gd name="connsiteY3" fmla="*/ 0 h 257442"/>
                <a:gd name="connsiteX0" fmla="*/ 2035842 w 2035842"/>
                <a:gd name="connsiteY0" fmla="*/ 0 h 257442"/>
                <a:gd name="connsiteX1" fmla="*/ 1981121 w 2035842"/>
                <a:gd name="connsiteY1" fmla="*/ 257442 h 257442"/>
                <a:gd name="connsiteX2" fmla="*/ 0 w 2035842"/>
                <a:gd name="connsiteY2" fmla="*/ 257442 h 257442"/>
                <a:gd name="connsiteX3" fmla="*/ 54721 w 2035842"/>
                <a:gd name="connsiteY3" fmla="*/ 0 h 257442"/>
                <a:gd name="connsiteX0" fmla="*/ 2035842 w 2035842"/>
                <a:gd name="connsiteY0" fmla="*/ 0 h 257442"/>
                <a:gd name="connsiteX1" fmla="*/ 1981121 w 2035842"/>
                <a:gd name="connsiteY1" fmla="*/ 257442 h 257442"/>
                <a:gd name="connsiteX2" fmla="*/ 0 w 2035842"/>
                <a:gd name="connsiteY2" fmla="*/ 257442 h 257442"/>
                <a:gd name="connsiteX3" fmla="*/ 54721 w 2035842"/>
                <a:gd name="connsiteY3" fmla="*/ 0 h 257442"/>
                <a:gd name="connsiteX0" fmla="*/ 2204157 w 2204157"/>
                <a:gd name="connsiteY0" fmla="*/ 0 h 257442"/>
                <a:gd name="connsiteX1" fmla="*/ 1981121 w 2204157"/>
                <a:gd name="connsiteY1" fmla="*/ 257442 h 257442"/>
                <a:gd name="connsiteX2" fmla="*/ 0 w 2204157"/>
                <a:gd name="connsiteY2" fmla="*/ 257442 h 257442"/>
                <a:gd name="connsiteX3" fmla="*/ 54721 w 2204157"/>
                <a:gd name="connsiteY3" fmla="*/ 0 h 257442"/>
                <a:gd name="connsiteX0" fmla="*/ 2204157 w 2204157"/>
                <a:gd name="connsiteY0" fmla="*/ 0 h 257442"/>
                <a:gd name="connsiteX1" fmla="*/ 2149436 w 2204157"/>
                <a:gd name="connsiteY1" fmla="*/ 257442 h 257442"/>
                <a:gd name="connsiteX2" fmla="*/ 0 w 2204157"/>
                <a:gd name="connsiteY2" fmla="*/ 257442 h 257442"/>
                <a:gd name="connsiteX3" fmla="*/ 54721 w 2204157"/>
                <a:gd name="connsiteY3" fmla="*/ 0 h 257442"/>
                <a:gd name="connsiteX0" fmla="*/ 2204157 w 2204157"/>
                <a:gd name="connsiteY0" fmla="*/ 0 h 257442"/>
                <a:gd name="connsiteX1" fmla="*/ 2149436 w 2204157"/>
                <a:gd name="connsiteY1" fmla="*/ 257442 h 257442"/>
                <a:gd name="connsiteX2" fmla="*/ 0 w 2204157"/>
                <a:gd name="connsiteY2" fmla="*/ 257442 h 257442"/>
                <a:gd name="connsiteX3" fmla="*/ 54721 w 2204157"/>
                <a:gd name="connsiteY3" fmla="*/ 0 h 257442"/>
                <a:gd name="connsiteX0" fmla="*/ 2204157 w 2204157"/>
                <a:gd name="connsiteY0" fmla="*/ 0 h 257442"/>
                <a:gd name="connsiteX1" fmla="*/ 2149436 w 2204157"/>
                <a:gd name="connsiteY1" fmla="*/ 257442 h 257442"/>
                <a:gd name="connsiteX2" fmla="*/ 0 w 2204157"/>
                <a:gd name="connsiteY2" fmla="*/ 257442 h 257442"/>
                <a:gd name="connsiteX3" fmla="*/ 54721 w 2204157"/>
                <a:gd name="connsiteY3" fmla="*/ 0 h 257442"/>
                <a:gd name="connsiteX0" fmla="*/ 934771 w 2149436"/>
                <a:gd name="connsiteY0" fmla="*/ 0 h 257442"/>
                <a:gd name="connsiteX1" fmla="*/ 2149436 w 2149436"/>
                <a:gd name="connsiteY1" fmla="*/ 257442 h 257442"/>
                <a:gd name="connsiteX2" fmla="*/ 0 w 2149436"/>
                <a:gd name="connsiteY2" fmla="*/ 257442 h 257442"/>
                <a:gd name="connsiteX3" fmla="*/ 54721 w 2149436"/>
                <a:gd name="connsiteY3" fmla="*/ 0 h 257442"/>
                <a:gd name="connsiteX0" fmla="*/ 934771 w 934771"/>
                <a:gd name="connsiteY0" fmla="*/ 0 h 257442"/>
                <a:gd name="connsiteX1" fmla="*/ 880050 w 934771"/>
                <a:gd name="connsiteY1" fmla="*/ 257442 h 257442"/>
                <a:gd name="connsiteX2" fmla="*/ 0 w 934771"/>
                <a:gd name="connsiteY2" fmla="*/ 257442 h 257442"/>
                <a:gd name="connsiteX3" fmla="*/ 54721 w 934771"/>
                <a:gd name="connsiteY3" fmla="*/ 0 h 257442"/>
                <a:gd name="connsiteX0" fmla="*/ 934770 w 934770"/>
                <a:gd name="connsiteY0" fmla="*/ 0 h 257442"/>
                <a:gd name="connsiteX1" fmla="*/ 880049 w 934770"/>
                <a:gd name="connsiteY1" fmla="*/ 257442 h 257442"/>
                <a:gd name="connsiteX2" fmla="*/ 0 w 934770"/>
                <a:gd name="connsiteY2" fmla="*/ 257442 h 257442"/>
                <a:gd name="connsiteX3" fmla="*/ 54720 w 934770"/>
                <a:gd name="connsiteY3" fmla="*/ 0 h 257442"/>
                <a:gd name="connsiteX0" fmla="*/ 934770 w 934770"/>
                <a:gd name="connsiteY0" fmla="*/ 0 h 257442"/>
                <a:gd name="connsiteX1" fmla="*/ 880049 w 934770"/>
                <a:gd name="connsiteY1" fmla="*/ 257442 h 257442"/>
                <a:gd name="connsiteX2" fmla="*/ 0 w 934770"/>
                <a:gd name="connsiteY2" fmla="*/ 257442 h 257442"/>
                <a:gd name="connsiteX3" fmla="*/ 54720 w 934770"/>
                <a:gd name="connsiteY3" fmla="*/ 0 h 257442"/>
                <a:gd name="connsiteX0" fmla="*/ 1243957 w 1243957"/>
                <a:gd name="connsiteY0" fmla="*/ 0 h 257442"/>
                <a:gd name="connsiteX1" fmla="*/ 880049 w 1243957"/>
                <a:gd name="connsiteY1" fmla="*/ 257442 h 257442"/>
                <a:gd name="connsiteX2" fmla="*/ 0 w 1243957"/>
                <a:gd name="connsiteY2" fmla="*/ 257442 h 257442"/>
                <a:gd name="connsiteX3" fmla="*/ 54720 w 1243957"/>
                <a:gd name="connsiteY3" fmla="*/ 0 h 257442"/>
                <a:gd name="connsiteX0" fmla="*/ 1243957 w 1243957"/>
                <a:gd name="connsiteY0" fmla="*/ 0 h 257442"/>
                <a:gd name="connsiteX1" fmla="*/ 1189236 w 1243957"/>
                <a:gd name="connsiteY1" fmla="*/ 257442 h 257442"/>
                <a:gd name="connsiteX2" fmla="*/ 0 w 1243957"/>
                <a:gd name="connsiteY2" fmla="*/ 257442 h 257442"/>
                <a:gd name="connsiteX3" fmla="*/ 54720 w 1243957"/>
                <a:gd name="connsiteY3" fmla="*/ 0 h 257442"/>
                <a:gd name="connsiteX0" fmla="*/ 1243958 w 1243958"/>
                <a:gd name="connsiteY0" fmla="*/ 0 h 257442"/>
                <a:gd name="connsiteX1" fmla="*/ 1189237 w 1243958"/>
                <a:gd name="connsiteY1" fmla="*/ 257442 h 257442"/>
                <a:gd name="connsiteX2" fmla="*/ 0 w 1243958"/>
                <a:gd name="connsiteY2" fmla="*/ 257442 h 257442"/>
                <a:gd name="connsiteX3" fmla="*/ 54721 w 1243958"/>
                <a:gd name="connsiteY3" fmla="*/ 0 h 257442"/>
                <a:gd name="connsiteX0" fmla="*/ 1243958 w 1243958"/>
                <a:gd name="connsiteY0" fmla="*/ 0 h 257442"/>
                <a:gd name="connsiteX1" fmla="*/ 1189237 w 1243958"/>
                <a:gd name="connsiteY1" fmla="*/ 257442 h 257442"/>
                <a:gd name="connsiteX2" fmla="*/ 0 w 1243958"/>
                <a:gd name="connsiteY2" fmla="*/ 257442 h 257442"/>
                <a:gd name="connsiteX3" fmla="*/ 54721 w 1243958"/>
                <a:gd name="connsiteY3" fmla="*/ 0 h 257442"/>
                <a:gd name="connsiteX0" fmla="*/ 1404259 w 1404259"/>
                <a:gd name="connsiteY0" fmla="*/ 0 h 257442"/>
                <a:gd name="connsiteX1" fmla="*/ 1189237 w 1404259"/>
                <a:gd name="connsiteY1" fmla="*/ 257442 h 257442"/>
                <a:gd name="connsiteX2" fmla="*/ 0 w 1404259"/>
                <a:gd name="connsiteY2" fmla="*/ 257442 h 257442"/>
                <a:gd name="connsiteX3" fmla="*/ 54721 w 1404259"/>
                <a:gd name="connsiteY3" fmla="*/ 0 h 257442"/>
                <a:gd name="connsiteX0" fmla="*/ 1404259 w 1404259"/>
                <a:gd name="connsiteY0" fmla="*/ 0 h 257442"/>
                <a:gd name="connsiteX1" fmla="*/ 1349538 w 1404259"/>
                <a:gd name="connsiteY1" fmla="*/ 257442 h 257442"/>
                <a:gd name="connsiteX2" fmla="*/ 0 w 1404259"/>
                <a:gd name="connsiteY2" fmla="*/ 257442 h 257442"/>
                <a:gd name="connsiteX3" fmla="*/ 54721 w 1404259"/>
                <a:gd name="connsiteY3" fmla="*/ 0 h 257442"/>
                <a:gd name="connsiteX0" fmla="*/ 1404259 w 1404259"/>
                <a:gd name="connsiteY0" fmla="*/ 0 h 257442"/>
                <a:gd name="connsiteX1" fmla="*/ 1349538 w 1404259"/>
                <a:gd name="connsiteY1" fmla="*/ 257442 h 257442"/>
                <a:gd name="connsiteX2" fmla="*/ 0 w 1404259"/>
                <a:gd name="connsiteY2" fmla="*/ 257442 h 257442"/>
                <a:gd name="connsiteX3" fmla="*/ 54721 w 1404259"/>
                <a:gd name="connsiteY3" fmla="*/ 0 h 257442"/>
                <a:gd name="connsiteX0" fmla="*/ 1404259 w 1404259"/>
                <a:gd name="connsiteY0" fmla="*/ 0 h 257442"/>
                <a:gd name="connsiteX1" fmla="*/ 1349538 w 1404259"/>
                <a:gd name="connsiteY1" fmla="*/ 257442 h 257442"/>
                <a:gd name="connsiteX2" fmla="*/ 0 w 1404259"/>
                <a:gd name="connsiteY2" fmla="*/ 257442 h 257442"/>
                <a:gd name="connsiteX3" fmla="*/ 54721 w 1404259"/>
                <a:gd name="connsiteY3" fmla="*/ 0 h 257442"/>
                <a:gd name="connsiteX0" fmla="*/ 1572573 w 1572573"/>
                <a:gd name="connsiteY0" fmla="*/ 0 h 257442"/>
                <a:gd name="connsiteX1" fmla="*/ 1349538 w 1572573"/>
                <a:gd name="connsiteY1" fmla="*/ 257442 h 257442"/>
                <a:gd name="connsiteX2" fmla="*/ 0 w 1572573"/>
                <a:gd name="connsiteY2" fmla="*/ 257442 h 257442"/>
                <a:gd name="connsiteX3" fmla="*/ 54721 w 1572573"/>
                <a:gd name="connsiteY3" fmla="*/ 0 h 257442"/>
                <a:gd name="connsiteX0" fmla="*/ 1572573 w 1572573"/>
                <a:gd name="connsiteY0" fmla="*/ 0 h 257442"/>
                <a:gd name="connsiteX1" fmla="*/ 1517852 w 1572573"/>
                <a:gd name="connsiteY1" fmla="*/ 257442 h 257442"/>
                <a:gd name="connsiteX2" fmla="*/ 0 w 1572573"/>
                <a:gd name="connsiteY2" fmla="*/ 257442 h 257442"/>
                <a:gd name="connsiteX3" fmla="*/ 54721 w 1572573"/>
                <a:gd name="connsiteY3" fmla="*/ 0 h 257442"/>
                <a:gd name="connsiteX0" fmla="*/ 1572573 w 1572573"/>
                <a:gd name="connsiteY0" fmla="*/ 0 h 257442"/>
                <a:gd name="connsiteX1" fmla="*/ 1517852 w 1572573"/>
                <a:gd name="connsiteY1" fmla="*/ 257442 h 257442"/>
                <a:gd name="connsiteX2" fmla="*/ 0 w 1572573"/>
                <a:gd name="connsiteY2" fmla="*/ 257442 h 257442"/>
                <a:gd name="connsiteX3" fmla="*/ 54721 w 1572573"/>
                <a:gd name="connsiteY3" fmla="*/ 0 h 257442"/>
                <a:gd name="connsiteX0" fmla="*/ 1572573 w 1572573"/>
                <a:gd name="connsiteY0" fmla="*/ 0 h 257442"/>
                <a:gd name="connsiteX1" fmla="*/ 1517852 w 1572573"/>
                <a:gd name="connsiteY1" fmla="*/ 257442 h 257442"/>
                <a:gd name="connsiteX2" fmla="*/ 0 w 1572573"/>
                <a:gd name="connsiteY2" fmla="*/ 257442 h 257442"/>
                <a:gd name="connsiteX3" fmla="*/ 54721 w 1572573"/>
                <a:gd name="connsiteY3" fmla="*/ 0 h 257442"/>
                <a:gd name="connsiteX0" fmla="*/ 942786 w 1517852"/>
                <a:gd name="connsiteY0" fmla="*/ 0 h 257442"/>
                <a:gd name="connsiteX1" fmla="*/ 1517852 w 1517852"/>
                <a:gd name="connsiteY1" fmla="*/ 257442 h 257442"/>
                <a:gd name="connsiteX2" fmla="*/ 0 w 1517852"/>
                <a:gd name="connsiteY2" fmla="*/ 257442 h 257442"/>
                <a:gd name="connsiteX3" fmla="*/ 54721 w 1517852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0 w 942786"/>
                <a:gd name="connsiteY2" fmla="*/ 257442 h 257442"/>
                <a:gd name="connsiteX3" fmla="*/ 54721 w 942786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0 w 942786"/>
                <a:gd name="connsiteY2" fmla="*/ 257442 h 257442"/>
                <a:gd name="connsiteX3" fmla="*/ 54721 w 942786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0 w 942786"/>
                <a:gd name="connsiteY2" fmla="*/ 257442 h 257442"/>
                <a:gd name="connsiteX3" fmla="*/ 54721 w 942786"/>
                <a:gd name="connsiteY3" fmla="*/ 0 h 257442"/>
                <a:gd name="connsiteX0" fmla="*/ 1111101 w 1111101"/>
                <a:gd name="connsiteY0" fmla="*/ 0 h 257442"/>
                <a:gd name="connsiteX1" fmla="*/ 888065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279416 w 1279416"/>
                <a:gd name="connsiteY0" fmla="*/ 0 h 257442"/>
                <a:gd name="connsiteX1" fmla="*/ 1056380 w 1279416"/>
                <a:gd name="connsiteY1" fmla="*/ 257442 h 257442"/>
                <a:gd name="connsiteX2" fmla="*/ 0 w 1279416"/>
                <a:gd name="connsiteY2" fmla="*/ 257442 h 257442"/>
                <a:gd name="connsiteX3" fmla="*/ 54721 w 1279416"/>
                <a:gd name="connsiteY3" fmla="*/ 0 h 257442"/>
                <a:gd name="connsiteX0" fmla="*/ 1279416 w 1279416"/>
                <a:gd name="connsiteY0" fmla="*/ 0 h 257442"/>
                <a:gd name="connsiteX1" fmla="*/ 1224694 w 1279416"/>
                <a:gd name="connsiteY1" fmla="*/ 257442 h 257442"/>
                <a:gd name="connsiteX2" fmla="*/ 0 w 1279416"/>
                <a:gd name="connsiteY2" fmla="*/ 257442 h 257442"/>
                <a:gd name="connsiteX3" fmla="*/ 54721 w 1279416"/>
                <a:gd name="connsiteY3" fmla="*/ 0 h 257442"/>
                <a:gd name="connsiteX0" fmla="*/ 1279417 w 1279417"/>
                <a:gd name="connsiteY0" fmla="*/ 0 h 257442"/>
                <a:gd name="connsiteX1" fmla="*/ 1224695 w 1279417"/>
                <a:gd name="connsiteY1" fmla="*/ 257442 h 257442"/>
                <a:gd name="connsiteX2" fmla="*/ 0 w 1279417"/>
                <a:gd name="connsiteY2" fmla="*/ 257442 h 257442"/>
                <a:gd name="connsiteX3" fmla="*/ 54722 w 1279417"/>
                <a:gd name="connsiteY3" fmla="*/ 0 h 257442"/>
                <a:gd name="connsiteX0" fmla="*/ 1279417 w 1279417"/>
                <a:gd name="connsiteY0" fmla="*/ 0 h 257442"/>
                <a:gd name="connsiteX1" fmla="*/ 1224695 w 1279417"/>
                <a:gd name="connsiteY1" fmla="*/ 257442 h 257442"/>
                <a:gd name="connsiteX2" fmla="*/ 0 w 1279417"/>
                <a:gd name="connsiteY2" fmla="*/ 257442 h 257442"/>
                <a:gd name="connsiteX3" fmla="*/ 54722 w 1279417"/>
                <a:gd name="connsiteY3" fmla="*/ 0 h 257442"/>
                <a:gd name="connsiteX0" fmla="*/ 1447733 w 1447733"/>
                <a:gd name="connsiteY0" fmla="*/ 0 h 257442"/>
                <a:gd name="connsiteX1" fmla="*/ 1224695 w 1447733"/>
                <a:gd name="connsiteY1" fmla="*/ 257442 h 257442"/>
                <a:gd name="connsiteX2" fmla="*/ 0 w 1447733"/>
                <a:gd name="connsiteY2" fmla="*/ 257442 h 257442"/>
                <a:gd name="connsiteX3" fmla="*/ 54722 w 1447733"/>
                <a:gd name="connsiteY3" fmla="*/ 0 h 257442"/>
                <a:gd name="connsiteX0" fmla="*/ 1447733 w 1447733"/>
                <a:gd name="connsiteY0" fmla="*/ 0 h 257442"/>
                <a:gd name="connsiteX1" fmla="*/ 1393012 w 1447733"/>
                <a:gd name="connsiteY1" fmla="*/ 257442 h 257442"/>
                <a:gd name="connsiteX2" fmla="*/ 0 w 1447733"/>
                <a:gd name="connsiteY2" fmla="*/ 257442 h 257442"/>
                <a:gd name="connsiteX3" fmla="*/ 54722 w 1447733"/>
                <a:gd name="connsiteY3" fmla="*/ 0 h 257442"/>
                <a:gd name="connsiteX0" fmla="*/ 1447732 w 1447732"/>
                <a:gd name="connsiteY0" fmla="*/ 0 h 257442"/>
                <a:gd name="connsiteX1" fmla="*/ 1393011 w 1447732"/>
                <a:gd name="connsiteY1" fmla="*/ 257442 h 257442"/>
                <a:gd name="connsiteX2" fmla="*/ 0 w 1447732"/>
                <a:gd name="connsiteY2" fmla="*/ 257442 h 257442"/>
                <a:gd name="connsiteX3" fmla="*/ 54721 w 1447732"/>
                <a:gd name="connsiteY3" fmla="*/ 0 h 257442"/>
                <a:gd name="connsiteX0" fmla="*/ 1447732 w 1447732"/>
                <a:gd name="connsiteY0" fmla="*/ 0 h 257442"/>
                <a:gd name="connsiteX1" fmla="*/ 1393011 w 1447732"/>
                <a:gd name="connsiteY1" fmla="*/ 257442 h 257442"/>
                <a:gd name="connsiteX2" fmla="*/ 0 w 1447732"/>
                <a:gd name="connsiteY2" fmla="*/ 257442 h 257442"/>
                <a:gd name="connsiteX3" fmla="*/ 54720 w 1447732"/>
                <a:gd name="connsiteY3" fmla="*/ 0 h 257442"/>
                <a:gd name="connsiteX0" fmla="*/ 1756918 w 1756918"/>
                <a:gd name="connsiteY0" fmla="*/ 0 h 257442"/>
                <a:gd name="connsiteX1" fmla="*/ 1393011 w 1756918"/>
                <a:gd name="connsiteY1" fmla="*/ 257442 h 257442"/>
                <a:gd name="connsiteX2" fmla="*/ 0 w 1756918"/>
                <a:gd name="connsiteY2" fmla="*/ 257442 h 257442"/>
                <a:gd name="connsiteX3" fmla="*/ 54720 w 1756918"/>
                <a:gd name="connsiteY3" fmla="*/ 0 h 257442"/>
                <a:gd name="connsiteX0" fmla="*/ 1756918 w 1756918"/>
                <a:gd name="connsiteY0" fmla="*/ 0 h 257442"/>
                <a:gd name="connsiteX1" fmla="*/ 1702197 w 1756918"/>
                <a:gd name="connsiteY1" fmla="*/ 257442 h 257442"/>
                <a:gd name="connsiteX2" fmla="*/ 0 w 1756918"/>
                <a:gd name="connsiteY2" fmla="*/ 257442 h 257442"/>
                <a:gd name="connsiteX3" fmla="*/ 54720 w 1756918"/>
                <a:gd name="connsiteY3" fmla="*/ 0 h 257442"/>
                <a:gd name="connsiteX0" fmla="*/ 1756919 w 1756919"/>
                <a:gd name="connsiteY0" fmla="*/ 0 h 257442"/>
                <a:gd name="connsiteX1" fmla="*/ 1702198 w 1756919"/>
                <a:gd name="connsiteY1" fmla="*/ 257442 h 257442"/>
                <a:gd name="connsiteX2" fmla="*/ 0 w 1756919"/>
                <a:gd name="connsiteY2" fmla="*/ 257442 h 257442"/>
                <a:gd name="connsiteX3" fmla="*/ 54721 w 1756919"/>
                <a:gd name="connsiteY3" fmla="*/ 0 h 257442"/>
                <a:gd name="connsiteX0" fmla="*/ 1756919 w 1756919"/>
                <a:gd name="connsiteY0" fmla="*/ 0 h 257442"/>
                <a:gd name="connsiteX1" fmla="*/ 1702198 w 1756919"/>
                <a:gd name="connsiteY1" fmla="*/ 257442 h 257442"/>
                <a:gd name="connsiteX2" fmla="*/ 0 w 1756919"/>
                <a:gd name="connsiteY2" fmla="*/ 257442 h 257442"/>
                <a:gd name="connsiteX3" fmla="*/ 54722 w 1756919"/>
                <a:gd name="connsiteY3" fmla="*/ 0 h 257442"/>
                <a:gd name="connsiteX0" fmla="*/ 2035843 w 2035843"/>
                <a:gd name="connsiteY0" fmla="*/ 0 h 257442"/>
                <a:gd name="connsiteX1" fmla="*/ 1702198 w 2035843"/>
                <a:gd name="connsiteY1" fmla="*/ 257442 h 257442"/>
                <a:gd name="connsiteX2" fmla="*/ 0 w 2035843"/>
                <a:gd name="connsiteY2" fmla="*/ 257442 h 257442"/>
                <a:gd name="connsiteX3" fmla="*/ 54722 w 2035843"/>
                <a:gd name="connsiteY3" fmla="*/ 0 h 257442"/>
                <a:gd name="connsiteX0" fmla="*/ 2035843 w 2035843"/>
                <a:gd name="connsiteY0" fmla="*/ 0 h 257442"/>
                <a:gd name="connsiteX1" fmla="*/ 1981122 w 2035843"/>
                <a:gd name="connsiteY1" fmla="*/ 257442 h 257442"/>
                <a:gd name="connsiteX2" fmla="*/ 0 w 2035843"/>
                <a:gd name="connsiteY2" fmla="*/ 257442 h 257442"/>
                <a:gd name="connsiteX3" fmla="*/ 54722 w 2035843"/>
                <a:gd name="connsiteY3" fmla="*/ 0 h 257442"/>
                <a:gd name="connsiteX0" fmla="*/ 2035842 w 2035842"/>
                <a:gd name="connsiteY0" fmla="*/ 0 h 257442"/>
                <a:gd name="connsiteX1" fmla="*/ 1981121 w 2035842"/>
                <a:gd name="connsiteY1" fmla="*/ 257442 h 257442"/>
                <a:gd name="connsiteX2" fmla="*/ 0 w 2035842"/>
                <a:gd name="connsiteY2" fmla="*/ 257442 h 257442"/>
                <a:gd name="connsiteX3" fmla="*/ 54721 w 2035842"/>
                <a:gd name="connsiteY3" fmla="*/ 0 h 257442"/>
                <a:gd name="connsiteX0" fmla="*/ 2035842 w 2035842"/>
                <a:gd name="connsiteY0" fmla="*/ 0 h 257442"/>
                <a:gd name="connsiteX1" fmla="*/ 1981121 w 2035842"/>
                <a:gd name="connsiteY1" fmla="*/ 257442 h 257442"/>
                <a:gd name="connsiteX2" fmla="*/ 0 w 2035842"/>
                <a:gd name="connsiteY2" fmla="*/ 257442 h 257442"/>
                <a:gd name="connsiteX3" fmla="*/ 54720 w 2035842"/>
                <a:gd name="connsiteY3" fmla="*/ 0 h 257442"/>
                <a:gd name="connsiteX0" fmla="*/ 2204156 w 2204156"/>
                <a:gd name="connsiteY0" fmla="*/ 0 h 257442"/>
                <a:gd name="connsiteX1" fmla="*/ 1981121 w 2204156"/>
                <a:gd name="connsiteY1" fmla="*/ 257442 h 257442"/>
                <a:gd name="connsiteX2" fmla="*/ 0 w 2204156"/>
                <a:gd name="connsiteY2" fmla="*/ 257442 h 257442"/>
                <a:gd name="connsiteX3" fmla="*/ 54720 w 2204156"/>
                <a:gd name="connsiteY3" fmla="*/ 0 h 257442"/>
                <a:gd name="connsiteX0" fmla="*/ 2204156 w 2204156"/>
                <a:gd name="connsiteY0" fmla="*/ 0 h 257442"/>
                <a:gd name="connsiteX1" fmla="*/ 2149435 w 2204156"/>
                <a:gd name="connsiteY1" fmla="*/ 257442 h 257442"/>
                <a:gd name="connsiteX2" fmla="*/ 0 w 2204156"/>
                <a:gd name="connsiteY2" fmla="*/ 257442 h 257442"/>
                <a:gd name="connsiteX3" fmla="*/ 54720 w 2204156"/>
                <a:gd name="connsiteY3" fmla="*/ 0 h 257442"/>
                <a:gd name="connsiteX0" fmla="*/ 2204157 w 2204157"/>
                <a:gd name="connsiteY0" fmla="*/ 0 h 257442"/>
                <a:gd name="connsiteX1" fmla="*/ 2149436 w 2204157"/>
                <a:gd name="connsiteY1" fmla="*/ 257442 h 257442"/>
                <a:gd name="connsiteX2" fmla="*/ 0 w 2204157"/>
                <a:gd name="connsiteY2" fmla="*/ 257442 h 257442"/>
                <a:gd name="connsiteX3" fmla="*/ 54721 w 2204157"/>
                <a:gd name="connsiteY3" fmla="*/ 0 h 257442"/>
                <a:gd name="connsiteX0" fmla="*/ 2204157 w 2204157"/>
                <a:gd name="connsiteY0" fmla="*/ 0 h 257442"/>
                <a:gd name="connsiteX1" fmla="*/ 2149436 w 2204157"/>
                <a:gd name="connsiteY1" fmla="*/ 257442 h 257442"/>
                <a:gd name="connsiteX2" fmla="*/ 0 w 2204157"/>
                <a:gd name="connsiteY2" fmla="*/ 257442 h 257442"/>
                <a:gd name="connsiteX3" fmla="*/ 54722 w 2204157"/>
                <a:gd name="connsiteY3" fmla="*/ 0 h 257442"/>
                <a:gd name="connsiteX0" fmla="*/ 2047256 w 2149436"/>
                <a:gd name="connsiteY0" fmla="*/ 0 h 257442"/>
                <a:gd name="connsiteX1" fmla="*/ 2149436 w 2149436"/>
                <a:gd name="connsiteY1" fmla="*/ 257442 h 257442"/>
                <a:gd name="connsiteX2" fmla="*/ 0 w 2149436"/>
                <a:gd name="connsiteY2" fmla="*/ 257442 h 257442"/>
                <a:gd name="connsiteX3" fmla="*/ 54722 w 2149436"/>
                <a:gd name="connsiteY3" fmla="*/ 0 h 257442"/>
                <a:gd name="connsiteX0" fmla="*/ 2047256 w 2047256"/>
                <a:gd name="connsiteY0" fmla="*/ 0 h 257442"/>
                <a:gd name="connsiteX1" fmla="*/ 1992535 w 2047256"/>
                <a:gd name="connsiteY1" fmla="*/ 257442 h 257442"/>
                <a:gd name="connsiteX2" fmla="*/ 0 w 2047256"/>
                <a:gd name="connsiteY2" fmla="*/ 257442 h 257442"/>
                <a:gd name="connsiteX3" fmla="*/ 54722 w 2047256"/>
                <a:gd name="connsiteY3" fmla="*/ 0 h 257442"/>
                <a:gd name="connsiteX0" fmla="*/ 2047255 w 2047255"/>
                <a:gd name="connsiteY0" fmla="*/ 0 h 257442"/>
                <a:gd name="connsiteX1" fmla="*/ 1992534 w 2047255"/>
                <a:gd name="connsiteY1" fmla="*/ 257442 h 257442"/>
                <a:gd name="connsiteX2" fmla="*/ 0 w 2047255"/>
                <a:gd name="connsiteY2" fmla="*/ 257442 h 257442"/>
                <a:gd name="connsiteX3" fmla="*/ 54721 w 2047255"/>
                <a:gd name="connsiteY3" fmla="*/ 0 h 257442"/>
                <a:gd name="connsiteX0" fmla="*/ 2047255 w 2047255"/>
                <a:gd name="connsiteY0" fmla="*/ 0 h 257442"/>
                <a:gd name="connsiteX1" fmla="*/ 1992534 w 2047255"/>
                <a:gd name="connsiteY1" fmla="*/ 257442 h 257442"/>
                <a:gd name="connsiteX2" fmla="*/ 0 w 2047255"/>
                <a:gd name="connsiteY2" fmla="*/ 257442 h 257442"/>
                <a:gd name="connsiteX3" fmla="*/ 54721 w 2047255"/>
                <a:gd name="connsiteY3" fmla="*/ 0 h 257442"/>
                <a:gd name="connsiteX0" fmla="*/ 1894969 w 1992534"/>
                <a:gd name="connsiteY0" fmla="*/ 0 h 257442"/>
                <a:gd name="connsiteX1" fmla="*/ 1992534 w 1992534"/>
                <a:gd name="connsiteY1" fmla="*/ 257442 h 257442"/>
                <a:gd name="connsiteX2" fmla="*/ 0 w 1992534"/>
                <a:gd name="connsiteY2" fmla="*/ 257442 h 257442"/>
                <a:gd name="connsiteX3" fmla="*/ 54721 w 1992534"/>
                <a:gd name="connsiteY3" fmla="*/ 0 h 257442"/>
                <a:gd name="connsiteX0" fmla="*/ 1894969 w 1894969"/>
                <a:gd name="connsiteY0" fmla="*/ 0 h 257442"/>
                <a:gd name="connsiteX1" fmla="*/ 1840248 w 1894969"/>
                <a:gd name="connsiteY1" fmla="*/ 257442 h 257442"/>
                <a:gd name="connsiteX2" fmla="*/ 0 w 1894969"/>
                <a:gd name="connsiteY2" fmla="*/ 257442 h 257442"/>
                <a:gd name="connsiteX3" fmla="*/ 54721 w 1894969"/>
                <a:gd name="connsiteY3" fmla="*/ 0 h 257442"/>
                <a:gd name="connsiteX0" fmla="*/ 1894968 w 1894968"/>
                <a:gd name="connsiteY0" fmla="*/ 0 h 257442"/>
                <a:gd name="connsiteX1" fmla="*/ 1840247 w 1894968"/>
                <a:gd name="connsiteY1" fmla="*/ 257442 h 257442"/>
                <a:gd name="connsiteX2" fmla="*/ 0 w 1894968"/>
                <a:gd name="connsiteY2" fmla="*/ 257442 h 257442"/>
                <a:gd name="connsiteX3" fmla="*/ 54720 w 1894968"/>
                <a:gd name="connsiteY3" fmla="*/ 0 h 257442"/>
                <a:gd name="connsiteX0" fmla="*/ 1894968 w 1894968"/>
                <a:gd name="connsiteY0" fmla="*/ 0 h 257442"/>
                <a:gd name="connsiteX1" fmla="*/ 1840247 w 1894968"/>
                <a:gd name="connsiteY1" fmla="*/ 257442 h 257442"/>
                <a:gd name="connsiteX2" fmla="*/ 0 w 1894968"/>
                <a:gd name="connsiteY2" fmla="*/ 257442 h 257442"/>
                <a:gd name="connsiteX3" fmla="*/ 54720 w 1894968"/>
                <a:gd name="connsiteY3" fmla="*/ 0 h 257442"/>
                <a:gd name="connsiteX0" fmla="*/ 2063284 w 2063284"/>
                <a:gd name="connsiteY0" fmla="*/ 0 h 257442"/>
                <a:gd name="connsiteX1" fmla="*/ 1840247 w 2063284"/>
                <a:gd name="connsiteY1" fmla="*/ 257442 h 257442"/>
                <a:gd name="connsiteX2" fmla="*/ 0 w 2063284"/>
                <a:gd name="connsiteY2" fmla="*/ 257442 h 257442"/>
                <a:gd name="connsiteX3" fmla="*/ 54720 w 2063284"/>
                <a:gd name="connsiteY3" fmla="*/ 0 h 257442"/>
                <a:gd name="connsiteX0" fmla="*/ 2063284 w 2063284"/>
                <a:gd name="connsiteY0" fmla="*/ 0 h 257442"/>
                <a:gd name="connsiteX1" fmla="*/ 2008563 w 2063284"/>
                <a:gd name="connsiteY1" fmla="*/ 257442 h 257442"/>
                <a:gd name="connsiteX2" fmla="*/ 0 w 2063284"/>
                <a:gd name="connsiteY2" fmla="*/ 257442 h 257442"/>
                <a:gd name="connsiteX3" fmla="*/ 54720 w 2063284"/>
                <a:gd name="connsiteY3" fmla="*/ 0 h 257442"/>
                <a:gd name="connsiteX0" fmla="*/ 2063285 w 2063285"/>
                <a:gd name="connsiteY0" fmla="*/ 0 h 257442"/>
                <a:gd name="connsiteX1" fmla="*/ 2008564 w 2063285"/>
                <a:gd name="connsiteY1" fmla="*/ 257442 h 257442"/>
                <a:gd name="connsiteX2" fmla="*/ 0 w 2063285"/>
                <a:gd name="connsiteY2" fmla="*/ 257442 h 257442"/>
                <a:gd name="connsiteX3" fmla="*/ 54721 w 2063285"/>
                <a:gd name="connsiteY3" fmla="*/ 0 h 257442"/>
                <a:gd name="connsiteX0" fmla="*/ 2063285 w 2063285"/>
                <a:gd name="connsiteY0" fmla="*/ 0 h 257442"/>
                <a:gd name="connsiteX1" fmla="*/ 2008564 w 2063285"/>
                <a:gd name="connsiteY1" fmla="*/ 257442 h 257442"/>
                <a:gd name="connsiteX2" fmla="*/ 0 w 2063285"/>
                <a:gd name="connsiteY2" fmla="*/ 257442 h 257442"/>
                <a:gd name="connsiteX3" fmla="*/ 54722 w 2063285"/>
                <a:gd name="connsiteY3" fmla="*/ 0 h 257442"/>
                <a:gd name="connsiteX0" fmla="*/ 2305147 w 2305147"/>
                <a:gd name="connsiteY0" fmla="*/ 0 h 257442"/>
                <a:gd name="connsiteX1" fmla="*/ 2008564 w 2305147"/>
                <a:gd name="connsiteY1" fmla="*/ 257442 h 257442"/>
                <a:gd name="connsiteX2" fmla="*/ 0 w 2305147"/>
                <a:gd name="connsiteY2" fmla="*/ 257442 h 257442"/>
                <a:gd name="connsiteX3" fmla="*/ 54722 w 2305147"/>
                <a:gd name="connsiteY3" fmla="*/ 0 h 257442"/>
                <a:gd name="connsiteX0" fmla="*/ 2305147 w 2305147"/>
                <a:gd name="connsiteY0" fmla="*/ 0 h 257442"/>
                <a:gd name="connsiteX1" fmla="*/ 2250426 w 2305147"/>
                <a:gd name="connsiteY1" fmla="*/ 257442 h 257442"/>
                <a:gd name="connsiteX2" fmla="*/ 0 w 2305147"/>
                <a:gd name="connsiteY2" fmla="*/ 257442 h 257442"/>
                <a:gd name="connsiteX3" fmla="*/ 54722 w 2305147"/>
                <a:gd name="connsiteY3" fmla="*/ 0 h 257442"/>
                <a:gd name="connsiteX0" fmla="*/ 2305146 w 2305146"/>
                <a:gd name="connsiteY0" fmla="*/ 0 h 257442"/>
                <a:gd name="connsiteX1" fmla="*/ 2250425 w 2305146"/>
                <a:gd name="connsiteY1" fmla="*/ 257442 h 257442"/>
                <a:gd name="connsiteX2" fmla="*/ 0 w 2305146"/>
                <a:gd name="connsiteY2" fmla="*/ 257442 h 257442"/>
                <a:gd name="connsiteX3" fmla="*/ 54721 w 2305146"/>
                <a:gd name="connsiteY3" fmla="*/ 0 h 257442"/>
                <a:gd name="connsiteX0" fmla="*/ 2305146 w 2305146"/>
                <a:gd name="connsiteY0" fmla="*/ 0 h 257442"/>
                <a:gd name="connsiteX1" fmla="*/ 2250425 w 2305146"/>
                <a:gd name="connsiteY1" fmla="*/ 257442 h 257442"/>
                <a:gd name="connsiteX2" fmla="*/ 0 w 2305146"/>
                <a:gd name="connsiteY2" fmla="*/ 257442 h 257442"/>
                <a:gd name="connsiteX3" fmla="*/ 54720 w 2305146"/>
                <a:gd name="connsiteY3" fmla="*/ 0 h 257442"/>
                <a:gd name="connsiteX0" fmla="*/ 2204156 w 2250425"/>
                <a:gd name="connsiteY0" fmla="*/ 0 h 257442"/>
                <a:gd name="connsiteX1" fmla="*/ 2250425 w 2250425"/>
                <a:gd name="connsiteY1" fmla="*/ 257442 h 257442"/>
                <a:gd name="connsiteX2" fmla="*/ 0 w 2250425"/>
                <a:gd name="connsiteY2" fmla="*/ 257442 h 257442"/>
                <a:gd name="connsiteX3" fmla="*/ 54720 w 2250425"/>
                <a:gd name="connsiteY3" fmla="*/ 0 h 257442"/>
                <a:gd name="connsiteX0" fmla="*/ 2204156 w 2204156"/>
                <a:gd name="connsiteY0" fmla="*/ 0 h 257442"/>
                <a:gd name="connsiteX1" fmla="*/ 2149436 w 2204156"/>
                <a:gd name="connsiteY1" fmla="*/ 257442 h 257442"/>
                <a:gd name="connsiteX2" fmla="*/ 0 w 2204156"/>
                <a:gd name="connsiteY2" fmla="*/ 257442 h 257442"/>
                <a:gd name="connsiteX3" fmla="*/ 54720 w 2204156"/>
                <a:gd name="connsiteY3" fmla="*/ 0 h 257442"/>
                <a:gd name="connsiteX0" fmla="*/ 2204156 w 2204156"/>
                <a:gd name="connsiteY0" fmla="*/ 0 h 257442"/>
                <a:gd name="connsiteX1" fmla="*/ 2149436 w 2204156"/>
                <a:gd name="connsiteY1" fmla="*/ 257442 h 257442"/>
                <a:gd name="connsiteX2" fmla="*/ 0 w 2204156"/>
                <a:gd name="connsiteY2" fmla="*/ 257442 h 257442"/>
                <a:gd name="connsiteX3" fmla="*/ 54720 w 2204156"/>
                <a:gd name="connsiteY3" fmla="*/ 0 h 257442"/>
                <a:gd name="connsiteX0" fmla="*/ 2204156 w 2204156"/>
                <a:gd name="connsiteY0" fmla="*/ 0 h 257442"/>
                <a:gd name="connsiteX1" fmla="*/ 2149436 w 2204156"/>
                <a:gd name="connsiteY1" fmla="*/ 257442 h 257442"/>
                <a:gd name="connsiteX2" fmla="*/ 0 w 2204156"/>
                <a:gd name="connsiteY2" fmla="*/ 257442 h 257442"/>
                <a:gd name="connsiteX3" fmla="*/ 54721 w 2204156"/>
                <a:gd name="connsiteY3" fmla="*/ 0 h 257442"/>
                <a:gd name="connsiteX0" fmla="*/ 934771 w 2149436"/>
                <a:gd name="connsiteY0" fmla="*/ 0 h 257442"/>
                <a:gd name="connsiteX1" fmla="*/ 2149436 w 2149436"/>
                <a:gd name="connsiteY1" fmla="*/ 257442 h 257442"/>
                <a:gd name="connsiteX2" fmla="*/ 0 w 2149436"/>
                <a:gd name="connsiteY2" fmla="*/ 257442 h 257442"/>
                <a:gd name="connsiteX3" fmla="*/ 54721 w 2149436"/>
                <a:gd name="connsiteY3" fmla="*/ 0 h 257442"/>
                <a:gd name="connsiteX0" fmla="*/ 934771 w 934771"/>
                <a:gd name="connsiteY0" fmla="*/ 0 h 257442"/>
                <a:gd name="connsiteX1" fmla="*/ 880050 w 934771"/>
                <a:gd name="connsiteY1" fmla="*/ 257442 h 257442"/>
                <a:gd name="connsiteX2" fmla="*/ 0 w 934771"/>
                <a:gd name="connsiteY2" fmla="*/ 257442 h 257442"/>
                <a:gd name="connsiteX3" fmla="*/ 54721 w 934771"/>
                <a:gd name="connsiteY3" fmla="*/ 0 h 257442"/>
                <a:gd name="connsiteX0" fmla="*/ 934770 w 934770"/>
                <a:gd name="connsiteY0" fmla="*/ 0 h 257442"/>
                <a:gd name="connsiteX1" fmla="*/ 880049 w 934770"/>
                <a:gd name="connsiteY1" fmla="*/ 257442 h 257442"/>
                <a:gd name="connsiteX2" fmla="*/ 0 w 934770"/>
                <a:gd name="connsiteY2" fmla="*/ 257442 h 257442"/>
                <a:gd name="connsiteX3" fmla="*/ 54720 w 934770"/>
                <a:gd name="connsiteY3" fmla="*/ 0 h 257442"/>
                <a:gd name="connsiteX0" fmla="*/ 934770 w 934770"/>
                <a:gd name="connsiteY0" fmla="*/ 0 h 257442"/>
                <a:gd name="connsiteX1" fmla="*/ 880049 w 934770"/>
                <a:gd name="connsiteY1" fmla="*/ 257442 h 257442"/>
                <a:gd name="connsiteX2" fmla="*/ 0 w 934770"/>
                <a:gd name="connsiteY2" fmla="*/ 257442 h 257442"/>
                <a:gd name="connsiteX3" fmla="*/ 54720 w 934770"/>
                <a:gd name="connsiteY3" fmla="*/ 0 h 257442"/>
                <a:gd name="connsiteX0" fmla="*/ 1243957 w 1243957"/>
                <a:gd name="connsiteY0" fmla="*/ 0 h 257442"/>
                <a:gd name="connsiteX1" fmla="*/ 880049 w 1243957"/>
                <a:gd name="connsiteY1" fmla="*/ 257442 h 257442"/>
                <a:gd name="connsiteX2" fmla="*/ 0 w 1243957"/>
                <a:gd name="connsiteY2" fmla="*/ 257442 h 257442"/>
                <a:gd name="connsiteX3" fmla="*/ 54720 w 1243957"/>
                <a:gd name="connsiteY3" fmla="*/ 0 h 257442"/>
                <a:gd name="connsiteX0" fmla="*/ 1243957 w 1243957"/>
                <a:gd name="connsiteY0" fmla="*/ 0 h 257442"/>
                <a:gd name="connsiteX1" fmla="*/ 1189236 w 1243957"/>
                <a:gd name="connsiteY1" fmla="*/ 257442 h 257442"/>
                <a:gd name="connsiteX2" fmla="*/ 0 w 1243957"/>
                <a:gd name="connsiteY2" fmla="*/ 257442 h 257442"/>
                <a:gd name="connsiteX3" fmla="*/ 54720 w 1243957"/>
                <a:gd name="connsiteY3" fmla="*/ 0 h 257442"/>
                <a:gd name="connsiteX0" fmla="*/ 1243958 w 1243958"/>
                <a:gd name="connsiteY0" fmla="*/ 0 h 257442"/>
                <a:gd name="connsiteX1" fmla="*/ 1189237 w 1243958"/>
                <a:gd name="connsiteY1" fmla="*/ 257442 h 257442"/>
                <a:gd name="connsiteX2" fmla="*/ 0 w 1243958"/>
                <a:gd name="connsiteY2" fmla="*/ 257442 h 257442"/>
                <a:gd name="connsiteX3" fmla="*/ 54721 w 1243958"/>
                <a:gd name="connsiteY3" fmla="*/ 0 h 257442"/>
                <a:gd name="connsiteX0" fmla="*/ 1243958 w 1243958"/>
                <a:gd name="connsiteY0" fmla="*/ 0 h 257442"/>
                <a:gd name="connsiteX1" fmla="*/ 1189237 w 1243958"/>
                <a:gd name="connsiteY1" fmla="*/ 257442 h 257442"/>
                <a:gd name="connsiteX2" fmla="*/ 0 w 1243958"/>
                <a:gd name="connsiteY2" fmla="*/ 257442 h 257442"/>
                <a:gd name="connsiteX3" fmla="*/ 54721 w 1243958"/>
                <a:gd name="connsiteY3" fmla="*/ 0 h 257442"/>
                <a:gd name="connsiteX0" fmla="*/ 1404259 w 1404259"/>
                <a:gd name="connsiteY0" fmla="*/ 0 h 257442"/>
                <a:gd name="connsiteX1" fmla="*/ 1189237 w 1404259"/>
                <a:gd name="connsiteY1" fmla="*/ 257442 h 257442"/>
                <a:gd name="connsiteX2" fmla="*/ 0 w 1404259"/>
                <a:gd name="connsiteY2" fmla="*/ 257442 h 257442"/>
                <a:gd name="connsiteX3" fmla="*/ 54721 w 1404259"/>
                <a:gd name="connsiteY3" fmla="*/ 0 h 257442"/>
                <a:gd name="connsiteX0" fmla="*/ 1404259 w 1404259"/>
                <a:gd name="connsiteY0" fmla="*/ 0 h 257442"/>
                <a:gd name="connsiteX1" fmla="*/ 1349538 w 1404259"/>
                <a:gd name="connsiteY1" fmla="*/ 257442 h 257442"/>
                <a:gd name="connsiteX2" fmla="*/ 0 w 1404259"/>
                <a:gd name="connsiteY2" fmla="*/ 257442 h 257442"/>
                <a:gd name="connsiteX3" fmla="*/ 54721 w 1404259"/>
                <a:gd name="connsiteY3" fmla="*/ 0 h 257442"/>
                <a:gd name="connsiteX0" fmla="*/ 1404259 w 1404259"/>
                <a:gd name="connsiteY0" fmla="*/ 0 h 257442"/>
                <a:gd name="connsiteX1" fmla="*/ 1349538 w 1404259"/>
                <a:gd name="connsiteY1" fmla="*/ 257442 h 257442"/>
                <a:gd name="connsiteX2" fmla="*/ 0 w 1404259"/>
                <a:gd name="connsiteY2" fmla="*/ 257442 h 257442"/>
                <a:gd name="connsiteX3" fmla="*/ 54721 w 1404259"/>
                <a:gd name="connsiteY3" fmla="*/ 0 h 257442"/>
                <a:gd name="connsiteX0" fmla="*/ 1404259 w 1404259"/>
                <a:gd name="connsiteY0" fmla="*/ 0 h 257442"/>
                <a:gd name="connsiteX1" fmla="*/ 1349538 w 1404259"/>
                <a:gd name="connsiteY1" fmla="*/ 257442 h 257442"/>
                <a:gd name="connsiteX2" fmla="*/ 0 w 1404259"/>
                <a:gd name="connsiteY2" fmla="*/ 257442 h 257442"/>
                <a:gd name="connsiteX3" fmla="*/ 54721 w 1404259"/>
                <a:gd name="connsiteY3" fmla="*/ 0 h 257442"/>
                <a:gd name="connsiteX0" fmla="*/ 1572573 w 1572573"/>
                <a:gd name="connsiteY0" fmla="*/ 0 h 257442"/>
                <a:gd name="connsiteX1" fmla="*/ 1349538 w 1572573"/>
                <a:gd name="connsiteY1" fmla="*/ 257442 h 257442"/>
                <a:gd name="connsiteX2" fmla="*/ 0 w 1572573"/>
                <a:gd name="connsiteY2" fmla="*/ 257442 h 257442"/>
                <a:gd name="connsiteX3" fmla="*/ 54721 w 1572573"/>
                <a:gd name="connsiteY3" fmla="*/ 0 h 257442"/>
                <a:gd name="connsiteX0" fmla="*/ 1572573 w 1572573"/>
                <a:gd name="connsiteY0" fmla="*/ 0 h 257442"/>
                <a:gd name="connsiteX1" fmla="*/ 1517852 w 1572573"/>
                <a:gd name="connsiteY1" fmla="*/ 257442 h 257442"/>
                <a:gd name="connsiteX2" fmla="*/ 0 w 1572573"/>
                <a:gd name="connsiteY2" fmla="*/ 257442 h 257442"/>
                <a:gd name="connsiteX3" fmla="*/ 54721 w 1572573"/>
                <a:gd name="connsiteY3" fmla="*/ 0 h 257442"/>
                <a:gd name="connsiteX0" fmla="*/ 1572573 w 1572573"/>
                <a:gd name="connsiteY0" fmla="*/ 0 h 257442"/>
                <a:gd name="connsiteX1" fmla="*/ 1517852 w 1572573"/>
                <a:gd name="connsiteY1" fmla="*/ 257442 h 257442"/>
                <a:gd name="connsiteX2" fmla="*/ 0 w 1572573"/>
                <a:gd name="connsiteY2" fmla="*/ 257442 h 257442"/>
                <a:gd name="connsiteX3" fmla="*/ 54721 w 1572573"/>
                <a:gd name="connsiteY3" fmla="*/ 0 h 257442"/>
                <a:gd name="connsiteX0" fmla="*/ 1572573 w 1572573"/>
                <a:gd name="connsiteY0" fmla="*/ 0 h 257442"/>
                <a:gd name="connsiteX1" fmla="*/ 1517852 w 1572573"/>
                <a:gd name="connsiteY1" fmla="*/ 257442 h 257442"/>
                <a:gd name="connsiteX2" fmla="*/ 0 w 1572573"/>
                <a:gd name="connsiteY2" fmla="*/ 257442 h 257442"/>
                <a:gd name="connsiteX3" fmla="*/ 54721 w 1572573"/>
                <a:gd name="connsiteY3" fmla="*/ 0 h 257442"/>
                <a:gd name="connsiteX0" fmla="*/ 1825848 w 1825848"/>
                <a:gd name="connsiteY0" fmla="*/ 0 h 257442"/>
                <a:gd name="connsiteX1" fmla="*/ 1517852 w 1825848"/>
                <a:gd name="connsiteY1" fmla="*/ 257442 h 257442"/>
                <a:gd name="connsiteX2" fmla="*/ 0 w 1825848"/>
                <a:gd name="connsiteY2" fmla="*/ 257442 h 257442"/>
                <a:gd name="connsiteX3" fmla="*/ 54721 w 1825848"/>
                <a:gd name="connsiteY3" fmla="*/ 0 h 257442"/>
                <a:gd name="connsiteX0" fmla="*/ 1825848 w 1825848"/>
                <a:gd name="connsiteY0" fmla="*/ 0 h 257442"/>
                <a:gd name="connsiteX1" fmla="*/ 1771126 w 1825848"/>
                <a:gd name="connsiteY1" fmla="*/ 257442 h 257442"/>
                <a:gd name="connsiteX2" fmla="*/ 0 w 1825848"/>
                <a:gd name="connsiteY2" fmla="*/ 257442 h 257442"/>
                <a:gd name="connsiteX3" fmla="*/ 54721 w 1825848"/>
                <a:gd name="connsiteY3" fmla="*/ 0 h 257442"/>
                <a:gd name="connsiteX0" fmla="*/ 1825849 w 1825849"/>
                <a:gd name="connsiteY0" fmla="*/ 0 h 257442"/>
                <a:gd name="connsiteX1" fmla="*/ 1771127 w 1825849"/>
                <a:gd name="connsiteY1" fmla="*/ 257442 h 257442"/>
                <a:gd name="connsiteX2" fmla="*/ 0 w 1825849"/>
                <a:gd name="connsiteY2" fmla="*/ 257442 h 257442"/>
                <a:gd name="connsiteX3" fmla="*/ 54722 w 1825849"/>
                <a:gd name="connsiteY3" fmla="*/ 0 h 257442"/>
                <a:gd name="connsiteX0" fmla="*/ 1825849 w 1825849"/>
                <a:gd name="connsiteY0" fmla="*/ 0 h 257442"/>
                <a:gd name="connsiteX1" fmla="*/ 1771127 w 1825849"/>
                <a:gd name="connsiteY1" fmla="*/ 257442 h 257442"/>
                <a:gd name="connsiteX2" fmla="*/ 0 w 1825849"/>
                <a:gd name="connsiteY2" fmla="*/ 257442 h 257442"/>
                <a:gd name="connsiteX3" fmla="*/ 54722 w 1825849"/>
                <a:gd name="connsiteY3" fmla="*/ 0 h 257442"/>
                <a:gd name="connsiteX0" fmla="*/ 1986149 w 1986149"/>
                <a:gd name="connsiteY0" fmla="*/ 0 h 257442"/>
                <a:gd name="connsiteX1" fmla="*/ 1771127 w 1986149"/>
                <a:gd name="connsiteY1" fmla="*/ 257442 h 257442"/>
                <a:gd name="connsiteX2" fmla="*/ 0 w 1986149"/>
                <a:gd name="connsiteY2" fmla="*/ 257442 h 257442"/>
                <a:gd name="connsiteX3" fmla="*/ 54722 w 1986149"/>
                <a:gd name="connsiteY3" fmla="*/ 0 h 257442"/>
                <a:gd name="connsiteX0" fmla="*/ 1986149 w 1986149"/>
                <a:gd name="connsiteY0" fmla="*/ 0 h 257442"/>
                <a:gd name="connsiteX1" fmla="*/ 1931428 w 1986149"/>
                <a:gd name="connsiteY1" fmla="*/ 257442 h 257442"/>
                <a:gd name="connsiteX2" fmla="*/ 0 w 1986149"/>
                <a:gd name="connsiteY2" fmla="*/ 257442 h 257442"/>
                <a:gd name="connsiteX3" fmla="*/ 54722 w 1986149"/>
                <a:gd name="connsiteY3" fmla="*/ 0 h 257442"/>
                <a:gd name="connsiteX0" fmla="*/ 1986148 w 1986148"/>
                <a:gd name="connsiteY0" fmla="*/ 0 h 257442"/>
                <a:gd name="connsiteX1" fmla="*/ 1931427 w 1986148"/>
                <a:gd name="connsiteY1" fmla="*/ 257442 h 257442"/>
                <a:gd name="connsiteX2" fmla="*/ 0 w 1986148"/>
                <a:gd name="connsiteY2" fmla="*/ 257442 h 257442"/>
                <a:gd name="connsiteX3" fmla="*/ 54721 w 1986148"/>
                <a:gd name="connsiteY3" fmla="*/ 0 h 257442"/>
                <a:gd name="connsiteX0" fmla="*/ 1986148 w 1986148"/>
                <a:gd name="connsiteY0" fmla="*/ 0 h 257442"/>
                <a:gd name="connsiteX1" fmla="*/ 1931427 w 1986148"/>
                <a:gd name="connsiteY1" fmla="*/ 257442 h 257442"/>
                <a:gd name="connsiteX2" fmla="*/ 0 w 1986148"/>
                <a:gd name="connsiteY2" fmla="*/ 257442 h 257442"/>
                <a:gd name="connsiteX3" fmla="*/ 54720 w 1986148"/>
                <a:gd name="connsiteY3" fmla="*/ 0 h 257442"/>
                <a:gd name="connsiteX0" fmla="*/ 2164081 w 2164081"/>
                <a:gd name="connsiteY0" fmla="*/ 0 h 257442"/>
                <a:gd name="connsiteX1" fmla="*/ 1931427 w 2164081"/>
                <a:gd name="connsiteY1" fmla="*/ 257442 h 257442"/>
                <a:gd name="connsiteX2" fmla="*/ 0 w 2164081"/>
                <a:gd name="connsiteY2" fmla="*/ 257442 h 257442"/>
                <a:gd name="connsiteX3" fmla="*/ 54720 w 2164081"/>
                <a:gd name="connsiteY3" fmla="*/ 0 h 257442"/>
                <a:gd name="connsiteX0" fmla="*/ 2164081 w 2164081"/>
                <a:gd name="connsiteY0" fmla="*/ 0 h 257442"/>
                <a:gd name="connsiteX1" fmla="*/ 2109360 w 2164081"/>
                <a:gd name="connsiteY1" fmla="*/ 257442 h 257442"/>
                <a:gd name="connsiteX2" fmla="*/ 0 w 2164081"/>
                <a:gd name="connsiteY2" fmla="*/ 257442 h 257442"/>
                <a:gd name="connsiteX3" fmla="*/ 54720 w 2164081"/>
                <a:gd name="connsiteY3" fmla="*/ 0 h 257442"/>
                <a:gd name="connsiteX0" fmla="*/ 2164082 w 2164082"/>
                <a:gd name="connsiteY0" fmla="*/ 0 h 257442"/>
                <a:gd name="connsiteX1" fmla="*/ 2109361 w 2164082"/>
                <a:gd name="connsiteY1" fmla="*/ 257442 h 257442"/>
                <a:gd name="connsiteX2" fmla="*/ 0 w 2164082"/>
                <a:gd name="connsiteY2" fmla="*/ 257442 h 257442"/>
                <a:gd name="connsiteX3" fmla="*/ 54721 w 2164082"/>
                <a:gd name="connsiteY3" fmla="*/ 0 h 257442"/>
                <a:gd name="connsiteX0" fmla="*/ 2164082 w 2164082"/>
                <a:gd name="connsiteY0" fmla="*/ 0 h 257442"/>
                <a:gd name="connsiteX1" fmla="*/ 2109361 w 2164082"/>
                <a:gd name="connsiteY1" fmla="*/ 257442 h 257442"/>
                <a:gd name="connsiteX2" fmla="*/ 0 w 2164082"/>
                <a:gd name="connsiteY2" fmla="*/ 257442 h 257442"/>
                <a:gd name="connsiteX3" fmla="*/ 54721 w 2164082"/>
                <a:gd name="connsiteY3" fmla="*/ 0 h 257442"/>
                <a:gd name="connsiteX0" fmla="*/ 2332397 w 2332397"/>
                <a:gd name="connsiteY0" fmla="*/ 0 h 257442"/>
                <a:gd name="connsiteX1" fmla="*/ 2109361 w 2332397"/>
                <a:gd name="connsiteY1" fmla="*/ 257442 h 257442"/>
                <a:gd name="connsiteX2" fmla="*/ 0 w 2332397"/>
                <a:gd name="connsiteY2" fmla="*/ 257442 h 257442"/>
                <a:gd name="connsiteX3" fmla="*/ 54721 w 2332397"/>
                <a:gd name="connsiteY3" fmla="*/ 0 h 257442"/>
                <a:gd name="connsiteX0" fmla="*/ 2332397 w 2332397"/>
                <a:gd name="connsiteY0" fmla="*/ 0 h 257442"/>
                <a:gd name="connsiteX1" fmla="*/ 2277676 w 2332397"/>
                <a:gd name="connsiteY1" fmla="*/ 257442 h 257442"/>
                <a:gd name="connsiteX2" fmla="*/ 0 w 2332397"/>
                <a:gd name="connsiteY2" fmla="*/ 257442 h 257442"/>
                <a:gd name="connsiteX3" fmla="*/ 54721 w 2332397"/>
                <a:gd name="connsiteY3" fmla="*/ 0 h 257442"/>
                <a:gd name="connsiteX0" fmla="*/ 2332397 w 2332397"/>
                <a:gd name="connsiteY0" fmla="*/ 0 h 257442"/>
                <a:gd name="connsiteX1" fmla="*/ 2277676 w 2332397"/>
                <a:gd name="connsiteY1" fmla="*/ 257442 h 257442"/>
                <a:gd name="connsiteX2" fmla="*/ 0 w 2332397"/>
                <a:gd name="connsiteY2" fmla="*/ 257442 h 257442"/>
                <a:gd name="connsiteX3" fmla="*/ 54721 w 2332397"/>
                <a:gd name="connsiteY3" fmla="*/ 0 h 257442"/>
                <a:gd name="connsiteX0" fmla="*/ 2332397 w 2332397"/>
                <a:gd name="connsiteY0" fmla="*/ 0 h 257442"/>
                <a:gd name="connsiteX1" fmla="*/ 2277676 w 2332397"/>
                <a:gd name="connsiteY1" fmla="*/ 257442 h 257442"/>
                <a:gd name="connsiteX2" fmla="*/ 0 w 2332397"/>
                <a:gd name="connsiteY2" fmla="*/ 257442 h 257442"/>
                <a:gd name="connsiteX3" fmla="*/ 54721 w 2332397"/>
                <a:gd name="connsiteY3" fmla="*/ 0 h 257442"/>
                <a:gd name="connsiteX0" fmla="*/ 2500713 w 2500713"/>
                <a:gd name="connsiteY0" fmla="*/ 0 h 257442"/>
                <a:gd name="connsiteX1" fmla="*/ 2277676 w 2500713"/>
                <a:gd name="connsiteY1" fmla="*/ 257442 h 257442"/>
                <a:gd name="connsiteX2" fmla="*/ 0 w 2500713"/>
                <a:gd name="connsiteY2" fmla="*/ 257442 h 257442"/>
                <a:gd name="connsiteX3" fmla="*/ 54721 w 2500713"/>
                <a:gd name="connsiteY3" fmla="*/ 0 h 257442"/>
                <a:gd name="connsiteX0" fmla="*/ 2500713 w 2500713"/>
                <a:gd name="connsiteY0" fmla="*/ 0 h 257442"/>
                <a:gd name="connsiteX1" fmla="*/ 2445992 w 2500713"/>
                <a:gd name="connsiteY1" fmla="*/ 257442 h 257442"/>
                <a:gd name="connsiteX2" fmla="*/ 0 w 2500713"/>
                <a:gd name="connsiteY2" fmla="*/ 257442 h 257442"/>
                <a:gd name="connsiteX3" fmla="*/ 54721 w 2500713"/>
                <a:gd name="connsiteY3" fmla="*/ 0 h 257442"/>
                <a:gd name="connsiteX0" fmla="*/ 2500713 w 2500713"/>
                <a:gd name="connsiteY0" fmla="*/ 0 h 257442"/>
                <a:gd name="connsiteX1" fmla="*/ 2445992 w 2500713"/>
                <a:gd name="connsiteY1" fmla="*/ 257442 h 257442"/>
                <a:gd name="connsiteX2" fmla="*/ 0 w 2500713"/>
                <a:gd name="connsiteY2" fmla="*/ 257442 h 257442"/>
                <a:gd name="connsiteX3" fmla="*/ 54721 w 2500713"/>
                <a:gd name="connsiteY3" fmla="*/ 0 h 257442"/>
                <a:gd name="connsiteX0" fmla="*/ 2500713 w 2500713"/>
                <a:gd name="connsiteY0" fmla="*/ 0 h 257442"/>
                <a:gd name="connsiteX1" fmla="*/ 2445992 w 2500713"/>
                <a:gd name="connsiteY1" fmla="*/ 257442 h 257442"/>
                <a:gd name="connsiteX2" fmla="*/ 0 w 2500713"/>
                <a:gd name="connsiteY2" fmla="*/ 257442 h 257442"/>
                <a:gd name="connsiteX3" fmla="*/ 54721 w 2500713"/>
                <a:gd name="connsiteY3" fmla="*/ 0 h 257442"/>
                <a:gd name="connsiteX0" fmla="*/ 2669027 w 2669027"/>
                <a:gd name="connsiteY0" fmla="*/ 0 h 257442"/>
                <a:gd name="connsiteX1" fmla="*/ 2445992 w 2669027"/>
                <a:gd name="connsiteY1" fmla="*/ 257442 h 257442"/>
                <a:gd name="connsiteX2" fmla="*/ 0 w 2669027"/>
                <a:gd name="connsiteY2" fmla="*/ 257442 h 257442"/>
                <a:gd name="connsiteX3" fmla="*/ 54721 w 2669027"/>
                <a:gd name="connsiteY3" fmla="*/ 0 h 257442"/>
                <a:gd name="connsiteX0" fmla="*/ 2669027 w 2669027"/>
                <a:gd name="connsiteY0" fmla="*/ 0 h 257442"/>
                <a:gd name="connsiteX1" fmla="*/ 2614306 w 2669027"/>
                <a:gd name="connsiteY1" fmla="*/ 257442 h 257442"/>
                <a:gd name="connsiteX2" fmla="*/ 0 w 2669027"/>
                <a:gd name="connsiteY2" fmla="*/ 257442 h 257442"/>
                <a:gd name="connsiteX3" fmla="*/ 54721 w 2669027"/>
                <a:gd name="connsiteY3" fmla="*/ 0 h 257442"/>
                <a:gd name="connsiteX0" fmla="*/ 2669027 w 2669027"/>
                <a:gd name="connsiteY0" fmla="*/ 0 h 257442"/>
                <a:gd name="connsiteX1" fmla="*/ 2614306 w 2669027"/>
                <a:gd name="connsiteY1" fmla="*/ 257442 h 257442"/>
                <a:gd name="connsiteX2" fmla="*/ 0 w 2669027"/>
                <a:gd name="connsiteY2" fmla="*/ 257442 h 257442"/>
                <a:gd name="connsiteX3" fmla="*/ 54721 w 2669027"/>
                <a:gd name="connsiteY3" fmla="*/ 0 h 257442"/>
                <a:gd name="connsiteX0" fmla="*/ 2669027 w 2669027"/>
                <a:gd name="connsiteY0" fmla="*/ 0 h 257442"/>
                <a:gd name="connsiteX1" fmla="*/ 2614306 w 2669027"/>
                <a:gd name="connsiteY1" fmla="*/ 257442 h 257442"/>
                <a:gd name="connsiteX2" fmla="*/ 0 w 2669027"/>
                <a:gd name="connsiteY2" fmla="*/ 257442 h 257442"/>
                <a:gd name="connsiteX3" fmla="*/ 54721 w 2669027"/>
                <a:gd name="connsiteY3" fmla="*/ 0 h 257442"/>
                <a:gd name="connsiteX0" fmla="*/ 2829328 w 2829328"/>
                <a:gd name="connsiteY0" fmla="*/ 0 h 257442"/>
                <a:gd name="connsiteX1" fmla="*/ 2614306 w 2829328"/>
                <a:gd name="connsiteY1" fmla="*/ 257442 h 257442"/>
                <a:gd name="connsiteX2" fmla="*/ 0 w 2829328"/>
                <a:gd name="connsiteY2" fmla="*/ 257442 h 257442"/>
                <a:gd name="connsiteX3" fmla="*/ 54721 w 2829328"/>
                <a:gd name="connsiteY3" fmla="*/ 0 h 257442"/>
                <a:gd name="connsiteX0" fmla="*/ 2829328 w 2829328"/>
                <a:gd name="connsiteY0" fmla="*/ 0 h 257442"/>
                <a:gd name="connsiteX1" fmla="*/ 2774606 w 2829328"/>
                <a:gd name="connsiteY1" fmla="*/ 257442 h 257442"/>
                <a:gd name="connsiteX2" fmla="*/ 0 w 2829328"/>
                <a:gd name="connsiteY2" fmla="*/ 257442 h 257442"/>
                <a:gd name="connsiteX3" fmla="*/ 54721 w 2829328"/>
                <a:gd name="connsiteY3" fmla="*/ 0 h 257442"/>
                <a:gd name="connsiteX0" fmla="*/ 2829329 w 2829329"/>
                <a:gd name="connsiteY0" fmla="*/ 0 h 257442"/>
                <a:gd name="connsiteX1" fmla="*/ 2774607 w 2829329"/>
                <a:gd name="connsiteY1" fmla="*/ 257442 h 257442"/>
                <a:gd name="connsiteX2" fmla="*/ 0 w 2829329"/>
                <a:gd name="connsiteY2" fmla="*/ 257442 h 257442"/>
                <a:gd name="connsiteX3" fmla="*/ 54722 w 2829329"/>
                <a:gd name="connsiteY3" fmla="*/ 0 h 257442"/>
                <a:gd name="connsiteX0" fmla="*/ 2829329 w 2829329"/>
                <a:gd name="connsiteY0" fmla="*/ 0 h 257442"/>
                <a:gd name="connsiteX1" fmla="*/ 2774607 w 2829329"/>
                <a:gd name="connsiteY1" fmla="*/ 257442 h 257442"/>
                <a:gd name="connsiteX2" fmla="*/ 0 w 2829329"/>
                <a:gd name="connsiteY2" fmla="*/ 257442 h 257442"/>
                <a:gd name="connsiteX3" fmla="*/ 54722 w 2829329"/>
                <a:gd name="connsiteY3" fmla="*/ 0 h 257442"/>
                <a:gd name="connsiteX0" fmla="*/ 2989629 w 2989629"/>
                <a:gd name="connsiteY0" fmla="*/ 0 h 257442"/>
                <a:gd name="connsiteX1" fmla="*/ 2774607 w 2989629"/>
                <a:gd name="connsiteY1" fmla="*/ 257442 h 257442"/>
                <a:gd name="connsiteX2" fmla="*/ 0 w 2989629"/>
                <a:gd name="connsiteY2" fmla="*/ 257442 h 257442"/>
                <a:gd name="connsiteX3" fmla="*/ 54722 w 2989629"/>
                <a:gd name="connsiteY3" fmla="*/ 0 h 257442"/>
                <a:gd name="connsiteX0" fmla="*/ 2989629 w 2989629"/>
                <a:gd name="connsiteY0" fmla="*/ 0 h 257442"/>
                <a:gd name="connsiteX1" fmla="*/ 2934908 w 2989629"/>
                <a:gd name="connsiteY1" fmla="*/ 257442 h 257442"/>
                <a:gd name="connsiteX2" fmla="*/ 0 w 2989629"/>
                <a:gd name="connsiteY2" fmla="*/ 257442 h 257442"/>
                <a:gd name="connsiteX3" fmla="*/ 54722 w 2989629"/>
                <a:gd name="connsiteY3" fmla="*/ 0 h 257442"/>
                <a:gd name="connsiteX0" fmla="*/ 2989628 w 2989628"/>
                <a:gd name="connsiteY0" fmla="*/ 0 h 257442"/>
                <a:gd name="connsiteX1" fmla="*/ 2934907 w 2989628"/>
                <a:gd name="connsiteY1" fmla="*/ 257442 h 257442"/>
                <a:gd name="connsiteX2" fmla="*/ 0 w 2989628"/>
                <a:gd name="connsiteY2" fmla="*/ 257442 h 257442"/>
                <a:gd name="connsiteX3" fmla="*/ 54721 w 2989628"/>
                <a:gd name="connsiteY3" fmla="*/ 0 h 257442"/>
                <a:gd name="connsiteX0" fmla="*/ 2989628 w 2989628"/>
                <a:gd name="connsiteY0" fmla="*/ 0 h 257442"/>
                <a:gd name="connsiteX1" fmla="*/ 2934907 w 2989628"/>
                <a:gd name="connsiteY1" fmla="*/ 257442 h 257442"/>
                <a:gd name="connsiteX2" fmla="*/ 0 w 2989628"/>
                <a:gd name="connsiteY2" fmla="*/ 257442 h 257442"/>
                <a:gd name="connsiteX3" fmla="*/ 54720 w 2989628"/>
                <a:gd name="connsiteY3" fmla="*/ 0 h 257442"/>
                <a:gd name="connsiteX0" fmla="*/ 950800 w 2934907"/>
                <a:gd name="connsiteY0" fmla="*/ 0 h 257442"/>
                <a:gd name="connsiteX1" fmla="*/ 2934907 w 2934907"/>
                <a:gd name="connsiteY1" fmla="*/ 257442 h 257442"/>
                <a:gd name="connsiteX2" fmla="*/ 0 w 2934907"/>
                <a:gd name="connsiteY2" fmla="*/ 257442 h 257442"/>
                <a:gd name="connsiteX3" fmla="*/ 54720 w 2934907"/>
                <a:gd name="connsiteY3" fmla="*/ 0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54720 w 950800"/>
                <a:gd name="connsiteY3" fmla="*/ 0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54720 w 950800"/>
                <a:gd name="connsiteY3" fmla="*/ 0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54721 w 950800"/>
                <a:gd name="connsiteY3" fmla="*/ 0 h 257442"/>
                <a:gd name="connsiteX0" fmla="*/ 1119116 w 1119116"/>
                <a:gd name="connsiteY0" fmla="*/ 0 h 257442"/>
                <a:gd name="connsiteX1" fmla="*/ 896080 w 1119116"/>
                <a:gd name="connsiteY1" fmla="*/ 257442 h 257442"/>
                <a:gd name="connsiteX2" fmla="*/ 0 w 1119116"/>
                <a:gd name="connsiteY2" fmla="*/ 257442 h 257442"/>
                <a:gd name="connsiteX3" fmla="*/ 54721 w 1119116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54721 w 1119116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54721 w 1119116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54721 w 1119116"/>
                <a:gd name="connsiteY3" fmla="*/ 0 h 257442"/>
                <a:gd name="connsiteX0" fmla="*/ 1380406 w 1380406"/>
                <a:gd name="connsiteY0" fmla="*/ 0 h 257442"/>
                <a:gd name="connsiteX1" fmla="*/ 1064395 w 1380406"/>
                <a:gd name="connsiteY1" fmla="*/ 257442 h 257442"/>
                <a:gd name="connsiteX2" fmla="*/ 0 w 1380406"/>
                <a:gd name="connsiteY2" fmla="*/ 257442 h 257442"/>
                <a:gd name="connsiteX3" fmla="*/ 54721 w 1380406"/>
                <a:gd name="connsiteY3" fmla="*/ 0 h 257442"/>
                <a:gd name="connsiteX0" fmla="*/ 1380406 w 1380406"/>
                <a:gd name="connsiteY0" fmla="*/ 0 h 257442"/>
                <a:gd name="connsiteX1" fmla="*/ 1325685 w 1380406"/>
                <a:gd name="connsiteY1" fmla="*/ 257442 h 257442"/>
                <a:gd name="connsiteX2" fmla="*/ 0 w 1380406"/>
                <a:gd name="connsiteY2" fmla="*/ 257442 h 257442"/>
                <a:gd name="connsiteX3" fmla="*/ 54721 w 1380406"/>
                <a:gd name="connsiteY3" fmla="*/ 0 h 257442"/>
                <a:gd name="connsiteX0" fmla="*/ 1380406 w 1380406"/>
                <a:gd name="connsiteY0" fmla="*/ 0 h 257442"/>
                <a:gd name="connsiteX1" fmla="*/ 1325685 w 1380406"/>
                <a:gd name="connsiteY1" fmla="*/ 257442 h 257442"/>
                <a:gd name="connsiteX2" fmla="*/ 0 w 1380406"/>
                <a:gd name="connsiteY2" fmla="*/ 257442 h 257442"/>
                <a:gd name="connsiteX3" fmla="*/ 54721 w 1380406"/>
                <a:gd name="connsiteY3" fmla="*/ 0 h 257442"/>
                <a:gd name="connsiteX0" fmla="*/ 1380406 w 1380406"/>
                <a:gd name="connsiteY0" fmla="*/ 0 h 257442"/>
                <a:gd name="connsiteX1" fmla="*/ 1325685 w 1380406"/>
                <a:gd name="connsiteY1" fmla="*/ 257442 h 257442"/>
                <a:gd name="connsiteX2" fmla="*/ 0 w 1380406"/>
                <a:gd name="connsiteY2" fmla="*/ 257442 h 257442"/>
                <a:gd name="connsiteX3" fmla="*/ 54721 w 1380406"/>
                <a:gd name="connsiteY3" fmla="*/ 0 h 257442"/>
                <a:gd name="connsiteX0" fmla="*/ 1540706 w 1540706"/>
                <a:gd name="connsiteY0" fmla="*/ 0 h 257442"/>
                <a:gd name="connsiteX1" fmla="*/ 1325685 w 1540706"/>
                <a:gd name="connsiteY1" fmla="*/ 257442 h 257442"/>
                <a:gd name="connsiteX2" fmla="*/ 0 w 1540706"/>
                <a:gd name="connsiteY2" fmla="*/ 257442 h 257442"/>
                <a:gd name="connsiteX3" fmla="*/ 54721 w 1540706"/>
                <a:gd name="connsiteY3" fmla="*/ 0 h 257442"/>
                <a:gd name="connsiteX0" fmla="*/ 1540706 w 1540706"/>
                <a:gd name="connsiteY0" fmla="*/ 0 h 257442"/>
                <a:gd name="connsiteX1" fmla="*/ 1485985 w 1540706"/>
                <a:gd name="connsiteY1" fmla="*/ 257442 h 257442"/>
                <a:gd name="connsiteX2" fmla="*/ 0 w 1540706"/>
                <a:gd name="connsiteY2" fmla="*/ 257442 h 257442"/>
                <a:gd name="connsiteX3" fmla="*/ 54721 w 1540706"/>
                <a:gd name="connsiteY3" fmla="*/ 0 h 257442"/>
                <a:gd name="connsiteX0" fmla="*/ 1540706 w 1540706"/>
                <a:gd name="connsiteY0" fmla="*/ 0 h 257442"/>
                <a:gd name="connsiteX1" fmla="*/ 1485985 w 1540706"/>
                <a:gd name="connsiteY1" fmla="*/ 257442 h 257442"/>
                <a:gd name="connsiteX2" fmla="*/ 0 w 1540706"/>
                <a:gd name="connsiteY2" fmla="*/ 257442 h 257442"/>
                <a:gd name="connsiteX3" fmla="*/ 54721 w 1540706"/>
                <a:gd name="connsiteY3" fmla="*/ 0 h 257442"/>
                <a:gd name="connsiteX0" fmla="*/ 1540706 w 1540706"/>
                <a:gd name="connsiteY0" fmla="*/ 0 h 257442"/>
                <a:gd name="connsiteX1" fmla="*/ 1485985 w 1540706"/>
                <a:gd name="connsiteY1" fmla="*/ 257442 h 257442"/>
                <a:gd name="connsiteX2" fmla="*/ 0 w 1540706"/>
                <a:gd name="connsiteY2" fmla="*/ 257442 h 257442"/>
                <a:gd name="connsiteX3" fmla="*/ 54721 w 1540706"/>
                <a:gd name="connsiteY3" fmla="*/ 0 h 257442"/>
                <a:gd name="connsiteX0" fmla="*/ 1709021 w 1709021"/>
                <a:gd name="connsiteY0" fmla="*/ 0 h 257442"/>
                <a:gd name="connsiteX1" fmla="*/ 1485985 w 1709021"/>
                <a:gd name="connsiteY1" fmla="*/ 257442 h 257442"/>
                <a:gd name="connsiteX2" fmla="*/ 0 w 1709021"/>
                <a:gd name="connsiteY2" fmla="*/ 257442 h 257442"/>
                <a:gd name="connsiteX3" fmla="*/ 54721 w 1709021"/>
                <a:gd name="connsiteY3" fmla="*/ 0 h 257442"/>
                <a:gd name="connsiteX0" fmla="*/ 1709021 w 1709021"/>
                <a:gd name="connsiteY0" fmla="*/ 0 h 257442"/>
                <a:gd name="connsiteX1" fmla="*/ 1654300 w 1709021"/>
                <a:gd name="connsiteY1" fmla="*/ 257442 h 257442"/>
                <a:gd name="connsiteX2" fmla="*/ 0 w 1709021"/>
                <a:gd name="connsiteY2" fmla="*/ 257442 h 257442"/>
                <a:gd name="connsiteX3" fmla="*/ 54721 w 1709021"/>
                <a:gd name="connsiteY3" fmla="*/ 0 h 257442"/>
                <a:gd name="connsiteX0" fmla="*/ 1709021 w 1709021"/>
                <a:gd name="connsiteY0" fmla="*/ 0 h 257442"/>
                <a:gd name="connsiteX1" fmla="*/ 1654300 w 1709021"/>
                <a:gd name="connsiteY1" fmla="*/ 257442 h 257442"/>
                <a:gd name="connsiteX2" fmla="*/ 0 w 1709021"/>
                <a:gd name="connsiteY2" fmla="*/ 257442 h 257442"/>
                <a:gd name="connsiteX3" fmla="*/ 54721 w 1709021"/>
                <a:gd name="connsiteY3" fmla="*/ 0 h 257442"/>
                <a:gd name="connsiteX0" fmla="*/ 1709021 w 1709021"/>
                <a:gd name="connsiteY0" fmla="*/ 0 h 257442"/>
                <a:gd name="connsiteX1" fmla="*/ 1654300 w 1709021"/>
                <a:gd name="connsiteY1" fmla="*/ 257442 h 257442"/>
                <a:gd name="connsiteX2" fmla="*/ 0 w 1709021"/>
                <a:gd name="connsiteY2" fmla="*/ 257442 h 257442"/>
                <a:gd name="connsiteX3" fmla="*/ 54721 w 1709021"/>
                <a:gd name="connsiteY3" fmla="*/ 0 h 257442"/>
                <a:gd name="connsiteX0" fmla="*/ 1869321 w 1869321"/>
                <a:gd name="connsiteY0" fmla="*/ 0 h 257442"/>
                <a:gd name="connsiteX1" fmla="*/ 1654300 w 1869321"/>
                <a:gd name="connsiteY1" fmla="*/ 257442 h 257442"/>
                <a:gd name="connsiteX2" fmla="*/ 0 w 1869321"/>
                <a:gd name="connsiteY2" fmla="*/ 257442 h 257442"/>
                <a:gd name="connsiteX3" fmla="*/ 54721 w 1869321"/>
                <a:gd name="connsiteY3" fmla="*/ 0 h 257442"/>
                <a:gd name="connsiteX0" fmla="*/ 1869321 w 1869321"/>
                <a:gd name="connsiteY0" fmla="*/ 0 h 257442"/>
                <a:gd name="connsiteX1" fmla="*/ 1814600 w 1869321"/>
                <a:gd name="connsiteY1" fmla="*/ 257442 h 257442"/>
                <a:gd name="connsiteX2" fmla="*/ 0 w 1869321"/>
                <a:gd name="connsiteY2" fmla="*/ 257442 h 257442"/>
                <a:gd name="connsiteX3" fmla="*/ 54721 w 1869321"/>
                <a:gd name="connsiteY3" fmla="*/ 0 h 257442"/>
                <a:gd name="connsiteX0" fmla="*/ 1869321 w 1869321"/>
                <a:gd name="connsiteY0" fmla="*/ 0 h 257442"/>
                <a:gd name="connsiteX1" fmla="*/ 1814600 w 1869321"/>
                <a:gd name="connsiteY1" fmla="*/ 257442 h 257442"/>
                <a:gd name="connsiteX2" fmla="*/ 0 w 1869321"/>
                <a:gd name="connsiteY2" fmla="*/ 257442 h 257442"/>
                <a:gd name="connsiteX3" fmla="*/ 54721 w 1869321"/>
                <a:gd name="connsiteY3" fmla="*/ 0 h 257442"/>
                <a:gd name="connsiteX0" fmla="*/ 1869321 w 1869321"/>
                <a:gd name="connsiteY0" fmla="*/ 0 h 257442"/>
                <a:gd name="connsiteX1" fmla="*/ 1814600 w 1869321"/>
                <a:gd name="connsiteY1" fmla="*/ 257442 h 257442"/>
                <a:gd name="connsiteX2" fmla="*/ 0 w 1869321"/>
                <a:gd name="connsiteY2" fmla="*/ 257442 h 257442"/>
                <a:gd name="connsiteX3" fmla="*/ 54721 w 1869321"/>
                <a:gd name="connsiteY3" fmla="*/ 0 h 257442"/>
                <a:gd name="connsiteX0" fmla="*/ 2122596 w 2122596"/>
                <a:gd name="connsiteY0" fmla="*/ 0 h 257442"/>
                <a:gd name="connsiteX1" fmla="*/ 1814600 w 2122596"/>
                <a:gd name="connsiteY1" fmla="*/ 257442 h 257442"/>
                <a:gd name="connsiteX2" fmla="*/ 0 w 2122596"/>
                <a:gd name="connsiteY2" fmla="*/ 257442 h 257442"/>
                <a:gd name="connsiteX3" fmla="*/ 54721 w 2122596"/>
                <a:gd name="connsiteY3" fmla="*/ 0 h 257442"/>
                <a:gd name="connsiteX0" fmla="*/ 2122596 w 2122596"/>
                <a:gd name="connsiteY0" fmla="*/ 0 h 257442"/>
                <a:gd name="connsiteX1" fmla="*/ 2067874 w 2122596"/>
                <a:gd name="connsiteY1" fmla="*/ 257442 h 257442"/>
                <a:gd name="connsiteX2" fmla="*/ 0 w 2122596"/>
                <a:gd name="connsiteY2" fmla="*/ 257442 h 257442"/>
                <a:gd name="connsiteX3" fmla="*/ 54721 w 2122596"/>
                <a:gd name="connsiteY3" fmla="*/ 0 h 257442"/>
                <a:gd name="connsiteX0" fmla="*/ 2122597 w 2122597"/>
                <a:gd name="connsiteY0" fmla="*/ 0 h 257442"/>
                <a:gd name="connsiteX1" fmla="*/ 2067875 w 2122597"/>
                <a:gd name="connsiteY1" fmla="*/ 257442 h 257442"/>
                <a:gd name="connsiteX2" fmla="*/ 0 w 2122597"/>
                <a:gd name="connsiteY2" fmla="*/ 257442 h 257442"/>
                <a:gd name="connsiteX3" fmla="*/ 54722 w 2122597"/>
                <a:gd name="connsiteY3" fmla="*/ 0 h 257442"/>
                <a:gd name="connsiteX0" fmla="*/ 2122597 w 2122597"/>
                <a:gd name="connsiteY0" fmla="*/ 0 h 257442"/>
                <a:gd name="connsiteX1" fmla="*/ 2067875 w 2122597"/>
                <a:gd name="connsiteY1" fmla="*/ 257442 h 257442"/>
                <a:gd name="connsiteX2" fmla="*/ 0 w 2122597"/>
                <a:gd name="connsiteY2" fmla="*/ 257442 h 257442"/>
                <a:gd name="connsiteX3" fmla="*/ 54722 w 2122597"/>
                <a:gd name="connsiteY3" fmla="*/ 0 h 257442"/>
                <a:gd name="connsiteX0" fmla="*/ 2282897 w 2282897"/>
                <a:gd name="connsiteY0" fmla="*/ 0 h 257442"/>
                <a:gd name="connsiteX1" fmla="*/ 2067875 w 2282897"/>
                <a:gd name="connsiteY1" fmla="*/ 257442 h 257442"/>
                <a:gd name="connsiteX2" fmla="*/ 0 w 2282897"/>
                <a:gd name="connsiteY2" fmla="*/ 257442 h 257442"/>
                <a:gd name="connsiteX3" fmla="*/ 54722 w 2282897"/>
                <a:gd name="connsiteY3" fmla="*/ 0 h 257442"/>
                <a:gd name="connsiteX0" fmla="*/ 2282897 w 2282897"/>
                <a:gd name="connsiteY0" fmla="*/ 0 h 257442"/>
                <a:gd name="connsiteX1" fmla="*/ 2228176 w 2282897"/>
                <a:gd name="connsiteY1" fmla="*/ 257442 h 257442"/>
                <a:gd name="connsiteX2" fmla="*/ 0 w 2282897"/>
                <a:gd name="connsiteY2" fmla="*/ 257442 h 257442"/>
                <a:gd name="connsiteX3" fmla="*/ 54722 w 2282897"/>
                <a:gd name="connsiteY3" fmla="*/ 0 h 257442"/>
                <a:gd name="connsiteX0" fmla="*/ 2282896 w 2282896"/>
                <a:gd name="connsiteY0" fmla="*/ 0 h 257442"/>
                <a:gd name="connsiteX1" fmla="*/ 2228175 w 2282896"/>
                <a:gd name="connsiteY1" fmla="*/ 257442 h 257442"/>
                <a:gd name="connsiteX2" fmla="*/ 0 w 2282896"/>
                <a:gd name="connsiteY2" fmla="*/ 257442 h 257442"/>
                <a:gd name="connsiteX3" fmla="*/ 54721 w 2282896"/>
                <a:gd name="connsiteY3" fmla="*/ 0 h 257442"/>
                <a:gd name="connsiteX0" fmla="*/ 2282896 w 2282896"/>
                <a:gd name="connsiteY0" fmla="*/ 0 h 257442"/>
                <a:gd name="connsiteX1" fmla="*/ 2228175 w 2282896"/>
                <a:gd name="connsiteY1" fmla="*/ 257442 h 257442"/>
                <a:gd name="connsiteX2" fmla="*/ 0 w 2282896"/>
                <a:gd name="connsiteY2" fmla="*/ 257442 h 257442"/>
                <a:gd name="connsiteX3" fmla="*/ 54720 w 2282896"/>
                <a:gd name="connsiteY3" fmla="*/ 0 h 257442"/>
                <a:gd name="connsiteX0" fmla="*/ 2484873 w 2484873"/>
                <a:gd name="connsiteY0" fmla="*/ 0 h 257442"/>
                <a:gd name="connsiteX1" fmla="*/ 2228175 w 2484873"/>
                <a:gd name="connsiteY1" fmla="*/ 257442 h 257442"/>
                <a:gd name="connsiteX2" fmla="*/ 0 w 2484873"/>
                <a:gd name="connsiteY2" fmla="*/ 257442 h 257442"/>
                <a:gd name="connsiteX3" fmla="*/ 54720 w 2484873"/>
                <a:gd name="connsiteY3" fmla="*/ 0 h 257442"/>
                <a:gd name="connsiteX0" fmla="*/ 2484873 w 2484873"/>
                <a:gd name="connsiteY0" fmla="*/ 0 h 257442"/>
                <a:gd name="connsiteX1" fmla="*/ 2430152 w 2484873"/>
                <a:gd name="connsiteY1" fmla="*/ 257442 h 257442"/>
                <a:gd name="connsiteX2" fmla="*/ 0 w 2484873"/>
                <a:gd name="connsiteY2" fmla="*/ 257442 h 257442"/>
                <a:gd name="connsiteX3" fmla="*/ 54720 w 2484873"/>
                <a:gd name="connsiteY3" fmla="*/ 0 h 257442"/>
                <a:gd name="connsiteX0" fmla="*/ 2484874 w 2484874"/>
                <a:gd name="connsiteY0" fmla="*/ 0 h 257442"/>
                <a:gd name="connsiteX1" fmla="*/ 2430153 w 2484874"/>
                <a:gd name="connsiteY1" fmla="*/ 257442 h 257442"/>
                <a:gd name="connsiteX2" fmla="*/ 0 w 2484874"/>
                <a:gd name="connsiteY2" fmla="*/ 257442 h 257442"/>
                <a:gd name="connsiteX3" fmla="*/ 54721 w 2484874"/>
                <a:gd name="connsiteY3" fmla="*/ 0 h 257442"/>
                <a:gd name="connsiteX0" fmla="*/ 2484874 w 2484874"/>
                <a:gd name="connsiteY0" fmla="*/ 0 h 257442"/>
                <a:gd name="connsiteX1" fmla="*/ 2430153 w 2484874"/>
                <a:gd name="connsiteY1" fmla="*/ 257442 h 257442"/>
                <a:gd name="connsiteX2" fmla="*/ 0 w 2484874"/>
                <a:gd name="connsiteY2" fmla="*/ 257442 h 257442"/>
                <a:gd name="connsiteX3" fmla="*/ 54721 w 2484874"/>
                <a:gd name="connsiteY3" fmla="*/ 0 h 257442"/>
                <a:gd name="connsiteX0" fmla="*/ 2653190 w 2653190"/>
                <a:gd name="connsiteY0" fmla="*/ 0 h 257442"/>
                <a:gd name="connsiteX1" fmla="*/ 2430153 w 2653190"/>
                <a:gd name="connsiteY1" fmla="*/ 257442 h 257442"/>
                <a:gd name="connsiteX2" fmla="*/ 0 w 2653190"/>
                <a:gd name="connsiteY2" fmla="*/ 257442 h 257442"/>
                <a:gd name="connsiteX3" fmla="*/ 54721 w 2653190"/>
                <a:gd name="connsiteY3" fmla="*/ 0 h 257442"/>
                <a:gd name="connsiteX0" fmla="*/ 2653190 w 2653190"/>
                <a:gd name="connsiteY0" fmla="*/ 0 h 257442"/>
                <a:gd name="connsiteX1" fmla="*/ 2598469 w 2653190"/>
                <a:gd name="connsiteY1" fmla="*/ 257442 h 257442"/>
                <a:gd name="connsiteX2" fmla="*/ 0 w 2653190"/>
                <a:gd name="connsiteY2" fmla="*/ 257442 h 257442"/>
                <a:gd name="connsiteX3" fmla="*/ 54721 w 2653190"/>
                <a:gd name="connsiteY3" fmla="*/ 0 h 257442"/>
                <a:gd name="connsiteX0" fmla="*/ 2653190 w 2653190"/>
                <a:gd name="connsiteY0" fmla="*/ 0 h 257442"/>
                <a:gd name="connsiteX1" fmla="*/ 2598469 w 2653190"/>
                <a:gd name="connsiteY1" fmla="*/ 257442 h 257442"/>
                <a:gd name="connsiteX2" fmla="*/ 0 w 2653190"/>
                <a:gd name="connsiteY2" fmla="*/ 257442 h 257442"/>
                <a:gd name="connsiteX3" fmla="*/ 54721 w 2653190"/>
                <a:gd name="connsiteY3" fmla="*/ 0 h 257442"/>
                <a:gd name="connsiteX0" fmla="*/ 2653190 w 2653190"/>
                <a:gd name="connsiteY0" fmla="*/ 0 h 257442"/>
                <a:gd name="connsiteX1" fmla="*/ 2598469 w 2653190"/>
                <a:gd name="connsiteY1" fmla="*/ 257442 h 257442"/>
                <a:gd name="connsiteX2" fmla="*/ 0 w 2653190"/>
                <a:gd name="connsiteY2" fmla="*/ 257442 h 257442"/>
                <a:gd name="connsiteX3" fmla="*/ 54721 w 2653190"/>
                <a:gd name="connsiteY3" fmla="*/ 0 h 257442"/>
                <a:gd name="connsiteX0" fmla="*/ 2831123 w 2831123"/>
                <a:gd name="connsiteY0" fmla="*/ 0 h 257442"/>
                <a:gd name="connsiteX1" fmla="*/ 2598469 w 2831123"/>
                <a:gd name="connsiteY1" fmla="*/ 257442 h 257442"/>
                <a:gd name="connsiteX2" fmla="*/ 0 w 2831123"/>
                <a:gd name="connsiteY2" fmla="*/ 257442 h 257442"/>
                <a:gd name="connsiteX3" fmla="*/ 54721 w 2831123"/>
                <a:gd name="connsiteY3" fmla="*/ 0 h 257442"/>
                <a:gd name="connsiteX0" fmla="*/ 2831123 w 2831123"/>
                <a:gd name="connsiteY0" fmla="*/ 0 h 257442"/>
                <a:gd name="connsiteX1" fmla="*/ 2776402 w 2831123"/>
                <a:gd name="connsiteY1" fmla="*/ 257442 h 257442"/>
                <a:gd name="connsiteX2" fmla="*/ 0 w 2831123"/>
                <a:gd name="connsiteY2" fmla="*/ 257442 h 257442"/>
                <a:gd name="connsiteX3" fmla="*/ 54721 w 2831123"/>
                <a:gd name="connsiteY3" fmla="*/ 0 h 257442"/>
                <a:gd name="connsiteX0" fmla="*/ 2831123 w 2831123"/>
                <a:gd name="connsiteY0" fmla="*/ 0 h 257442"/>
                <a:gd name="connsiteX1" fmla="*/ 2776402 w 2831123"/>
                <a:gd name="connsiteY1" fmla="*/ 257442 h 257442"/>
                <a:gd name="connsiteX2" fmla="*/ 0 w 2831123"/>
                <a:gd name="connsiteY2" fmla="*/ 257442 h 257442"/>
                <a:gd name="connsiteX3" fmla="*/ 54721 w 2831123"/>
                <a:gd name="connsiteY3" fmla="*/ 0 h 257442"/>
                <a:gd name="connsiteX0" fmla="*/ 2831123 w 2831123"/>
                <a:gd name="connsiteY0" fmla="*/ 0 h 257442"/>
                <a:gd name="connsiteX1" fmla="*/ 2776402 w 2831123"/>
                <a:gd name="connsiteY1" fmla="*/ 257442 h 257442"/>
                <a:gd name="connsiteX2" fmla="*/ 0 w 2831123"/>
                <a:gd name="connsiteY2" fmla="*/ 257442 h 257442"/>
                <a:gd name="connsiteX3" fmla="*/ 54721 w 2831123"/>
                <a:gd name="connsiteY3" fmla="*/ 0 h 257442"/>
                <a:gd name="connsiteX0" fmla="*/ 3135694 w 3135694"/>
                <a:gd name="connsiteY0" fmla="*/ 0 h 257442"/>
                <a:gd name="connsiteX1" fmla="*/ 2776402 w 3135694"/>
                <a:gd name="connsiteY1" fmla="*/ 257442 h 257442"/>
                <a:gd name="connsiteX2" fmla="*/ 0 w 3135694"/>
                <a:gd name="connsiteY2" fmla="*/ 257442 h 257442"/>
                <a:gd name="connsiteX3" fmla="*/ 54721 w 3135694"/>
                <a:gd name="connsiteY3" fmla="*/ 0 h 257442"/>
                <a:gd name="connsiteX0" fmla="*/ 3135694 w 3135694"/>
                <a:gd name="connsiteY0" fmla="*/ 0 h 257442"/>
                <a:gd name="connsiteX1" fmla="*/ 3080972 w 3135694"/>
                <a:gd name="connsiteY1" fmla="*/ 257442 h 257442"/>
                <a:gd name="connsiteX2" fmla="*/ 0 w 3135694"/>
                <a:gd name="connsiteY2" fmla="*/ 257442 h 257442"/>
                <a:gd name="connsiteX3" fmla="*/ 54721 w 3135694"/>
                <a:gd name="connsiteY3" fmla="*/ 0 h 257442"/>
                <a:gd name="connsiteX0" fmla="*/ 3135695 w 3135695"/>
                <a:gd name="connsiteY0" fmla="*/ 0 h 257442"/>
                <a:gd name="connsiteX1" fmla="*/ 3080973 w 3135695"/>
                <a:gd name="connsiteY1" fmla="*/ 257442 h 257442"/>
                <a:gd name="connsiteX2" fmla="*/ 0 w 3135695"/>
                <a:gd name="connsiteY2" fmla="*/ 257442 h 257442"/>
                <a:gd name="connsiteX3" fmla="*/ 54722 w 3135695"/>
                <a:gd name="connsiteY3" fmla="*/ 0 h 257442"/>
                <a:gd name="connsiteX0" fmla="*/ 3135695 w 3135695"/>
                <a:gd name="connsiteY0" fmla="*/ 0 h 257442"/>
                <a:gd name="connsiteX1" fmla="*/ 3080973 w 3135695"/>
                <a:gd name="connsiteY1" fmla="*/ 257442 h 257442"/>
                <a:gd name="connsiteX2" fmla="*/ 0 w 3135695"/>
                <a:gd name="connsiteY2" fmla="*/ 257442 h 257442"/>
                <a:gd name="connsiteX3" fmla="*/ 54722 w 3135695"/>
                <a:gd name="connsiteY3" fmla="*/ 0 h 257442"/>
                <a:gd name="connsiteX0" fmla="*/ 3295995 w 3295995"/>
                <a:gd name="connsiteY0" fmla="*/ 0 h 257442"/>
                <a:gd name="connsiteX1" fmla="*/ 3080973 w 3295995"/>
                <a:gd name="connsiteY1" fmla="*/ 257442 h 257442"/>
                <a:gd name="connsiteX2" fmla="*/ 0 w 3295995"/>
                <a:gd name="connsiteY2" fmla="*/ 257442 h 257442"/>
                <a:gd name="connsiteX3" fmla="*/ 54722 w 3295995"/>
                <a:gd name="connsiteY3" fmla="*/ 0 h 257442"/>
                <a:gd name="connsiteX0" fmla="*/ 3295995 w 3295995"/>
                <a:gd name="connsiteY0" fmla="*/ 0 h 257442"/>
                <a:gd name="connsiteX1" fmla="*/ 3241274 w 3295995"/>
                <a:gd name="connsiteY1" fmla="*/ 257442 h 257442"/>
                <a:gd name="connsiteX2" fmla="*/ 0 w 3295995"/>
                <a:gd name="connsiteY2" fmla="*/ 257442 h 257442"/>
                <a:gd name="connsiteX3" fmla="*/ 54722 w 3295995"/>
                <a:gd name="connsiteY3" fmla="*/ 0 h 257442"/>
                <a:gd name="connsiteX0" fmla="*/ 3295994 w 3295994"/>
                <a:gd name="connsiteY0" fmla="*/ 0 h 257442"/>
                <a:gd name="connsiteX1" fmla="*/ 3241273 w 3295994"/>
                <a:gd name="connsiteY1" fmla="*/ 257442 h 257442"/>
                <a:gd name="connsiteX2" fmla="*/ 0 w 3295994"/>
                <a:gd name="connsiteY2" fmla="*/ 257442 h 257442"/>
                <a:gd name="connsiteX3" fmla="*/ 54721 w 3295994"/>
                <a:gd name="connsiteY3" fmla="*/ 0 h 257442"/>
                <a:gd name="connsiteX0" fmla="*/ 3295994 w 3295994"/>
                <a:gd name="connsiteY0" fmla="*/ 0 h 257442"/>
                <a:gd name="connsiteX1" fmla="*/ 3241273 w 3295994"/>
                <a:gd name="connsiteY1" fmla="*/ 257442 h 257442"/>
                <a:gd name="connsiteX2" fmla="*/ 0 w 3295994"/>
                <a:gd name="connsiteY2" fmla="*/ 257442 h 257442"/>
                <a:gd name="connsiteX3" fmla="*/ 54720 w 3295994"/>
                <a:gd name="connsiteY3" fmla="*/ 0 h 257442"/>
                <a:gd name="connsiteX0" fmla="*/ 3473927 w 3473927"/>
                <a:gd name="connsiteY0" fmla="*/ 0 h 257442"/>
                <a:gd name="connsiteX1" fmla="*/ 3241273 w 3473927"/>
                <a:gd name="connsiteY1" fmla="*/ 257442 h 257442"/>
                <a:gd name="connsiteX2" fmla="*/ 0 w 3473927"/>
                <a:gd name="connsiteY2" fmla="*/ 257442 h 257442"/>
                <a:gd name="connsiteX3" fmla="*/ 54720 w 3473927"/>
                <a:gd name="connsiteY3" fmla="*/ 0 h 257442"/>
                <a:gd name="connsiteX0" fmla="*/ 3473927 w 3473927"/>
                <a:gd name="connsiteY0" fmla="*/ 0 h 257442"/>
                <a:gd name="connsiteX1" fmla="*/ 3419206 w 3473927"/>
                <a:gd name="connsiteY1" fmla="*/ 257442 h 257442"/>
                <a:gd name="connsiteX2" fmla="*/ 0 w 3473927"/>
                <a:gd name="connsiteY2" fmla="*/ 257442 h 257442"/>
                <a:gd name="connsiteX3" fmla="*/ 54720 w 3473927"/>
                <a:gd name="connsiteY3" fmla="*/ 0 h 257442"/>
                <a:gd name="connsiteX0" fmla="*/ 3473928 w 3473928"/>
                <a:gd name="connsiteY0" fmla="*/ 0 h 257442"/>
                <a:gd name="connsiteX1" fmla="*/ 3419207 w 3473928"/>
                <a:gd name="connsiteY1" fmla="*/ 257442 h 257442"/>
                <a:gd name="connsiteX2" fmla="*/ 0 w 3473928"/>
                <a:gd name="connsiteY2" fmla="*/ 257442 h 257442"/>
                <a:gd name="connsiteX3" fmla="*/ 54721 w 3473928"/>
                <a:gd name="connsiteY3" fmla="*/ 0 h 257442"/>
                <a:gd name="connsiteX0" fmla="*/ 3473928 w 3473928"/>
                <a:gd name="connsiteY0" fmla="*/ 0 h 257442"/>
                <a:gd name="connsiteX1" fmla="*/ 3419207 w 3473928"/>
                <a:gd name="connsiteY1" fmla="*/ 257442 h 257442"/>
                <a:gd name="connsiteX2" fmla="*/ 0 w 3473928"/>
                <a:gd name="connsiteY2" fmla="*/ 257442 h 257442"/>
                <a:gd name="connsiteX3" fmla="*/ 54721 w 3473928"/>
                <a:gd name="connsiteY3" fmla="*/ 0 h 257442"/>
                <a:gd name="connsiteX0" fmla="*/ 3634228 w 3634228"/>
                <a:gd name="connsiteY0" fmla="*/ 0 h 257442"/>
                <a:gd name="connsiteX1" fmla="*/ 3419207 w 3634228"/>
                <a:gd name="connsiteY1" fmla="*/ 257442 h 257442"/>
                <a:gd name="connsiteX2" fmla="*/ 0 w 3634228"/>
                <a:gd name="connsiteY2" fmla="*/ 257442 h 257442"/>
                <a:gd name="connsiteX3" fmla="*/ 54721 w 3634228"/>
                <a:gd name="connsiteY3" fmla="*/ 0 h 257442"/>
                <a:gd name="connsiteX0" fmla="*/ 3634228 w 3634228"/>
                <a:gd name="connsiteY0" fmla="*/ 0 h 257442"/>
                <a:gd name="connsiteX1" fmla="*/ 3579507 w 3634228"/>
                <a:gd name="connsiteY1" fmla="*/ 257442 h 257442"/>
                <a:gd name="connsiteX2" fmla="*/ 0 w 3634228"/>
                <a:gd name="connsiteY2" fmla="*/ 257442 h 257442"/>
                <a:gd name="connsiteX3" fmla="*/ 54721 w 3634228"/>
                <a:gd name="connsiteY3" fmla="*/ 0 h 257442"/>
                <a:gd name="connsiteX0" fmla="*/ 3634228 w 3634228"/>
                <a:gd name="connsiteY0" fmla="*/ 0 h 257442"/>
                <a:gd name="connsiteX1" fmla="*/ 3579507 w 3634228"/>
                <a:gd name="connsiteY1" fmla="*/ 257442 h 257442"/>
                <a:gd name="connsiteX2" fmla="*/ 0 w 3634228"/>
                <a:gd name="connsiteY2" fmla="*/ 257442 h 257442"/>
                <a:gd name="connsiteX3" fmla="*/ 54721 w 3634228"/>
                <a:gd name="connsiteY3" fmla="*/ 0 h 257442"/>
                <a:gd name="connsiteX0" fmla="*/ 3634228 w 3634228"/>
                <a:gd name="connsiteY0" fmla="*/ 0 h 257442"/>
                <a:gd name="connsiteX1" fmla="*/ 3579507 w 3634228"/>
                <a:gd name="connsiteY1" fmla="*/ 257442 h 257442"/>
                <a:gd name="connsiteX2" fmla="*/ 0 w 3634228"/>
                <a:gd name="connsiteY2" fmla="*/ 257442 h 257442"/>
                <a:gd name="connsiteX3" fmla="*/ 54721 w 3634228"/>
                <a:gd name="connsiteY3" fmla="*/ 0 h 257442"/>
                <a:gd name="connsiteX0" fmla="*/ 3794528 w 3794528"/>
                <a:gd name="connsiteY0" fmla="*/ 0 h 257442"/>
                <a:gd name="connsiteX1" fmla="*/ 3579507 w 3794528"/>
                <a:gd name="connsiteY1" fmla="*/ 257442 h 257442"/>
                <a:gd name="connsiteX2" fmla="*/ 0 w 3794528"/>
                <a:gd name="connsiteY2" fmla="*/ 257442 h 257442"/>
                <a:gd name="connsiteX3" fmla="*/ 54721 w 3794528"/>
                <a:gd name="connsiteY3" fmla="*/ 0 h 257442"/>
                <a:gd name="connsiteX0" fmla="*/ 3794528 w 3794528"/>
                <a:gd name="connsiteY0" fmla="*/ 0 h 257442"/>
                <a:gd name="connsiteX1" fmla="*/ 3739807 w 3794528"/>
                <a:gd name="connsiteY1" fmla="*/ 257442 h 257442"/>
                <a:gd name="connsiteX2" fmla="*/ 0 w 3794528"/>
                <a:gd name="connsiteY2" fmla="*/ 257442 h 257442"/>
                <a:gd name="connsiteX3" fmla="*/ 54721 w 3794528"/>
                <a:gd name="connsiteY3" fmla="*/ 0 h 257442"/>
                <a:gd name="connsiteX0" fmla="*/ 3794528 w 3794528"/>
                <a:gd name="connsiteY0" fmla="*/ 0 h 257442"/>
                <a:gd name="connsiteX1" fmla="*/ 3739807 w 3794528"/>
                <a:gd name="connsiteY1" fmla="*/ 257442 h 257442"/>
                <a:gd name="connsiteX2" fmla="*/ 0 w 3794528"/>
                <a:gd name="connsiteY2" fmla="*/ 257442 h 257442"/>
                <a:gd name="connsiteX3" fmla="*/ 54721 w 3794528"/>
                <a:gd name="connsiteY3" fmla="*/ 0 h 257442"/>
                <a:gd name="connsiteX0" fmla="*/ 3794528 w 3794528"/>
                <a:gd name="connsiteY0" fmla="*/ 0 h 257442"/>
                <a:gd name="connsiteX1" fmla="*/ 3739807 w 3794528"/>
                <a:gd name="connsiteY1" fmla="*/ 257442 h 257442"/>
                <a:gd name="connsiteX2" fmla="*/ 0 w 3794528"/>
                <a:gd name="connsiteY2" fmla="*/ 257442 h 257442"/>
                <a:gd name="connsiteX3" fmla="*/ 54721 w 3794528"/>
                <a:gd name="connsiteY3" fmla="*/ 0 h 257442"/>
                <a:gd name="connsiteX0" fmla="*/ 942786 w 3739807"/>
                <a:gd name="connsiteY0" fmla="*/ 0 h 257442"/>
                <a:gd name="connsiteX1" fmla="*/ 3739807 w 3739807"/>
                <a:gd name="connsiteY1" fmla="*/ 257442 h 257442"/>
                <a:gd name="connsiteX2" fmla="*/ 0 w 3739807"/>
                <a:gd name="connsiteY2" fmla="*/ 257442 h 257442"/>
                <a:gd name="connsiteX3" fmla="*/ 54721 w 3739807"/>
                <a:gd name="connsiteY3" fmla="*/ 0 h 257442"/>
                <a:gd name="connsiteX0" fmla="*/ 942786 w 942786"/>
                <a:gd name="connsiteY0" fmla="*/ 0 h 257442"/>
                <a:gd name="connsiteX1" fmla="*/ 888066 w 942786"/>
                <a:gd name="connsiteY1" fmla="*/ 257442 h 257442"/>
                <a:gd name="connsiteX2" fmla="*/ 0 w 942786"/>
                <a:gd name="connsiteY2" fmla="*/ 257442 h 257442"/>
                <a:gd name="connsiteX3" fmla="*/ 54721 w 942786"/>
                <a:gd name="connsiteY3" fmla="*/ 0 h 257442"/>
                <a:gd name="connsiteX0" fmla="*/ 942785 w 942785"/>
                <a:gd name="connsiteY0" fmla="*/ 0 h 257442"/>
                <a:gd name="connsiteX1" fmla="*/ 888065 w 942785"/>
                <a:gd name="connsiteY1" fmla="*/ 257442 h 257442"/>
                <a:gd name="connsiteX2" fmla="*/ 0 w 942785"/>
                <a:gd name="connsiteY2" fmla="*/ 257442 h 257442"/>
                <a:gd name="connsiteX3" fmla="*/ 54720 w 942785"/>
                <a:gd name="connsiteY3" fmla="*/ 0 h 257442"/>
                <a:gd name="connsiteX0" fmla="*/ 942785 w 942785"/>
                <a:gd name="connsiteY0" fmla="*/ 0 h 257442"/>
                <a:gd name="connsiteX1" fmla="*/ 888065 w 942785"/>
                <a:gd name="connsiteY1" fmla="*/ 257442 h 257442"/>
                <a:gd name="connsiteX2" fmla="*/ 0 w 942785"/>
                <a:gd name="connsiteY2" fmla="*/ 257442 h 257442"/>
                <a:gd name="connsiteX3" fmla="*/ 54721 w 942785"/>
                <a:gd name="connsiteY3" fmla="*/ 0 h 257442"/>
                <a:gd name="connsiteX0" fmla="*/ 1111101 w 1111101"/>
                <a:gd name="connsiteY0" fmla="*/ 0 h 257442"/>
                <a:gd name="connsiteX1" fmla="*/ 888065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279416 w 1279416"/>
                <a:gd name="connsiteY0" fmla="*/ 0 h 257442"/>
                <a:gd name="connsiteX1" fmla="*/ 1056380 w 1279416"/>
                <a:gd name="connsiteY1" fmla="*/ 257442 h 257442"/>
                <a:gd name="connsiteX2" fmla="*/ 0 w 1279416"/>
                <a:gd name="connsiteY2" fmla="*/ 257442 h 257442"/>
                <a:gd name="connsiteX3" fmla="*/ 54721 w 1279416"/>
                <a:gd name="connsiteY3" fmla="*/ 0 h 257442"/>
                <a:gd name="connsiteX0" fmla="*/ 1279416 w 1279416"/>
                <a:gd name="connsiteY0" fmla="*/ 0 h 257442"/>
                <a:gd name="connsiteX1" fmla="*/ 1224694 w 1279416"/>
                <a:gd name="connsiteY1" fmla="*/ 257442 h 257442"/>
                <a:gd name="connsiteX2" fmla="*/ 0 w 1279416"/>
                <a:gd name="connsiteY2" fmla="*/ 257442 h 257442"/>
                <a:gd name="connsiteX3" fmla="*/ 54721 w 1279416"/>
                <a:gd name="connsiteY3" fmla="*/ 0 h 257442"/>
                <a:gd name="connsiteX0" fmla="*/ 1279417 w 1279417"/>
                <a:gd name="connsiteY0" fmla="*/ 0 h 257442"/>
                <a:gd name="connsiteX1" fmla="*/ 1224695 w 1279417"/>
                <a:gd name="connsiteY1" fmla="*/ 257442 h 257442"/>
                <a:gd name="connsiteX2" fmla="*/ 0 w 1279417"/>
                <a:gd name="connsiteY2" fmla="*/ 257442 h 257442"/>
                <a:gd name="connsiteX3" fmla="*/ 54722 w 1279417"/>
                <a:gd name="connsiteY3" fmla="*/ 0 h 257442"/>
                <a:gd name="connsiteX0" fmla="*/ 1279417 w 1279417"/>
                <a:gd name="connsiteY0" fmla="*/ 0 h 257442"/>
                <a:gd name="connsiteX1" fmla="*/ 1224695 w 1279417"/>
                <a:gd name="connsiteY1" fmla="*/ 257442 h 257442"/>
                <a:gd name="connsiteX2" fmla="*/ 0 w 1279417"/>
                <a:gd name="connsiteY2" fmla="*/ 257442 h 257442"/>
                <a:gd name="connsiteX3" fmla="*/ 54722 w 1279417"/>
                <a:gd name="connsiteY3" fmla="*/ 0 h 257442"/>
                <a:gd name="connsiteX0" fmla="*/ 1447733 w 1447733"/>
                <a:gd name="connsiteY0" fmla="*/ 0 h 257442"/>
                <a:gd name="connsiteX1" fmla="*/ 1224695 w 1447733"/>
                <a:gd name="connsiteY1" fmla="*/ 257442 h 257442"/>
                <a:gd name="connsiteX2" fmla="*/ 0 w 1447733"/>
                <a:gd name="connsiteY2" fmla="*/ 257442 h 257442"/>
                <a:gd name="connsiteX3" fmla="*/ 54722 w 1447733"/>
                <a:gd name="connsiteY3" fmla="*/ 0 h 257442"/>
                <a:gd name="connsiteX0" fmla="*/ 1447733 w 1447733"/>
                <a:gd name="connsiteY0" fmla="*/ 0 h 257442"/>
                <a:gd name="connsiteX1" fmla="*/ 1393012 w 1447733"/>
                <a:gd name="connsiteY1" fmla="*/ 257442 h 257442"/>
                <a:gd name="connsiteX2" fmla="*/ 0 w 1447733"/>
                <a:gd name="connsiteY2" fmla="*/ 257442 h 257442"/>
                <a:gd name="connsiteX3" fmla="*/ 54722 w 1447733"/>
                <a:gd name="connsiteY3" fmla="*/ 0 h 257442"/>
                <a:gd name="connsiteX0" fmla="*/ 1447732 w 1447732"/>
                <a:gd name="connsiteY0" fmla="*/ 0 h 257442"/>
                <a:gd name="connsiteX1" fmla="*/ 1393011 w 1447732"/>
                <a:gd name="connsiteY1" fmla="*/ 257442 h 257442"/>
                <a:gd name="connsiteX2" fmla="*/ 0 w 1447732"/>
                <a:gd name="connsiteY2" fmla="*/ 257442 h 257442"/>
                <a:gd name="connsiteX3" fmla="*/ 54721 w 1447732"/>
                <a:gd name="connsiteY3" fmla="*/ 0 h 257442"/>
                <a:gd name="connsiteX0" fmla="*/ 1447732 w 1447732"/>
                <a:gd name="connsiteY0" fmla="*/ 0 h 257442"/>
                <a:gd name="connsiteX1" fmla="*/ 1393011 w 1447732"/>
                <a:gd name="connsiteY1" fmla="*/ 257442 h 257442"/>
                <a:gd name="connsiteX2" fmla="*/ 0 w 1447732"/>
                <a:gd name="connsiteY2" fmla="*/ 257442 h 257442"/>
                <a:gd name="connsiteX3" fmla="*/ 54720 w 1447732"/>
                <a:gd name="connsiteY3" fmla="*/ 0 h 257442"/>
                <a:gd name="connsiteX0" fmla="*/ 1616046 w 1616046"/>
                <a:gd name="connsiteY0" fmla="*/ 0 h 257442"/>
                <a:gd name="connsiteX1" fmla="*/ 1393011 w 1616046"/>
                <a:gd name="connsiteY1" fmla="*/ 257442 h 257442"/>
                <a:gd name="connsiteX2" fmla="*/ 0 w 1616046"/>
                <a:gd name="connsiteY2" fmla="*/ 257442 h 257442"/>
                <a:gd name="connsiteX3" fmla="*/ 54720 w 1616046"/>
                <a:gd name="connsiteY3" fmla="*/ 0 h 257442"/>
                <a:gd name="connsiteX0" fmla="*/ 1616046 w 1616046"/>
                <a:gd name="connsiteY0" fmla="*/ 0 h 257442"/>
                <a:gd name="connsiteX1" fmla="*/ 1561325 w 1616046"/>
                <a:gd name="connsiteY1" fmla="*/ 257442 h 257442"/>
                <a:gd name="connsiteX2" fmla="*/ 0 w 1616046"/>
                <a:gd name="connsiteY2" fmla="*/ 257442 h 257442"/>
                <a:gd name="connsiteX3" fmla="*/ 54720 w 1616046"/>
                <a:gd name="connsiteY3" fmla="*/ 0 h 257442"/>
                <a:gd name="connsiteX0" fmla="*/ 1616047 w 1616047"/>
                <a:gd name="connsiteY0" fmla="*/ 0 h 257442"/>
                <a:gd name="connsiteX1" fmla="*/ 1561326 w 1616047"/>
                <a:gd name="connsiteY1" fmla="*/ 257442 h 257442"/>
                <a:gd name="connsiteX2" fmla="*/ 0 w 1616047"/>
                <a:gd name="connsiteY2" fmla="*/ 257442 h 257442"/>
                <a:gd name="connsiteX3" fmla="*/ 54721 w 1616047"/>
                <a:gd name="connsiteY3" fmla="*/ 0 h 257442"/>
                <a:gd name="connsiteX0" fmla="*/ 1616047 w 1616047"/>
                <a:gd name="connsiteY0" fmla="*/ 0 h 257442"/>
                <a:gd name="connsiteX1" fmla="*/ 1561326 w 1616047"/>
                <a:gd name="connsiteY1" fmla="*/ 257442 h 257442"/>
                <a:gd name="connsiteX2" fmla="*/ 0 w 1616047"/>
                <a:gd name="connsiteY2" fmla="*/ 257442 h 257442"/>
                <a:gd name="connsiteX3" fmla="*/ 54722 w 1616047"/>
                <a:gd name="connsiteY3" fmla="*/ 0 h 257442"/>
                <a:gd name="connsiteX0" fmla="*/ 1857909 w 1857909"/>
                <a:gd name="connsiteY0" fmla="*/ 0 h 257442"/>
                <a:gd name="connsiteX1" fmla="*/ 1561326 w 1857909"/>
                <a:gd name="connsiteY1" fmla="*/ 257442 h 257442"/>
                <a:gd name="connsiteX2" fmla="*/ 0 w 1857909"/>
                <a:gd name="connsiteY2" fmla="*/ 257442 h 257442"/>
                <a:gd name="connsiteX3" fmla="*/ 54722 w 1857909"/>
                <a:gd name="connsiteY3" fmla="*/ 0 h 257442"/>
                <a:gd name="connsiteX0" fmla="*/ 1857909 w 1857909"/>
                <a:gd name="connsiteY0" fmla="*/ 0 h 257442"/>
                <a:gd name="connsiteX1" fmla="*/ 1803188 w 1857909"/>
                <a:gd name="connsiteY1" fmla="*/ 257442 h 257442"/>
                <a:gd name="connsiteX2" fmla="*/ 0 w 1857909"/>
                <a:gd name="connsiteY2" fmla="*/ 257442 h 257442"/>
                <a:gd name="connsiteX3" fmla="*/ 54722 w 1857909"/>
                <a:gd name="connsiteY3" fmla="*/ 0 h 257442"/>
                <a:gd name="connsiteX0" fmla="*/ 1857908 w 1857908"/>
                <a:gd name="connsiteY0" fmla="*/ 0 h 257442"/>
                <a:gd name="connsiteX1" fmla="*/ 1803187 w 1857908"/>
                <a:gd name="connsiteY1" fmla="*/ 257442 h 257442"/>
                <a:gd name="connsiteX2" fmla="*/ 0 w 1857908"/>
                <a:gd name="connsiteY2" fmla="*/ 257442 h 257442"/>
                <a:gd name="connsiteX3" fmla="*/ 54721 w 1857908"/>
                <a:gd name="connsiteY3" fmla="*/ 0 h 257442"/>
                <a:gd name="connsiteX0" fmla="*/ 1857908 w 1857908"/>
                <a:gd name="connsiteY0" fmla="*/ 0 h 257442"/>
                <a:gd name="connsiteX1" fmla="*/ 1803187 w 1857908"/>
                <a:gd name="connsiteY1" fmla="*/ 257442 h 257442"/>
                <a:gd name="connsiteX2" fmla="*/ 0 w 1857908"/>
                <a:gd name="connsiteY2" fmla="*/ 257442 h 257442"/>
                <a:gd name="connsiteX3" fmla="*/ 54720 w 1857908"/>
                <a:gd name="connsiteY3" fmla="*/ 0 h 257442"/>
                <a:gd name="connsiteX0" fmla="*/ 2035841 w 2035841"/>
                <a:gd name="connsiteY0" fmla="*/ 0 h 257442"/>
                <a:gd name="connsiteX1" fmla="*/ 1803187 w 2035841"/>
                <a:gd name="connsiteY1" fmla="*/ 257442 h 257442"/>
                <a:gd name="connsiteX2" fmla="*/ 0 w 2035841"/>
                <a:gd name="connsiteY2" fmla="*/ 257442 h 257442"/>
                <a:gd name="connsiteX3" fmla="*/ 54720 w 2035841"/>
                <a:gd name="connsiteY3" fmla="*/ 0 h 257442"/>
                <a:gd name="connsiteX0" fmla="*/ 2035841 w 2035841"/>
                <a:gd name="connsiteY0" fmla="*/ 0 h 257442"/>
                <a:gd name="connsiteX1" fmla="*/ 1981120 w 2035841"/>
                <a:gd name="connsiteY1" fmla="*/ 257442 h 257442"/>
                <a:gd name="connsiteX2" fmla="*/ 0 w 2035841"/>
                <a:gd name="connsiteY2" fmla="*/ 257442 h 257442"/>
                <a:gd name="connsiteX3" fmla="*/ 54720 w 2035841"/>
                <a:gd name="connsiteY3" fmla="*/ 0 h 257442"/>
                <a:gd name="connsiteX0" fmla="*/ 2035842 w 2035842"/>
                <a:gd name="connsiteY0" fmla="*/ 0 h 257442"/>
                <a:gd name="connsiteX1" fmla="*/ 1981121 w 2035842"/>
                <a:gd name="connsiteY1" fmla="*/ 257442 h 257442"/>
                <a:gd name="connsiteX2" fmla="*/ 0 w 2035842"/>
                <a:gd name="connsiteY2" fmla="*/ 257442 h 257442"/>
                <a:gd name="connsiteX3" fmla="*/ 54721 w 2035842"/>
                <a:gd name="connsiteY3" fmla="*/ 0 h 257442"/>
                <a:gd name="connsiteX0" fmla="*/ 2035842 w 2035842"/>
                <a:gd name="connsiteY0" fmla="*/ 0 h 257442"/>
                <a:gd name="connsiteX1" fmla="*/ 1981121 w 2035842"/>
                <a:gd name="connsiteY1" fmla="*/ 257442 h 257442"/>
                <a:gd name="connsiteX2" fmla="*/ 0 w 2035842"/>
                <a:gd name="connsiteY2" fmla="*/ 257442 h 257442"/>
                <a:gd name="connsiteX3" fmla="*/ 54721 w 2035842"/>
                <a:gd name="connsiteY3" fmla="*/ 0 h 257442"/>
                <a:gd name="connsiteX0" fmla="*/ 2204157 w 2204157"/>
                <a:gd name="connsiteY0" fmla="*/ 0 h 257442"/>
                <a:gd name="connsiteX1" fmla="*/ 1981121 w 2204157"/>
                <a:gd name="connsiteY1" fmla="*/ 257442 h 257442"/>
                <a:gd name="connsiteX2" fmla="*/ 0 w 2204157"/>
                <a:gd name="connsiteY2" fmla="*/ 257442 h 257442"/>
                <a:gd name="connsiteX3" fmla="*/ 54721 w 2204157"/>
                <a:gd name="connsiteY3" fmla="*/ 0 h 257442"/>
                <a:gd name="connsiteX0" fmla="*/ 2204157 w 2204157"/>
                <a:gd name="connsiteY0" fmla="*/ 0 h 257442"/>
                <a:gd name="connsiteX1" fmla="*/ 2149436 w 2204157"/>
                <a:gd name="connsiteY1" fmla="*/ 257442 h 257442"/>
                <a:gd name="connsiteX2" fmla="*/ 0 w 2204157"/>
                <a:gd name="connsiteY2" fmla="*/ 257442 h 257442"/>
                <a:gd name="connsiteX3" fmla="*/ 54721 w 2204157"/>
                <a:gd name="connsiteY3" fmla="*/ 0 h 257442"/>
                <a:gd name="connsiteX0" fmla="*/ 2204157 w 2204157"/>
                <a:gd name="connsiteY0" fmla="*/ 0 h 257442"/>
                <a:gd name="connsiteX1" fmla="*/ 2149436 w 2204157"/>
                <a:gd name="connsiteY1" fmla="*/ 257442 h 257442"/>
                <a:gd name="connsiteX2" fmla="*/ 0 w 2204157"/>
                <a:gd name="connsiteY2" fmla="*/ 257442 h 257442"/>
                <a:gd name="connsiteX3" fmla="*/ 54721 w 2204157"/>
                <a:gd name="connsiteY3" fmla="*/ 0 h 257442"/>
                <a:gd name="connsiteX0" fmla="*/ 2204157 w 2204157"/>
                <a:gd name="connsiteY0" fmla="*/ 0 h 257442"/>
                <a:gd name="connsiteX1" fmla="*/ 2149436 w 2204157"/>
                <a:gd name="connsiteY1" fmla="*/ 257442 h 257442"/>
                <a:gd name="connsiteX2" fmla="*/ 0 w 2204157"/>
                <a:gd name="connsiteY2" fmla="*/ 257442 h 257442"/>
                <a:gd name="connsiteX3" fmla="*/ 54721 w 2204157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04157" h="257442">
                  <a:moveTo>
                    <a:pt x="2204157" y="0"/>
                  </a:moveTo>
                  <a:lnTo>
                    <a:pt x="2149436" y="257442"/>
                  </a:lnTo>
                  <a:lnTo>
                    <a:pt x="0" y="257442"/>
                  </a:lnTo>
                  <a:lnTo>
                    <a:pt x="54721" y="0"/>
                  </a:lnTo>
                  <a:close/>
                </a:path>
              </a:pathLst>
            </a:custGeom>
            <a:solidFill>
              <a:srgbClr val="B4B4B4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" name="btfpRunningAgenda2LevelTextRight228391">
              <a:extLst>
                <a:ext uri="{FF2B5EF4-FFF2-40B4-BE49-F238E27FC236}">
                  <a16:creationId xmlns:a16="http://schemas.microsoft.com/office/drawing/2014/main" id="{A705D401-B388-4CD5-A573-B3DCABCC0E18}"/>
                </a:ext>
              </a:extLst>
            </p:cNvPr>
            <p:cNvSpPr txBox="1"/>
            <p:nvPr/>
          </p:nvSpPr>
          <p:spPr bwMode="gray">
            <a:xfrm>
              <a:off x="2192937" y="876300"/>
              <a:ext cx="2149436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all" spc="4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DUCATION</a:t>
              </a:r>
            </a:p>
          </p:txBody>
        </p:sp>
      </p:grpSp>
      <p:sp>
        <p:nvSpPr>
          <p:cNvPr id="31" name="btfpNotesBox521293">
            <a:extLst>
              <a:ext uri="{FF2B5EF4-FFF2-40B4-BE49-F238E27FC236}">
                <a16:creationId xmlns:a16="http://schemas.microsoft.com/office/drawing/2014/main" id="{7FCD83D4-0A84-15CB-41B6-52A705CEF459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gray">
          <a:xfrm>
            <a:off x="330200" y="6319363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Note: Bars are sorted basis total number of employees; Top lines may not match since Education is a user reported KPI and not all users mention about the same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Source: Aura, Bain analysis </a:t>
            </a:r>
          </a:p>
        </p:txBody>
      </p:sp>
      <p:pic>
        <p:nvPicPr>
          <p:cNvPr id="48" name="Picture 47">
            <a:extLst>
              <a:ext uri="{FF2B5EF4-FFF2-40B4-BE49-F238E27FC236}">
                <a16:creationId xmlns:a16="http://schemas.microsoft.com/office/drawing/2014/main" id="{92AD20F6-5362-544A-AA00-B09F2968301C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0551169" y="6215844"/>
            <a:ext cx="1261892" cy="353608"/>
          </a:xfrm>
          <a:prstGeom prst="rect">
            <a:avLst/>
          </a:prstGeom>
        </p:spPr>
      </p:pic>
      <p:grpSp>
        <p:nvGrpSpPr>
          <p:cNvPr id="53" name="btfpStatusSticker323952">
            <a:extLst>
              <a:ext uri="{FF2B5EF4-FFF2-40B4-BE49-F238E27FC236}">
                <a16:creationId xmlns:a16="http://schemas.microsoft.com/office/drawing/2014/main" id="{9AED61AC-D9FC-C600-87A7-05F54C92581E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10102664" y="955344"/>
            <a:ext cx="1759136" cy="235611"/>
            <a:chOff x="-2269853" y="876300"/>
            <a:chExt cx="1759136" cy="235611"/>
          </a:xfrm>
        </p:grpSpPr>
        <p:sp>
          <p:nvSpPr>
            <p:cNvPr id="51" name="btfpStatusStickerText323952">
              <a:extLst>
                <a:ext uri="{FF2B5EF4-FFF2-40B4-BE49-F238E27FC236}">
                  <a16:creationId xmlns:a16="http://schemas.microsoft.com/office/drawing/2014/main" id="{2B8FCCD3-088A-7DFB-1D28-31C979763166}"/>
                </a:ext>
              </a:extLst>
            </p:cNvPr>
            <p:cNvSpPr txBox="1"/>
            <p:nvPr/>
          </p:nvSpPr>
          <p:spPr bwMode="gray">
            <a:xfrm>
              <a:off x="-2269853" y="876300"/>
              <a:ext cx="1759136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000000"/>
                  </a:solidFill>
                </a:rPr>
                <a:t>directional</a:t>
              </a:r>
            </a:p>
          </p:txBody>
        </p:sp>
        <p:cxnSp>
          <p:nvCxnSpPr>
            <p:cNvPr id="52" name="btfpStatusStickerLine323952">
              <a:extLst>
                <a:ext uri="{FF2B5EF4-FFF2-40B4-BE49-F238E27FC236}">
                  <a16:creationId xmlns:a16="http://schemas.microsoft.com/office/drawing/2014/main" id="{C03E4E9E-DC81-95BC-B279-B39ADDEFAF28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2269853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7" name="Title 1">
            <a:extLst>
              <a:ext uri="{FF2B5EF4-FFF2-40B4-BE49-F238E27FC236}">
                <a16:creationId xmlns:a16="http://schemas.microsoft.com/office/drawing/2014/main" id="{AA1EFB40-3C18-DF92-C219-B887D4BFA3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1"/>
            <a:ext cx="11522075" cy="876687"/>
          </a:xfrm>
        </p:spPr>
        <p:txBody>
          <a:bodyPr vert="horz"/>
          <a:lstStyle/>
          <a:p>
            <a:r>
              <a:rPr lang="en-US" dirty="0">
                <a:highlight>
                  <a:srgbClr val="FFFFFF"/>
                </a:highlight>
              </a:rPr>
              <a:t>Majority of emp. hold a Master’s degree across most players with Peer 1 having higher share of emp. with a Master’s degree; Target falls in line with peers</a:t>
            </a:r>
            <a:endParaRPr lang="en-US" b="1" dirty="0">
              <a:solidFill>
                <a:srgbClr val="FF0000"/>
              </a:solidFill>
              <a:highlight>
                <a:srgbClr val="FFFFFF"/>
              </a:highlight>
            </a:endParaRPr>
          </a:p>
        </p:txBody>
      </p:sp>
      <p:grpSp>
        <p:nvGrpSpPr>
          <p:cNvPr id="20" name="btfpStatusSticker288847">
            <a:extLst>
              <a:ext uri="{FF2B5EF4-FFF2-40B4-BE49-F238E27FC236}">
                <a16:creationId xmlns:a16="http://schemas.microsoft.com/office/drawing/2014/main" id="{0792B40D-04E0-E3E1-8191-DC6609BD291A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8760843" y="955344"/>
            <a:ext cx="1212512" cy="235611"/>
            <a:chOff x="-2619627" y="876300"/>
            <a:chExt cx="1212512" cy="235611"/>
          </a:xfrm>
        </p:grpSpPr>
        <p:sp>
          <p:nvSpPr>
            <p:cNvPr id="22" name="btfpStatusStickerText288847">
              <a:extLst>
                <a:ext uri="{FF2B5EF4-FFF2-40B4-BE49-F238E27FC236}">
                  <a16:creationId xmlns:a16="http://schemas.microsoft.com/office/drawing/2014/main" id="{100CA3A6-64BD-57FA-A06C-2E4E1C1440EF}"/>
                </a:ext>
              </a:extLst>
            </p:cNvPr>
            <p:cNvSpPr txBox="1"/>
            <p:nvPr/>
          </p:nvSpPr>
          <p:spPr bwMode="gray">
            <a:xfrm>
              <a:off x="-2619627" y="876300"/>
              <a:ext cx="1212512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000000"/>
                  </a:solidFill>
                </a:rPr>
                <a:t>overall</a:t>
              </a:r>
            </a:p>
          </p:txBody>
        </p:sp>
        <p:cxnSp>
          <p:nvCxnSpPr>
            <p:cNvPr id="23" name="btfpStatusStickerLine288847">
              <a:extLst>
                <a:ext uri="{FF2B5EF4-FFF2-40B4-BE49-F238E27FC236}">
                  <a16:creationId xmlns:a16="http://schemas.microsoft.com/office/drawing/2014/main" id="{0C2BF38E-24D7-81E4-E2CC-9B3F450F56A7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2619627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6" name="Rectangle 45">
            <a:extLst>
              <a:ext uri="{FF2B5EF4-FFF2-40B4-BE49-F238E27FC236}">
                <a16:creationId xmlns:a16="http://schemas.microsoft.com/office/drawing/2014/main" id="{49FD45F2-F766-F1EC-9E0E-2E7F2A3943A9}"/>
              </a:ext>
            </a:extLst>
          </p:cNvPr>
          <p:cNvSpPr/>
          <p:nvPr/>
        </p:nvSpPr>
        <p:spPr bwMode="gray">
          <a:xfrm>
            <a:off x="9671459" y="1760044"/>
            <a:ext cx="879710" cy="4000807"/>
          </a:xfrm>
          <a:prstGeom prst="rect">
            <a:avLst/>
          </a:prstGeom>
          <a:noFill/>
          <a:ln w="12700">
            <a:solidFill>
              <a:schemeClr val="accent3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chemeClr val="tx1"/>
              </a:solidFill>
            </a:endParaRPr>
          </a:p>
        </p:txBody>
      </p:sp>
      <p:sp>
        <p:nvSpPr>
          <p:cNvPr id="47" name="Rectangle: Rounded Corners 46">
            <a:extLst>
              <a:ext uri="{FF2B5EF4-FFF2-40B4-BE49-F238E27FC236}">
                <a16:creationId xmlns:a16="http://schemas.microsoft.com/office/drawing/2014/main" id="{A005432A-7711-4932-26EE-1CCB8618DFB2}"/>
              </a:ext>
            </a:extLst>
          </p:cNvPr>
          <p:cNvSpPr/>
          <p:nvPr/>
        </p:nvSpPr>
        <p:spPr bwMode="gray">
          <a:xfrm>
            <a:off x="10747068" y="796006"/>
            <a:ext cx="956332" cy="382533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00" dirty="0">
                <a:solidFill>
                  <a:schemeClr val="tx1"/>
                </a:solidFill>
              </a:rPr>
              <a:t>BCN updated 05/09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017747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4" name="think-cell data - do not delete" hidden="1">
            <a:extLst>
              <a:ext uri="{FF2B5EF4-FFF2-40B4-BE49-F238E27FC236}">
                <a16:creationId xmlns:a16="http://schemas.microsoft.com/office/drawing/2014/main" id="{93F0492B-A78A-B489-664F-AC216335F9C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836067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404" imgH="405" progId="TCLayout.ActiveDocument.1">
                  <p:embed/>
                </p:oleObj>
              </mc:Choice>
              <mc:Fallback>
                <p:oleObj name="think-cell Slide" r:id="rId30" imgW="404" imgH="405" progId="TCLayout.ActiveDocument.1">
                  <p:embed/>
                  <p:pic>
                    <p:nvPicPr>
                      <p:cNvPr id="5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3F0492B-A78A-B489-664F-AC216335F9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r0lg9IPP9y8umrse/9AoLT5R0GKq+XM9pr/aTyOTf0wptcuHbHxeyqBm9svU01qeeEM1v0hpSHUgirOnAK/wuhh4R0jlrHnY+9pFyM8mIa/v+EBRT4DxCrO4MOZv053OPZGuBPBkVTM93MBe9Uwqf4aYnlMSZvsL3oxynmN4ZyHez2Gu5Besl3qxqPf4w7kkGjcfx21rtUtqz54pGW2EahJvCwJSTBgeYUe/G/Za7TK2ixHK+x3nW56q7eZo+z2won0JnoKCGwuAbm+KG95GAvJp9MB862hQs23z3qdKCjiZwGj33JaHcf7hyG9TAcfS4Q4kM7UpETKrfjCJJhZxJ/ddhWAVBiI/BwsHAOu2NO7XupYekC73SwZ3vnasUIHnc3tB7ClR3OZoqwvRvi7WVjNE8i7jstHE8EFE75riLXhzA2fuVh20fzVNyVfxbbPrFH3CttRyKxOv8edX2mwpkTyQZLJY8N5kU/nsB+PUxTStFeIFRQWNoPz1BoLk05VqS97NRKzBA3Ii+AdOLaHxWWJmoUMXgHPCqQvTrIPbl9FfXBDKM+3zabQgAbj8drhN7thjAsI1/OjhRZALaG1ybDP4JLADIGIH0+lWb/+YKqt5qDoox1U7f87CNrDd7TrjqoexWcH3oyMX2e2vay+pmwPBKtk/284bYESAvLoXdGp/CHb61dRU3IXHBgldQKaI+DrCdQKiFCqzqxQyBMkR1G+8yZXJCdPURaN+Hrs6AshgQ9N3aB00cBhsJGqFPg71n2votLSAD5zkmQdRSQRHy0lKbZrxX9WNJMhoOoXSDhmP8XHQa5MqySSJD2O6u7ZcuuvwxDw+JZZ4PlOZv9RXSQt6gKrn/ijABEt1Zpf3pteDa23tgJeKudJkntLt5fYgRNEr8aLWPQAzMdzc5mITp3GtsdPHM/8bf6dquDQY0IYQWC91tYEVJC4yLRuRgC8qi3qys8TdLowMGTcgQBgCJrRh1VVWrFjGa74XfYwaYP9gxXeIP/XneSOKmsYiDHWn1zjwhn/bDPzLkBIwXmPe7qtIZXZgzhf8ApP28kj1fXv/N8vQPrfnxAahkwLLeZeICY3jvnERP2UKBnzWxtOeM3Uno4qglZZnkzvFQ3KbzMnZPck6pX6TAJT/35ddOmLBonAwIre1k+7GzGhw0VkKeucIK49v9W6GsavDs8MS+2cEcGt6TXoBx2aY3dGmccBn23fK365xlOKa33Q2PTjJtkWEPZn+2eQI5XwH7uDGsJe/Z6gPVE0gYRVCnPkpu8yIf/tSEfbWCEAqirFqBXXCXkIZ+lHbJ/2jwGr/WMHd2P36xenrjkLWjjsDfS1tMaFYrtecyWBh14CPA5dyz5J6X3WQMvHUT8PNTSiEz3wCWbWQRrOH9qBijjLcglucag1Bt5AtjGHRNa8QB59aQ3xtdjLsvb/lMXDqR/Sh6xxtEpWoMkrhSBwzOz50xYAlOkSe5T/St30lw+Fn8f6OM1nEZ8D08fUlvY2gjOIueYCcu7pfDXcnJ51F79J3kCAMJ7h2CDZiAF8D1xPiqZHwJO9D3tDwvclFWqiEc+GIUjYgzgaL0oBLXPhvFj4c5NBQIXusd2YBUp3czpjwDtDi7YIjei1g+301tNQ8+D7lo3bAk9qUb0jSoTmjnooZqraMSvawgjPFed+U1rQ32Zl7AlKpm9ajS4GylSt5Q2Qr2vGt4AoR27cnyhEzBPLtxtWiDaFKaH6e2YRtHwHhqpig0a881EapG7bmHv/C1L1WK6gqrZhdHlc9CtmL5XwkDJAxjHFiCQggPGlccwNOlrGXQiq+1SxqbO1fReTq4rZAR2N7WJ3v0v+mEoLqUsV9gLQCxdA0rwfeHkk6aJxoXxmVSw681yGa67FcxJuJpWTxKgQjk2FryNMQezgg/gGCPPe6xU1BiHWwCWtmndOjNqarZxq9+oJ09BhD2m4h2zx0KO883Dvkd/9RwLkJE0Vhjw9a4fAf8j8WCKpty4aHCGIxhYrc+b5RuEb9JJ0wGEXL/I0euc+EwbS6/oxaOQFhAu1hhpb9bb4gN/cQD4Edy/f6WCxaZ2/uYMDPLhZcXCbjGaCbx+9enVqb8rj0x0ieJGDY3fHWN3h7hCSwDnOettrQX7TrLHJ/Wnr46/xPwjCzz8pYhCXK2KQYWTDt1lR4uvFNxvCK8jafepbGtmm4Zz4k5td6a3NA9hGrvjTWMzzy6J8WbiFjipbUlkRE03MrU+uDgRxVAdbsLSmhG98pwW0GMG8Eyf58ObSLKpoXIIN5nDDNoU42DNgS2mHwwcv+crxrUBgFE1fghn6fdW3EDJaFCHSWfwA+oIk4xRfeNv/PKxUJpzy//qh9+GWABZjm2OjlEHGzawwEBhzApnzjqLkCFuabdViCEOXOAC2/P7JtdBfF/ZmHfVOnkezZZv8RrdfCaKJboHe0KBvBTVMjdh7TQBvlqQd9lTnx3kiJoC0MSvCg7LPyasO/+cOuXwyXhbOXlFSUQ4gnBDICPoqRhdVVaxQIBRIjvPADrh35g5AN1z+oYWU0vhU88z2E/MsK+kTE4JkR7tgi2CkZLMlVZi4wm4bW5bbiou/6xTSAD+INxqcFy4eqWS3zswMmNNZuz8L9iRYDm+xNruJphLzEsaZtD646Bo+syjfWkO8narDs0FM30PW4ZPERPjb0kDUBSYjN5C5IFrLuvsdGkPwjRGQbQ5puv4cIS5DIK7vbSdKj1LSu4DQqcXq7QZ3lDH00QmnD3/pkKf31ufIpfSvpnTD03Y5ezjZgtw65sU/FXGSw6mOiaeIzzQE/Om1zsll9FU1b/y/YD3XRrBh+i3uoQezK+Z3MsMQ2DuaTZWAnDiXlAsH6v4v3nY1maWkl2wGb7Xu7Mf3aVHbpZI7YnZ0t/LJkp0KzDUeUNNDS9MfHTVbix/zK2gG0QdniDKwPVvrURTK1ZKbWfqlZguSFY+hmUMIsnMSSdfXMXV6knfskU8O+jUTuIBKvO2bMU3wwnsWBAzLt8J0FM9RK56HIG9V+Q7fvsMYZ9MFPJl8a4qM9bObkhEEs58L0XnHcBKLlFu8XSa06JIkKm5kB+JhkcB4U377i12TO0rb7zuglyLy1R6KxPMc3vs0lTMw/oLf71lejYI9otiwLrIJxs7I8HKjnk0reTcLGOn4o13uo+LJcYB8NV+onx1Y9BygjRLYBzvjoc/HBwvIUOy8klB/P29VMfyJg3dxFVcU892fCqRgxSGeWOXygejoUG08pi0NDgYBJ5isvfegCc9BF82U+Bt/JFY2uAGXPd0uM+HvF94nDZ6U/K2nVlqHaKd3RbA8vFX9rzvudqg6z5fC58PVRa5bmYymuEP7k2SZ5zdmC9COcTTqSiCQsgZfX3QB4rbJTNyNznY/mIYV9+5T2QlJYAnpc3L20qaTL87GoM6+1o8eZZBDna6ILdhqBvBjOLW+TPsXA3K8lliDVkUDQ5+uzzgTECksinJi6ta4U6HQzNkyzoTmbTk+RFU8p271fJ+e5oaPrU6oHO4ZyQcr1cuDxGM9FpST2LCPUoq2QVBlMxARXxXt5noqWQWIEwxIEDLuKSZAclyQAEgkfOoVym7cCJ7l25tu9ExlDqGWz4lJA5PKlhNMq5opWunWLCHEG+WMhP3hI/3jjJsg7bGwvJ0OjHcupVjUSfy9zP1FAf0Z+5kcNY+ubjtICflEvRlD/wKTvkWaQG0GBN5mq5sBNl/hmNQMUQNpbJSEmbfdrmoRjVsIn0irNoI9FgZN3p0yENfajYuydjRRBTE2ClsQUJEqD7kLogcj1R9V6FC7KlZiKf+HvbofAwlVu8REYW7/sh+nTZoW0hfc79FuKipne3WHLE/jP6azQ2N+mzZMqDLbNX8Xo5kh9W9prvJBn6lC1i7IxcNcI2OHbFaAVkaphdSokXL0B7EWXhZod6MXu0pImrjBi+piDRHaYVU/SCAo6WO/1XkmUsuk0S3337A8l5PKE2VgupWOZFo5OS5KacNxJbhvZSZc5UF5dlD4gs0P6xBMGALTIjrCCwWkx8Pu2ThjtExCb01NaM1zJhed5nGGQ5nQQQ44cuffswjWtfwJWcQojf13H+Qe5eBhFD4eEBoZocRp1Jnrh9kvr6EUBk3vQu8C/J8ci4lFdIuv8r0eDmxNDpPfIFmFn5hXc6HEjkHLs6uqDvcLGRCTNz2QkqTP/7kJjvtPwt5q+SQcFVoyt1L7SEb6H8NxdBCrcc9tZ5CNRM5KqkvnEbHQob9g8uMx7wI9GsY6mejbEQwIM24zlv8TbUx2b+5r9MiAYyTMFdDZaaD+s+aPGGC0RrHkJpkpIXHe3Yt5ZSnHBOWwq9n8icO2umWEmVU7Cjwft+al9iOzmoGhL5H16yjwU3cQl0+mRjdweKSX0fHohfKZR1asfDhXGhrHQ4fK+RqulEE4gwgv10f49AHPLyxNz6CKnvF9lroUauGpwSsma8JgDMAJtd+XIhkfcDN3GL+b7pUQJ6oIXTbOPpT20G/I/+qcEIgLqpVpsIiFPhgD9mbQgfbqRo8IH3e4oLntgFDG6KWuEpe+kjXVCvNJnCyKVf64GIEklWIlLAh1f6Vw5Coxc/TUz6jz+4v8aPMbrIjijOWfEEwu57hYxOk5BI4ZPnUBpqNiQ069Z6qJ82VoOCdgTcQbo9Sx4vCkPJumacNNguGGrqyULPkAktS82qA3q3X2UUWXBesPZrg8HwNoRLtB5mOE4yC5HpqyL/lNqJfF1Nq4CsARBeZN0etG9vrUhLWBKcjys6jF3D7+iNrl+Hub9OgL5Cuwa+l0+vFgXt+KT5ZinJoBGdjwq61DllVl5YYpdfa9b95BFg71daYQYJxCo58bFI/EoTwmfbsIxUUn9l4LvNqypxfj5nvtWJFUoi3bViQPv1/20oz4MGR3attK2El3JXX9BpNXChgsXGU3EwUcDdkdBX0C03I7mdLhlyyyJWTxdyQTO2vr5BJNfwAQFIrgumIv1o9WFtSP97o7qYE9SKpBXBGJ+Mfb7tlQr5fmvI+Y+otmB5ZQeyd7CO/KdlySOt9PCPT3t2VBcV5xV+yEYDsu2CUHv/xQ3fqsdXtb0tbRuGYCA/YvcSh3BzAcHnO8HdwBb1McTKQFwYaS5sCYTLkViHN5jaYL7D9TK4G+2Ap+eqdgnBilPU9bg2fSMsti71bTW0pqd9oZAClJ//ayGcOJBDFpw1tDV62w2quwXrko/eM676Y3m6OSaU/ra5ACWzfENai7nW67sBYrXd76yIUVwld3e0XRweLxaCDUTpPhtUhw52oyjnzZf17IsPxAD7cUOEGonNhCPw2RWn7tKGPCq2+ie6zJLCc7HMYnM/hVyHFlwepE5Rxdlcir63yxFT3vwu0S0swh5/TotVlRaxRm6IaZmMSQ65Yh0bAgj8rzZtIm0xs2sWkWlABqPfiZokRX+nx2fajlJd8MgD8uSGbaNiWWMvuxHJ6FTAL5AwoIWDnr67dTG5dt8gsUTITBAyJ1rcdc/7dNis1Bl+efPuxxZVdTkc7NUqATjY4n4y1PWlufr/fDk6f8cGreok62FZ4Rrr371DxIzJ5lw04UyXyRHtRWOq0Hjr3mh9C/AXxEraVAsnxCTdSs2hOTOWMqW1YYAv5qPhN5Wtb+5h5ff+tl3iZJLWu4UYfDwO+JS/Nir8CAKwW5LM81KXbB5Fg/6uNji3UnZnhPkFdiclnK3ZHGl2+ufNgeZCZ6+DqKqfDVutHPCSm/BeyS+22Au7VRpsq12nI7K2gC0rXSFqk5pPb0iGuo/bu3B1Ps+WmEBRukFzkBJ5mrAPFa73kBOTBsPavyBXZ7W9ClEPdyO0voHkshbsInVO00aok3RYyZbtBI97xpJXNnzIgSvXT4aR2ETN/yF9B6B6MAA9e34HcQa2lKt+qsnAZWEmQfKb1UAa+PoOVqrhsOB37PHRGCaiiokLULsDyRvQ/ffimffDfQX9+pcf3RTboOkEFJDxIEn3gapGaBKBDayF75IoaCabaqjkFFDE6e0hp4TeLj3XNed2zwKxJ2NQAcoCj3WNoXIWWzOXwrK4ZVOIEjkKxHkFqZI7kKdKJohQ35sF87IPactJW0e7feI7bZ+kHAtyKJPdEE/rWtO+LUFuKOfZ6BW8UJRiMo25gqx+3rzPFdgMz4YOuDN7OvSov3+zMLwADYE0dyuhy8g2/CjxmpKizhFIj/dqO5AGwkwWKCTeSiPBnt38DQpc2MuWUOxW+xflRA+JQXjqQ4JEvYzIn/3x//Jgw4rl6nHkYo7chf5+myesTO70rlbw1ZMwSs076RKPcRUI8QEiQXXjqP6KMsg9EpPwmUUohQ49nEsHDIgryByFQHKCXZV6YjGfqTVVYYCbP/G+LBETiZSymBkkERzqifqOdBgbYmF9WTiCd5IL5dAqdx2ICRV+C4BKCUv93Us1+GQtFFVfYFZwXK7xvv6m8AZAlaefjvZGjB45yRh2GwK/hiF5gqHVwfpDUoiM+4Z3/N2uax4GjQv86XBMNk11MjNmGjoj4ciPKhmymI1VqcF5OSvckj2e4t8GAiTUbZLTa9GUsYjFxedVJeDQHMfdQYiuahILnpRYva3bjYc9i6MWPgDZsMPdZT0Qw3mWyf17CSUOmV1kQt3Qxsj4f50qiEevx9zNCIz3Rfz1xF8487EuaphmKfpbz9ASPqlJBh44RvNZyR488zPPnwmYkvSiEBAf5v/ITUrKuLsqFdXsxdfpyHuJ3WZqMgOlM/LfpDlLTd9ZUAX5CdbaGxFIg/h/pYC6ykjqXyqTh+j8P901gJY0k/sVoMfy78xr2f5RGzo4pIr+EU39YX1vDsxMzh5AgfdfHtXfslH1vsIYvnc3u6FZl7o5C0rGTuFv6ZGv23k0qTAHveKaA6SEAL8Esnc6jAqMocX3k3vR937nfy5oic0kDtviCRgZrCg2SZIruRPxsrKMhO5SHPrU/iqMO7NDas7Q/xg9ghGbbWmtImLLeQssj9pIxExNOegkP7fCfWYOslNl6SqWcgXmG9QOYtPg7/FeVhRFzawejvGZ98JTPIl1evqVlU7w9qx097oK0YgjHs0/YdBoV2XrDe30nRAdIaSPG9wp+bVLH77bvP868Y4EDhQtEI/depOOjr8rwUZWFVP9rMKB3DPtpJTH/jsNGKGuq6atf+UufuuqVOTtJp4OVnP9DPWrSPs/PBhZZBbbmao9MQNKlHvFijPP3KLjX94HZzQ0/RMNQ4OJyj9HX2hRKFnN+2pfyyi6ihZaOgzNzcFhyqSIlV62hLoXyjDHglSLH4+EA+c6bh4F5dM0h4A/yKD/ESbfsqzK7cGcmaNdq7PHWSzJImy+d5sOIT91YY6Cq03a45EzA7iCFseVPIql01Pmmh2ALgp8U9SohDjnJ6nffnIXKOnoiQEZHSi5/51UG8Oxl/l7eTmRP8MFQ6x3ESg/ybkxmr+yx+zK46Ts2tDmyr/SVZtNz24/udmW3raCfJvIGda7wU67rpHGWs6v+qUg85FC7+RIxE2TjywfurUD+gXqHZ5s6hFIfnsCbvKygqqCaj2imXprfZqSNpK60JswqnSsuw6POWYdMNHZDbutKkE50nP+rAaYWdHuNwuoa0Z5XE0WDgpbXJXagfP04RLbZAQYcXs3ZtL9CmdD1MpCx0CXgQZBKgYkYbGSUFp2rWVEqfJVVVxNSdp40l4PjassG2lghqPoUmBqcOmPNzPBU9OR/4mu/q9kwGE08nWbppkl4Oi6YVhyydcKz53jHHnhgzO0wu40jO3tUImY3EK+KC6uv2uFI7AvLTsK591oYqL1CaaPVaf7UPKnSSYsZQO3wxSpGBp5iu3OgSqWXACPDZMKvNB6wLL82abf6eBiNM5dzDmzKaSHX1WROOxj/bTgec+o/8Z0qsOMsBTnzk/5JEToOLtc9JGcvMjKXjj8V5arntgegt2o1ke6s1/nXQXa/3JsIbMsrC3Qm/MrTWS/KC0v/abuFrBFwwPdGBFKlaoS2tisGz0BcmteWX9lutbzAE+z6X8p78Q5R7tCEciDZcz/0snwTMEsZam4MBFVekthDa6+LNA3Kigk4N1bCYPyClwWzL8wW9Nm4+6uTPxmmtiQDWLIupUvqL8YB19E/FespGy268aSW8BOyd9bjtyUgBVrgbXk8OJNPaldqizSMhAHXR5U2kvtBGMqrd4sH16OW6NMhaCd554Bkybc+/S2BELg/qKAalxWeQmTztP5YxHe8+x9LnY+57JQv/rURFGjRbwQjjvsw1m2n5ldEKY3nsd5f9uVKES4KJy/E8Wg+N7XYKB1kBUsSlCTTPOs77mXXc1J9zWOojsaeXbaAVz6PcLQhbA0RCm3rbGeo5P4iprtGnp6yKWoy5CDzqCQfUJuB5Ln13DEa8eH4nIwjMC9oce8yULspnnV+U5c9jj/IZM2UpYdj8TsOC4ukgMCZgeWXJKa8C+ai3e74cm7Za1sRRpZO5kDxgQ9IJh1sffmpxQwN2UpgQFgIBryWCgZ20Q8EjqnktMt1RCOWblkBhw5PupbVgAwFG3ucfOJqoJciXW4IiBHuhoSOqL4VcKJMlMQ9OklSIDm2bZ0ogWcmV12wSTOX/mvxefOYrXaxauRGuopzw0JKPpCf5+UW+LalLg+YVXMHcwrYjHjTb9e6qXSv1uATH/Xp1+ikTws8cN7RzuJ+VkNls5RMnF9kuklMTceH3NfbuXnXsn/akRhuHhY4E5HzspIu3YFznLryoKZPDNj5mvFbqhw0/U5SWZbxTJIDqb6s4eKZA/0TamJBGwR5SqPg7Bz22m47dB2VrYBIDXkxDMTObbnyoJPWOfQn0gAnJX/8pTxS51jXyNs4r99A1N7PDtvf5cOwocguHYYyFU2iIqGUxrk7zgapEnryxZETWfrq9kKwNDZ0NShVfrkpNTSLkxo0ZDTWrVOBuCqHu4UonkVuzuWEuHQA8JlSuxy6LrE45zRlUlppUZkHJ7q2khUH81e0dW22/AtjruN1UUqgvX7IQ5/nRp3EONHJzl7ecVdl8YqImaB+b6DJI1fAYBxFY/gRA2w+YKy4eAGS8/GY9TS5qrCdoBGJPn1cRw/UrvPzI/aUMmMsR3/JKVUucF+t5gJOegH4LiIQuo63XeLCssy5j0b3+wqf0a6alXOnZmcuTxa4JWrBdgUFbPMIzLqk5CJinxkcAgxX1ey+I+BqP6dPDfmzjUOl5LyEp/+uVFoVGTpHVR5AuTfoBBsvGqrn1E0WIM7fRuipfJVIVFSxk+saf2/HqtmQDJ4owgkf3QTmj1fb+XY0z7tCwCtkK+PsRmgYMbso2gVKvBq2c3sgU9wbyS/TJW0gYgULbMZco9Acawq1M6HJlH8AHmBbeD+lvKgaEk75UkmXlH51czs7LPEiCaqFskN/YRhEYF7Nfc2Ze2FUfmJWSteljhRFuoJnOM1yC7i16NMF4c7vJ7/wFly0ULOoZrMZ7A5hjH7aWSemyvj+pWNoWIY2k+F32efHoQcxOUZH7+bK+ewcPTFHTa3MzbtxywxWcQ06ljuK+2nbMtOBih+Tb9YLjaB6civpEH0Xjy/YzZAZuxBEuglbyTCjlxOc0dbdbqYul0Uz9XqEacDXGGfqToII/cF6VinEUbdaE2B4zKh54JQJ5SJ+pfTPEg0nhaX0IRYuXSA6VhLLW8liYiPvHXrQIM0mH5Rjnkb05Acq5gih6SBdmMVkVoMRC7fKDTeCLGhi60ev7Fv2Gt1dQXvfCvfQJBdh/JE3NrDjO1E8varOZxU90eBtAU+ifu+ZdshBNbG8GjANyJ8VgzaGKidKONUfrgYWxduFurbw7nbSYIVcAxeI3Msx4nfY4g2/nnX1/1q8ICe1uk+fvL3J0xuVKKTmii7xKSmdExmpleNaMS/rzB2lZCYCwjFlASfrnmTQCDW/LGgIt/fTM2P5A4IdA/MWVZX2dhcLAARzRzITg3/qFAZAK2P40WadAGIlkzYM1PpGmTVbkMJo03rmkPDWO7wI7EY9zIpyr3P67plCTf8AEpd6pP0l8Z8GkfVfWGGnYWDu/Ai7CibAwGO38LnWyiaChhDrGQuzO5l/5stxqErSDq0Q0MjXnU3u1Z1HuGE7S8alaGeS+kzW+L7yQXS7s/guxeCZo+ZWH+cvFVLl1CuJo1P+DvMsJh0Tr4ozTWI903KhAagZnUs+FK7CYF6j7dFqxaBDd/3bvKWrSIxysCU3H8XMyIa8+miW/3YCzT6Vp40qavo7E5GP6M6j+AT7Ph8TDliXWFOe3FJRBDfVaFIt7xkwyvcE2XNPWZFPaykIr66DvEOl+5UlzdE2/kM5CzyP3X8NxkYT7oANZmDIVw6vN+mWTiJOqxpYt8WY4g4E/hkUM72CtsCjOBYyYQ/qH9IzDZc+8+rAXjk+8FD0oP3yeZXBu26bo01uN6dUyvjTveYQwgr9Lm1S3zeau5mSNTNJDRrkwHRJkbtnu3vtz4L9/kd/C1lOoYWQ8V2+06kaddNj7qDAKxAmLkGGWSxn60CYlhldgV7OIl7w6zq21GQdgfEQK7egU3nsksA4K09HpfERApfwHzHEw4OpF2nfsNgaa3dyyAqwmzbZZCMfjbRDnTcc/KFAZ0+ekhzWL/b5zvi48n3RFPNumEENEa6EFmbYmoRTe6cDIsfdsQckI13DiDOHofkvOxxtC206rRut9J0Bqo2COFVDyFufCGrH5llhTTctV32Z3Omrt0GfsmxzCEaNQ1y3uZ7T3mFy4xwUkS2jLj1tlcvGkpcFC9l7b62oU/QsV0vPhhCR3eeRzL067LLbpV8w5f5JdBvC6F3v7tgypv/tZw+EysE/Ttv0hkW4g1ABisgQwhGULXNL1Ky3Hn1raDt6/IMhuRWGP5C9Nwje0WcjgLTqmHFJHQ7qalZzs6YG0brnFZGS4OQbBAnCfqHHJC71xBzNV1sewnm2uOkNJuW8NO3MkS/9WnXmpSHwdzujj3+r1k8EcRHuWX7jjJrQ/CsLww/D0kMjwPN95+i2bRXJ1Yl+bcIpqCX44nN9r3K8GJcotiCY637awIqQQW8QzmauHZb30NOjeaeoKujqw9WO2iOJ/aLreaOuRriIQMNXZ48+NL8phwfWntcWALDY+oDemLYUm0Hqzxt6Vpq0iFUk/IPtc+qORyBfoFEnNP75m7t6GI+sN3Bgi8Huoys8qZmFPGzkCgxvwP9Hd6N5KFWCO0GJxpNNdU9fxIzMlyZTRHP4wOtXqz3YN7lHX6aiKed/jn4iWtv5gfLN5LImVbdLiVAr+SkL8GK28mjRdgZaH7EQdP1Su1TpBepoKmgEx1HwUhOAP7W26SK+MNTOJlGsDqTtRfFx9Y7EB2rnz6xD29ojh06zCdf0nPgL6eM7rggKG0ZBVeeOx9KAQlTcXCV7y4a0wpSmxVwFGcGSURFJ+Fb0wgi2qgVrfZY8258Ig48H6d6OuHB8MbPa0nBQu/MO+ITT5BKoHt2L9rT0ScEQzB3lBPs56XmxdsIqZmw4r9zV+hNvrFtDFAuunjFRAwILaO88uuQn1gIh7HlXocj2lf762b7iOx2+uWxeL4NnPXGA/1Ru2kZg3JTcnA7owDCFm1TJyAenOdx6l1X0TtgLw3Sl3lGU4e31Dk0eQiD9BRKH9/GfCVSbMIU7NPh1HayDRjzFb2RqpuU9IPGcae2Qj60ObPleszFHn6zO2410rFVk4zpz4vsSqcRVqrYnP9/BienG/NDgaf4aJ5jYcGRjdmTFAz/nx+TGGmP0KlJA0I3NQ6n+GyBtamfqpl1RZ2gRjLfTAlcm8PPRqOBkp+m5BHhYhECN3+X8azJZS5sY1cbNFYfMEimXFzH+Wsv9nA8mi+nhHpUf5l4YYrx6sMM272TKErHiBD4M2MNpnMtqq0VXMJon/8B2PgQ3vHKDK5j5NcEEJRjZPF2iuOnpDOk8mohfVpiBq4hNOINeif2oUpv334AZXhcUXkt61QJMpjCDv6GnuHIIfJDQqn2FTyGuffyQR9vQmFkOgIZxoVOF9mg+m15ZvQy0JsPVoMhjPXOtVVZrUTpThiTOZTBOCM9H+Mc0evYa5hD9o0t5Gcv0Lq/hUESsWggYVXfYUI6ttvGDTPQ7QCc+BgZx1M8lDztLGK1aq3xn3vbc1yI6KIAyEA1n5TqntjFZ7KKdYToh7xEeX/gtZjYga1r02J3WCv5OME8fkjy4z0QQ6drMJPCICoahrGHmj+mHNs0JpCrE3KDVhf2LLeTqrNQPy4jTB5hyVYLPdmlEIBKT7peGyPBWz5PdfyCopDd4lMq0a/Fl9QAaiI1adWr55xJkCZ/ntR0mG7qtU+XJQfDhySRKRVOP0ckR3k1bVwI37morU9J+hdFrvB/utQS99RXY+zGDrcf2jvCBfx9i3QJzhBgVQdDpSMxeZ6c2s0LGcv1qdZ1/SF2EB38DzQJkKmWHPjwJprXY8RqaTclWwGDPBP6qSiQs+mR17lHXPYsfWJqIlRTBpMyDms6stxZtvWh29VRayN05Pv5lGpjMwPTORopn8r6BQtyHHm4w5cCiFRFQXNjXmw124EegQKCfcg8B+nnj3PBuqzHz3IzzGndXkgrjTdvgekKeZU1U1oWau4XH7aeZC2/Z5M0cFrlSAI4dkr7+Mdk/+rPc2+9sI1Hbr4jg693W+IgVz+lN4k/hWzY6SMjN9aNXFW8SLi6wxHTa9lSAsHUhJ28+BnK18i496ttsNDRj0ExLDWvyFP1lqurvy9XLOnKjBrJ2i6z9qRWewZEmne/cheEB4Imp+0zv88q2ciI3zvcnl/T9UeHj9E0SNDKJAC1SYtdDurOf6bT/21j9sXDXkZtGjHoLAn8LQrtvFtl03xRRK0Q8eKYqwW31NNOulcWBLjvoQnz34uCR4ObIO4K69De12Hgc1NjEGxmFGP88no1IdmV80GzCWNtLZXL8BkbUTcTduKTjBQj14bUnMWWjzbJDZ+V1OnWo+fzvoXE1wQJnyK1c77fFSCaXH3GjJa9qaOTOPAgb5ykMXVdD3YMrh3KE7v7Lkpcs0nJ5xTgJJSMxtWQa00MwWHKPie/+7ErrIrP0WzLhuZwEOKZJcpjR6LoNzl/AHlQTbS4qD5Ut5aDMvbeR3njKTbMGCo3evy+twLVUriUHhoD3Gz+yqnS+ipq/xSoZdbMky2RST85e7DA7MGTpIUbvgqfebms4UeYq3d+binA/+8mNKEHFuoJDAKmnBBtMqn1I+8/CEXPtKXEc+124lhMrdGIaEMoFvjpKgO7aSRJ/ZN8cBmYWbmkUb5wr6bKQQn9zTawREJR8cx6dtmgkVb6Mjn1oqXjUgxnVlvLjFP49+in3MsFgab0YhOJsA5DEzL9nHz9dEi8d54Pbbxd1fdtf1eR/svTSKZUFCXeclAk8WhKHL2GDixmrfQ4Q18fvmc/wLyigeu9AJpI6maovq2CHAoctrU4Mf764iK1A3X6tlPylrDZxRZhzgcIJNOTYmNVnpHS5u6GnbMXaU+FjxDe7yUFpBQvzR8qUVMrD+WRJp66mDNOU8qZoqd6swbXFVHWy+r/aKR5vXjPXzST3O4u8Ss6V4u0GgwZcmpL5ioPJ4HxU7xrIaC4zlYSYHzJj4oop5KSXdw0HUV600f9Hy9QOdvkhlPo4VolYd/awtpSNJJCIrWVqt7/kgwExVqTTavqHXmDTDz86eI2qTIXZLq5MwjmmR60YXpiDCTXnDAY58LH/CkvEBjsTWSKhg2/bmudsWGETSN3Lf/A5QJ0hKi6Bs65qlxAN8k/TxM6zRp1FN5P+dSIKRGewV9B9aniaU336VDPSjdwwd/dVP1eoCSiehYVvkyC8Al8YtwPHAtmRsppSUf66YG7jwkK8YZewE69hO8IzEKA1NRflQ3YAppegtiaM+dZdjRTgXgzIQVrQGM23qdq/w6L7tPLrQKPCAiTPs475ABrcvIZDYhaeGCQFC7adqSBCPemVJ4y4MVMtwZa8uF1jinaKxjoQM16UYEwcmn8P+NuW/EGBrxz/GmWHL8xVvKin3PqImPum0NTM3JR8MYrcSD9f+DWwL+J8jTx8eJzHAVyjVSuLjWvyTqnFb5gNVxFCC9FpEXGV+l/dzHGtLLCywaOuRH2zHet+jk15WyR8fLbAFSgtlPlF0E8KRURNlLQ2cQKSC46A12xqgNesnB0usRfOdpvewzt3oCYJsVn2GLpWmCjjmb67fKPgstcLUimHlmQUL1d3amghhszPfIw5epNC27iWyG6QIKWM5fqjprwqL2D2iBN47YnHrDxX55jcMHCgXkENWmaii/oAqTnjFwWLvQdEGFIXJYQq16idL/0QMUJHNAG3gDeqnfIobnwg5AZ+K1n/wZlhwl7aNDnrxxkGUunMb4OzoycUm/pqDEiF+RBvX+W1TpL3lZn9krdBG8BSv16sEiomjw1c4P8EkgAPO0sio7vHxpjQBrN9l97x4m0qM1s/SEUglb3Mzai3HGIIGr0UQmy6qm65l2Eede+PYPyTCwqsXE4WnUtCWunAO21hbWLo/9iuwvM5ai484UeP7ciB+FZ5jxFDg7odpeyNZND1FaMBGSkRgaxGBcoDlNWd7JY90wQemblIZT32XZMD4k1k8NpX9fjJ9ocbQ7cNUtAAepNPswqtDgXEmx5TfLqn4NswzvB8U6AWEWTgV4yq/TNtrE4x1QVD+NwJmzMysKmqRXX91eyyscw2RjJfZFlxQKJnz6Q9GpsRCJssBivx7gXpFm5OxSYLryjZuzLel7goLK+BeUygcu8Wm6g7goSEuoO0X96wL5pMNjhdQG0S/8RbrQCsNXLK+pX78mAI7Wvzn8H53cAu9UEmOZA+G/mnXHthY5ryM4mGnC5i93pZL3NjpHXZzeNY8XF3wAWlwg3cYPiPPkppJG79DhP5qsZ0Gb9Wo+TcE3B9i5CKgl9F2fRMBpiIuDgoa1w9NqZP1XsqZLxl+LzQX/A5CfhId8NUjG0wcU+PG75JIfpRiI/sgjIzviOb06XkOWcoWUgQZXfiW8GsMy437CMaO1i4WRL+xo1lMB7f7QFAPAtMiWXYklSMiKucURu+JqCOm7DxA91eAkGNbmsgss6UezbvX+QY8g0YolNbpW3HjvJAseaFAyOF5qqht/W5lKykdHDdFiU2rMCp8zDsHpXPzgjMuJUkWW7eORE79N6TZaHJBuCjfRYWb73dfuut/arjY0BdBycaI/fKHtpcAF1I7yRykf5FWMKBN9Yzwg28Eix7jlRLQUYLJ3kn5XiQThxB5JBGqmzw3mfwVzKFOvaLqyHjRFYG9qSaC+KE6EWic99TCJcS6jMq8jG8msS6s+RrZlioM+EEIMfljl5b3v4hpOAdHlQyy4Uue0iKNdldg2Y/8F943/8v7FQf90i/KXGJDM6Me12PiScP7GPNXvHErt/wJBYUheU+lNkQnl3k/kZz6mMFR5HyaTY7X70tMkYWQMMiq7HNMSY51FWj0q/UOO3dxKO9lb/M10COEtHI6rNTkMCzN/cXK7b6+0dBvfEZ3Syt2U2uMFGSwUEYFKlCtZJd5FLBPODpyQ+aSHN6qFwUTB5OKKr86DXSdpZEZAavh4iwBR/ip+5xF6CS4o5othFe+iAZCUOqadxCGV9FQEdmDBI6LViEaaf0219aTTjSIjBhjg4q6dZps6T+9MHuP5c7MwNLtEjtJPej3QPRSlSetuXuCvBapFdWbRMG9hdKKlTzC5p8rhCbA1Qqi9778F3JMD/U54Nz2zlWs3dWuge8+pRgFUlTAtXfGJnBskO3BIOAshTK26pgh22GVdjn21Oq4NEpKf8ITgajz6JjTT6+GqJMIchGYoXwSg9ddlKXt9imMCdhiOQV927bkS5KOEDp7ysvuCmJStAPavAmUVxAqFE7uCqq2p8TMqXQThOvxiAjbQjBvMSpvDwc4YIY9X0sQQFxwQuai/Ly/nJw2BBIrfW1uFvwj17K7HHqG2qffT4bh66rtZ7lNd1JpWor8im3bERm2tqgx8eVrrh6Y7d58fMcix6ayn5c1qklNJ8yJKShqFO09AEA/IWLvaDEj3Mgr+mjwUjdvR6Sp4rKsp2IOOvI4pQKuXMwBcM5LORhncbZ33nVSfnz6/UPyCMxAXBnxLpWpDYLU1sFyZA2h9PVLdecv5czK7e7HYjLEBL5Jz9tL87/H+m4LB/feHeg1MOxybypoSsXO7djTKtyBA7kBMA6fZk+3XONsUb8gyUDF1k4KysvsESHdYGk9tE6IjWGSLyw2hu7e2cprhwMKxcj2i1lcY4sFwVcAhUDP4YfEYX8kaEZ26Csb/v64ujOAe9G0CaZmQQYaWIizJn9t/+X5wnK3HjijS2bkrs0IEmLxv/EXR74D1IF66xoYaOirbmqke8TE2JWQ0rcMtOiBbFI/3mZSQ8uLi2MB3/RZsi90gpjHmMVUoyBufbDLIRgsPktp+ZTzSz7gvM0auBNP4RtSfeWWF4R7g1WnLwf6ayRduF36AKOzJjYpgoK8ctNDKYEdUfqb1DyaMoP3BRjifVUvz5VkOp2QVaEXEHyF3XW5snlDnsML6q/H06N3axmBTQqCMhWo68rTp6sDKnDYQBl157UPsFrS4BJaJaujR7ULnKiomloKtZkENFn8cA+I0twGjaREatn4pvZnqbsrrkTbOayXJWzhX9ZFZw5cAEqMKjElfvkZtpHvnwuTX7bEPVgmYYmtms3Av0sjvCAUfNU/TIjn7dsG8bfWEvGL4BAzNPhxidLlr9EtaMOSpPT/tYCKF/6app/IsLrwhVjuXlrdSectmQ/6ts35QrREXvb/nkk7AM6LknbZydbXLI+2r+QjzTVuM68z6mDCa2TLq80lNTXePIv7JJJbZrExagEzEJDLePgdvFfhPheUzeJI4xs2obgY56DJLySjFo0qBgLiLaZ+RQopHgAB2+Nj97vzGO248BfkjXKf0WKF6B8a4nbJhZ6ON7xVkum8LCDeAeJc8G6ZtfqVUELtJt29zFe4hJWsGR7rTcywLo0xVKsn3YibygSsJMITv9mQ97m6M1TK7pbtGWfpQhfzwpNGkSfKvURP6B3zP0MItsDntkXZLyZuE1FTdNFmwlLxBqF1b1Bm3jU9iwySeMDkjTtPYE/aPqzBmGRGupZNXLeDnw08c/EAKDcQluoAoG+z3CKuj7doA38eCUf++VoP5393mj1vELqQQ8hMXuYbEu5gRG82vCDskayFS6em7TMDjp1ZONtNco9v3lYda7q7MwAAWftMPypPGmP+4OwQFv4XZ+GvOJOSyxYV4XElW1cHJm6FLbhthOAZMk9UYQV2odWlTM64n8Qfde1yfVlwC3PpJSJCmI1B8aJf8VY6LxBqIyiNI9/MadVNH0rhJPVzFUUXltVlOc8dIxMnyMm6hMzaDwOxIIHcAGtBeD9Y5QgWOMG6IVvkgNMXtEVRzBmKJKIbko7xhlkD24um8oRsaxFeHVzWWaSmypX41uYVqfHjlVUxf+eoQsFZ/obddi72JbRwqd5DGaILnTN4UAmG58ISBKFDCk4HERUvdkg25mBfuQ9zwQl7meIEfOBDcRiFGCfxH96u9XPZfL2cbGCDbeycNabrxd6BO2C5llZaOdtvjRBABsqBGh6r7lVDOIz7lrCQ/y9Ptz11o8ZK9MXoVz2LgqaeT5jv1Kod0hREyIqPo7OKzsr4iX5fxkiJUxXgbbKO4QPB6UK/8IdaqCgact4hGrhP6jymZVE74AMUi6r+kli+89dYDqitG6VZpMx0F3Vzi96BkZe3uBZyUKzoUIZZKksWQsaAImchhjhor9jT6bXn5lqnOWIWd1WleF2Cg7mlaSuXiH2yCuODPL4bYAvTjj444jkAnJkugNxvx4hLwx7gvQsSp2u5ieu3lQZJT+kFAtp6jkG9FXm8ZwDXdPNxeEB/A7JRWot8rCUY4O4P1RGt1C7E9Rm6F1wMKIczL4ztxwvKnOQ354WJ83ycbvL7e50flzYPsQcqfnk6i6Dn8JuXTWYO+qWBlVBiJWIZndUSjI73CISl6s3Ae68prVK0djZVqVZULW3Hn6Ix7lqi65odwBYT08HCopNw1l0VYsn4SL+pyIzEVm0wT/QgcjtMmjBViUv82+TUQwBnUogYgpK4w8ennFtt/38TKvdDzd/Tc6vJ/JWqBxesV2yZxGbvAF/foKEU27JgvLwjaZbcRZ4jJmOdE0adQ7ITpNWg+n6xoduNX7BxdBo5Ww+lgyaYcNQ2t3kLWxnix0ZUOuSNW9rWfnVg2V80pgpRcpCjTUeaVxFFeSR4lwUAc7OZSq0mYT1wWo+9dbSYjLxSrvyXJv5K1ELJI2WIgkX2TsjfrozFNfEhn1v4TZMBS4H3OUN3uANqXfPBK1JjfX7TdYItoldBhPcpC/pFk0weQj1LIug4r8LaWfqvZwMH8SMeDWMuAcxiVTaTPlwF6HCd1fZhCy8uSwfXU/aUWWRTIIRV/T1e/+gyre4nU1fqCmzvkEo+lQ93j//rAe8KkYppJAS0G+dud4GLpgkV023+0Mgh/3o4DBc5sb732KY3erER1cQdKXR/M99twYdw8Kcu2L9X2oKk4EGtWvHzgmPxEm+SNkBPscxg4Zwpor5CQRMNA6CSD2yLwJLbqFlYqwUcrv+QTxyQJj8vT7DlLI3NKOO9ZAv2r2g/uvi76wa93JACTYZYaqXUfA8CQtYpbON2jbbTqE5U4Jk358TZu+XlAqAPWkU051bze57uyZnvglvwPWbceZZvDYL/N6ME0KvxPYuTtpMTmwkFbq489wjl517LcoAKX+q7/nA/ni7b2DZbfk+yVQbXqbtIYJaVoeDk+zLPtaDLHAI0a8QLPSF4FZdNztfKkSXNC8WH1GMR1fOJBVNVrzN6dhpGf1OKuGdKnYDI4fh6KWBE+ASaVK0xbvhebq3Fc2kfAOToqg+zQ9CxVD23zi/EwhAxCahwiuASA9mhTIA0/sfHIzzp7ENYqugmRzopm4VRiO8jTy0zB2kkws+adQz3db5ZuWm9ZsIbCym9lxL/83QoCsLEAiv24lPULmjlPdHhmLmRJrCjW5CRnPtMJXGVepTlYGMdVRquSMiMEhDOIfPYXWx+7WEx83M3zprd54hLHDwnoo8pR6KBG3sKJ4cO9QIvode12HpaO3PRUIkIole7ZQckxXIDSNyWk0gTVVxo+sjSlS7RE75shr6+ItE2AccWu9EnAV4c4GvsAPVsKffq2hg696WWhAGTlP0agdhwy14x79Sr4kMyPTNWEkVLHdr0iWkwMgN/PuUFGk51TOZoSz9ujBcszzCz1i+tb/Q2YSVok6YmWJPQg6qXmXnKViXHKO3zwiDcb68qSCvOzejYk5IhbJDRUGdT9K4CesFenFhHJT/azj6wsjo+3Z2OaiAQfwVrriQlPCkxzemaUpElz+wjxuuw/7QpreJ90Yft7szoVJYTZlBigm2ap18wyzG9eiJ7SduNWj2QChg133DRGAS4dnlW39pTDCWCgdkQR/EeDh563oBj/l+5CJOqF8Y+zioL4qzLp8nMky4Uq5S9GRLzJAdLMsWdSvnNPkyGBIdH/A01zH4WO9gBPjPaTVaboiiRsdrfWFdkG/RVEqv0kykMijcl2D8zlGjTWvFg8qO0s2SBsL3W8o4sRGRIbMWz0UBtDQsm0eTRjbxWp/jqGMviJuPTqobRdWa9V6FltmVaPHftk2ZQwlRtDhGSRABUJs/aEJ6mIYu46P+0jKwy6QgBlxikrxwEeZYZhy9xkZYMBbCEVmMtJia2vypdrnIyhqe2Q30YTJPgpBArvJ2hpDQJHMgXFuzqmwP4tTh+0Z2zPB838iyqzwoTqxXfHtG9fkIjUUR5zInJ0imqsDNAGPmtUoGgWfZJVMQx8ardAFXKk0FXshhV+z/AmdG0iqk4HPyb7+JmIwgjS2E23/qrvnJ+KCWa98X2achXiLYD+EUBfiE10ub5RCtSIk3QCMDQ14AjBFuKwRrPajWz1VDvxsQKCyeph29r9DfM4Wbvus+cnXE/g+pVxo/Yk1q0RiEeju+2IgSZ/mAbArUwNSR/FyJcXrJYdB+yIS7rWkpfkkjr0tS2H6Iqwn9wOj42fQ6MrA+PbAC5ElHTrFGUPQdKHzrGvrYESIctt5Yd2tbX9ON4wZErN0yCyKB3LshsxPwzM7JF19AsCoaZXKrOPgt5edERx2VcDbO2R9f9rvk7Mo72BMqwc7+sfH7QeZjNRsD5j1DePk1KZ/dwA7W/vO1C1zVD+MWQIhFaYW3pDrkd7yaBJ3COnCS9X5gDr4bc8kKqc/OJPOHFQWsqr5P/KNS9+/7p7hKWnGKXUsCS1Vitw6Ym2rI3TbJsBMjHnuLsyBW7X3tWWyJMve1D1K7pXI0exMyZ/33svvppla1eVakWX9319JAuo4Bwsg7oLfeXe52a9BeW8eFRIjsosQH+MuOQ5ZhBmeIIkWZZx4i20JSgiwUam+FNb1RsIzBnCxRISBD9jEjmDYLYTQ14aGD55n/0dDhCvoZNKZ/xdol/cDisGTn3beH+K4LkHa6ACSrLJEHtcdMfWQRVgbmJ5+p1wGqSwxsTNKABgrkzF5poHRyOzZMWFOljJop/a7bWjukwz3biCFcojVYXeGoYMdfPPTLl8mxsrR/Ej+do93qDxNQJi6f2j3lPRyb2qsmpoz3u0uLVlQgO1HpiOXqnALoDxkTxQr0/daQFjL624AXeZzH4aEjyFrPEnyuiaKBATvCHFILQzrYFUj5ihHAIQhSFcoAfLDu12o22ndqEyDIC7dsFI/JE0q3DyeoBY7x0vCD2GU8Jptt6+GlduoclW4V44bMFnJobMNk+7d0/QIMCgU0KEdq1hk7+oEC7D87cQijbaJgIlfojhWXaKZg8VKwLsCT2o6OQiJsq1s+p11kzcViL9ZsFFykRMJ5SqvkmKeDlPqTArpKHD9UvFA/GX9do0dAFc6sj1B1nlPL771yYSrzvwP2Z3E7fu+AheF2iE8YCKbEHggolOPD4eIH6gi6cw42ObiNYRIKmJmHA99DxuD8X4JcIfUCHJdM22NE8PtwGw4pI6j3K0Jm5gR9XjXTcOMrIweRux78+mFdmDrxReQcypzNjPwDgJb+pnXwDXQxfl0c19+q4cAYqu7Zfl10MrtHNRLPkvjAXe2PpUpYcih1JE19W+IUfQVsfwX4qFZHNGp3UJ106sfS3UK22mNy9dQ3Pueqne0u9CP1mLsZkumvYTtxui7o/aQxeiNKDztButQbtFuA1FDYTyIye8m7K3pvOanupdwohU1JuIk97Qd0krGYSLUCCRHcptqwkG8vycpgFy7fABPSI2N3im18wRHWwx5tWiuzLcx+hondghBtlnzOUhz7Bc2iNvjwPxOVXUY0kXPeIbmDqPKG1Aog+ZjrpiVCDP8n9XtWm2VmbHd1wF+eSkrZ2dgot0T1sMyA2CtovC3GZ2nYPh8hrvorUkKPqLiKgsUMp9/rtbC+d1bg3PObyYHaTf/DYacpy18uxlbyRk28Z5l+ZX/gF0/fvmbNkl7MfvIMqeZqU+iIMd+SodcNsgT+DFMEXG0sDnyIMGNO+vsWKnaAptwIBNbPvavmfYZVO8cLQBgX1VqXE+5t3q47ULJVEd/txX4R7cij6/yUfPSWBuYdsefMQMO625cZU4Kd2yBWDYrNihaERbwbHQqDJSB1SVtJuAet5mQYCnamt9u0SGhzDCfGrro09RhGLrwmWTdsTbGWRb/p2/oBgKHBqFM3PVSgPabfAtnSUPRps1Ch0JTnHjcjjh5pBaG/wLjgu+ZAhk4XnJcuDgaWWmvJDBfacNcaAeemEaQQaeBHK0yjmaN5URyXxFfafthCGqr8Jzrd5COI9f2883R9wD+CMZGYxnqPqcu+j5Qx4OzH1MrS1hJIaZ7qNDOxh/37FmdB8bHd/s5+kuSCavPAFVbyOhnNrJRjKNg63643VnnI8R3Kcz4e1eDRUQi+/38S6UGDzYoNt+2auu8Ml8B2h2OsLtqspGLOvaUBVO3zWF8s65MKQu4i0IIEkMquLQI7Uck5ODGEHQp9Vy9Sf55+U4K2uEblLvTqrsYmaY6lcPKLjoRK4xf23pwwWrOxW4i1O/x6v+/p/6qjozIvL/FHahZUFL9Qfgi6cqkJg1Tk7knAqic5DsPEAI1py3uNxwZ16Xlap8reGgi77mfMtVZylf+tUqc+d7oluPCqA4Y0wszzD+flOr4JF3jdIZmlDT/GdXQ47zd9kOOj1kvsOH1BCId1/nB4/7fEn+roizofIKy5ZArXO/k6XA/50LKB3GPg6h0S6pUMKazXRwbwVrNz3Y73ArC1+K3ZlDk+J+0LrUmdDQdY0elrAWakXI/2mQkrThoPc4Ybpa2Q7wjAZ3/VYAuc92E6L7Wlv/yk9TbNg7j6qukbt0bmGm8QWgOp3v9qi9Xh0jAFKJb6ACXlibC51z0TU6XIIxX2nvNMtaCSw2GwedZCF8vsQXWmJcAnHLHXEgNz22NO3T8YNAsZX4PC1aHo/RCE+LGDvJ/L7Q4CXjuDTXFwugz2v+k0VxRwsSa1QTsLJo3huSNuNsDc6/r4Nw4dfu2NQGWQiUBIEzXvfTn84JER2v2IRbEy5fRun6BdeG6uE1hHzaw1MHn/juuwmmeoNYZcbVrREzOKaMHy5xZyZ9dpIXtTqvr2B6N0XRV6+iMNgubzn1z1v8yMaQfObRdVG5SgtIuDYC/LzIsPHOPLYtEgJnSr5iWwt9NZWdoVoY9CNepmOLCK8wmp5NlO43N2B808dmRnuiTBniNnhxTHpp4ptsu69DAjzYPz5enfFfwJ1mfFlEW+WtWdAufib/yaMUTtE3lKMRTTT/5Z7XIXCSIWCbgkmnTI3E4HHPVr5MTFVVqllombUUt8ZNpqMqHeN8F1BCKONDgEPXN6qaUceWjZu6oJU9slzzPdL1YZoyFUdCpZS/n5jtcH7dZzhfUGrWi9l6AV6pRjRKHnobKeukP5bdhpziqlWdnHm4dw1DIycbKK39gi4ro0+qdOOAvoh4PnRw6p2lKAY+YxK5w8+pO/Vy25llKxlJZT1GGxvABiBUFh2k40wtIGx6h4pcFR7aLHjQeN2hV/OtMkvRBFtszpu3o4qFxFVIWeJOR4z3DmwhTJzjhfpYbjrJ7O+0dz8E1UK3jM6TXm3QiA0COkM45kHOhAGag/HJ1hFgea4xblLRGqBgxUJLUAvnOXcG277li13Pvd8yEpuOq9dNWKV/J4LmrkKoaqyZeVWXm5jT4VYlrpg8BfVdcidr/52VM1Ag0AJDUuMQjBFDbaTe5AM/FWtIJZpeQZTaN6wCTCUk1xXCa/iG56wPuGDHBKTmvaZJbVwi900iqrmCnKcd5TICuKYVGuqQPRCL+9oeA0dzmW5mK++i25qa8Ow+Nu8R42nkPtHk6pO872PQy9F5q1v0VPLukydYHDHLTmSVcT1Few44GccWaBD4OlNZDQKjXEX1IApCkLJ03KDFaPV+PRuOU7cK0ThCHEuBwUIL31qbNVGYP6DzdXh0sdq4k6179eLiEEd6pYr2YTnkfR3/XbHOO2YpvMZCGmRnBa4OYvW5GphCiuXqKFHsj/siZKbLQDRzt1KQu7dMh9Rm0AMs6a1b0ehPgPcEwuQ88SqRTMOrVpc62eSJ8MyZkrpfaWL8c4xByvtbLcd/RKuIoR80mz6uZOVoHbv314j//NQA/+/i/bQZ+YRl+ySMX3CheOaLVOIxxJLKHHPvj6BDiT5lfUDZn18Kr/mXCwwTbSemRYM0wNHX/L8k4JZciYzZUErRNO6Ctvrj1jkWOdhuv/g58XR2y314UjNOBfsuJEvMDI+b2wDm3Dbs3hXG9pCwKkYUP7Ea070SG7yUlWlIaEet9yJTpn/oYW6PtXIVkh2gkSb0w4CdcfA5QpExlNtr3BCMPhxs2QqwLMntoq4A9Kq0VfL3kNBamHRUOGwH88s5j6UiiD0k50GSXqH05qeQv7AiGaijXA3XFbFniIHm4N7YjLE9uvkyooqPUnBetm7Io1pgQ5KD6QyZODl3jBH31aJN+Vurhj8IdDRLNJO8Bv6OvbQe8Un0benxcJ2Ox+CHEGuxfZXslRB1OkZQO5I7ajOz+9nBeCE70zXSF+0anNxwruLYivbi+XKHAwzQLe1H5iLgyi4A+ya5ZzN2EDGrT0X7IEPABx7KMHbuVgQ6ync6tQhVzu9X8n6Okpn7tDfSHseZxKTVuNe5gKA3Yoj5rKM0tp6PFGD8yJTAja+gL0Xji3GTPmQeuePxPAbeaS4xc5qcKvw0SAbLI2NBEmHNTeKRiLBjg0rxyPgPAi2p5jDk1q7x2HAGfS4RL8JYKJ+FfXXh3PHjc3lTps/o/zW0B44BdHiiDojjmRhz6d5+I9KwAL9Vjdu0NWe84Jd1JrbkfKPZOhg/E18sonehaBVkkO9d/+KDTiMtHMsiCaX1D3knTPpmgfaKAfqrbVl73PAlBZzI6m5qLx6AekdjW40wjqtGbsaDwh6xSr6Nqu6Jk9diROq5d1KOFTijRv2prYw4dR1+CIW71qwWPiI1wkfJkA23t1zoTw4+nVnXrHr1JXByofFTUpldxIxvofVeyQsSL0lLoIGNj0j1lAGXNX45gJY760WB1COCTx9mWG+8gTe9713JNAms1hoEx0Lq8wRDfIN6hRLCyGSE+mnNKmdR1NchL2YQi99O5cR50JrFcc2z1c1GWo2y793ziW7o+mVJdcws2bRm8nYgzaYSD4IhavSyGCVKFEBgUVi46Zpvj5DrXZhZH8fwgvHyPPKlR+riTef5TCrTVLCZDE20N1otveOdeb1n4oUFMMjs4Ex7nD/93t4H6xCHesBq5JhC+DQQiIcHB25aK+NXH74rLVNNcMYCaqvb1rUi5bejRzkDFm1LJqzA08Ldo/VHoARV0FR9YDuXdB+/K+EA1eupq/E4HVhaIDrvkU2c68ZqlcLUi7M+64iHEnfUNlUXi51Rry5W8nQN69kWyXdvGP5yvoyEOlVR/BBtBaSNk3EiBxDoksn7r9mPp6IaFTryCwTpQ/kl/KDeZ76VUcvq1XYALMZuLBs8AUwT7l+/hf8sRarvhI5bSIJUYSdDiUYG1OpUOXyMXY9Odl5EwyM6UcH6mXsoEpryxaI4zDGjBjhd5onodA9RTICCo1YUjlKX4xotKtdiT9e+YvxjFGW/T8MCIH+FV+BRk87i8i8v6JDV4Z1i4woZc73hfcr0G+ci/+uLmHtOA7ZTRbPPyUUfLGJ/XKensrNiTWQGuFT29zQ+rxmYkyf86uFBIOzg0psbWnUDl70JOQ70wKsfOMPFxloRTRJ54baXmd4CMb/fy5G4i/dnnhpqPy01tWgoQCYrIpAKctE+04kD5qtYLs2Is68Yu9dokDNWrgl0UY/Oh0UXHoY7CfWkeyycil8Bg/uCO9+GPewdz/Oh2scKG3pqTWkDraX1hCD7C4bjCAIo5+xDHNHmCM4m7X+RJHAXEV8u8oU5T+WDK2D39/5RdvfwY3t7hHxWA9Bn8cRd6zdwSeScCBbQ8egPo3F2ThnMNgAp0+AFvOcIG650eOa0xpLTLuW73QvHxRS07hilA6rrwdGQh0mpWEtNQyUwfM1VThnei2YZ26jIR06AZtE3XsRDtKLDJp8Wm3pNke8isgJnA/DtNO44ZMjLzpOUObIfEhW+4KH+iHkKhXUT10SWDL5t9/aTBahEu2oBHXKYA+rXyTqOFG7ORCEX9wkaprFA1UpwiI+5drMPAE1U1s7TZmz2LuyhoNSdUfZi7R6yJQ5OIY76LmaewnV18aLPy01cUm0jt+cVUJOg7XMyEItqFMN1mv/T2+a1HbgbL9fj89wtoLcWRofL5J1p+yP1G6kn1E3Nrpb21H8FSZwjM+b97nDsGrHaAiXEgjAWomcVifC3aMQCFAwexsKg1O7kirp0nYaskmGAF9AgYFATN5IGVVW9/9H+ahqLe5K3VLtCWVAL7o7YTF2cgxFXSG+qYE2GZa6MGYlLv/Oin5MuuijRXauIX/gSYoZT4YLZyfOabp8E3bu0OX7y3j0Z1Hl2XtJ2122mjaDX/F5M5s2v9Wzkkv4kHQyDxz+IWZeRHzkln0SCMhcqk8RMXYYWvplf60SaRQpc9o/I6zDS2LFHyXZqFzmfR9GXJp4KIdNBJ7MiLFK3BcKb1BfA/ezrQqtP9DKrSwvNxJSxmBSwRdtpVPB6YYI5rzI/95ECuJVhhE9p9xhYQ87f654x7rjLuZ7Bsef72qal02AR311vkMjD/drd1CzbffQLwOrq+tJi/LIAOk6EBemLgqNRdUNOD9/YS7fDCPFpuqCtjzb6ixQF8J6gt33V30+LeAeXMI/Gi+u45jdBStzsqQbBWa0kQbVyybQ7XJk8dJtonaUzzR2uaZ1THHze4mlR2IDppLhcBX/zJs1Ap190OQAIvLpdGfEY7T4R4ky2JRrICHG4aXgFfP2Av075H6rDnUz4bbUg2p3sVVez4OiHYz0gyEUnnjnDAbSG8p9M81J6HsD/lfibdATm+hnts4cqklWyvbbIB4yGa+u7D8QuWSacnqpSmLRoSz7z0bbp8djmIF/CZRx/6+9q1n7w7uHTdCLZtr11JCgddjrBdCTuxT9AtUksMELPXYxC0xsbkRvDegvXYpxLHER8sD94u3r3cvJI69BEbC+eBf2eActIvAP4amdEF1SlRLaT8SWaUrkWnkY1LLebTnUi4BaET6tUOKv/glxbX5pasFREWS7j2DjGJoFdMyEd64gMyW9Ta75UR2RdQpyVwXAvTm3WBdvV7g+/1pDn8GQI79xBoBWfJ4svI4TuWehj5ZR8pqIuc++xFWP5plvIWRrtCKTALThKKGBjWepECrSLJXrqNsaoveF/0nB0iMOTw1GXguvlmVXsrfZYudR1kvtQnDw3mCLcdLx3M9MdKglZqIBMfj0xJA7j+LvOECu14qmYVrZPuMdyLp9ZI0fpcCl3vMtadelHxNKCcIRHJf8n+ozXi/7zg+3+lZ18XSl/pouGtjGnkoOK9QCY2u79plmDs7eLZ4jppmgVqYFsJGEufzK0CNPaVB4pZ8LuNFjDC87BmOljzPPG5AfWvsIi/judNVeGU2a7AFCpNh4rPckiJX0/+VNCkOLnMfIw9ejUUQ9eEkG2+hgh1t1V6z4BT50vSdls+OTcMpr7j64gYvi7QQQZpK1if37As8OZic1DPrhpIRYCLMQHfpNDFK9sRuIhrR9YZiXJ1evfIcHWlCttyIeax4z7+T6Xn91Ga/5oe4yhQAdp0c1j7Q6EDv0j+L2xjKfuQLJIc9BLhk1thMjNiZYOmdd4PTZ1PHeD1HJTyTleV4qs3v0J0Di+KJmY8EzXkDGZU75OSvTwGLwkyXDqfls3EfJyc+BAbuC3GHh/qSMlcGRsw9S2LQC8EJhX3lcoM6Hr0YffCeDttCtPamdXZALzKs/Hg0tR+6Sr5AUr6U40MvlzUoZGMH1rU3LzdVHgQBjTMEadNGOE3vYyVr3jFQVokVInuiK/iiu3xjojpwywZW8JSoBSrSiQvAAPXnfS3DaUC2StxT8qpIvBh4ZweSIcAWE8smdNh40eSeKMKkZ7O3bsil+dBn1coUo5ZtMLb1KxH/e2S9f4fnnZODh6Gy0KgGJsPZ82TYLL5eJAIdd29KRdjhtV3hNLSzr3IiNNEmLag3OePQIGyGRaqVlWdgQgrN6pFmFcfwtRv0Jh9V6kOiBhyyGLGH/4e0zDhPfdkX4JiI3P6jLNlEQYylRzcXyukDYYek1j92opMcahobtr7whzzp0h06JoN59PSDe6xWbUSApW48KDObwG9nhVkPe8/UxgnD/jdubGNGe9QYe5CisAG54/FhxS+5hvSuGi6IE7VJ6U+8hJJjbn2HR8Quzj4vKdH7U29K/fTSV/INvBSgbra+MmXQnOvJ2HarhnWCt7ILaP4QsMHT2pGGmmUVqrwy5UBSH7adsAbysOX3tLk5fjr0DlsVkzPfkYutb6Ykp2pr50LGD11yyTm8KA+7I/tWHEF6Sg2LF65Q5HvtxzZzJWtJ3cxbo5aY4KrfOiLSVJ+bSPzGQiKgUQFwysBZbBGDMgsNX5EQeNpOmdCI9fl1GjTHWdrz6EEJOBY0cNaowncJODU81mo8cBdvB9rul3DNBA+lZLbVJG/9zBY2LSi0YK4eCCM+sUcBSkiUTIZa2GzJaqtPIhP67cGCwQpCSewVy49ig8bEU40TBCV9NZ6M9YdoqB3oxIKzK4bpyFL+L+AZh/TG7vJTQ3vGyPHSLfz0Lsix5YE9GTl36gfPMMZjp/E+uZ8QJSuaCrru2ZDUKBacKqpIO3N04c6wCxYJh9r2MZiXolbXGbxSAEPCL2ajGMIQu9uNTdo1OBCcCpZXrK190b2uI2p/aXz5WYZtFDGcI0PXpTimURaBLvF3J0d2r0uk0lIrYxOkAtnESyTZUgcWqIjtDr7yTDhpfV/LXPkrhTX2x376F9z26QUvKwqnjF36OmbjALqP0A3+XBVNjow1nQB29K3iuO2ybiE/hEESJg4zyd5CXeyrS7l+O3SxA+T7FDLWY9pLa9bLWthl6kHF4qDex3M9M950ioNupupWXrlH2vxrEvXFcC7cKz9HDhRMHFLekkSXAbQejI6DKcWk2jVS0vEQEh4fEJHQoXDD65BnKT+9unNAE6ZTLO2wrqgWfh1zcW4c6sbSSWx6hamTfW3a0OoqsEupsthjiC7pg6NuiA4g9CI7u0gcJfpUsE/3JFt1n6wNroOBeBdtnBUeG4gQ8bOXAbc5EoC3XL79tPp+rIGXhTLa3POVsD8bq/TZgSoWWKpckGDKISpzPSnxCk5jsSzkjKJ6NnoUvACFQ0UlONKO4WcC7WesLF79xKKXUKtX0E6tVO5bUBdPhKGrg5ZpCaaCkhN94QOGPhUM7Xy2tPx53bMow8GsBek6s9mhQHPN76+c/6azE/S8vl6ET9+9T+YEvEBSFhkNTeVxXVv4m8dwl/aS5S/C+T65h9FblHR5H3MqcOonpt8ONSVSjZhJDZD74+MpkP/56PhwXEYViT8nMzlGHFcfq/EonNTRK74utMpCLXxyRqIuAQavn4MUJKRz1j5B7f8z0QJ6tZSvtN7YA6jwHRHdNFOdohAEDd/900dqdkd0YNOO4jMPmYOcHW/YKQiALXsK4a6VMLYhT3gi/F5Kw7HewygsslbhcDH2b9uPA64cGfD+XN1dYU0WjShStqm7naBx2+1QDRThyX0Ua1U7d1aZO2Eue5l3GBMuy8MiF1VgJZhU65yT2MHl3yqUXz3Lp/3+ahITQObwHT0KnfVV81yrAoJN50t5q61qGuqLplSIuxe2crviYfJrkKaryZ3NFCO2wXmhPB/EfcODZY4Rcq+tQVV+isNG2Inp5teaOwOJmi1o1T6X6JB7tZoMFcuCZZuoPrd4EdGB6cTHq4btKB3eUdf3DumIiGVQwWFjP8Iolx1pKgeRAr0XeZZ0KjaIpgClIGvZDJwpq3nPQtvo+a9hx6lcvYwVoV3uaphXl0yKQvDot0xKnXnSRE3+GEgWlZt4VU4rlsJ/Dh+Y1HmRiBRjFAm9GWSZxshls7qRzmaI4wa/aVo0sJeJJALcnz8I4no7oTFGec5bTg0Zxp7LJbTrr/rRUbDBYbgRzVPsqCLkW7dT6v7EbfWvbcEGQOJCL7ToPUzGita5XHuLzmHg0xUFunR4kLdO6Et8AX+1f5468lx+Wqzxqey2/pcP8cFFpjqjsLB+wUoYPdZp4Ep8Rd/uVK7J58bFLjpaE0f2IIWWIZ+r8ISe2rYVUNiPQ3jcsLuAIUBNUbfmZh6ueq7XSKG7Z5nYza5AS4DQ51o5eD/yX4jLDHvsHBi02YjCdvJysi46J65bMRlfbw3YGVh1/bZZVB0iO1PN5WT5a1VnFLL4t/+LGD/k6+gRGCw/MMYOs+xAYSL2nCoklBvs+4apj/M6wZDoHFHeD5L3fZHZphE3hY2D5jGe1hqE8gq2w4QnZlvASNVx2cVftYCjoGsTXMB803s6yvjNtYS8zFxXj9f31TCwsDzW/JQjpUTaWrs3OAM7oVYsV5E6HLUWzQv2mVvyW9kMGnG3Gb8zqBeUZlj5zm+M1vcweciG3KBR9u+eGjZjtiH1OUEsGxocEtFEpuGv92q3sBoYJFU1upI2Gbyvqqz1Cs41gTg+3Is+sPP6R8Mw4SRqUa6f0RmxQD+9/EMeuimB7r6X57N+51VtTyWewLdgDTilA8HC81rMe2na4OjSAG909dktXm7UVnbEsBeQv4+08d7G5leUTEIbuscjbnKnBjFIRkiYRTqiHrIsz7rtcbt/XZEJMNYcAOH/+p/HiVde6ZIbAJIkfav5Pi+zBvEONJ3UkblYhI+1f94oXAOih3jGjywalCXCscwuQzG8eckkip1PYR0MFX+MfDG2TA5nsdq2Yc5pJ2FH3cFMJ9PHb74Vl5V7gVEFrAWIXddzEhtXwtGo8MeZDBhQHLuNXkCUASSbEIE1qB1EzoaDOBbHMcz8cIZdf1nC2YRMEI9GOkiVMwF5pUhDVviTHJMi2t2/t9h9VsNaXLRNgFKZBP5R3zFDl/uVc5fFxHkrWt3cE393JggqhgAjrc7zBA71AuPrLJKWDDW7/eA5pcQwjLJ4zudBFdtNrk8r1nco+YufuMK6Pz7+4pALkNBvqjjunznJ+xpaFN77HKq7KGVpZFmrodU5Vq/h72YHpJKmtmk/RZwkBHABFs1f6HGnQISv71K/ymdhHMlsv/d412CUB7qxbTUJFhQUlaUxBOS1KdXoacElInR4X97fcpnS+zBzhUn6IHwckxhUuQ2R3re+J9N3pZBHYjA6DMWEAxSfkzcRQDqsmC74I6v0mwYTlUfuZ1Yua10cNBliHLh2Vue0eF2p12cXDM2+BVQ6BDz6Nn2xtYDObwDMBjGfe6nmWoXpq+c2J3ksh2JTZX2aFTN/I3jZzr3d54fdJrPsjtqD9Xa+zACDBB6tAqmPMWnPb7zeGI6C1McKVVdavCfMD0uxS4Pmn9uLIBkg1Teue+SB9wWxoSy1GZCW/tWvoAoSQBsIoJHIM9am0FQ8GH0eJyzlVnDofdEsTh40oMVObRAcrS1x3sdQ5CXSUwujXapQyAyIEUJAQ2ySuAewjETj6gdwUGMIJ4tXdVaEOa8HwwOWGvgP/T4OgyTXp/ArRkrHDnuSzTCJuP00vq/Bsm6iZZbNGunPFNt1oS6myS1uM7I/zV9SjoCbDtUraCS750BhqvsgIyQuBEmxRaGFjwIYgSRF/RqpdGWPMtylT8VSs6nHP2Xtcp75+e6rr8hTCoI2CO2KgiXeshKTLZs590YElUZTZwVhBLzHRdswWyI7cJvgv2HnRrTBYPeJmjOEY42MC4R4ryeqaPXWGdJGsW/dQnvSmJwgq+mE3HYvAOqs68iUtg8VngHksx+k0LcXJsfH3dbfIV8zeR1g6hl7/+LB1Nvq7hW7v7j5hlywX4ImM5QcWlPwDV6XyAJE2voL005tA6Ygv8WYQCm66Wx4ewaarDT1BTaPzVyACepfPMcO3ZP0E/eiO7lsFJj9x65cBQDvdKjIE/gd5TyF0mYwSiKMDhqHvHsyO8S2ZEK8lJVN3QQ4gCrR+5RtnBvdlqJsCyNzZldW8Ode/oANWXpU7+KXfeAIbuUCNd/UwCrfhNh1BV4YbqyhDjjUPKaOBgr8+jQmJjM1YjkMQXCbx/z81vgcHBXwC5LsTSrkmru3IUhz6fb1MresmQ5tb07JI77OrTZYVmkSWVUvEoi7c4yQe9B3SHd1F6NyxDeGgaExZNK/XPGHwukc5IGa5vXfqIu9qvWdUDPPv984QKUiBnTIhGYerZeZ9dDIK1udLhq9CXRzDqJbxrdS/sdDUlX+WI859G7OLTIuWPh4ct28H/MSRMV0avlruS9wfP3FHF+rChjcCN+Bh6N6yfO8fIgZCCyMOSCCOgfJ3fVNoaUwmSKhiGB6vWgo9oRf8sPwjRxkkp44xlt7sbVtIyiTue8CyNAN8Pf8p1vCXqHM9cxBkSW7EVcb6IKi5PHzubHst6WHnCwCWTXO/x32vk7pUmoVz/s8y0XpXkZ8SkSMRB6WUKhsAg5Od+/T69BaFwKqnGROrm+7Tc6PP1x4XHkd1OSGaLILU5LScM3WpWXP3ol/uyeOf5TjyiyZajHlAEfBbLWP29+qE0faZ4OmrB68Q537MKsKX1TijEgW6ltckCL0EFwbRKbtPcX02u4gBjvDUBtSUL7aOvsKA7p1jfTBEIkFYVJ6XztLIvcBjzM3Il/9zTwupi0fq5TwWuTVw42jM8CbH/FhFjQrbzo3cogOI55IzU5u7EcbamyxXXfoAJ37tlVYHyNhKMaJ07WvJqJg162ynPr0f7fG+nJdjVtSTNcAVZIZYrAzwY8faTc1cvor8VL26C6StEz8vT+rZFeKkeya0B0oWb9ZmkCW9DUN6aU2pjrR2gh/4KJUDFr8O91vOFHv7BrGM1TC6SDkPi7whq2sAZk1GAQ4ru7252XKGMi0Y6b8BajghFoUKsmb6XSnLsvdy797ia1c9Qa/VxK3Mxf4lNUFtNbEfNbgLZeKaIByXfVviPxIqzzkpNfUVMGGmX7NCZUV/YDBvJ/GAV+dmN1JhR43ibbMO5L/fBft/KZLgBArPYLD37YKrzCJy4bwxYy3O7XopmgAhehuS6fnQgpNdiuHLzbLNvZk67lacxmmCD/bzqdOuJZLqVjsf1fCJXb8phmydWwjh2OpNPV8aWy7oo2hOLrSJoPncolJW1xPXksF6YMc5uboWzplXJTdWhSeTQl7jRCKLytg83W8IjdzYeOl4s1HKuWUSNd63l2V0C4sGG945BJr6KOQX23f+lFPivFKERl4FiWycIHROSjSM+oJykC79ddx7DOHtDP141Ca/HA3TIes0uvyOZNNKl2/+lNJf/WgH/Vx3cFDDCRpLk7bA6QWCEeoR5/Rk8QHKuPR+4jHnepZzsd8l4p2uLtpZ2TI9YrOEVQJNGZctEhfBQl1lOplb77iwNvAU80yR6GgqRN2IEjSKzt8IdM/D/Z3KHumvzm3A30jPEeCIyR7UOasSCT0zOxAS1UEmNziPDXCZiOvgY9n0royLJ6ANUKqITmnDvyWDmslVysnprApdQv9kmu6w8mdldLA7XjFx69nXp2EmGN/fSGlC1uLFrCghGwL63ywV0MltEzySY6kS96A820cZfFwz5OrjlejrhBgii8oVpYo7fj+ukYF/q+pJn/fOPRvCHQ5D85ioJBH4948+icX7OROMnT+ccXFqP8S5R/0amqSF/HkCb//1SK+xVzrAXPg6tIz7l8eLodN8adG4TvYZf1vpIrq/+PFMnnKiBotx5R79Q3TBvpJp6w+5oFbqBYsN+Ow8Koy2ReqIJIKs/Ctl4XiDqUnu2A0MbfovaaqOgXJfCuV27gX3OuluGcBCJJtOV/KoGZqkcPxldx+AnIRY7Ot9s+iImflq8obeSuum9aFcWsKK0uPyC8AvNSUM+/HLGCDDRnMXgVf3qZE2DGc5iM4O7Gc8/9Kip7dEE/lbZqroTMoxQpQr1EXEHFO9Uf/B9jo7NbMxfuso+Ags+xXC722CzG3awA7rxiq3SVNLiDpgSJm0lqGGe4kU+rirL/gRd8eNjpoYOowJL0rFfeahJu29x7WisUvVzWkIevH07/JAFYMkGIsKNutRUKOeAtVJvTlMLwImqAwa+CM+oqmMh3cudKGNfSytloP1Z8kARbNSOx+SRFcufoKA5VtZqGQAT5IognB6mLGqlQDj/8ixATD5O2UY636R9Vn8kAqtIFqZaL/lNvvW0GDrkadZIeRGBo9wDVXsgJxoYmjEDtdAklhknGcg3JX7oy4TE6EXlYCgJB/Ajp9irucdmNYoQlkq7y/fWRyl1kSoQ7R/m7yF5+s2GWAEHhSBwsoxX++X1492yino5j6QG1IkIoUIu6G6h/u26cBQBL37WsUdi3EGDRQDFYGue4jmEu+VXahv8CjLWZKQpG4Z0Zu08l9i3sKHSqNMaNzicZX5mihEWPSuzSQ9NbnsqiIIqyblChjUT+mPsDTKqrD/ZBMJWeIs8Ku9+ph5WvQEyQ79eZBz8xqFR7z4q6J7LmQtwQOLz80S+q1QNxe6J4DD6Sy361c4nUGVy12uJgOtDfsPGZXfypx8EpwhELXTAOcxvqhkV+yoKpKx04SOnq/6F6Rwdv5TepEEpkopilghoI8TNREXVfjVhRgOboKLnpdlvKstBaMHcAqHqgioGKxBxXd/JcR/U8bhPB/+xLskZiVT+5Ti/kN+bT5M3oiLgwmuCQdCENrm/Vh+xT9iGwghl6Oyjyyr4Fh9VCT/wpnZi/TuIcyS11r2/EAhCMWyygDS91DZV54b2EmF5E0Qp9TKmdbOVfENrbScQ6shXAR4yb5/oPfz6Lrrv0e5AQHD2HH0h7POiYJog+LU5n8+MYAcjoIkhw30bQuAPRy0j3dBcl/jZOSpul5J0D/Xa3Zez0LHfg5sB0IhXFMnpTwBCBeTdoRTxE0cihwBZqF+QRzBQ8lxUDMiN7Wmf54cMNd3cjffsMA6Ft+UBF3o5uVq5PI02mNi0sb/Mypn+t++PEtoZJVg9kCqJqqVyW+ZXt0r2RiAGCVXka+3IvFToLKAdO9tgZ2MopPKoBONFRYonFyltdeQwILvuomJip9ffWEJrJX5Su8w4bn7O7KCLIqcg6hbQ7pbSl0vbGoCi93RBs38OzMsvcLHf6KOpqFVzaXADBQkEBAYd+8sn9t16eZFCcZP2dzr+vLvxnXEEsFUyZXt/ez5819QoT3Q/+5HHNkR7BOBmw+nHHNMWQOujN23se6qBXYZ4hVcpaR7dXVD7H2kuG8zHHk2WwMAbPYEEpYoWU5ycUDKWMJJnhgAgj3Ozk4yNYTlvJGPjInzHeifoHT3m3TvR3fCZbLd4qXZkS4nOByJPGIw8afhXeh3H9q0sahnN6dvFmAzJAIEzLT37bmbUuUYvcukV4VYlxiJuP+l6doWRjtL4BwXDmiwXT4eES7it5cRQmLhE13Dm4kcRofIJU8Spi2hiPLrXloXLzv/WzLu80MiElvJfZw3w9a9QYOzW5f0Hg+Ppqexm+2K5x1Fj7sJvdm7/N0qUAUxCvMIhCRvrh6/XD67y9xZBbCgjdm53bDuuK3FlPzTBYL9dLJtLls8kpBu2L81yoxH4ZlkVdEtLevdoH+8V8ByOhgHtpFZrQ+5I7/+VcrLW2JPYK3g6XjsWCqNbfnI4nRpg2VBP3NFETmzTp+qEaIuiKiUbZiLrAwI3lUrrrnewQ4izPZ+40qC7A3ztzhV1ZmQyrdODks3pvs+pJ7bANSt0981810D3zbq9XL/JWOqktH0MZ64hBFrpnOl8KcqMVvRqv8CRAZLffJDz2XA5KP208XPCXr8c+TdQjEJR7K70oeSi8BirfqD8gxiEpzClvgjzxylExvCwOYaY3oigVVbsoJyHlQ5eniFMqgVEpDaa2w56dI/+1q79I3qAA+Dsk8g+YF0y//NqqB1gu/6Yp209AsYxLrKgqDdFiCEKnjsbKifJCcy1S+cZLBQSVvpakGWdZzo9o1cbx5VshxnwbriBJhrqplk1gKmZSiBW+XvUBSNcxeN88mb1VSZ7Ux/HbAQpxsqc0/h8XFWr8I1y85ZlSoGPxqzSofwAQfCQxD0X7EULy4xQSYBUpm+R4IB5loMcDqgq6SL8qllt7hg9s3DpfG6fY1TiUBnumf1zoO66U72xE7AvK7n02x/DMmkf2WD8UrYNSysiyV5uEB67tMuzzEdoLGR+4vSxPBiARDms2v1dSIq49LnviXby9jRiWuF5lc6tK8TEUhS31hzCtgNuZFbqgBfx4wjfxtMeQUBwSEI6EXPi3Eo+X/3msHeKJ5hmAwURPQnhWuw365RZaM1W41b52QP6nd5BbHiDZPlkuLLrdfDjTIB66siuWEtOneaKj27G2SAzvNK40K9hhVvGOMuMkl+01FarHmEtL5NyvHNH69xujhkdfR03w+3wwgwcQtOc7K9qh4IalIvXF2z3WG7CbSwUOUNNcrIzZnRjAhl7fcC7P2wuYz9ZqLeEDThdyvc75tKZJHoQHfYHAimDmFnZl0Kt2w50Cs5paalH4nzXy3j3cZVMMzYrR/2gVK5WiqVRH2iKS4iRT2J+HZPu3TEjwK0TXopc+TpcmAct4xNE183aNo3d/VyQt5ZHTptE3nIBB4h0ncERr38IkM3QObOynjGR9bT/F5WoPCHZEdALjuvK1NG3zmVLmUUsCGMThhZTgfmCGUh6iRkUjZeJa1TL0hki8chc0YGhKSumqpu41EgZ9B2cFzufUs1eiva+XW3WOUpKfflALgdhOW7+/Gu3J8qqiNi+usP5MyamYmvI7TX/AfKmPyUszadmtOUfEKIMeh7ZxZ3392yTN9WsH7WJhD/Iidf6nD8TLecL6eUcyd7zCEkkffcQPUXRRyNyMweOvn6fVbVfmjuxBnrPlcqqWiSXx9hxBRA0E/kbWSipIKiiS2qkE5HTJ/3dgb/Ubsa382dT9Av0wOaBNQebftbTZEYm9q4OnV5kOEnd9lKnn9lz0z1rTAIkXPQhKKS08hfEGPIaGd6o3WMPuFzR58NYPaHBY9ymuaR8a3l72Lr6hgFgSYsYxzZ8NUj52GlCKSbiOYPSvGPrKQb6cHpD9WUaJHvVVjRhVnNsmY4NEp1t1uU0mJRLywnwYukYJP23/5mOXr/akQCD8DNBbgZWbQIOUok58VycmBLosft1igLOMiT+kR4xYndeIcjHRwPA4AnxXr37hijD/tO+IRNScH/YtwJ5Kd3IEVb1yVQlAvvDzowNZdJ1N4pMOsCbuQQjwG1lifiXqmZ2wgAy3LehynbhK+5SJJiz19lSpQi2/FwcZKSDwOkvFKWwlMquxsQEkrS3cuJatJsFTjCaK7h42zJUqao9BoQgoOnHMiwYmR2RvWX6H6RJ8MNuhcFf9OK02AEV7cGHw0MvgAMh3quis6wSVXfyitPpijjyMMN0kWbO3xrCwEIk2mBLYLrP8qfzeLP0lgnNTUT4U28rFhur2/PKxF3ysRmaYC/sAtyv17cyji0Pw8uew6V/YFT5CBjSTo99H9WXGObCJWcWOMPfhr3+Wz4+iGZfHvO87/LgKIWa2xX9UFx45q+yhZraFECi2aflVe42T+Ky3ai5/s4ZO5Nc1p4IDyUGENp0ZmhGx2PxDDZybh9iS9HRQsUsmPUlNGkI2i0SQQJ0k3yfv2eaH7WHhum4dvBMK0a/MDHq1R9foLEuthvnatNwt4n6Pqffey5sf6bzI65HX0mnWTp55QJY7be8aiUEKPj2XeGKzlb6R62UnwZxsQ8SZPcmimaanZPhInySK91ho+y31APWDaz4xCvDiD2Prv6t5D8LdWIPB4uuuYumsmDzbkkPzh4mQp2Ymff/MR81MIkc6oMrY2iFTtVpFoB0AFIwUU4EmwL31QccFElUhkaBgd/eH24UHdOF77CwJIHo6E3xCBdKrG5rYWjpJPCAvCmUKJvlEDyQiB8y2JqFlHDnPkUlZpQcktOcuLfZEj5cdg31rdpQVCvzOqZkVArnmDXJSIErwOaPZzDMQfql4Kyy+jH5kP9R9lvQ54WpABUuSt1LDuJ/uVeu/3fXtbPQ14T8+MljHuHHPYI0DxA9xOtkfNTaUl9C6Vh+T+Dw8d0KO5yTqzWuZzqFfRoOg8dVZSslm9Q8g45PXC+nQG3zOCxYnyQjzdSyUlTf977Rj1hr5rJHu/oXh6jC6+wRl2ZHMYINOquFmHs1wO6IyM+IuM9LswrO78Uy4mOifkLOSQFD+qKSk55Y/Y21nOi7n97Yv5U8AY/rrrx9PITQCnSBs6Vwiztiq9pPVA2A+KBUsxPtFCWZqWOwOt+XST0Jys6QSeVd/zF0sADqRBdWtHb7t2qF8SjVegLTklHiDJnY7Zpo3zQHu9tFSzNI3KalUVVgWdqOSJUR+r3/1jKndLwiIuv89qFq7ZxFnJBWdO7DOgsLCaY4JL4GeOynnzpbkivNiBqAkgXwyhZNPQni919Ob4icrrS+zMBoJQcbCVf7dTyDI38JZ6E0/RfGWKIW0C6t1YessGZGvqAcqVEVsYTEm7r8295YFmDckvEfUiEaqDqwrLV9KG6kJA/c25REZapH7/e04EKOyoHgCvpuRNnQqknirzTtNdpzvRfaMcEDNK7AVAuwiw6gDgNA9SK2zvNHB6MBIzuPXYwJtP3LtmQqSX10TsPqnhJJ5urWgmm7pDAHh4igMnPq+TdOxhkyRb8ptdAWL8bPYG5mp0OAi51Upfxf9Avt10o/Lrsyv1z+Zl/oyyWhat03ZGGrfXq/tqXeJ8A4ixX927tAbdcUEfvD3ZgmlXPz3eAvYIgaiOnraGegvbT39CS9DuyF6c1YiFbfc7QIhb871T+CHYSjod6SLssdVQIT7JhR7B3HCfE+q2wjppQksstkqWcTxcoS7aQvojhQLRVkO+lsGvCqJtL1BouZ6GlmP7AVLOVNGKQjOgcXvKDeaDOpL6UEhso1HhgDiqEsSi22Gurg8nVBlTuQYS+GOCxagA47ENsfK6e0h0137c+al3WF203zegyuukKNTVEK0bjIbZrERRQOVchMvQxJKPhR/J5grxQnsk72+rS3PEP2fmmqqE9VQT8TbGnAeNdCTa9xDx4/gULwKGTbkdqavCONH9OyGn8d/8byhBQT8N29jrLeX03EjOZoK/GuydXCqIhL3Au9IsVsni0DzYsuKVvan4VaCmW0nRH4PRnudMWTCB/wwopBPRbBiVfqO4d8rlBm58c5KDcRHjHVUZUCSRd9/ludrmMZmBzo9+ibzmrKF//1MH5/mYFZ2VqC/myZCJYDKGJcUNO0HkQrQWYE73YYM6ey0lGZSZUVp+0kNTGBSewQfL84t2/0EzCFuTgSqh+XElcq7/f5og3ym8eC4flYlSYVYbBD78N1so8u4vs/Zw4xnKySuEQIExxMuKlLWPaMJEhqe+4lAcu4zIqVdlW324pr7joO4vkMjufVCEO7xdsAVS6v+vfqTAVeoOFI7WpoPP3Km5k/c5Cr+o1qqKGsxlSSzKGUtMLLc7p/nyMEahq2ID5aykHXeMtt6IAcgKu46YVw6XyRIeUW/n8fLNqeElscuUo7sfSYBcFUXuE4J2fCylhHbfglPVAsgqDxa7/PEWfIs5JjhxOXGaLVQ8fr7xZqSs+q944zRKR1U/Pg+ozdExrya9tOL6kyWTGNUUtKvShn7AmNAIViwjwnQeban3jkrFWk8MvMPi8ArjmVUSoCABRTVPVzJv/e1fDVEuI7ndT16392aMd2A+/DiGW+qzbvnPKHcjxbv5f7r62LkE5xUrE8k+kQD9efK79TO0qlrQSJHxrjuiR9vuRNCqBKmBGVRLVXq9azLNoYAROBDQqNipjP5pAiwDwK2EGx7j8lf3i9LhuCnYhabMPoeHxnBAlj2OxHzdmUByFr4HgAxrpsA9IRRj07ShAoLCh+AuJn6DDdnXlZoWzyr2Zsg456/wXs1RUv3KdwX1HvniD3wI+6tBw7jJ6NIo3WPSuW6cPopcBudgAFF6rFlaP5SL3K06gy+sFm720G9Wpc4NcdgHHQRxIHzK4nqjsDMB/6+vlxwOXxo6rC70YH57fIe4GUMT4wFg4QadshoKo8VcsLslW13li3Lo1B+rzLzWzjwO2jxFQd/aYN0eCwxCELTGEfWbIiL2nj5Cw8qy4kGPb9zsYp/ViCaEqybzDz2FHtmENwg6gP9Hu+4sB+b/HMJw3SspUoqiUBwrnkufH1AoecEglqNKO8AtuJBfW7tMbxQCJlm3JUlIMkt2BxZdjWtj9PuHVPPoUxOuiNgCpCTgc0isEcWf4hqWEcKw43TBkysjK20s1HLabpHXdkHnBJddX8gZE+jOP3NpwFxS0fQJXEuDsGBlaOofz1xOqFbgtri61D65m2ogrPxtX6Qkb5+XNO9tpXSWgbZO5DywGfPANE9fteYyQZKQZbyToRQhk4TxNuApinrw9wIULjH5eXL5twSNnZi1C0EhgN/xRfcqFXDf2sd+u4VjFrBSiDrSgptcD2Md+mBo6sH7r5U7efg0XSoEn2NTY3tlw3ZmUEsdzDP2NsbyNI5Fqq1MfvLej6r5Xbebv5lOfJgFMo2HltduL2Tt5TrKKnyjdKxyym9XRabUUN2yuDIW/H/QsvRg5agzu/r1LXVHAkeqtRILdBqiC0Hczcw+fv5Y4E4mWfG7D9FBxK0uRKF2ylTjTILFyHpr0/Gursm2VdsiqFOVVujSJxzx/36LMzPfC0f6wwORLvrjpOJOgzd412ATz7Jm15vA/oKvsTQRy7DxOurQpl2Y7QYgAIAWPs6kDnyMnZs6SU+jFrtYATbPrDG1Pa6t7Hewvn7QjFkVm/wPRlSfysL+/w+0oPMp2hRFtaN8XSw/KoZjvtsUhD8EKW7PS78bdMDB195BB1jE2KSCAN8VCgbdvVJrE5yBOabBn1heeAVk0Y+qSycXwIInv2ZkPvQOI4j/vYDC5PQ6CG3dV+FdNHNpzZwKr+uuMvLMtkhecI5PS8jYyCDvG+Mhd665BgYm7iGLuy+OLiaTiMFWXMKWkkORiCFH/4zCgKrhFVzGArgXsCItzsay+ExMS5cQmXvTc9Uiv4vzy5B6QlMp5gZyCMaPiZiAEOT7BS6UIemFptmmrWAbN9Lbie8xdu8jiIYowPWfHvk8JH4AyG4KYzdekyi2o3VVYmUPU2Kk+gZtz41zKIa9mQ0x6mCg9KEAoG0B8R0447D1oD7RovkW1P9yBVVcwmGm0Ri2KYqWkXTGj+nuwUmoDiB6szZsAnTVIHsKCrIgbdtbZjojoydmP8d9rc6Puj1VF6HHzA6dyeWQcgZuGC8pLFFBDahqaJLMi0Ir0XMHk7xi8ZHpnHlBS6/vEV8S6gX+kG73gAKQ/vzQPXEZj4DpH7vCe0jxZB7X0DpYN1pWTG6hhffwiA104NYk/5jwxq3Z9mb3vA+0zc/tauqNED/jVei3cQ/NXzLjyhumed3mX9JBK0YaEzp+Z6MA9793yhoX4cCt3FjlyIAdwGjkNMUzJ+S+CJJK6vf60kTJw6W9T1XQBwZqIzFGEzD5VJdErxAkjtKIsn4XLYxIuIfqSSyPusZ6Iw/qD3IcLeCUOPXypaFPPETm0pRA29MouRBMpFpIQYorKf9SBddMtseirlMFTF31rvWPnvpXiuS6RBRogfDTAtQ7B8NHsDIBK1hawKLWaOK23DaDac4ATf0aoZZb7MR+zJ6pma+5gj52zICIJVO7w32oD7nFri3I8hasjsjfY6ztwTXsJVJY5OEVaacYuNkE60YwyMN0D2jSD+G5Mh1SCmsVfoX3uUuhnqPd3kfhHmc+8aVNB3HOk7Q3/28QH/Y0TUX8l4hxAHEKYxAhFLyq/2aYe2bBQ6C0gCXchZmENopFhR9EplSV8FHhHx5lotBF57fzFeXMik15nl3FWYJesRau7MGlkABotF1j+vFvoIzLLi1mGCcyq+SjfG0shO4fYD5bHD1bDOlguk5sUt6bC4V2RZ/tVVRrUURnEhGDJSyGs4imAEDyrSATeoLlVoeJKENiiGlFxnHjH3Q/lN9tPVu8aOJrAT2UuQGvZzZQBsUWKIdAE3UUZzQGvmoHvA03NfssUR7VVlmPeksFXEUD9kis+U7Blc7JvPFCBoQOCOCfD7eoKnPyBRaShFA31HffPpnOk5QXiAuC21mzbwNkWXBzSrYx1NWVn9NUu/ksqavI0Cs4MR7K/hI+9wmaoyBoU4eDu0ga99go6HvrOq5ZM9wQhgtRIYwqsluvqxJCcSRD3kgITg5oN6v+nXX5W0aH5Bx/W+pNLRUhuOGDRG4gVj6Nv0i7lOHNdPFgrcvzw8Lk4fLHQSvQk7qykB1Jo3XxKuuzK5nE9rq9R1uLfyESBeY1V8RQrQ62EOOtKqoWbgA9MqIZjEGtMT2dw681yO6pqWWX8UJz19CpcboGfl8NgbOwPoSHEI5XeC5rg+CU/4PxzV2EnsBfwC1f+wuXUapq6h5UyW6nqfNdDoDKsTy4XI5+gzQMAwE2pcRCV3VHARivziOviuyHkZ9tnoFwHnrXhTUIf57SY9iYY/r6DURUhvIjSOYtK1ZKGXqQpxf3rin0xkkU2afFgw6DyJnVBOBsp4CgV/DERQBMnam3k85KdQJ4tHYysWDq9gpg/AIHN7mHk6GXtFMu9aPPdEb5BJQ8+JBmuQH6HsUtjcSF7WIbdpvqq9f3e3QbKtmfh8kjdOJsPHhIT8NOOyDOls03EN7Gw+q8BU6u+QYQtClFx+85KCtE5A6P5+tXWsmf/qQjWWX6sAxZGEsh/67xbNngWDvtOhLzR+nS6Hjsb/LBE2OvVNw+9YnSXYr1f3bSJZP5T0QvepA6+NTTbUpBzYGLwrqRAfXA3g60OvT/nQZcnf4QHw5+erGG6kocxRuK/0KlcsJ2F+AftIuHPDM4FeVkVLC/trlHHrHdzzlPEIVfYDjVPLNAIRSHRY3pMWoEC8y+3bz6LZNyozHOzOYU2WzK+I6JKEJjVRyQNMORvOX4/4GIhsHH+xGwa8GsLZPzcEVLRNwQFh4ROdLVk+/HTVWltGhC42mgBmKj+NIreEIrUWWw58vxbk7wdF2M5BLqKJrCa1t5QQWgfdUA+H+ETrnILb6OZMAlT3Juxev5EYpfqJcIPYp6bB5ilAT3KEeYfHNWpy2ow0KOQcMujbDipzXc+tW+LjlPmG9WONnB1sj5Hf5GqzAYPgnaYpPKpbBBRxnlpS6whwNXhTQpyaC3raQlmz73yPJOpquVTyE8TQHrb1X+S9KirqFz846KX4uG6zfxBkHT3eUlAG8+zVK2pRUzc6zVfsb54QEaY+UxexhJiAXsxgSbk44TLdp4l0Znb8SV6kka//vASOll4un84qY/awI3/Rpgw9XSYYM/9bMmrLhHOUrEtJjNEjuZ900gE4noid4uYHi/bjL//X1Y1/ZOykOQhmJM6DrXAk2PkIvd9s8+BtHcO70sBMx7YIOtfwvKnlQuSubjK4XckgsUOxcBdfWF/Yh3EUML4S6BdQKHSlQqqyQHV4HF+A5DG//o4dVlXsGxyHn4t+CNtjxvvwIHSbt2g4hS82VyxTmxHTyjQpU16uwGVXpTaWvgzK/9ANwex24GNv5UwdJ+DmJWU2vvfdy3yTQ3awW/5z60YypcuYXpjzB2iBd0RPsa+DQXeWh1soTkemD5kYOCc0rpdqUVpEQVelFuA3iNuraslprZcFuK24MmK7O6A00WRGXmP+r/+ASqvb/ABWdZX29ayTX6JRbp3w3oKi5JBJkM0uHAPYO6vs4uxsvW9fXCTjZ60MC+o+8qrqXM8KPAKL8p+2g2SXo+OVxy+yAKxTKVdT+WkB/IUFURdVxYQi12JhBN6liiVbi0Z03BeMqllL5Tp+v2fkP5MhUm6HxVnXNQuQyN52WsSSTiRFoW6S62OZrF8zpR5iTurAq3gzPtOrlixjYI/iSiqVDv5g7mWqkoPqHTZGKJWMZ0uY/xGRNUEXZPKN5JUGHFsCiwMAZSrexcLF+P801aXoebiCdUzZ3oaqbtqJ8N2jIw0PbRTnYTfcX336aNR4JvWvDTpTwmWgpU20eY4thbb5TJ4eBfXEzVokeD58R3ZLPBAF3af0BsqjHXkp7p1rdTO/3237ZKQpzi2O7dntpno9km8pyFB3KK7HErvf2xabSQCZGUobON1z2XyR2aBp3UAEM6lZeuVmzqiiWRRrJGZVIrOXG9rg79rm13SAzKt2nSH3WY6bNaU0gZL8GbJtTI2zTxvZ87WXzD6Y5yXLXc1E/IedtEKTSdAymqbfUl3QqBKgAvZLU0jbUIJH0QypASLfGpJlCLPSjVS8vZMbRWjzqYYVrQh5XPY7n2SBSAmenHgHX8kJ706sc0+5XDVd9WYZNQj+PtwsM5TOK6nUxKISWsS2xBEWjMyRK9GkiIPTxZ1VIUKPuCH7KmRyAaApxePl61tyov4J5Oh7kCd32UbAWVb/i9TtZEQ+ntozugVRppohDGb9swZ89g2hyHKF4qRJclcC1m0Beuv1OsOPW7A43sPhGTmh+R2lGvMwvC2SPdx5yYwwsMCTvpkCPZBHdQwgn3jVzEVJnsz4Xpfbg6sz65kDQvbQxqIzFd+nvY3gmktRRRrNcX6oTabTRM0068y04K0jlUEqhHQVsbj1R28pMp15udfbiGKfhdKoEWs2F60DrEOc7eO9dMFrlxMr0kHmoPSSlw1ZskiYsgbX/r9SyTnkvWE//v8uGMUO1nhCRi+q9zt0O/KVoGHBrRjw4VaoPuXKGva9IZ06Pjdz/BOcJHCACVan6Sgotb416GvEvu6AvwhmMxkoFLN/UjZ5rxLy59+kmLSfnRPkh3AbZCAO8Fzm0tHIvtYiPcH7loryejLlwzuTgphgA8hVSkb+DzDEWQ4m9w7wyHtdAUoZU1QKAogax/UzrWD/Na+CDl+/76JtBAljH1wc/tiaAMP/wBZcYD824fH5PBtz6j+uNz3lnLeywEnmDP/6l0YbFr8LaMh7fzgo/hi3fUd6Gsu8LZUiZZftbs4pJ7KACvj+Eok15xb6EnBHBSBm2ZPVSsBsQLQTl09pk45NWLftqoXIDgkShacj5L5g0fRMfsP8wSehh9rwMZllQNujlnQ0IjXP3nrcVIXMK3of7NZjbXIZ7xsjLKcP8lgFLpTAMJsiNARC2wJCa4j2aj0E+q1pL62kU9Mx1tStLCOVRrpMnoYTzCmC2NmOUXovj6zj4PyS1Ibi2ptet5CgZsiwi3D6SmQlfYhQRxcoHbUBggxdX3S0nQuL2rAC+UQkhXmmVxaMc6XhAPTslBtL/4C4gjUo50r3fuzuC/q5kbI7L6DuTGJzwrNiI3H2Cs/tX87agFKDVQRU1q4L6Xyz+tkEDNDjiIHrN3U5XBPInkSOsptW851Pcc71O8Th1WVsTYaMvH3TxBfvRXRQplgdcd+T5rv0X/d+PX8tDKTqTSCBL0qeQR42Ifc5Agdz8MTEQe+xIbV/+3yOzh2YC/tgvCxuD0ju15cEWelSfhkGhxAJUxNk4wkI3TCmS2tnFmC2O+HUNWHWl0rEblf8LjF6TqigfHw4KCb9QPhzPAHy6/vIOmoljh4ZkiNG1YknssMn9ZEUAYIJPzzBm6/taC7O87HEZoEO9lXq1AieG4kqR65B+G9tNx0ksID8obQK+WOz7KvT5JTWehXoj4VvuviV+lRoBuMEfs1U9vMn1s5sDTzNZO5ZGnFThskxthpW0uQNdUOApW2dWIfRePfL7oPn2JKbTt1zest2iJ+RCdxZc/UL9AYj0tArbdzb5vF5FL/xcEQyegaIcJPVtVuWTh3omjK0m7xgS20002Uvd9W1kIwVbXPOgh4eWzHUj+i4stdn2wTMIl0rAupCbGH91y7dcudtbcaql4V9trlWZLdf6pC3zFp412hFIObnC1M1FF0sGBod6Blm0yAPF5k93XG/R+Z6sZCiZR34ft9nxT2gMWN0UWDUhfmhrGA/r78s4XaZhrlNT1ymoEzm3/VD/RrOdIq1sn79FRqha0MzP0xl1ET8b1VbiurPFXfPfAR64l2/S+ctZFQWFKFrjNNbdxyZGd2wpyklGzot1MNywc2dly8u5IB3XVuOFtYM0Ncv6TVEZILO0TExUOziosC5BKPOaBaaI9lfXe4HqX2EMZNWWS/oq9fZUe2R+gUYY6eZ/tXCT8UGgOWarX/G1xQtSmn2VpA53N03RZJR43ghxsmwsAa+ah/t5h3uWs+SXtj++N+MsD0XDzxoz0ccfjaYWHSxPQCsz4KgMNhIIG8i+cDKjBG77zSpaD4lqEKbTIPys7FT1aWVne3jBDddx1jI9K/jgSRSCKf3jVxypZ8gBIvSx1gFnCq4JHEaQr+0DbYsKipq/JXO5LCQzSXK7RQpDT+bJ5Ty1Irfi/kxVkg3iZCCdmTh/2k2mgbkJ4NqwAPa6t1JCET6uBV6Oqfp45FmT56Yu6F8cnqsq+i38WzDyjlIFjxHQmCSO/aA7SCk3ij0OnGEqlj0LqOANLkYLnVy2uK1/cBKFavZiWd8b4IbQ7ESLJJiy2weqmhebxU4SVah1MdkNsVuZmlDgTbldUNKMepTsrKsdROoJi0E5XsfriLMUweQ3swlLyR/RnjkW204soN5YetRhIFvSAmB02Z2ykJi9A7Lw3TgCZHUValBFGmNAU/j6X+4q20l97kEGVtRpVoPkt8AFNupZmXcIyvNwExbmBoOPY59yEraPuot2Vf+nrUjB5BSltF7W152ZHnVJKVTfMgYnfqINe04TXkgXgcuZw3RrkKk0Z5+WCU3iLBih4BProPmGQ5MOEzCzi6iXcaBRpx+vRIzGfMM4OrVJa9DPirhkOHGiTiRDidNrg4JvIxpI0iCW9W2DOzbgtmV441PHIwYna62EarPjfQKRQTtOyksMIknqTa4tk2N21xz7NPP/5MfZvhZ5D0scT7g9+kh1D9Jab2iHVO0uXjnQuQIGgHBB/jiV/SdsNriU99LrByKzZdOim4hACGhB83jeaDC7koKtpbz3h882E7KpmQpaczmi9jNGKmCMu3Cvb16FHKgFDEBvsLZaBQQd5NpGKJxt+A49KIMxB4h2hIYbfY5w/wXksnU3zXZkCgn1fSAydT12tfcIfhsWBzQpfs4iYw1WJSf6UEoPtHF7ml0uaMjEBDHRysWqgYbKDON3wcdvBpxILh9NAoL7vjrOCj/4kRx1XvvQcPslOKnQcNtFXGbH3F+7boBqV0eIttpz9yb/pkAUQEvg2DMK+T9ZIGKLj6niLUOOCFGx5bTJr8UsM4OemAYFyvR82KFnqkEFWh07qWQdvHfCau8W8xoVglWzG9J8PUmd8JLjglRgKG55ztC2f1eQD6tWjd2dkRcaBrzPDVAxlT76B1Vd/0bYWsC3BWrzNnW2tIi0UQNkeSh/P91aD/1nIwJGh4tzYaAB7RKUq37PABwC7dVXUbRabpPl47XJ/9nh04R+/KMBErmVdECr+b3SDrDm7wXchCxqayjUW7+dW3fHFcpJhKSyoJ0NeJKafvjVBdQ1yJ24yRr81xJPJQaSEsdpJgRhleHzqC8RBqOjZTF5WI6i47ryGSCO0aPWxKaPp1OykNIhI8o5EhzDSziZfnnxWcKEO7C8HN7f1dGETYOYc2zkaAJfQdsS0EhTEmDn5sv7XnqRWPc0XSxan/mioySe9nW9FKedyvfjyzV7ImhYWXBaQUK7r/QixOcdnlvnz+JG/HY0vIoa08GpEtRLOs1DYN3Aa5oY0CIXuKKRbKx4Cu/JbZXN5rXAsTOE4eSdHaFz5UR4UX1YILNnFzu4Ywmw6jrM3caA1BD2HY+F/lY5+58cDD7q7V+55yFDV+1Xw2Z81mNAFTKKqUqI3tqYJWFQ500gqjGAcvzydm8E1zEk+MMSVUbfy/XKUzCu8bbFIUZiruclEcoBJxto43B4HuFusSyuviogW/viXxi3eLRBmTwaQqoVu6L9v0T+ptgO01IKvwSwEd2curm4xWGbUS1QCAh4zJTgybiWuAxNVKmd7Kf+jkI4u+AEYCMyhSXfFIswgESF6LrZaS52cdou/mbX0/0sniqfmscUzc2A0iKVUPGhYx+zdta4MiFnvhJv+XzPzP2MHnMRx5DrKFEBM+jig5vLPG5TOtqxZQgnATVLBCHKqv9wYUhC4iaDDkP3+cSx66UfPb83Yca0MBQm+MqDN87e79/wRGXfcnoRtl3KBDYgZtZ+1Am0YASmJtav49Oj/292v5zENipOWoS5n0HyE9D/KqowqxHmUrEbPx+C+n/O7qYZSs8VcNkWQHUubTdt6gHGpFQ0Dz8BeQNlmq3kiSDUgjSjNZStVwLDqQofKhv9Fxua1KRmP4nxSj3YuAoubhIUpHSFiTI2uJhqeSDbb9y14nUcnFWuIWv1O+6ZuZfwB7/gls8Uknt7Ov0v3aBKYFDYehAGd+OqKqx8r8JH2vSg+OKuE++oTVAQK3I/r7duqeQASciqoypHLw3wPOQi7HtJcIYMZ0qrwwf5GiDaZnwrWFI5Kd8h9bf8hYt/6q44kx9m2N/F+HVZyr5c7qhRBR9vQ+98HDWK8TxQ8ejh1HKJ60WjuupH54PNCGyFSPWtxW/kaGe9OsS5UfA51D30R43f9ZBgvP3nOXEQlek7ZfsUJjGV6QRwlZPdPaVWQrzbkDhMc3V9GoRnvuqnWoHJdOpPHVfV56jOZ3jQFAgyn8z/jqAWqUfuKkY/pPjXeWCCI2y0d3S0t8o+7McPMExFMN6lz08sMPB+9BtefwVvHCU3F7NE5xHiXE7579toJUxMxOMf34RoqXzc3RhSijz7FOSVi4ZM5v9wuOfqZ4Fv+vZMX1WDfNUITUzs5Dq9rELEDSIxpYlyxWk81ATq2PBz5886dEn2YX9D/hRF4OAcRam/EBLB2Jw6WLxTxnhrEslNpayKEuzB5HFOz9rvEGVVmPnqFhWkF32SLVuuutKTN4VdMMIKJYAxZoGcxwh7zu8MMh5ouJPf0GiIjrtHJsJ3YE7wvfkcnyPWnJzn0/oMTmGxKvqwxwD++yuCAcwO43fGfjw/knZzOgPys3270obwjBtXie5QYrm1pRuT5u5GD9XC1duOI4uiIGQYxmMD3EL6clntC1gsZYlrXWz8C4fvJbeCv4PO3kcbEdSz66piZu7Rkl9c+Evl3UGCTqcdf56fMKMkMYrlivOjhGJa6gw5Xkfk/UGxHYapapq7BJsCkpnbYTku5OyIRf6mpmNtUFyjkz7a6GUAtPUkyGVNin/WoFSsHg9MyWPQBcx4ibV9v9oGoNTQldKY8nUVMlsEACXwybhGf/eyo13OeUo8Ffj1EQUocdAKewL+S/G2bJ+Ht5xH+HPpXzeArIyiCChav8HbNqP0aMW1Xo89A7xlQH1q0MUZl7EAen+YUxRmWLK+3Qg+D9FE2oNmymCv4juMg/qDU/HVltbQo3Kt/yPikfbaNvoo0NoRmmkewzdCX3rGr/Xm/MdnfMmgpkn/wzSHyQ62Zm0C3/mQYK7irrS7/FqGUSYuPFHb0LgMZm1IxpQiIc1xWl22LPGWNGg98kauWvn6lgPeCvR6/oRVRuMRVqHxOFFsODxzSyPT6Ds27RBLlnrYGKXs9cw87s6fn5vHW9HmuPnxUxXVynBDwT1lXhUEJZ5ZObuCyYwpsnlYIrMWPG2ybwoirqFSUkGAxjnfG9GdNbKHVAUeVtG3g+psO5U2OgTuEiRYoSKSORWGxtnW+VWfMvTtKC1n8SEf9Qr/WcYDOUZ67atfps5r2g4ZP9Jh83BqJ9oUaarFE7fR6gk2P9Nuikf2ygUdyr+H4WeO6hOgW8AEkt5ckoo+oOdBXTihMTO6nYKrS/VdI6TQjvSXooExiuweRIkwMbLLUQChKgKnxqSCvlLUS2OvHmR0D40ZR789VbD8Wn7JM53lsJmyT9dsDSZP4/RYq65d9LgZKIEgIk00ky0cylAaASPtdEQslHlHeNVKu8/R4hTPLT8v+2mL9/JZXVO+/oSDvLxT5I1tY9WQt3Ou7E2NqiJCDNnY7HtjQhpfbWc0daRvunuQogxSZo6c7p22zVaRAYAMB1JGUiA+lHfUdhs2qrFCiIx8eDYnV7h1K9SnSR5EgIMw/dbsXjj5NguC1KVHQAobmQ7F1gslIBIZED2D6wsG8ynCggMIIlNddGCKIH1CqoqFqdX/SX1ssrMgpBsJHrIR8bQ0PdXpxT5qqYaRxw7afxK1T+5lwSk5L6itIy5zFoBq2guDeBF617WEc69oj+ysJwcOA+GI1IwhvWBh6e/ebwTtsw9EJXi+oR9P7N1B8mq05lb7w6+rMBM0D+O1mNI5HaVV1tKw2rmLtvolsd22LGMr5Ei0e01kKjjIWLDQDN0fL1DzPqtcQwNRbd3UTFI1ApLnyyAZQcmd514bw0H52ddFO+PfwZF1GHL1ZOHNM4s/I1uZcfn2cCxNEPdqXdLBpSXJ4DTx7+sU0ntp+JCWcAprzC7zjiD4GG38xVlUvN5ubIUb5cp0LCAKdV2ssDAC8fSJCCEN34uaxRk3RPF0kEzMAI5CElM8FHHY5shgcolQjj10zCPHAe61LJndbQCvuM5HKOyE5LZrMhQUzYhtFN0RMzrNyKubbpcvebp0IgkEJD7fpU78iHmidZnpleDpOg/mKXFDvY0P34JsFIQwns6iun7rfwCmfRHxwgBEFVBC9S0FWF7r3p9WxhsesoyAj+JvGamBD2ynrDwK9FDyDv02uZ2VGeZyfkM1cfmMxO0m6ZSjl8Xqn1ONIv3OyQrkgY53UsqKyW2bnCOqSeT4gzFJo/yMRDVS1bLbSc6/eKv/0D5K91P1bXDf09J9cWL8okdgCvS0eFZfg/hBf/MVtOIrH2cAeeqtTKVcPfHSARpLe4F3NJeXNIMeekQAIycTrMYEUruQN0XHdUjl5DD65uyaOsZKGttBw7glhyfYYa5+MKOWPrIfZeFTRk9olouepW2rkSd0pkDT8iigFioEjUk2Q3gd+AcuQyDzNZIDLBTTEICaALQ/kUXtUoRxLx0H5xhqN94VcMwhWner5rqYNPg71KxJDI+h6CjkXrZoBgAcZQOxKBRuwKl5KgJYm7l+suic5rh8xUzyBoKvVK6E6i1c3/NZMyk12eHVICsjujrJ/bEmXF3LMkljM1mNE+sTMzwDiZZNJafc6wLowxS3f/mZxd815JazGZ/wiXX/V77Tm5VEPY+ULutqtF2kIwdoVKhFUUfLnUL3uGq3OThsJUI0B55Ioh1/wYHBL4kF1Jvdyv8ngSlOSw+w3etJ5yd52V5R1MOdYi3PadesCp48qzuP2g0v9/mUSEwFMvi5ykgGYF17b7TGIJMNk0bIukynZJujOcvGj/H0vPEKctXO3EH+ABZLFIQxy8dRNliwLMx3nznYl5BSVrhP9UFoEmOs0+SQDwSTkabIAaJZWVaVq3Olu8xa94HtuURXEbDwLl2KnOrJI+ScbErTxxZQyS5zJ8fPEWbm/4T/dNRIVFRGB8mHSOV/5QuNx4hpEjChxKMt/HSokSM9wKcsVxszuiBVoSQC/XqYATnhXTxN4vjkXPbf29Nvmu0/m2kivd4iX0YnZn0ono0mAW7WYXKIeE+wShj8Amly4lVFJINpUpx4K0M6CktfKRk24iBz5Wqu8SdZ31qYlsldm9C+weBV7hwi3zlZU1fNi4hq+TStGf3uoyuQEKulQM7Tinvk9dGxSHxmgxMEmFOtermdvPJff9CEJDNytEdH5sXYZiwcrfQwinscaQ2vPV219YrrHc9Of2Wo/1nNcSUCbW/21PWC7hWu/UN/uMNVKXuiGNVIX5WAlU4WteE7heFMeq8vmzwrY9SvWubhdn/AI3FQcsGJglr43uBjzV6x6k4ryRPx8+0E+wQSxsFNR6BLshaA4A6dJiO4OGPp7U8HvADHqtN66RZ17+2lS1ZIMHe4vWbm8KdHY8jJwqj8mD+bI37ZCtdw7WGTdIT9nisCzHA3njh81BOYXBDBqjxCjtuzGIhLpLRseX2c++9ZSO2aF76jwA4ZJnyXzSe83w0Iw90bp/SFVvph2DpSe/dymdlzdyZ+jseVaFv6Vkcpmb6WvlJqQssz2T7ivwaEnxk8rs7fQ0sve+ia7EXmBPArG8sUx5vxKTltvMC7MjT4T2tmqONvowjosaZR3PyZgQra/NcmIC87BHCJiIostw72RRZXx/vwl/WyJDCWYMJkFGXSxZVre44Lg6CAqy7iymroHxgWIxfmjYXStDL0fAf2b4iYY1TiS/VJmC52fMb5YLMQQAoWwexabwWos+ZbYo7lu1mLD5kWkhSzuKnoYWJCRSiA/xNAu52pRCYaieq3eYY9fT9yRBrA97XZRzzb7c6h3kCG+ZaUisDKq1bT5AYOxyqrEOUUH2KDTtrqUGOfUKXP9Cti2HlHeuvKZS+vHVEvQi6It8TP/X5seQVQ5kcQ0+gwMdfhATFqbPetEGjedUE52OO1ve7aJDG0a53KBJ9EqhtNFREpAFrTVI3xJl1BvCHSyoCg2Y8sW3pbKCecr5SEpv+4mVL69yHZDMBSr5ojxJzO0BxqWxy5SYvgElNj8btAF9g6TO2M0u9cVBqvfhUUxJqQmGhevDpn/S+xNZDftHaxXdbJNUEHvx/DekvEATZycEhaPShYxqmz/4a+AfCERFs4S5m8E2Ydgl7rEu8r/tSqRsh+Jhj4R2KfxnHrVU0G4stExbTLGzNWczvDIorEsj3YpjBwQVQ4Zlj70d6kQee2hTycjfVhvjhz3pRCpxHZabHuaLGfmrBbGQIHP4gxT0BGRoijqO90ADIomILXAziOVMol+XBw/R5Wm467Sw88Awj75FdNgqVUQg+qk5Lo3oxYQ/7t7xl2GgYeURs2ZE6Y0e6MrbTj5uFqTGjoUpAhXPzww8Jo058b1m+Yiz8QcIUZ6fyEfRdorOEgDBf/6IxgpX+nyIW7mh3piaXZgeOQpV391V7ICkeuYgKPsif56X3Qf84VMod5ubMmjfO8RH6fPYVq+9mmyVr76GLHB6yJ95b2y1Iohfnay9CubWd6gGHcwiTOWum6jDQqi+2dHjyody3mPF3N1kJ2YuZy5I4JNBwVB2RwHPXLXZ/bEPt3W95EaDU1oy/rV0DNf3ZI3MIv31OVToJAKphBrMAGmojw8KZeJTSk7hTRp+orIsn1xDOCFvxyLy3i9Uq5FWimusNZ7rMpC1/9LubCzkqabBfQn7hjlwkWxVQ/pDmg0nlqG4tI47EYwuK5gKgjwTVZOyX8ab69DtMhm8gmZ3bh6nwbiy1ltJaDDcPS2urv6wwrDn+1X3tCOOWnZZGIROnrRTTsixx70NEs+JNOsfJ7mAuGA+p5FNmPjMkTFdjkC47WJtnwWFbuWK59N41CtnCipv9CCghyGOGRCXcWDifp14G/DABEMLlWHuQtpg8THa5xc3wihwDDKO1A9xyPQhKK6/APC91oTdJQnOXVJHuvawkehLiFAZIdi4sbcxG4295r8IBCYNpsezfGR/WBdgTQlm/oJaHC3oIpKyg8UuDWd2VNJ1uHMQgetdicqgrdjvfXLiStLhlxgtAJ39JavqWH3B6AjFKFHaKFqdhD/FS1/vj5w1HHEGjpMpY5qqD2D0/tKGT4ewRbaM8I2Rw6S5O9xohENBWhZPLySO3AkJnG7baemuWNPyf8DkaN+wFZ6HV5hjOH0hbPeHCyWQGOT3sk/0FD0gFbLVFn7Z44e2FT65FctSJAshnvddRqW3bAMzNeEmkHGNDURFW6vCZ59P/b+5BaxhadHcRoxhjVpbSyorKzp1HIUlsjC2YccvqOAMMQXxf1TNshwXvJZHQYLcScLt7h1K8h1wI4DoeybFZiiIM7sPMpdEVpu4Z/BptUrCZ5NccpILGoHOfYYLRluG1HsAFbm5svXJwrtERBQyktNKGub1ISbMfJxxy7WUGcG8A98/+0zbyGvbmJ0jnYuMZgX+A42gtcF9Lg7hkpmoqZ454KwahkBVqVNfRQPcqX+CyYFSwK+5T1nRk4DcaXP88U1LGYOO/ccgI4BAPBsI9IiZCZslYfKcrq+RxGSg//YuCKg3LRlEtppIpFEBdTT2trxr0mizE0K7hpJjRr9iYYDazEx6u1AOOfDoF9EmV1KAnAa239ynPLbNyM5ffD3iUd3Aiz3Lu18DaVI/U/Y4Swo3KKkvBZaBIl9O+rHOqfUntiVhxRjX803ULEjOzan6J+o2eyoG8XQ3O50KNyNm3WdbbZX+J5H2vjrqYPsU9yrxP6XoS7j0hC4KavWSMyzAd/aK5wBHWeu62rEvYEbgh5BrF7XtNl8bo0tbDPcCGfMGIqfJ5ARMvbgOZoEwmcOpzZd0op39NB4hkRXjoLG51yGg2B5/fAoB1flOCRHPPlhwgTvJdkZo1s4cYbMwBJAtOsdQTY8q4BLIaghDDapQHcBX/SegVulq4/NwXDyWJU1mauU2hyrK/u0fUe/lHIeUP/rBEfAT8alQt1wfVSXJHSpS9HvumRk+p9EMSi9ity8gh90uN+1kZsEyfkEBly2+9h91+K2Jx9bY4lglWpSAS78Mn3lSsbqUBGZB3rnIZtdRKQpKFLO2NQ2o9x4oOdGOGuPV8VDsE7GDDUNnToZWD0ZYhcLCF4ZheO7pihRgFXSyIFrV/4A8xcoGwfM2kA/tMq7oF3KUaJqvcRjxl6uZzRaL8XGsvP0DVGOYW0AuJ35nVKfQvJNT+x2vG32NYM8mtOU92ST0XW0bJVU52yiliEzZUcrBu+8BhoD3kFYfOtiS0+l2RNRIKDyG+hE2Vrg/7xAzBd4Um6OaMRgX+QwKP7HDdc3e59EqCDKvy20RxG+J3DMkuD+1SYEs/RtBWd3BnRT1ckhbPFhzMR5S/hMtIjpFCT0XYHuq7HdAZ9tubnuzsKumxBUWymC/3DXm2lwaPgngiVPROdM6/nKjEvxQC/4NcTrH9iTzkqTFIOlXiRXf0kzloW1glAg1p0eyz6jQfHy7AkzJJ50p0c17/7D5gWEvdg/PY2c9qHcL6jbpSLM1/nh6sGzo7iJsVxofJ5GPxkv7wWdiGyhW4WEEZ2aR8d7/4NtvgEeNgiAnptEunas6Gyo34aKrVU2YCLhup8+gM1gUJqHqgBQmDA/JiZ06BcuwrWGgGoNp49Ij1+mxIiggTCu5DIYmfTNSXgI6K5+k6aEp3NVkNPfsae06TgAKqLkK+5bE3H6K7Iy9KnPZB9vkKRQue9IwrJHhs9MXpoUNfA1sKvGctnCVTv1HCt34SBs8SaEDlH7pFm/Owmk/X28729S98asW7epa3JwrjOgK4ZDaOGESS0UUNzYgcznCGvY7njqZ4OTmm7GZAy/gu29WxgirKiSucZQEsknkrI7v4O/KD+3S/QAG4SJwjhXw3aWhsrwxItBOpQ3deay2+l+/Wd1sHILV2j4UtIRdg3fkUHL4OyoXZ+9za4NQPtEbRO0hORANaxWAMBycdq3gkIsw5mxaijEpLB03+ZiAVn9+84dHQfhZ98ZtpQnEqjlapMlsMoO+tPGPzKJMBJ03aPCfE9LWQIzpiM09JhDPYHWYZb2V8V8+vVMXYhSzSIasyAP5ltf4uE3zSxGVhRSFRjzKKyFpJacnBYirO1u1XYCBfrZHUAjLVh1vExjLWYA+m2F/mTce19vV0JCf89YxQQ4TjAcdOD8YWnsVMTjnbMZIrTYit16Qlj3gQLev70OSMHcsHY0ft4foxzTRb/gyL/5CeyOrzT/x9rIjt0L2DNTQRJ92qeJnRCRrPkiCl1Bime5SB6QTMcpFYf9d/KXL8AWO7tYR6ovif/OY03lLC8C7Lgy5z9/Cptmr8FGw3Qt5OLfyT3ii7kN9XSMKJXYGY6mxRRG2QHMpr3XoJYp8dFg1pYzWfcN2dmXEu3zF6nM3b/aWZxZS/cCFv6NDCtsFMWXTOOCNPaQXncfqmXv/lmMPt3cqvFXhJZS4DpROn/pDiQ6j09Q54vQZ3RRL3rfJn6k9lLGfXXkaIEadR84gRUdSJtYOwo4ffxDKowjhnvciUz3MPw2XMuNcsq6gqXtEM16sWXYCQl5FYLLe9bnetvrC0b/yWYcECfdzhbKYYs7UrD2zzX1W2LPSgE+uBRF+ooU2IyZZ2Sw/oq7/C2P1OlrhiiZP4WcT2aIb8DIcSrveYtaqby3Q/NGmoFy71nroVZmOoReBlP6KTAi7isrUVXvrF+IbTYZrvhztn6chZD7fg1YEXheYnPZKPw+ZaNSke97WdF3+HcRdgth4/jk+h7Kp9j4Wg4WdyDDx2wEOnRkvFyjHNcWY85r+BnhMXhEwovgSGIWpOT6hxDF8kmdhSGEfFw6x060Q8fYQ6Bd6jaLDo5smMYFINdYYqR9Bz6ewTqcMAQq379/V/zXnzjdIK3pxylE4MQBpviRKDH0GyS25vkwij1zUqszWaIup7NHa46BaYncu86Im7vF/1lSCfXP9SNpTtV7YUu6iePoidK+3wHjkpdyX7K0pDaJ2K5p/7768u0MdvyK0dMKF95ujq2GTgkDS5ereuZscC1+av2nHDicWpU7Tm1vdPnz+UW5/IB6xDYtqNP/zc3gyg2aSiw5tGzuSXW+nyUG95c9G9YyetdhDABMMfcMbfdno+HWdWyZRvpiWV79mshK/5iZLIusXhNHyeHtDk7iNq1IRBSRcrOmZFdCWvhVgcRDRW85jKqkzFX9Hx0vgLxAhKUFWaOXUvrsx+ujz1sFHae01kfxMklzHddI6r6MWYvUdph/8v9RQC4/uAFP+yuqdS2rAGwkIx3vL8mAln/65KT+C9PgZlAyDBEiBwXNsZLbBsUrWvatRLJrl74qLQhk87XO7jQCD/G9YBm6eJxwMJIp2P1pfUCxpEmsraqY++wP5n7L14obNtp6OgvxO6mkCkdbWwBHuQTyAI1/OkNxTiC5k2eTOnWY8iy+3zP/PdmguRpvn3lQz99g9WI5pBJ8BQzp23uuYAVoI4Uve8WQuP76G1nbUyz07msUcd+WonCxHDtPqqLFCbE3O+7kuZYkVLEu9GrgWcQ4XmYJPYaeDc+ty0JFJRrITvUCDVkCPaKqMBgoev6j6V8jX1UbyU7Zx+YHo9WvMSK9QDNyKffJu5nyvwdkRGiDiy8Aijma16O5F2m8nbQ6o7RGdUzlI1w6ZdhOup14jDnvq8YTq2XT+HU4GXE9Y6tiYNq5DQbejDcyt49NHSwKXdwPrCGN5I7FgeOa0uOqeBkb3zUfaUJf746AQgNViE4nxoaHV9ZsG1jKgio09RZZ8cpO7oyIqbmcyKYB1biqkVEwnUL9zYwIaA3UEhqV9A9rR+TYO2OBIIAccwybq910sLFlvKRlneg1Xww3OTMMOkS+Mgc6TpWmhSK8bajYfI/3SnNn/9cjCQHhJsr3rLatWG9lYbAOKMLWvGwC/eStOni+4auwZkmy6dlB7Xv9cNSr3s1k9PjDE8sn/jgDUVbBQ1nnKZBx3RhAWlOnL3jk3yZYvcNKhkCnivWeFRegOeN8opjy1cnAnKinemntrZhJNXcMQnb3y1ZY20lO7T7rcHN+bSmKJkM0Uqn64Gvuj02/SOh868C/S/L8OFDi641h1u3zN3oo1Teeehe0a7IGl9JOZC7AZwQHs+/oTDVzLsJO+fHGB9P+7S4RZT+HKFHfMFYoaGX5bahNeFY+JOlQ02dEPlKq0PyXHxXIRQbolnKgZKlHACX8d72rqprA0omIJEfoNS6ENoLwg9PeoB2shkxeMLoU/AAcL8tZDKIMM9uHAVq4PYNjgN7+vqBgI1pwrlQqJrXjZ/GkwL75B/KeGkiIXYKYZySypcEj9JCW5OQlqNO007aknc1Br5DfqVaeo4xKx17vcNiKg/vSoxRc331QNQoFnUOy8NszABjopq8cF4VS8eCdvS3VJp5aCu7oLnas6pvQ63nimXhnFTtgPJKpqRIrBEWDCwSD7tR2OO6Sb/oENprGsjqnzyzjLy48KfF9CAfYqEr66zAhloJD1DkJW6qXQeeGqtSTItjO5Um30SCCMyh1nFr8Bs+mxepM4T352fLzIB7XjIzuTPd4CpD15WfIg9v+usnmG+72WaEKGPErFSTM7mPPo1Ej3PRucW0D0VMLGmA4elpCCe9ZeakwGxdtYL60J/7FFCz4FqxieAbKt8+PdXmjlrFgAA5wfr5FCHd5njfQpMw/Wl6TF3FNETL+HFSo53GD5XvKERdonWErx60QqoBfbxoz3CJ4rr9MWR31wNVkmEKUfLB0rOgsLinHx31F6l1HlHrLhO2ztGNZrcVGLNlDljdoVcEh0Ty2LXE/melT73XtJamz69uvRA1OWRe7rYlTxfh7yy0HugIaoPjfKEMemnBGszUi5A9Nad/LOammpUZJf0tCyf6FyM6+DhDkdYuNPH3CgI0/6oE5pIj0JLTmzhalHxk0n/gKOu4I7VwabBj7nG5WqliPUHQkHupX6JgdzyomYB/rURZiImeEbdDVYhdZC9iUW/UGZQY72NIjBcDx3xCDDxa4m9UcYJL6adzFOHrJu7Z6R6up3UxMD0VpdDnWVt4Sbw0b1+QE1Ky4ZuI4quzDIKxa/5egc7wAgoZuUIyCKFLmq45yo5FRpZ+9Pvz/3xSbLTOIg1Li2wCd8ZtdVbp2OILfMtrzJoe0l7GIcqNc1FrPosQRERxxL01oQiAKRSW1jpj00TsVNLVo0YD9qQ5ig4xDCnTD+mbqSuUmQGksU3IvPz28abaEomKpGQ64ji2miOvYrtkiNMuMFsSP8QPBAobKPK3Kz/C1pmgJ/L1NwSnx7sk1xVGfgKotbxaQeipmsJZyx1vBpvE5Wn9bHCcU2JMxtqi+DhTt2eS46L0N6vK8VINywvbgnwvbRu/E0D2oGv36gFE9RY6R6VrB+HEVJvaKeC1yfm5JWeBEIp8omQQdMS2h8OCyqBtZgl9VmysNsPe8FZQD2zoodn9Yz6Zyc+535dcCPPy3A60JWUjK4e6F154a3pmPun6uWSrbWZcx+qSMcgOmIWDwEpM8VFkm/VV9fOMeUflAZP7FoDnrts7yL741IRAI7HTfegkoyVx5WeSwe6Q3GB8GmrGlem97Ni6SX1ldmngMGLkhmvkOpcFH5qDtZMTGybM76rtfqzhOs7MWW6WCxRLgfmuSt5reUyCPZvf4RkIDw8Wus5eVbvWiV5exU/wypfdSrGRHobEnQbptJkypp5z3MbVC6m5Yqv90ywaMCd6J08sA1Fq58AFlUFRf6zjtmMTN97XSawQZbWElGkDrY6jwKmLuZwWnzkwrlwVTWcIrxDA9mcqQMModRd+9uIzk671X6Z4iGXOPA+mT299G2bJKyIhZ7UTyJcov5yrlWJiTaF1NitWcttESiyUtViPPrZ0VDte92Xlwss/XK2QqmpHdCpSQYH9Vv2B7PEedskuIC/3vQweA3UndrWWAJHnj6t2vBnRV+9adbv/AtgOzWTZPr39+c6tjDwWM+91Coxhzm43W59eBiXOVz3v91U94AY+kmuHCkFhUkCLFweaeVWy7YvOOStTxBmFzThM68CXPEvkEJdymOO2Pg5nwf01SI/3Gm44yXuQb8ndMzHXJJwbc4l8vItx7aNTa8VTfbMDpBaTvuGdYLs51mTP62H0SYd0jrEu9dPzS4+yhOgSX9BvCL5lCVzhUBpeE5+Bpybak7kkUvBekq+YeGzWnWT7/qOvhkEmATRERacaSiUhb+Sj+g0OXMfZeNt756FNwbjjpB4zgRGvyIoPp6WU5CTh22ZVTaKAUU2duQ+CBoO35oJOEDHlEAonbu40mM7kUUQrDA1dpvVACl8OG0eYy3oELDtfkTbsXEXzlqA0pjL3UaojP1LnNXjEXactuSKFj/LjlBMnlGfTrwst6SdLC4jafiEMZZmZHjlgUvYEEiG3V2VbI1gYxe4uGs5SSbF6dNTYIQJ0AU1fLi7FAmnH/JT7P9nKf7157IE5QMt8uYGucMA+E5SFiZsljj6CJLemjqjsiDzi8WTjVHVdKEDt29WFXgyYPg/ct7vQAHQo4JkYeoHGvcu41TCdvAYrChbKXeWSaAvPrZOn99LPeSomM6dr3VZXITYgj3q9tXq94wHj4Oi+ppFQwv1f+4onNeM5q+Qwnhte7peZo4Or90h6M1YNcWelaercsnYMI/EakAdKnPxXidXaUbC81ScT9Yn45bu03BBRLXb9+LyscasBqX/CiM3LpFlk35j//12V+YI4VR6KF6mL9rAXcIuxl6kAZ1xgc8NV+HDWuwDUlCvcvUHSQpvb4CaoD0JEPLY6n/qUtgqnAkj7gBvli6vrejEnkjVEvt/NydOqCMoQG5Jm5Oh4SCWvi5GySrfds+EEVKRfSZOCd+x8j4yp8b65HS7M8nW/6shZCgz/WYs0w2HppPK2nV5i/R8eswqEEXVayNQif7Qm60qAoSK7dSmrSiy63GVKHrky5m9+Q/ELs4u7Pp+p9KOx3dGNVXiEHWJp1qOIRaT+JnETi+Va4ZGTL5iLRtyojTAC0761D45PhWaCLe8aFX0R5i2Hh76+uczUAcizeH1nYtE5Hfkuh45M7VOrm3S09WYYgKBokRu4pR2pyckrtfY50kKUCv0Xu5Dv4J8CNCkppw5xoZXFMqmwzp+QaCnfo/ZuKRoOazOtwTjfUEkhFJBVJ1WByS55Vt0w4BVdQzAfxYJFfcTlV9yt8yhNfx9d1exT3HVvdKdDRqGGbnSs+Qgcl5KJQ8iH+wXVLdHez91zgHOq2kzA5epL4uBwVwNzmkfMLVbm+kQPaYfFeBJPN6QmQBKYO0LtEAhhDfpXg5MdIzG+zFMU1KIOlUto//XoVTZw8LbJAwjQr3EfrJqpYFchJIlQzfBt/rT8/i1nZv4G+DKGvygWUFGxiVYMtU2+r4XpOOkD6CjJmgh7HcqZLZFs0r4Bk5//hILTKzw2CcAwDo/mSUckPE78WbbonrVScxalRWlIVYqSyRp8Y4SBUuHYBpflOi6kkChU8XGT7AilLPG5o8tH8qxyCXaY1UJjUM9LhBWJX3h6Az8Bvk1q0m+7w7cpHdyVUa+DHVRjwA4ojtzttLwtZz/SFV5hM9NetNrCst28djv6EsDRzDC3B0F4TrS8eKnsrZQx6qb2PriGitixC7jcSg4FsLc7xNZbFyeeLPev1q0OOCMrBQMvLkISsbjevIctyz0hysbIh1qF5jAmZ36+l96Wt860tReIbO3hgnTjKJqzMcBxxkyyfyAH1MqxZ6ztLn9mhQytLCgHT7JsrynVmImil53pAWMXY6ie2iuXqXt9gA+ov72xabC4pvHBegkxWtujbd6Fpc0vUxrCYVgNWmJB6trOKQ394FcAAbMqeQ8TGT5i+clFIH/crMMEVW0plD7uwYIpL1d8IR6RmYOOvaR+e9arsMLleRhRvDK5q3s3ei054EMvbvV4FbowC0rtVHK1yMDCQSidAulGyZpkKCMeeoKqpgh1humuODFwSdS7SItHi6glUQ/PBUoECTvVHonT8We4yxhxGStgt9MHuORFCMBC7n9S+NcDwAhUX7P2EpqV5uWwRMGlFMuLZVfe02s229ajkc5LYiqbQc2Zam8Vb5vCptqYmfSiTmQ0K2S8FDXEYT/eesfSSRcQUpUhjt6rKzoVBk5IBG8FT1im//EyVrfODa7+D5+d8zMsQupnGRf0uQhKLtTu+J6NfPu7Up5TSCUE/ZbFT77K+Z6p62cYPwHphq8RhAalw05X6RFJOobkXKf28zGAbNPyDkg/MjBofn258uFW2wbpmAc49ONUVIZyamj+dVQoUaWrUFgVihVAnKXMrcF/OpPjhtwQZF5+BnLYK8kLvK91Cm4MRYciqmj/3AywiZZy/nEh2DtM6EEQwddU14MD+tfcL3qn71YuvtctAVHEalITCJTG5qajKp+Lr2zbwcg70TuQ2UXkHgvTXl/mDCkGpAXawOJRQzsVlA12ZK6p2ZQBOArDiO93WuMELQiOIDhMrTXUIVhSD+WsR63yzubJJW70+RvhmOGQ8yFfvedaYH528ioPGxkDSrEtXEcou7AXk4sZiwsZXkbVAFQ5dTccdRyUzgzjhLf60UFYwusKihJnIk6fpL3Z7M7IP5eVk0we+ni+rvy/dhm0BlV5dDgT2cvjIWYX+bBEPtZKv5LDut/L+sEvJPxyjm9TSIjK2sdiwn0q4gciBdH66bvkkGknPA0gJKyHRAnjx+SULOfVByn7NU+FNqktQSZr9YElRAHG/23WUaaWEOeJQHCNyGs/QvrmYqnCYsSq5Z5ok/95aR4a1CdGJPFPqxU/DRz3r0BNPEWAptsdgg4JKgWaYv0CCuJygaagFgCpDzdYtjzqJtAxmSnyscUVwbVE5hyG8yUypbVefQBXqHOIDjMSFch5W8SB9nZQXCbcwd5XeT2LexE1MR1TGJS8zpb4v2vHuAusZdDzWYVVKGVyXZFFF0Zr30iSXnL2zarTB9e8oae+gUMh2RQXLqJg8g7/WLTKCmtltL7f3e5sd9RrYnLM6az99qAinnC9ZLlL9jm/nRsdzw0hZkScH40mhhhUXlgiuLarNQ5nufKHdRyt45/CRpyVSlaol1P0PJgv8hW/Epoakp7DLvVdvz1bpfOEAtYazB7YuamBg624/2B2aAD0h9pHWcuH7oknftDLvXjlBuyumz129DQuy2dKnD67WdLWPLImSOkAeC4NQjfaqFhHR+EmwwNNDJieV+3xWvgJyA2mVSZG1WG4yY9zSRcZNcu5cKrYgIGP3yae9eHC0X4/ZyMr31ko/EUZ4AEckXRx7cw+3w0Qq97vjSFQSCBDR6ZiAgzgtmUF06LsVyNQ9HLFtARBcgaRJAyZrY7RnuZyjNIDs/9fNrNx2vyUG4qQ/oDBaRmyk9erl1ITstj/XuiWwoP+O1bvM1QLl7pItMH0N5bN4aWUen6HP2Pzh7dedYrBYuZZe/ty8uhQ1IHMZpHUPLa99MBP/PnNeuO/v7YLRBYyOwmMygLODuVOcYcrwqM1F4DNQOJ5eqk9RCVZeJ4oHGKdosq/V35u5ntX+RMu9ax/5e12pER9N0RfUD/Gho4qS6Pxfxeg+c3oeFIMCiw8OrhEyxX76xaPccEjUlaTR2drIWgs71gWvC8IW+/vpYOKOm+5RdZKvE8MCCA82aCZ7V45Lvr9vfhskmiBPtaVBfoRrzGrnjS8Q3czqzojzpYQoOKeBVcH02oO1TsI+Vd33CC2DSmOz0ID2c+GiHfXBnRYn8aYgj0kbdcOSRxfN+HJ0mLQ1Srla2guTMiXxC9/FQL2d2xmtxtVz8xBIprw4C0Sb8ClGkIGA4mKy7OUA0xuMwgnhHNc1qYYGK4HC6rfnr5AvZ2cnzMH0oUou5u9At5+fDRHXKcxxJvbMlnzSFerdpmtJQNsHBnJiGX/NZhe4FvunGvlCeSmr/kgLwbp3V/XaiOTmKYatBy407TeTJ7Xs88GLgAvEyMXtt5oDa6+xIYHovSG+cWVEtkzzt19zxw2RGOezlsj5bhVmhqxRob8tp51FGPTEB4K/bjRD2oMMtRXaZQZSW/BiFMkAjuRiFczJex2Y4pxyDNsphasKU9hwlfXRwnNMhRRFwzELmk8jO0UfFV+hXMeIbeHdz4Crl7+768GXHCy0AiRDPmbemuYt/6ceem1rwTl9U1xU9daPYU+FNjVRh3fkexz5vK3RlS6JoGijmCbBZKlj3We68Rk2Xv+AEX/e3W78zonUdb/sRfVoZApgxzoHPac2FLFAJrvLqlblXG0CjHGUQMX2aOHg5ZVbqmS+MylmEItterWroFr1vPlBEl4canpoemOK81vcXEkSJ8ma5sKt+7JG6a+OPSXuy9/pQMo920GfzT7Y0i0tj5a7x3cWm6PjYO7GjNPcd01Z71FfQcdZpJ8XoHa7E+/YySnqz9HtapISVwncdZRsT3q65K48Inag/umAETgQN2UUCH/oPk6WCTnf168YLamyL+y/6stHV02nuORXp0Opbylt2vBdRLOHtRkrfsI89zkvg3Wgb/J/IH+RvUG0cO9UwPHKF16hg4VZulWSKdVDxgD9CmxyDBscP0HA9GxAIhUZxFC0jTVIJrlT9GwTLpjgscfGin1VuXsBpPNumW+T6SwO2KVLgA56Yu/8BIud+mbKf1mI0vPyfUckYmCclkcIpvxPPasO1n6JB+JprWtuTsPrqJKasAhZ96zU1uBrayt43YVyBJRB11pBMXMHfPNF6ID0JlG+X7NrKnsNawcWGUg9Gc+3Rpa1BLvVkjeRAj7TAIDNBjpd0DG75Od9MSv2gQAZRG9y6TJWL9zNmekW11ZXKJpGZX440IowOkpHYRE8VOWeqGvS2bbZVBwYTtapnwFF4AEh7xzO/O8hStZXwgLfBf6D6LqBFtmafQCtiZulv6v7RJeDmN2fuRXr+s68QpePfXQw1tKFUq+vIV43JFLaELTeVWZfHqqa2nLS6qMotf/RqXKCcuLpHrZR1P/ZrnpuEzvxoasbRr2Emz+CLKVmbUGMoVeI92sizD3JwlJyYKy/0myT5xraiRU2bUpdjF1UiJLLcw3DgE+GvydjxEs3zYePTRnF9Za67r6D6Cxpz/EEC3AGYyYwbE51fhLKfQByXbtNblw7hDsIBeKFYLk5tUahpBjtk7CJy/+PyixsJyuaft4pICmuuZ37j27lunuguc5Ezm6pPrw4XWTPodN12LdGoowzkMk5TmYUnon52hZrzC+BwDBo3cApd+87x7B+QbYugQ7cQDzUrSt0w7VepY65Ujmzk+XkDT3qy5cRK8VecccjYiy9+irhxyEYFXURSxu2RaHGT6Y5KDOYKPxEsqR6DLfzu9HNBZfoU4eYc4hN6IoJHeijappCJ5eXqhRIXoDJy49c1QAexfMjbZacdFFtJWJgxYAKI3DDp3JBPoMerS8wEBqlicYusekVpBmI2DoUYJJlZhJ++6ZcVVgix3mPRnWV7DBi8vszZVx1q8ex0Z/JWEouQgMfeHM+rt2srEyOpk6Ovye7NCTsVLzQsoE9mLW2CKxPNjPFDH99uPh5vqB0XYhQUw+dEeJb1Au8rcyIdnXoRM2juJwbQmxz/S913RIS1dIQuvyC1hyYyiuFYv0xxHE+MkkSlJQ8VlGEkmYt+o8TdBbvSetfUAs2J7bQRQMPYWru4uh6FDcmlHSfiUl5Y8etHpDTSbMJ7uNGnhRYAKjdYf0UvbLjfE/wQGUN+RsGC1yICanHEpO+8ILle1G7NBm3TKp6zwoUR+ih2TmDMWAzucEHJvvMaiRf/BYvKFRbr1hq0VcVgKV8I7l7VRz9p1god9jaxJEnqv2Y8RHeXPftpZvSNQ1/IVMr2boUhW3OmxeQPEU1GHEGw2ip6rwyyUclSgEznZ367zK+r8HZXiYTy9mgVbfkE/rV+zm/ZvjP+drQccIOu2m4rtIEQYGs+PFoYivh7S4FuAdQx9syibGUoL7SggRCs/dq2rMHuR59VldfqOz92fW508Bct8xwDe/IoEST4XO7nRnGS2IdZ+TLDwYP+3eA+/K1BWewmtVb9tHAqME3SDDatn7HMYt2PTOAe70/B3tWpSwQgw5CpV3eGs4z5EP6dvxcgUsKhUhMwls1U6mGHGZjfsL2TVpL3JkmdKlcbgYLEbnEKFwvHuh3YbGVXksvmOUZgPM5qrSZEG1hBTADZymI2yJZ1QtTFnI54/+x03egfKgpQRvIeYR1pZwggZEXmkFgqACNmK5VJ8kbeL7XN707Pfa2aguE0+HQDcjzc8w77WivSMGvtPp30wqboYcdb+DwuEFShxPjHJTcWxLEREKHBUEBYch926ajm46t18Gx+HyZ0iPTXynRxmPedK7HOBGCotvXHdStWYLiYvaMCLBSxTxHiw4drtBu1rfmnkU9MM9tDtFeIqrNPtC5dW6JWsqGbvlWNoRMk9KidrQen4+AFxOEGstxzz0mVSSJninjZNOBAh6Y7pa5FuxFLIxaamZvDTV0Rt2TelZh5VamXUBpt1h/LvumABTBMs1uoifYShqUzhhzVnfN+9E0gzzHHuJ7zzRtpV1ynRCUh2hzZoLrMQ7DQ4LhxmoizwHoPFXBJ0Q7rl/q49mWbaX2XGO9Jsxoeyepmy/NE038R8KUrOjyrBGvM/VnHf7DisVTTQArTjwgSZROLYVk+AxfJLjPSeEMiRU8aqPWT0xhoJn470MfA9evk9xBeHdlaV5SaVrhOnpLRsqSCtizJRcrzOMZsvRCZDZ9uFXnqdJZl6jn+U3Kx3YVtokF5ytAnLlENrmzEq3RWYo/sV3P6zLEtnK8XVxbfEiVwDV7bMXh/LU4LmgX8xRuzLVtYg7j7OCrnbFnkFBE3iJDXzDxgsK6W+8mV7i71p7GcKL5uUrv7pE78VWUZPjWmLH4v4LaoXQAtCigaf0C+1VGN9lgYKgq3EKl5o9U38Dgk9A1KK7D1UigjEKl7rmX04O7AWNjwbXpI8VRvixk1ytCp+cxmuyVOZ//MNbdQ01gCobBnZcModK5G4GgBCaTvo0UPLoIxB8DymhUlhp+muYRUx8idUjFLXnRbgMemWifbxV9/Zl/MgHfufdOh2toBiOjMYxw==" title="Mekko Graphics Chart">
            <a:extLst>
              <a:ext uri="{FF2B5EF4-FFF2-40B4-BE49-F238E27FC236}">
                <a16:creationId xmlns:a16="http://schemas.microsoft.com/office/drawing/2014/main" id="{ADF9A08C-FD77-4FF3-9307-10D9D9652E8E}"/>
              </a:ext>
            </a:extLst>
          </p:cNvPr>
          <p:cNvSpPr>
            <a:spLocks noChangeAspect="1"/>
          </p:cNvSpPr>
          <p:nvPr>
            <p:custDataLst>
              <p:tags r:id="rId3"/>
            </p:custDataLst>
          </p:nvPr>
        </p:nvSpPr>
        <p:spPr bwMode="gray">
          <a:xfrm>
            <a:off x="372592" y="1392866"/>
            <a:ext cx="9205417" cy="4968890"/>
          </a:xfrm>
          <a:prstGeom prst="rect">
            <a:avLst/>
          </a:prstGeom>
          <a:blipFill>
            <a:blip r:embed="rId32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43" name="btfpColumnIndicatorGroup2">
            <a:extLst>
              <a:ext uri="{FF2B5EF4-FFF2-40B4-BE49-F238E27FC236}">
                <a16:creationId xmlns:a16="http://schemas.microsoft.com/office/drawing/2014/main" id="{1E684987-FD41-4CE4-9655-BD1C7E4FF729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40" name="btfpColumnGapBlocker942773">
              <a:extLst>
                <a:ext uri="{FF2B5EF4-FFF2-40B4-BE49-F238E27FC236}">
                  <a16:creationId xmlns:a16="http://schemas.microsoft.com/office/drawing/2014/main" id="{07779027-31DB-4A7B-87DE-AFB775D41FD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38" name="btfpColumnGapBlocker648732">
              <a:extLst>
                <a:ext uri="{FF2B5EF4-FFF2-40B4-BE49-F238E27FC236}">
                  <a16:creationId xmlns:a16="http://schemas.microsoft.com/office/drawing/2014/main" id="{D17D13B3-729A-4E10-933D-64E784401C1C}"/>
                </a:ext>
              </a:extLst>
            </p:cNvPr>
            <p:cNvSpPr/>
            <p:nvPr/>
          </p:nvSpPr>
          <p:spPr bwMode="gray">
            <a:xfrm>
              <a:off x="7837752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1" name="btfpColumnIndicator913244">
              <a:extLst>
                <a:ext uri="{FF2B5EF4-FFF2-40B4-BE49-F238E27FC236}">
                  <a16:creationId xmlns:a16="http://schemas.microsoft.com/office/drawing/2014/main" id="{C0267C4C-2040-4D67-99FD-04C22F5A14C8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btfpColumnIndicator700844">
              <a:extLst>
                <a:ext uri="{FF2B5EF4-FFF2-40B4-BE49-F238E27FC236}">
                  <a16:creationId xmlns:a16="http://schemas.microsoft.com/office/drawing/2014/main" id="{990689FB-5D33-43EB-A1C6-7B303FCEC0D2}"/>
                </a:ext>
              </a:extLst>
            </p:cNvPr>
            <p:cNvCxnSpPr/>
            <p:nvPr/>
          </p:nvCxnSpPr>
          <p:spPr bwMode="gray">
            <a:xfrm flipV="1">
              <a:off x="8378296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btfpColumnGapBlocker148025">
              <a:extLst>
                <a:ext uri="{FF2B5EF4-FFF2-40B4-BE49-F238E27FC236}">
                  <a16:creationId xmlns:a16="http://schemas.microsoft.com/office/drawing/2014/main" id="{7215A000-5BAF-441F-8F94-F84154727208}"/>
                </a:ext>
              </a:extLst>
            </p:cNvPr>
            <p:cNvSpPr/>
            <p:nvPr/>
          </p:nvSpPr>
          <p:spPr bwMode="gray">
            <a:xfrm>
              <a:off x="3813704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4" name="btfpColumnIndicator943053">
              <a:extLst>
                <a:ext uri="{FF2B5EF4-FFF2-40B4-BE49-F238E27FC236}">
                  <a16:creationId xmlns:a16="http://schemas.microsoft.com/office/drawing/2014/main" id="{A618271D-E2CE-4734-AE89-2CECCBAFF6EB}"/>
                </a:ext>
              </a:extLst>
            </p:cNvPr>
            <p:cNvCxnSpPr/>
            <p:nvPr/>
          </p:nvCxnSpPr>
          <p:spPr bwMode="gray">
            <a:xfrm flipV="1">
              <a:off x="783775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btfpColumnIndicator725581">
              <a:extLst>
                <a:ext uri="{FF2B5EF4-FFF2-40B4-BE49-F238E27FC236}">
                  <a16:creationId xmlns:a16="http://schemas.microsoft.com/office/drawing/2014/main" id="{E65A491C-9342-417A-AB76-FCE644C6B7A2}"/>
                </a:ext>
              </a:extLst>
            </p:cNvPr>
            <p:cNvCxnSpPr/>
            <p:nvPr/>
          </p:nvCxnSpPr>
          <p:spPr bwMode="gray">
            <a:xfrm flipV="1">
              <a:off x="435424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btfpColumnGapBlocker789773">
              <a:extLst>
                <a:ext uri="{FF2B5EF4-FFF2-40B4-BE49-F238E27FC236}">
                  <a16:creationId xmlns:a16="http://schemas.microsoft.com/office/drawing/2014/main" id="{7D319600-C5F3-4516-A666-99EC07F575BB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8" name="btfpColumnIndicator175847">
              <a:extLst>
                <a:ext uri="{FF2B5EF4-FFF2-40B4-BE49-F238E27FC236}">
                  <a16:creationId xmlns:a16="http://schemas.microsoft.com/office/drawing/2014/main" id="{4A99A18B-4592-485A-BCD0-479561679136}"/>
                </a:ext>
              </a:extLst>
            </p:cNvPr>
            <p:cNvCxnSpPr/>
            <p:nvPr/>
          </p:nvCxnSpPr>
          <p:spPr bwMode="gray">
            <a:xfrm flipV="1">
              <a:off x="3813704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253055">
              <a:extLst>
                <a:ext uri="{FF2B5EF4-FFF2-40B4-BE49-F238E27FC236}">
                  <a16:creationId xmlns:a16="http://schemas.microsoft.com/office/drawing/2014/main" id="{E5F20E72-CED5-41BB-8625-42E4883D0D17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2" name="btfpColumnIndicatorGroup1">
            <a:extLst>
              <a:ext uri="{FF2B5EF4-FFF2-40B4-BE49-F238E27FC236}">
                <a16:creationId xmlns:a16="http://schemas.microsoft.com/office/drawing/2014/main" id="{D9A572FE-67A9-4E0B-B67C-5C82B156F5B6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39" name="btfpColumnGapBlocker299740">
              <a:extLst>
                <a:ext uri="{FF2B5EF4-FFF2-40B4-BE49-F238E27FC236}">
                  <a16:creationId xmlns:a16="http://schemas.microsoft.com/office/drawing/2014/main" id="{B21BF74B-6198-4EBF-9D0A-D9351472AC78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35" name="btfpColumnGapBlocker281797">
              <a:extLst>
                <a:ext uri="{FF2B5EF4-FFF2-40B4-BE49-F238E27FC236}">
                  <a16:creationId xmlns:a16="http://schemas.microsoft.com/office/drawing/2014/main" id="{E959CFBF-4C0D-4A4B-94C7-44AF5A760415}"/>
                </a:ext>
              </a:extLst>
            </p:cNvPr>
            <p:cNvSpPr/>
            <p:nvPr/>
          </p:nvSpPr>
          <p:spPr bwMode="gray">
            <a:xfrm>
              <a:off x="7837752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9" name="btfpColumnIndicator499124">
              <a:extLst>
                <a:ext uri="{FF2B5EF4-FFF2-40B4-BE49-F238E27FC236}">
                  <a16:creationId xmlns:a16="http://schemas.microsoft.com/office/drawing/2014/main" id="{3FFD4269-D08A-4944-A7C3-60C133D2F3FA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btfpColumnIndicator834502">
              <a:extLst>
                <a:ext uri="{FF2B5EF4-FFF2-40B4-BE49-F238E27FC236}">
                  <a16:creationId xmlns:a16="http://schemas.microsoft.com/office/drawing/2014/main" id="{2B9295D0-BFA4-4985-B1BD-437383117985}"/>
                </a:ext>
              </a:extLst>
            </p:cNvPr>
            <p:cNvCxnSpPr/>
            <p:nvPr/>
          </p:nvCxnSpPr>
          <p:spPr bwMode="gray">
            <a:xfrm flipV="1">
              <a:off x="8378296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btfpColumnGapBlocker725468">
              <a:extLst>
                <a:ext uri="{FF2B5EF4-FFF2-40B4-BE49-F238E27FC236}">
                  <a16:creationId xmlns:a16="http://schemas.microsoft.com/office/drawing/2014/main" id="{6406FC8A-9158-47BB-A3E4-309F5D1883FC}"/>
                </a:ext>
              </a:extLst>
            </p:cNvPr>
            <p:cNvSpPr/>
            <p:nvPr/>
          </p:nvSpPr>
          <p:spPr bwMode="gray">
            <a:xfrm>
              <a:off x="3813704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3" name="btfpColumnIndicator207414">
              <a:extLst>
                <a:ext uri="{FF2B5EF4-FFF2-40B4-BE49-F238E27FC236}">
                  <a16:creationId xmlns:a16="http://schemas.microsoft.com/office/drawing/2014/main" id="{66693C35-70BD-4952-82AF-0C19305D4133}"/>
                </a:ext>
              </a:extLst>
            </p:cNvPr>
            <p:cNvCxnSpPr/>
            <p:nvPr/>
          </p:nvCxnSpPr>
          <p:spPr bwMode="gray">
            <a:xfrm flipV="1">
              <a:off x="783775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btfpColumnIndicator891237">
              <a:extLst>
                <a:ext uri="{FF2B5EF4-FFF2-40B4-BE49-F238E27FC236}">
                  <a16:creationId xmlns:a16="http://schemas.microsoft.com/office/drawing/2014/main" id="{E22E6B23-E6F4-4EED-9429-040AA09ABC1E}"/>
                </a:ext>
              </a:extLst>
            </p:cNvPr>
            <p:cNvCxnSpPr/>
            <p:nvPr/>
          </p:nvCxnSpPr>
          <p:spPr bwMode="gray">
            <a:xfrm flipV="1">
              <a:off x="435424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btfpColumnGapBlocker568354">
              <a:extLst>
                <a:ext uri="{FF2B5EF4-FFF2-40B4-BE49-F238E27FC236}">
                  <a16:creationId xmlns:a16="http://schemas.microsoft.com/office/drawing/2014/main" id="{A0A72D13-0FA5-4F74-A821-727CCD2D3F71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5" name="btfpColumnIndicator252422">
              <a:extLst>
                <a:ext uri="{FF2B5EF4-FFF2-40B4-BE49-F238E27FC236}">
                  <a16:creationId xmlns:a16="http://schemas.microsoft.com/office/drawing/2014/main" id="{C1B7B5E9-DAFE-419A-BDD7-0ACD42EB3483}"/>
                </a:ext>
              </a:extLst>
            </p:cNvPr>
            <p:cNvCxnSpPr/>
            <p:nvPr/>
          </p:nvCxnSpPr>
          <p:spPr bwMode="gray">
            <a:xfrm flipV="1">
              <a:off x="3813704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" name="btfpColumnIndicator889916">
              <a:extLst>
                <a:ext uri="{FF2B5EF4-FFF2-40B4-BE49-F238E27FC236}">
                  <a16:creationId xmlns:a16="http://schemas.microsoft.com/office/drawing/2014/main" id="{720F5DD7-A17A-49CD-B49F-4B097E76E749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2" name="btfpRunningAgenda2Level228391">
            <a:extLst>
              <a:ext uri="{FF2B5EF4-FFF2-40B4-BE49-F238E27FC236}">
                <a16:creationId xmlns:a16="http://schemas.microsoft.com/office/drawing/2014/main" id="{3C3ED3CF-9695-4C80-ACD0-EF63C1245ECF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-1" y="944429"/>
            <a:ext cx="5004606" cy="257442"/>
            <a:chOff x="-1" y="876300"/>
            <a:chExt cx="5004606" cy="257442"/>
          </a:xfrm>
        </p:grpSpPr>
        <p:sp>
          <p:nvSpPr>
            <p:cNvPr id="33" name="btfpRunningAgenda2LevelBarLeft228391">
              <a:extLst>
                <a:ext uri="{FF2B5EF4-FFF2-40B4-BE49-F238E27FC236}">
                  <a16:creationId xmlns:a16="http://schemas.microsoft.com/office/drawing/2014/main" id="{28C9D338-C5AF-48A5-A47C-2AEBA4F1D927}"/>
                </a:ext>
              </a:extLst>
            </p:cNvPr>
            <p:cNvSpPr/>
            <p:nvPr/>
          </p:nvSpPr>
          <p:spPr bwMode="gray">
            <a:xfrm>
              <a:off x="-1" y="876300"/>
              <a:ext cx="2327781" cy="257442"/>
            </a:xfrm>
            <a:custGeom>
              <a:avLst/>
              <a:gdLst>
                <a:gd name="connsiteX0" fmla="*/ 986067 w 2696920"/>
                <a:gd name="connsiteY0" fmla="*/ 0 h 257442"/>
                <a:gd name="connsiteX1" fmla="*/ 2696920 w 2696920"/>
                <a:gd name="connsiteY1" fmla="*/ 0 h 257442"/>
                <a:gd name="connsiteX2" fmla="*/ 2642199 w 2696920"/>
                <a:gd name="connsiteY2" fmla="*/ 257442 h 257442"/>
                <a:gd name="connsiteX3" fmla="*/ 0 w 2696920"/>
                <a:gd name="connsiteY3" fmla="*/ 257442 h 257442"/>
                <a:gd name="connsiteX0" fmla="*/ 986067 w 2642199"/>
                <a:gd name="connsiteY0" fmla="*/ 0 h 257442"/>
                <a:gd name="connsiteX1" fmla="*/ 931346 w 2642199"/>
                <a:gd name="connsiteY1" fmla="*/ 257442 h 257442"/>
                <a:gd name="connsiteX2" fmla="*/ 2642199 w 2642199"/>
                <a:gd name="connsiteY2" fmla="*/ 257442 h 257442"/>
                <a:gd name="connsiteX3" fmla="*/ 0 w 2642199"/>
                <a:gd name="connsiteY3" fmla="*/ 257442 h 257442"/>
                <a:gd name="connsiteX0" fmla="*/ 986067 w 986067"/>
                <a:gd name="connsiteY0" fmla="*/ 0 h 257442"/>
                <a:gd name="connsiteX1" fmla="*/ 931346 w 986067"/>
                <a:gd name="connsiteY1" fmla="*/ 257442 h 257442"/>
                <a:gd name="connsiteX2" fmla="*/ 1 w 986067"/>
                <a:gd name="connsiteY2" fmla="*/ 257442 h 257442"/>
                <a:gd name="connsiteX3" fmla="*/ 0 w 986067"/>
                <a:gd name="connsiteY3" fmla="*/ 257442 h 257442"/>
                <a:gd name="connsiteX0" fmla="*/ 986066 w 986066"/>
                <a:gd name="connsiteY0" fmla="*/ 0 h 257442"/>
                <a:gd name="connsiteX1" fmla="*/ 931345 w 986066"/>
                <a:gd name="connsiteY1" fmla="*/ 257442 h 257442"/>
                <a:gd name="connsiteX2" fmla="*/ 0 w 986066"/>
                <a:gd name="connsiteY2" fmla="*/ 257442 h 257442"/>
                <a:gd name="connsiteX3" fmla="*/ 0 w 986066"/>
                <a:gd name="connsiteY3" fmla="*/ 0 h 257442"/>
                <a:gd name="connsiteX0" fmla="*/ 1163999 w 1163999"/>
                <a:gd name="connsiteY0" fmla="*/ 0 h 257442"/>
                <a:gd name="connsiteX1" fmla="*/ 931345 w 1163999"/>
                <a:gd name="connsiteY1" fmla="*/ 257442 h 257442"/>
                <a:gd name="connsiteX2" fmla="*/ 0 w 1163999"/>
                <a:gd name="connsiteY2" fmla="*/ 257442 h 257442"/>
                <a:gd name="connsiteX3" fmla="*/ 0 w 1163999"/>
                <a:gd name="connsiteY3" fmla="*/ 0 h 257442"/>
                <a:gd name="connsiteX0" fmla="*/ 1163999 w 1163999"/>
                <a:gd name="connsiteY0" fmla="*/ 0 h 257442"/>
                <a:gd name="connsiteX1" fmla="*/ 1109278 w 1163999"/>
                <a:gd name="connsiteY1" fmla="*/ 257442 h 257442"/>
                <a:gd name="connsiteX2" fmla="*/ 0 w 1163999"/>
                <a:gd name="connsiteY2" fmla="*/ 257442 h 257442"/>
                <a:gd name="connsiteX3" fmla="*/ 0 w 1163999"/>
                <a:gd name="connsiteY3" fmla="*/ 0 h 257442"/>
                <a:gd name="connsiteX0" fmla="*/ 1164000 w 1164000"/>
                <a:gd name="connsiteY0" fmla="*/ 0 h 257442"/>
                <a:gd name="connsiteX1" fmla="*/ 1109279 w 1164000"/>
                <a:gd name="connsiteY1" fmla="*/ 257442 h 257442"/>
                <a:gd name="connsiteX2" fmla="*/ 0 w 1164000"/>
                <a:gd name="connsiteY2" fmla="*/ 257442 h 257442"/>
                <a:gd name="connsiteX3" fmla="*/ 1 w 1164000"/>
                <a:gd name="connsiteY3" fmla="*/ 0 h 257442"/>
                <a:gd name="connsiteX0" fmla="*/ 1164000 w 1164000"/>
                <a:gd name="connsiteY0" fmla="*/ 0 h 257442"/>
                <a:gd name="connsiteX1" fmla="*/ 1109279 w 1164000"/>
                <a:gd name="connsiteY1" fmla="*/ 257442 h 257442"/>
                <a:gd name="connsiteX2" fmla="*/ 0 w 1164000"/>
                <a:gd name="connsiteY2" fmla="*/ 257442 h 257442"/>
                <a:gd name="connsiteX3" fmla="*/ 0 w 1164000"/>
                <a:gd name="connsiteY3" fmla="*/ 0 h 257442"/>
                <a:gd name="connsiteX0" fmla="*/ 1332316 w 1332316"/>
                <a:gd name="connsiteY0" fmla="*/ 0 h 257442"/>
                <a:gd name="connsiteX1" fmla="*/ 1109279 w 1332316"/>
                <a:gd name="connsiteY1" fmla="*/ 257442 h 257442"/>
                <a:gd name="connsiteX2" fmla="*/ 0 w 1332316"/>
                <a:gd name="connsiteY2" fmla="*/ 257442 h 257442"/>
                <a:gd name="connsiteX3" fmla="*/ 0 w 1332316"/>
                <a:gd name="connsiteY3" fmla="*/ 0 h 257442"/>
                <a:gd name="connsiteX0" fmla="*/ 1332316 w 1332316"/>
                <a:gd name="connsiteY0" fmla="*/ 0 h 257442"/>
                <a:gd name="connsiteX1" fmla="*/ 1277595 w 1332316"/>
                <a:gd name="connsiteY1" fmla="*/ 257442 h 257442"/>
                <a:gd name="connsiteX2" fmla="*/ 0 w 1332316"/>
                <a:gd name="connsiteY2" fmla="*/ 257442 h 257442"/>
                <a:gd name="connsiteX3" fmla="*/ 0 w 1332316"/>
                <a:gd name="connsiteY3" fmla="*/ 0 h 257442"/>
                <a:gd name="connsiteX0" fmla="*/ 1332316 w 1332316"/>
                <a:gd name="connsiteY0" fmla="*/ 0 h 257442"/>
                <a:gd name="connsiteX1" fmla="*/ 1277595 w 1332316"/>
                <a:gd name="connsiteY1" fmla="*/ 257442 h 257442"/>
                <a:gd name="connsiteX2" fmla="*/ 0 w 1332316"/>
                <a:gd name="connsiteY2" fmla="*/ 257442 h 257442"/>
                <a:gd name="connsiteX3" fmla="*/ 0 w 1332316"/>
                <a:gd name="connsiteY3" fmla="*/ 0 h 257442"/>
                <a:gd name="connsiteX0" fmla="*/ 1332316 w 1332316"/>
                <a:gd name="connsiteY0" fmla="*/ 0 h 257442"/>
                <a:gd name="connsiteX1" fmla="*/ 1277595 w 1332316"/>
                <a:gd name="connsiteY1" fmla="*/ 257442 h 257442"/>
                <a:gd name="connsiteX2" fmla="*/ 0 w 1332316"/>
                <a:gd name="connsiteY2" fmla="*/ 257442 h 257442"/>
                <a:gd name="connsiteX3" fmla="*/ 0 w 1332316"/>
                <a:gd name="connsiteY3" fmla="*/ 0 h 257442"/>
                <a:gd name="connsiteX0" fmla="*/ 1164000 w 1277595"/>
                <a:gd name="connsiteY0" fmla="*/ 0 h 257442"/>
                <a:gd name="connsiteX1" fmla="*/ 1277595 w 1277595"/>
                <a:gd name="connsiteY1" fmla="*/ 257442 h 257442"/>
                <a:gd name="connsiteX2" fmla="*/ 0 w 1277595"/>
                <a:gd name="connsiteY2" fmla="*/ 257442 h 257442"/>
                <a:gd name="connsiteX3" fmla="*/ 0 w 1277595"/>
                <a:gd name="connsiteY3" fmla="*/ 0 h 257442"/>
                <a:gd name="connsiteX0" fmla="*/ 1164000 w 1164000"/>
                <a:gd name="connsiteY0" fmla="*/ 0 h 257442"/>
                <a:gd name="connsiteX1" fmla="*/ 1109280 w 1164000"/>
                <a:gd name="connsiteY1" fmla="*/ 257442 h 257442"/>
                <a:gd name="connsiteX2" fmla="*/ 0 w 1164000"/>
                <a:gd name="connsiteY2" fmla="*/ 257442 h 257442"/>
                <a:gd name="connsiteX3" fmla="*/ 0 w 1164000"/>
                <a:gd name="connsiteY3" fmla="*/ 0 h 257442"/>
                <a:gd name="connsiteX0" fmla="*/ 1164000 w 1164000"/>
                <a:gd name="connsiteY0" fmla="*/ 0 h 257442"/>
                <a:gd name="connsiteX1" fmla="*/ 1109280 w 1164000"/>
                <a:gd name="connsiteY1" fmla="*/ 257442 h 257442"/>
                <a:gd name="connsiteX2" fmla="*/ 1 w 1164000"/>
                <a:gd name="connsiteY2" fmla="*/ 257442 h 257442"/>
                <a:gd name="connsiteX3" fmla="*/ 0 w 1164000"/>
                <a:gd name="connsiteY3" fmla="*/ 0 h 257442"/>
                <a:gd name="connsiteX0" fmla="*/ 1163999 w 1163999"/>
                <a:gd name="connsiteY0" fmla="*/ 0 h 257442"/>
                <a:gd name="connsiteX1" fmla="*/ 1109279 w 1163999"/>
                <a:gd name="connsiteY1" fmla="*/ 257442 h 257442"/>
                <a:gd name="connsiteX2" fmla="*/ 0 w 1163999"/>
                <a:gd name="connsiteY2" fmla="*/ 257442 h 257442"/>
                <a:gd name="connsiteX3" fmla="*/ 0 w 1163999"/>
                <a:gd name="connsiteY3" fmla="*/ 0 h 257442"/>
                <a:gd name="connsiteX0" fmla="*/ 986067 w 1109279"/>
                <a:gd name="connsiteY0" fmla="*/ 0 h 257442"/>
                <a:gd name="connsiteX1" fmla="*/ 1109279 w 1109279"/>
                <a:gd name="connsiteY1" fmla="*/ 257442 h 257442"/>
                <a:gd name="connsiteX2" fmla="*/ 0 w 1109279"/>
                <a:gd name="connsiteY2" fmla="*/ 257442 h 257442"/>
                <a:gd name="connsiteX3" fmla="*/ 0 w 1109279"/>
                <a:gd name="connsiteY3" fmla="*/ 0 h 257442"/>
                <a:gd name="connsiteX0" fmla="*/ 986067 w 986067"/>
                <a:gd name="connsiteY0" fmla="*/ 0 h 257442"/>
                <a:gd name="connsiteX1" fmla="*/ 931346 w 986067"/>
                <a:gd name="connsiteY1" fmla="*/ 257442 h 257442"/>
                <a:gd name="connsiteX2" fmla="*/ 0 w 986067"/>
                <a:gd name="connsiteY2" fmla="*/ 257442 h 257442"/>
                <a:gd name="connsiteX3" fmla="*/ 0 w 986067"/>
                <a:gd name="connsiteY3" fmla="*/ 0 h 257442"/>
                <a:gd name="connsiteX0" fmla="*/ 986067 w 986067"/>
                <a:gd name="connsiteY0" fmla="*/ 0 h 257442"/>
                <a:gd name="connsiteX1" fmla="*/ 931346 w 986067"/>
                <a:gd name="connsiteY1" fmla="*/ 257442 h 257442"/>
                <a:gd name="connsiteX2" fmla="*/ 0 w 986067"/>
                <a:gd name="connsiteY2" fmla="*/ 257442 h 257442"/>
                <a:gd name="connsiteX3" fmla="*/ 0 w 986067"/>
                <a:gd name="connsiteY3" fmla="*/ 0 h 257442"/>
                <a:gd name="connsiteX0" fmla="*/ 986067 w 986067"/>
                <a:gd name="connsiteY0" fmla="*/ 0 h 257442"/>
                <a:gd name="connsiteX1" fmla="*/ 931346 w 986067"/>
                <a:gd name="connsiteY1" fmla="*/ 257442 h 257442"/>
                <a:gd name="connsiteX2" fmla="*/ 0 w 986067"/>
                <a:gd name="connsiteY2" fmla="*/ 257442 h 257442"/>
                <a:gd name="connsiteX3" fmla="*/ 0 w 986067"/>
                <a:gd name="connsiteY3" fmla="*/ 0 h 257442"/>
                <a:gd name="connsiteX0" fmla="*/ 782550 w 931346"/>
                <a:gd name="connsiteY0" fmla="*/ 0 h 257442"/>
                <a:gd name="connsiteX1" fmla="*/ 931346 w 931346"/>
                <a:gd name="connsiteY1" fmla="*/ 257442 h 257442"/>
                <a:gd name="connsiteX2" fmla="*/ 0 w 931346"/>
                <a:gd name="connsiteY2" fmla="*/ 257442 h 257442"/>
                <a:gd name="connsiteX3" fmla="*/ 0 w 931346"/>
                <a:gd name="connsiteY3" fmla="*/ 0 h 257442"/>
                <a:gd name="connsiteX0" fmla="*/ 782550 w 782550"/>
                <a:gd name="connsiteY0" fmla="*/ 0 h 257442"/>
                <a:gd name="connsiteX1" fmla="*/ 727829 w 782550"/>
                <a:gd name="connsiteY1" fmla="*/ 257442 h 257442"/>
                <a:gd name="connsiteX2" fmla="*/ 0 w 782550"/>
                <a:gd name="connsiteY2" fmla="*/ 257442 h 257442"/>
                <a:gd name="connsiteX3" fmla="*/ 0 w 782550"/>
                <a:gd name="connsiteY3" fmla="*/ 0 h 257442"/>
                <a:gd name="connsiteX0" fmla="*/ 782550 w 782550"/>
                <a:gd name="connsiteY0" fmla="*/ 0 h 257442"/>
                <a:gd name="connsiteX1" fmla="*/ 727829 w 782550"/>
                <a:gd name="connsiteY1" fmla="*/ 257442 h 257442"/>
                <a:gd name="connsiteX2" fmla="*/ 0 w 782550"/>
                <a:gd name="connsiteY2" fmla="*/ 257442 h 257442"/>
                <a:gd name="connsiteX3" fmla="*/ 0 w 782550"/>
                <a:gd name="connsiteY3" fmla="*/ 0 h 257442"/>
                <a:gd name="connsiteX0" fmla="*/ 782550 w 782550"/>
                <a:gd name="connsiteY0" fmla="*/ 0 h 257442"/>
                <a:gd name="connsiteX1" fmla="*/ 727829 w 782550"/>
                <a:gd name="connsiteY1" fmla="*/ 257442 h 257442"/>
                <a:gd name="connsiteX2" fmla="*/ 0 w 782550"/>
                <a:gd name="connsiteY2" fmla="*/ 257442 h 257442"/>
                <a:gd name="connsiteX3" fmla="*/ 0 w 782550"/>
                <a:gd name="connsiteY3" fmla="*/ 0 h 257442"/>
                <a:gd name="connsiteX0" fmla="*/ 986067 w 986067"/>
                <a:gd name="connsiteY0" fmla="*/ 0 h 257442"/>
                <a:gd name="connsiteX1" fmla="*/ 727829 w 986067"/>
                <a:gd name="connsiteY1" fmla="*/ 257442 h 257442"/>
                <a:gd name="connsiteX2" fmla="*/ 0 w 986067"/>
                <a:gd name="connsiteY2" fmla="*/ 257442 h 257442"/>
                <a:gd name="connsiteX3" fmla="*/ 0 w 986067"/>
                <a:gd name="connsiteY3" fmla="*/ 0 h 257442"/>
                <a:gd name="connsiteX0" fmla="*/ 986067 w 986067"/>
                <a:gd name="connsiteY0" fmla="*/ 0 h 257442"/>
                <a:gd name="connsiteX1" fmla="*/ 931346 w 986067"/>
                <a:gd name="connsiteY1" fmla="*/ 257442 h 257442"/>
                <a:gd name="connsiteX2" fmla="*/ 0 w 986067"/>
                <a:gd name="connsiteY2" fmla="*/ 257442 h 257442"/>
                <a:gd name="connsiteX3" fmla="*/ 0 w 986067"/>
                <a:gd name="connsiteY3" fmla="*/ 0 h 257442"/>
                <a:gd name="connsiteX0" fmla="*/ 986067 w 986067"/>
                <a:gd name="connsiteY0" fmla="*/ 0 h 257442"/>
                <a:gd name="connsiteX1" fmla="*/ 931346 w 986067"/>
                <a:gd name="connsiteY1" fmla="*/ 257442 h 257442"/>
                <a:gd name="connsiteX2" fmla="*/ 0 w 986067"/>
                <a:gd name="connsiteY2" fmla="*/ 257442 h 257442"/>
                <a:gd name="connsiteX3" fmla="*/ 0 w 986067"/>
                <a:gd name="connsiteY3" fmla="*/ 0 h 257442"/>
                <a:gd name="connsiteX0" fmla="*/ 986067 w 986067"/>
                <a:gd name="connsiteY0" fmla="*/ 0 h 257442"/>
                <a:gd name="connsiteX1" fmla="*/ 931346 w 986067"/>
                <a:gd name="connsiteY1" fmla="*/ 257442 h 257442"/>
                <a:gd name="connsiteX2" fmla="*/ 0 w 986067"/>
                <a:gd name="connsiteY2" fmla="*/ 257442 h 257442"/>
                <a:gd name="connsiteX3" fmla="*/ 0 w 986067"/>
                <a:gd name="connsiteY3" fmla="*/ 0 h 257442"/>
                <a:gd name="connsiteX0" fmla="*/ 1164000 w 1164000"/>
                <a:gd name="connsiteY0" fmla="*/ 0 h 257442"/>
                <a:gd name="connsiteX1" fmla="*/ 931346 w 1164000"/>
                <a:gd name="connsiteY1" fmla="*/ 257442 h 257442"/>
                <a:gd name="connsiteX2" fmla="*/ 0 w 1164000"/>
                <a:gd name="connsiteY2" fmla="*/ 257442 h 257442"/>
                <a:gd name="connsiteX3" fmla="*/ 0 w 1164000"/>
                <a:gd name="connsiteY3" fmla="*/ 0 h 257442"/>
                <a:gd name="connsiteX0" fmla="*/ 1164000 w 1164000"/>
                <a:gd name="connsiteY0" fmla="*/ 0 h 257442"/>
                <a:gd name="connsiteX1" fmla="*/ 1109278 w 1164000"/>
                <a:gd name="connsiteY1" fmla="*/ 257442 h 257442"/>
                <a:gd name="connsiteX2" fmla="*/ 0 w 1164000"/>
                <a:gd name="connsiteY2" fmla="*/ 257442 h 257442"/>
                <a:gd name="connsiteX3" fmla="*/ 0 w 1164000"/>
                <a:gd name="connsiteY3" fmla="*/ 0 h 257442"/>
                <a:gd name="connsiteX0" fmla="*/ 1164001 w 1164001"/>
                <a:gd name="connsiteY0" fmla="*/ 0 h 257442"/>
                <a:gd name="connsiteX1" fmla="*/ 1109279 w 1164001"/>
                <a:gd name="connsiteY1" fmla="*/ 257442 h 257442"/>
                <a:gd name="connsiteX2" fmla="*/ 0 w 1164001"/>
                <a:gd name="connsiteY2" fmla="*/ 257442 h 257442"/>
                <a:gd name="connsiteX3" fmla="*/ 1 w 1164001"/>
                <a:gd name="connsiteY3" fmla="*/ 0 h 257442"/>
                <a:gd name="connsiteX0" fmla="*/ 1164001 w 1164001"/>
                <a:gd name="connsiteY0" fmla="*/ 0 h 257442"/>
                <a:gd name="connsiteX1" fmla="*/ 1109279 w 1164001"/>
                <a:gd name="connsiteY1" fmla="*/ 257442 h 257442"/>
                <a:gd name="connsiteX2" fmla="*/ 0 w 1164001"/>
                <a:gd name="connsiteY2" fmla="*/ 257442 h 257442"/>
                <a:gd name="connsiteX3" fmla="*/ 1 w 1164001"/>
                <a:gd name="connsiteY3" fmla="*/ 0 h 257442"/>
                <a:gd name="connsiteX0" fmla="*/ 1332317 w 1332317"/>
                <a:gd name="connsiteY0" fmla="*/ 0 h 257442"/>
                <a:gd name="connsiteX1" fmla="*/ 1109279 w 1332317"/>
                <a:gd name="connsiteY1" fmla="*/ 257442 h 257442"/>
                <a:gd name="connsiteX2" fmla="*/ 0 w 1332317"/>
                <a:gd name="connsiteY2" fmla="*/ 257442 h 257442"/>
                <a:gd name="connsiteX3" fmla="*/ 1 w 1332317"/>
                <a:gd name="connsiteY3" fmla="*/ 0 h 257442"/>
                <a:gd name="connsiteX0" fmla="*/ 1332317 w 1332317"/>
                <a:gd name="connsiteY0" fmla="*/ 0 h 257442"/>
                <a:gd name="connsiteX1" fmla="*/ 1277596 w 1332317"/>
                <a:gd name="connsiteY1" fmla="*/ 257442 h 257442"/>
                <a:gd name="connsiteX2" fmla="*/ 0 w 1332317"/>
                <a:gd name="connsiteY2" fmla="*/ 257442 h 257442"/>
                <a:gd name="connsiteX3" fmla="*/ 1 w 1332317"/>
                <a:gd name="connsiteY3" fmla="*/ 0 h 257442"/>
                <a:gd name="connsiteX0" fmla="*/ 1332316 w 1332316"/>
                <a:gd name="connsiteY0" fmla="*/ 0 h 257442"/>
                <a:gd name="connsiteX1" fmla="*/ 1277595 w 1332316"/>
                <a:gd name="connsiteY1" fmla="*/ 257442 h 257442"/>
                <a:gd name="connsiteX2" fmla="*/ 0 w 1332316"/>
                <a:gd name="connsiteY2" fmla="*/ 257442 h 257442"/>
                <a:gd name="connsiteX3" fmla="*/ 0 w 1332316"/>
                <a:gd name="connsiteY3" fmla="*/ 0 h 257442"/>
                <a:gd name="connsiteX0" fmla="*/ 1332317 w 1332317"/>
                <a:gd name="connsiteY0" fmla="*/ 0 h 257442"/>
                <a:gd name="connsiteX1" fmla="*/ 1277596 w 1332317"/>
                <a:gd name="connsiteY1" fmla="*/ 257442 h 257442"/>
                <a:gd name="connsiteX2" fmla="*/ 1 w 1332317"/>
                <a:gd name="connsiteY2" fmla="*/ 257442 h 257442"/>
                <a:gd name="connsiteX3" fmla="*/ 0 w 1332317"/>
                <a:gd name="connsiteY3" fmla="*/ 0 h 257442"/>
                <a:gd name="connsiteX0" fmla="*/ 1500632 w 1500632"/>
                <a:gd name="connsiteY0" fmla="*/ 0 h 257442"/>
                <a:gd name="connsiteX1" fmla="*/ 1277596 w 1500632"/>
                <a:gd name="connsiteY1" fmla="*/ 257442 h 257442"/>
                <a:gd name="connsiteX2" fmla="*/ 1 w 1500632"/>
                <a:gd name="connsiteY2" fmla="*/ 257442 h 257442"/>
                <a:gd name="connsiteX3" fmla="*/ 0 w 1500632"/>
                <a:gd name="connsiteY3" fmla="*/ 0 h 257442"/>
                <a:gd name="connsiteX0" fmla="*/ 1500632 w 1500632"/>
                <a:gd name="connsiteY0" fmla="*/ 0 h 257442"/>
                <a:gd name="connsiteX1" fmla="*/ 1445910 w 1500632"/>
                <a:gd name="connsiteY1" fmla="*/ 257442 h 257442"/>
                <a:gd name="connsiteX2" fmla="*/ 1 w 1500632"/>
                <a:gd name="connsiteY2" fmla="*/ 257442 h 257442"/>
                <a:gd name="connsiteX3" fmla="*/ 0 w 1500632"/>
                <a:gd name="connsiteY3" fmla="*/ 0 h 257442"/>
                <a:gd name="connsiteX0" fmla="*/ 1500632 w 1500632"/>
                <a:gd name="connsiteY0" fmla="*/ 0 h 257442"/>
                <a:gd name="connsiteX1" fmla="*/ 1445910 w 1500632"/>
                <a:gd name="connsiteY1" fmla="*/ 257442 h 257442"/>
                <a:gd name="connsiteX2" fmla="*/ 0 w 1500632"/>
                <a:gd name="connsiteY2" fmla="*/ 257442 h 257442"/>
                <a:gd name="connsiteX3" fmla="*/ 0 w 1500632"/>
                <a:gd name="connsiteY3" fmla="*/ 0 h 257442"/>
                <a:gd name="connsiteX0" fmla="*/ 1500632 w 1500632"/>
                <a:gd name="connsiteY0" fmla="*/ 0 h 257442"/>
                <a:gd name="connsiteX1" fmla="*/ 1445910 w 1500632"/>
                <a:gd name="connsiteY1" fmla="*/ 257442 h 257442"/>
                <a:gd name="connsiteX2" fmla="*/ 0 w 1500632"/>
                <a:gd name="connsiteY2" fmla="*/ 257442 h 257442"/>
                <a:gd name="connsiteX3" fmla="*/ 0 w 1500632"/>
                <a:gd name="connsiteY3" fmla="*/ 0 h 257442"/>
                <a:gd name="connsiteX0" fmla="*/ 1652916 w 1652916"/>
                <a:gd name="connsiteY0" fmla="*/ 0 h 257442"/>
                <a:gd name="connsiteX1" fmla="*/ 1445910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652916 w 1652916"/>
                <a:gd name="connsiteY0" fmla="*/ 0 h 257442"/>
                <a:gd name="connsiteX1" fmla="*/ 1598195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652916 w 1652916"/>
                <a:gd name="connsiteY0" fmla="*/ 0 h 257442"/>
                <a:gd name="connsiteX1" fmla="*/ 1598195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652916 w 1652916"/>
                <a:gd name="connsiteY0" fmla="*/ 0 h 257442"/>
                <a:gd name="connsiteX1" fmla="*/ 1598195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821231 w 1821231"/>
                <a:gd name="connsiteY0" fmla="*/ 0 h 257442"/>
                <a:gd name="connsiteX1" fmla="*/ 1598195 w 1821231"/>
                <a:gd name="connsiteY1" fmla="*/ 257442 h 257442"/>
                <a:gd name="connsiteX2" fmla="*/ 0 w 1821231"/>
                <a:gd name="connsiteY2" fmla="*/ 257442 h 257442"/>
                <a:gd name="connsiteX3" fmla="*/ 0 w 1821231"/>
                <a:gd name="connsiteY3" fmla="*/ 0 h 257442"/>
                <a:gd name="connsiteX0" fmla="*/ 1821231 w 1821231"/>
                <a:gd name="connsiteY0" fmla="*/ 0 h 257442"/>
                <a:gd name="connsiteX1" fmla="*/ 1766510 w 1821231"/>
                <a:gd name="connsiteY1" fmla="*/ 257442 h 257442"/>
                <a:gd name="connsiteX2" fmla="*/ 0 w 1821231"/>
                <a:gd name="connsiteY2" fmla="*/ 257442 h 257442"/>
                <a:gd name="connsiteX3" fmla="*/ 0 w 1821231"/>
                <a:gd name="connsiteY3" fmla="*/ 0 h 257442"/>
                <a:gd name="connsiteX0" fmla="*/ 1821231 w 1821231"/>
                <a:gd name="connsiteY0" fmla="*/ 0 h 257442"/>
                <a:gd name="connsiteX1" fmla="*/ 1766510 w 1821231"/>
                <a:gd name="connsiteY1" fmla="*/ 257442 h 257442"/>
                <a:gd name="connsiteX2" fmla="*/ 0 w 1821231"/>
                <a:gd name="connsiteY2" fmla="*/ 257442 h 257442"/>
                <a:gd name="connsiteX3" fmla="*/ 0 w 1821231"/>
                <a:gd name="connsiteY3" fmla="*/ 0 h 257442"/>
                <a:gd name="connsiteX0" fmla="*/ 1821231 w 1821231"/>
                <a:gd name="connsiteY0" fmla="*/ 0 h 257442"/>
                <a:gd name="connsiteX1" fmla="*/ 1766510 w 1821231"/>
                <a:gd name="connsiteY1" fmla="*/ 257442 h 257442"/>
                <a:gd name="connsiteX2" fmla="*/ 0 w 1821231"/>
                <a:gd name="connsiteY2" fmla="*/ 257442 h 257442"/>
                <a:gd name="connsiteX3" fmla="*/ 0 w 1821231"/>
                <a:gd name="connsiteY3" fmla="*/ 0 h 257442"/>
                <a:gd name="connsiteX0" fmla="*/ 1999165 w 1999165"/>
                <a:gd name="connsiteY0" fmla="*/ 0 h 257442"/>
                <a:gd name="connsiteX1" fmla="*/ 1766510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2167480 w 2167480"/>
                <a:gd name="connsiteY0" fmla="*/ 0 h 257442"/>
                <a:gd name="connsiteX1" fmla="*/ 1944444 w 2167480"/>
                <a:gd name="connsiteY1" fmla="*/ 257442 h 257442"/>
                <a:gd name="connsiteX2" fmla="*/ 0 w 2167480"/>
                <a:gd name="connsiteY2" fmla="*/ 257442 h 257442"/>
                <a:gd name="connsiteX3" fmla="*/ 0 w 2167480"/>
                <a:gd name="connsiteY3" fmla="*/ 0 h 257442"/>
                <a:gd name="connsiteX0" fmla="*/ 2167480 w 2167480"/>
                <a:gd name="connsiteY0" fmla="*/ 0 h 257442"/>
                <a:gd name="connsiteX1" fmla="*/ 2112758 w 2167480"/>
                <a:gd name="connsiteY1" fmla="*/ 257442 h 257442"/>
                <a:gd name="connsiteX2" fmla="*/ 0 w 2167480"/>
                <a:gd name="connsiteY2" fmla="*/ 257442 h 257442"/>
                <a:gd name="connsiteX3" fmla="*/ 0 w 2167480"/>
                <a:gd name="connsiteY3" fmla="*/ 0 h 257442"/>
                <a:gd name="connsiteX0" fmla="*/ 2167481 w 2167481"/>
                <a:gd name="connsiteY0" fmla="*/ 0 h 257442"/>
                <a:gd name="connsiteX1" fmla="*/ 2112759 w 2167481"/>
                <a:gd name="connsiteY1" fmla="*/ 257442 h 257442"/>
                <a:gd name="connsiteX2" fmla="*/ 0 w 2167481"/>
                <a:gd name="connsiteY2" fmla="*/ 257442 h 257442"/>
                <a:gd name="connsiteX3" fmla="*/ 1 w 2167481"/>
                <a:gd name="connsiteY3" fmla="*/ 0 h 257442"/>
                <a:gd name="connsiteX0" fmla="*/ 2167481 w 2167481"/>
                <a:gd name="connsiteY0" fmla="*/ 0 h 257442"/>
                <a:gd name="connsiteX1" fmla="*/ 2112759 w 2167481"/>
                <a:gd name="connsiteY1" fmla="*/ 257442 h 257442"/>
                <a:gd name="connsiteX2" fmla="*/ 0 w 2167481"/>
                <a:gd name="connsiteY2" fmla="*/ 257442 h 257442"/>
                <a:gd name="connsiteX3" fmla="*/ 1 w 2167481"/>
                <a:gd name="connsiteY3" fmla="*/ 0 h 257442"/>
                <a:gd name="connsiteX0" fmla="*/ 2327781 w 2327781"/>
                <a:gd name="connsiteY0" fmla="*/ 0 h 257442"/>
                <a:gd name="connsiteX1" fmla="*/ 2112759 w 2327781"/>
                <a:gd name="connsiteY1" fmla="*/ 257442 h 257442"/>
                <a:gd name="connsiteX2" fmla="*/ 0 w 2327781"/>
                <a:gd name="connsiteY2" fmla="*/ 257442 h 257442"/>
                <a:gd name="connsiteX3" fmla="*/ 1 w 2327781"/>
                <a:gd name="connsiteY3" fmla="*/ 0 h 257442"/>
                <a:gd name="connsiteX0" fmla="*/ 2327781 w 2327781"/>
                <a:gd name="connsiteY0" fmla="*/ 0 h 257442"/>
                <a:gd name="connsiteX1" fmla="*/ 2273060 w 2327781"/>
                <a:gd name="connsiteY1" fmla="*/ 257442 h 257442"/>
                <a:gd name="connsiteX2" fmla="*/ 0 w 2327781"/>
                <a:gd name="connsiteY2" fmla="*/ 257442 h 257442"/>
                <a:gd name="connsiteX3" fmla="*/ 1 w 2327781"/>
                <a:gd name="connsiteY3" fmla="*/ 0 h 257442"/>
                <a:gd name="connsiteX0" fmla="*/ 2327780 w 2327780"/>
                <a:gd name="connsiteY0" fmla="*/ 0 h 257442"/>
                <a:gd name="connsiteX1" fmla="*/ 2273059 w 2327780"/>
                <a:gd name="connsiteY1" fmla="*/ 257442 h 257442"/>
                <a:gd name="connsiteX2" fmla="*/ 0 w 2327780"/>
                <a:gd name="connsiteY2" fmla="*/ 257442 h 257442"/>
                <a:gd name="connsiteX3" fmla="*/ 0 w 2327780"/>
                <a:gd name="connsiteY3" fmla="*/ 0 h 257442"/>
                <a:gd name="connsiteX0" fmla="*/ 2327781 w 2327781"/>
                <a:gd name="connsiteY0" fmla="*/ 0 h 257442"/>
                <a:gd name="connsiteX1" fmla="*/ 2273060 w 2327781"/>
                <a:gd name="connsiteY1" fmla="*/ 257442 h 257442"/>
                <a:gd name="connsiteX2" fmla="*/ 1 w 2327781"/>
                <a:gd name="connsiteY2" fmla="*/ 257442 h 257442"/>
                <a:gd name="connsiteX3" fmla="*/ 0 w 2327781"/>
                <a:gd name="connsiteY3" fmla="*/ 0 h 257442"/>
                <a:gd name="connsiteX0" fmla="*/ 2167481 w 2273060"/>
                <a:gd name="connsiteY0" fmla="*/ 0 h 257442"/>
                <a:gd name="connsiteX1" fmla="*/ 2273060 w 2273060"/>
                <a:gd name="connsiteY1" fmla="*/ 257442 h 257442"/>
                <a:gd name="connsiteX2" fmla="*/ 1 w 2273060"/>
                <a:gd name="connsiteY2" fmla="*/ 257442 h 257442"/>
                <a:gd name="connsiteX3" fmla="*/ 0 w 2273060"/>
                <a:gd name="connsiteY3" fmla="*/ 0 h 257442"/>
                <a:gd name="connsiteX0" fmla="*/ 2167481 w 2167481"/>
                <a:gd name="connsiteY0" fmla="*/ 0 h 257442"/>
                <a:gd name="connsiteX1" fmla="*/ 2112760 w 2167481"/>
                <a:gd name="connsiteY1" fmla="*/ 257442 h 257442"/>
                <a:gd name="connsiteX2" fmla="*/ 1 w 2167481"/>
                <a:gd name="connsiteY2" fmla="*/ 257442 h 257442"/>
                <a:gd name="connsiteX3" fmla="*/ 0 w 2167481"/>
                <a:gd name="connsiteY3" fmla="*/ 0 h 257442"/>
                <a:gd name="connsiteX0" fmla="*/ 2167481 w 2167481"/>
                <a:gd name="connsiteY0" fmla="*/ 0 h 257442"/>
                <a:gd name="connsiteX1" fmla="*/ 2112760 w 2167481"/>
                <a:gd name="connsiteY1" fmla="*/ 257442 h 257442"/>
                <a:gd name="connsiteX2" fmla="*/ 2 w 2167481"/>
                <a:gd name="connsiteY2" fmla="*/ 257442 h 257442"/>
                <a:gd name="connsiteX3" fmla="*/ 0 w 2167481"/>
                <a:gd name="connsiteY3" fmla="*/ 0 h 257442"/>
                <a:gd name="connsiteX0" fmla="*/ 2167479 w 2167479"/>
                <a:gd name="connsiteY0" fmla="*/ 0 h 257442"/>
                <a:gd name="connsiteX1" fmla="*/ 2112758 w 2167479"/>
                <a:gd name="connsiteY1" fmla="*/ 257442 h 257442"/>
                <a:gd name="connsiteX2" fmla="*/ 0 w 2167479"/>
                <a:gd name="connsiteY2" fmla="*/ 257442 h 257442"/>
                <a:gd name="connsiteX3" fmla="*/ 0 w 2167479"/>
                <a:gd name="connsiteY3" fmla="*/ 0 h 257442"/>
                <a:gd name="connsiteX0" fmla="*/ 1999165 w 2112758"/>
                <a:gd name="connsiteY0" fmla="*/ 0 h 257442"/>
                <a:gd name="connsiteX1" fmla="*/ 2112758 w 2112758"/>
                <a:gd name="connsiteY1" fmla="*/ 257442 h 257442"/>
                <a:gd name="connsiteX2" fmla="*/ 0 w 2112758"/>
                <a:gd name="connsiteY2" fmla="*/ 257442 h 257442"/>
                <a:gd name="connsiteX3" fmla="*/ 0 w 2112758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1 w 1999165"/>
                <a:gd name="connsiteY2" fmla="*/ 257442 h 257442"/>
                <a:gd name="connsiteX3" fmla="*/ 0 w 1999165"/>
                <a:gd name="connsiteY3" fmla="*/ 0 h 257442"/>
                <a:gd name="connsiteX0" fmla="*/ 1999164 w 1999164"/>
                <a:gd name="connsiteY0" fmla="*/ 0 h 257442"/>
                <a:gd name="connsiteX1" fmla="*/ 1944443 w 1999164"/>
                <a:gd name="connsiteY1" fmla="*/ 257442 h 257442"/>
                <a:gd name="connsiteX2" fmla="*/ 0 w 1999164"/>
                <a:gd name="connsiteY2" fmla="*/ 257442 h 257442"/>
                <a:gd name="connsiteX3" fmla="*/ 0 w 1999164"/>
                <a:gd name="connsiteY3" fmla="*/ 0 h 257442"/>
                <a:gd name="connsiteX0" fmla="*/ 1821230 w 1944443"/>
                <a:gd name="connsiteY0" fmla="*/ 0 h 257442"/>
                <a:gd name="connsiteX1" fmla="*/ 1944443 w 1944443"/>
                <a:gd name="connsiteY1" fmla="*/ 257442 h 257442"/>
                <a:gd name="connsiteX2" fmla="*/ 0 w 1944443"/>
                <a:gd name="connsiteY2" fmla="*/ 257442 h 257442"/>
                <a:gd name="connsiteX3" fmla="*/ 0 w 1944443"/>
                <a:gd name="connsiteY3" fmla="*/ 0 h 257442"/>
                <a:gd name="connsiteX0" fmla="*/ 1821230 w 1821230"/>
                <a:gd name="connsiteY0" fmla="*/ 0 h 257442"/>
                <a:gd name="connsiteX1" fmla="*/ 1766510 w 1821230"/>
                <a:gd name="connsiteY1" fmla="*/ 257442 h 257442"/>
                <a:gd name="connsiteX2" fmla="*/ 0 w 1821230"/>
                <a:gd name="connsiteY2" fmla="*/ 257442 h 257442"/>
                <a:gd name="connsiteX3" fmla="*/ 0 w 1821230"/>
                <a:gd name="connsiteY3" fmla="*/ 0 h 257442"/>
                <a:gd name="connsiteX0" fmla="*/ 1821230 w 1821230"/>
                <a:gd name="connsiteY0" fmla="*/ 0 h 257442"/>
                <a:gd name="connsiteX1" fmla="*/ 1766510 w 1821230"/>
                <a:gd name="connsiteY1" fmla="*/ 257442 h 257442"/>
                <a:gd name="connsiteX2" fmla="*/ 0 w 1821230"/>
                <a:gd name="connsiteY2" fmla="*/ 257442 h 257442"/>
                <a:gd name="connsiteX3" fmla="*/ 0 w 1821230"/>
                <a:gd name="connsiteY3" fmla="*/ 0 h 257442"/>
                <a:gd name="connsiteX0" fmla="*/ 1821230 w 1821230"/>
                <a:gd name="connsiteY0" fmla="*/ 0 h 257442"/>
                <a:gd name="connsiteX1" fmla="*/ 1766510 w 1821230"/>
                <a:gd name="connsiteY1" fmla="*/ 257442 h 257442"/>
                <a:gd name="connsiteX2" fmla="*/ 0 w 1821230"/>
                <a:gd name="connsiteY2" fmla="*/ 257442 h 257442"/>
                <a:gd name="connsiteX3" fmla="*/ 0 w 1821230"/>
                <a:gd name="connsiteY3" fmla="*/ 0 h 257442"/>
                <a:gd name="connsiteX0" fmla="*/ 1652916 w 1766510"/>
                <a:gd name="connsiteY0" fmla="*/ 0 h 257442"/>
                <a:gd name="connsiteX1" fmla="*/ 1766510 w 1766510"/>
                <a:gd name="connsiteY1" fmla="*/ 257442 h 257442"/>
                <a:gd name="connsiteX2" fmla="*/ 0 w 1766510"/>
                <a:gd name="connsiteY2" fmla="*/ 257442 h 257442"/>
                <a:gd name="connsiteX3" fmla="*/ 0 w 1766510"/>
                <a:gd name="connsiteY3" fmla="*/ 0 h 257442"/>
                <a:gd name="connsiteX0" fmla="*/ 1652916 w 1652916"/>
                <a:gd name="connsiteY0" fmla="*/ 0 h 257442"/>
                <a:gd name="connsiteX1" fmla="*/ 1598195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652916 w 1652916"/>
                <a:gd name="connsiteY0" fmla="*/ 0 h 257442"/>
                <a:gd name="connsiteX1" fmla="*/ 1598195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652916 w 1652916"/>
                <a:gd name="connsiteY0" fmla="*/ 0 h 257442"/>
                <a:gd name="connsiteX1" fmla="*/ 1598195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830849 w 1830849"/>
                <a:gd name="connsiteY0" fmla="*/ 0 h 257442"/>
                <a:gd name="connsiteX1" fmla="*/ 1598195 w 1830849"/>
                <a:gd name="connsiteY1" fmla="*/ 257442 h 257442"/>
                <a:gd name="connsiteX2" fmla="*/ 0 w 1830849"/>
                <a:gd name="connsiteY2" fmla="*/ 257442 h 257442"/>
                <a:gd name="connsiteX3" fmla="*/ 0 w 1830849"/>
                <a:gd name="connsiteY3" fmla="*/ 0 h 257442"/>
                <a:gd name="connsiteX0" fmla="*/ 1830849 w 1830849"/>
                <a:gd name="connsiteY0" fmla="*/ 0 h 257442"/>
                <a:gd name="connsiteX1" fmla="*/ 1776128 w 1830849"/>
                <a:gd name="connsiteY1" fmla="*/ 257442 h 257442"/>
                <a:gd name="connsiteX2" fmla="*/ 0 w 1830849"/>
                <a:gd name="connsiteY2" fmla="*/ 257442 h 257442"/>
                <a:gd name="connsiteX3" fmla="*/ 0 w 1830849"/>
                <a:gd name="connsiteY3" fmla="*/ 0 h 257442"/>
                <a:gd name="connsiteX0" fmla="*/ 1830849 w 1830849"/>
                <a:gd name="connsiteY0" fmla="*/ 0 h 257442"/>
                <a:gd name="connsiteX1" fmla="*/ 1776128 w 1830849"/>
                <a:gd name="connsiteY1" fmla="*/ 257442 h 257442"/>
                <a:gd name="connsiteX2" fmla="*/ 0 w 1830849"/>
                <a:gd name="connsiteY2" fmla="*/ 257442 h 257442"/>
                <a:gd name="connsiteX3" fmla="*/ 0 w 1830849"/>
                <a:gd name="connsiteY3" fmla="*/ 0 h 257442"/>
                <a:gd name="connsiteX0" fmla="*/ 1830849 w 1830849"/>
                <a:gd name="connsiteY0" fmla="*/ 0 h 257442"/>
                <a:gd name="connsiteX1" fmla="*/ 1776128 w 1830849"/>
                <a:gd name="connsiteY1" fmla="*/ 257442 h 257442"/>
                <a:gd name="connsiteX2" fmla="*/ 0 w 1830849"/>
                <a:gd name="connsiteY2" fmla="*/ 257442 h 257442"/>
                <a:gd name="connsiteX3" fmla="*/ 0 w 1830849"/>
                <a:gd name="connsiteY3" fmla="*/ 0 h 257442"/>
                <a:gd name="connsiteX0" fmla="*/ 1999165 w 1999165"/>
                <a:gd name="connsiteY0" fmla="*/ 0 h 257442"/>
                <a:gd name="connsiteX1" fmla="*/ 1776128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2167480 w 2167480"/>
                <a:gd name="connsiteY0" fmla="*/ 0 h 257442"/>
                <a:gd name="connsiteX1" fmla="*/ 1944444 w 2167480"/>
                <a:gd name="connsiteY1" fmla="*/ 257442 h 257442"/>
                <a:gd name="connsiteX2" fmla="*/ 0 w 2167480"/>
                <a:gd name="connsiteY2" fmla="*/ 257442 h 257442"/>
                <a:gd name="connsiteX3" fmla="*/ 0 w 2167480"/>
                <a:gd name="connsiteY3" fmla="*/ 0 h 257442"/>
                <a:gd name="connsiteX0" fmla="*/ 2167480 w 2167480"/>
                <a:gd name="connsiteY0" fmla="*/ 0 h 257442"/>
                <a:gd name="connsiteX1" fmla="*/ 2112758 w 2167480"/>
                <a:gd name="connsiteY1" fmla="*/ 257442 h 257442"/>
                <a:gd name="connsiteX2" fmla="*/ 0 w 2167480"/>
                <a:gd name="connsiteY2" fmla="*/ 257442 h 257442"/>
                <a:gd name="connsiteX3" fmla="*/ 0 w 2167480"/>
                <a:gd name="connsiteY3" fmla="*/ 0 h 257442"/>
                <a:gd name="connsiteX0" fmla="*/ 2167481 w 2167481"/>
                <a:gd name="connsiteY0" fmla="*/ 0 h 257442"/>
                <a:gd name="connsiteX1" fmla="*/ 2112759 w 2167481"/>
                <a:gd name="connsiteY1" fmla="*/ 257442 h 257442"/>
                <a:gd name="connsiteX2" fmla="*/ 0 w 2167481"/>
                <a:gd name="connsiteY2" fmla="*/ 257442 h 257442"/>
                <a:gd name="connsiteX3" fmla="*/ 1 w 2167481"/>
                <a:gd name="connsiteY3" fmla="*/ 0 h 257442"/>
                <a:gd name="connsiteX0" fmla="*/ 2167481 w 2167481"/>
                <a:gd name="connsiteY0" fmla="*/ 0 h 257442"/>
                <a:gd name="connsiteX1" fmla="*/ 2112759 w 2167481"/>
                <a:gd name="connsiteY1" fmla="*/ 257442 h 257442"/>
                <a:gd name="connsiteX2" fmla="*/ 0 w 2167481"/>
                <a:gd name="connsiteY2" fmla="*/ 257442 h 257442"/>
                <a:gd name="connsiteX3" fmla="*/ 1 w 2167481"/>
                <a:gd name="connsiteY3" fmla="*/ 0 h 257442"/>
                <a:gd name="connsiteX0" fmla="*/ 2327781 w 2327781"/>
                <a:gd name="connsiteY0" fmla="*/ 0 h 257442"/>
                <a:gd name="connsiteX1" fmla="*/ 2112759 w 2327781"/>
                <a:gd name="connsiteY1" fmla="*/ 257442 h 257442"/>
                <a:gd name="connsiteX2" fmla="*/ 0 w 2327781"/>
                <a:gd name="connsiteY2" fmla="*/ 257442 h 257442"/>
                <a:gd name="connsiteX3" fmla="*/ 1 w 2327781"/>
                <a:gd name="connsiteY3" fmla="*/ 0 h 257442"/>
                <a:gd name="connsiteX0" fmla="*/ 2327781 w 2327781"/>
                <a:gd name="connsiteY0" fmla="*/ 0 h 257442"/>
                <a:gd name="connsiteX1" fmla="*/ 2273060 w 2327781"/>
                <a:gd name="connsiteY1" fmla="*/ 257442 h 257442"/>
                <a:gd name="connsiteX2" fmla="*/ 0 w 2327781"/>
                <a:gd name="connsiteY2" fmla="*/ 257442 h 257442"/>
                <a:gd name="connsiteX3" fmla="*/ 1 w 2327781"/>
                <a:gd name="connsiteY3" fmla="*/ 0 h 257442"/>
                <a:gd name="connsiteX0" fmla="*/ 2327780 w 2327780"/>
                <a:gd name="connsiteY0" fmla="*/ 0 h 257442"/>
                <a:gd name="connsiteX1" fmla="*/ 2273059 w 2327780"/>
                <a:gd name="connsiteY1" fmla="*/ 257442 h 257442"/>
                <a:gd name="connsiteX2" fmla="*/ 0 w 2327780"/>
                <a:gd name="connsiteY2" fmla="*/ 257442 h 257442"/>
                <a:gd name="connsiteX3" fmla="*/ 0 w 2327780"/>
                <a:gd name="connsiteY3" fmla="*/ 0 h 257442"/>
                <a:gd name="connsiteX0" fmla="*/ 2327781 w 2327781"/>
                <a:gd name="connsiteY0" fmla="*/ 0 h 257442"/>
                <a:gd name="connsiteX1" fmla="*/ 2273060 w 2327781"/>
                <a:gd name="connsiteY1" fmla="*/ 257442 h 257442"/>
                <a:gd name="connsiteX2" fmla="*/ 1 w 2327781"/>
                <a:gd name="connsiteY2" fmla="*/ 257442 h 257442"/>
                <a:gd name="connsiteX3" fmla="*/ 0 w 2327781"/>
                <a:gd name="connsiteY3" fmla="*/ 0 h 257442"/>
                <a:gd name="connsiteX0" fmla="*/ 960420 w 2273060"/>
                <a:gd name="connsiteY0" fmla="*/ 0 h 257442"/>
                <a:gd name="connsiteX1" fmla="*/ 2273060 w 2273060"/>
                <a:gd name="connsiteY1" fmla="*/ 257442 h 257442"/>
                <a:gd name="connsiteX2" fmla="*/ 1 w 2273060"/>
                <a:gd name="connsiteY2" fmla="*/ 257442 h 257442"/>
                <a:gd name="connsiteX3" fmla="*/ 0 w 2273060"/>
                <a:gd name="connsiteY3" fmla="*/ 0 h 257442"/>
                <a:gd name="connsiteX0" fmla="*/ 960420 w 960420"/>
                <a:gd name="connsiteY0" fmla="*/ 0 h 257442"/>
                <a:gd name="connsiteX1" fmla="*/ 905699 w 960420"/>
                <a:gd name="connsiteY1" fmla="*/ 257442 h 257442"/>
                <a:gd name="connsiteX2" fmla="*/ 1 w 960420"/>
                <a:gd name="connsiteY2" fmla="*/ 257442 h 257442"/>
                <a:gd name="connsiteX3" fmla="*/ 0 w 960420"/>
                <a:gd name="connsiteY3" fmla="*/ 0 h 257442"/>
                <a:gd name="connsiteX0" fmla="*/ 960420 w 960420"/>
                <a:gd name="connsiteY0" fmla="*/ 0 h 257442"/>
                <a:gd name="connsiteX1" fmla="*/ 905699 w 960420"/>
                <a:gd name="connsiteY1" fmla="*/ 257442 h 257442"/>
                <a:gd name="connsiteX2" fmla="*/ 1 w 960420"/>
                <a:gd name="connsiteY2" fmla="*/ 257442 h 257442"/>
                <a:gd name="connsiteX3" fmla="*/ 0 w 960420"/>
                <a:gd name="connsiteY3" fmla="*/ 0 h 257442"/>
                <a:gd name="connsiteX0" fmla="*/ 960419 w 960419"/>
                <a:gd name="connsiteY0" fmla="*/ 0 h 257442"/>
                <a:gd name="connsiteX1" fmla="*/ 905698 w 960419"/>
                <a:gd name="connsiteY1" fmla="*/ 257442 h 257442"/>
                <a:gd name="connsiteX2" fmla="*/ 0 w 960419"/>
                <a:gd name="connsiteY2" fmla="*/ 257442 h 257442"/>
                <a:gd name="connsiteX3" fmla="*/ 0 w 960419"/>
                <a:gd name="connsiteY3" fmla="*/ 0 h 257442"/>
                <a:gd name="connsiteX0" fmla="*/ 1128734 w 1128734"/>
                <a:gd name="connsiteY0" fmla="*/ 0 h 257442"/>
                <a:gd name="connsiteX1" fmla="*/ 905698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128734 w 1128734"/>
                <a:gd name="connsiteY0" fmla="*/ 0 h 257442"/>
                <a:gd name="connsiteX1" fmla="*/ 1074012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128735 w 1128735"/>
                <a:gd name="connsiteY0" fmla="*/ 0 h 257442"/>
                <a:gd name="connsiteX1" fmla="*/ 1074013 w 1128735"/>
                <a:gd name="connsiteY1" fmla="*/ 257442 h 257442"/>
                <a:gd name="connsiteX2" fmla="*/ 0 w 1128735"/>
                <a:gd name="connsiteY2" fmla="*/ 257442 h 257442"/>
                <a:gd name="connsiteX3" fmla="*/ 1 w 1128735"/>
                <a:gd name="connsiteY3" fmla="*/ 0 h 257442"/>
                <a:gd name="connsiteX0" fmla="*/ 1128735 w 1128735"/>
                <a:gd name="connsiteY0" fmla="*/ 0 h 257442"/>
                <a:gd name="connsiteX1" fmla="*/ 1074013 w 1128735"/>
                <a:gd name="connsiteY1" fmla="*/ 257442 h 257442"/>
                <a:gd name="connsiteX2" fmla="*/ 0 w 1128735"/>
                <a:gd name="connsiteY2" fmla="*/ 257442 h 257442"/>
                <a:gd name="connsiteX3" fmla="*/ 1 w 1128735"/>
                <a:gd name="connsiteY3" fmla="*/ 0 h 257442"/>
                <a:gd name="connsiteX0" fmla="*/ 1306669 w 1306669"/>
                <a:gd name="connsiteY0" fmla="*/ 0 h 257442"/>
                <a:gd name="connsiteX1" fmla="*/ 1074013 w 1306669"/>
                <a:gd name="connsiteY1" fmla="*/ 257442 h 257442"/>
                <a:gd name="connsiteX2" fmla="*/ 0 w 1306669"/>
                <a:gd name="connsiteY2" fmla="*/ 257442 h 257442"/>
                <a:gd name="connsiteX3" fmla="*/ 1 w 1306669"/>
                <a:gd name="connsiteY3" fmla="*/ 0 h 257442"/>
                <a:gd name="connsiteX0" fmla="*/ 1306669 w 1306669"/>
                <a:gd name="connsiteY0" fmla="*/ 0 h 257442"/>
                <a:gd name="connsiteX1" fmla="*/ 1251948 w 1306669"/>
                <a:gd name="connsiteY1" fmla="*/ 257442 h 257442"/>
                <a:gd name="connsiteX2" fmla="*/ 0 w 1306669"/>
                <a:gd name="connsiteY2" fmla="*/ 257442 h 257442"/>
                <a:gd name="connsiteX3" fmla="*/ 1 w 1306669"/>
                <a:gd name="connsiteY3" fmla="*/ 0 h 257442"/>
                <a:gd name="connsiteX0" fmla="*/ 1306668 w 1306668"/>
                <a:gd name="connsiteY0" fmla="*/ 0 h 257442"/>
                <a:gd name="connsiteX1" fmla="*/ 1251947 w 1306668"/>
                <a:gd name="connsiteY1" fmla="*/ 257442 h 257442"/>
                <a:gd name="connsiteX2" fmla="*/ 0 w 1306668"/>
                <a:gd name="connsiteY2" fmla="*/ 257442 h 257442"/>
                <a:gd name="connsiteX3" fmla="*/ 0 w 1306668"/>
                <a:gd name="connsiteY3" fmla="*/ 0 h 257442"/>
                <a:gd name="connsiteX0" fmla="*/ 1306669 w 1306669"/>
                <a:gd name="connsiteY0" fmla="*/ 0 h 257442"/>
                <a:gd name="connsiteX1" fmla="*/ 1251948 w 1306669"/>
                <a:gd name="connsiteY1" fmla="*/ 257442 h 257442"/>
                <a:gd name="connsiteX2" fmla="*/ 1 w 1306669"/>
                <a:gd name="connsiteY2" fmla="*/ 257442 h 257442"/>
                <a:gd name="connsiteX3" fmla="*/ 0 w 1306669"/>
                <a:gd name="connsiteY3" fmla="*/ 0 h 257442"/>
                <a:gd name="connsiteX0" fmla="*/ 1407657 w 1407657"/>
                <a:gd name="connsiteY0" fmla="*/ 0 h 257442"/>
                <a:gd name="connsiteX1" fmla="*/ 1251948 w 1407657"/>
                <a:gd name="connsiteY1" fmla="*/ 257442 h 257442"/>
                <a:gd name="connsiteX2" fmla="*/ 1 w 1407657"/>
                <a:gd name="connsiteY2" fmla="*/ 257442 h 257442"/>
                <a:gd name="connsiteX3" fmla="*/ 0 w 1407657"/>
                <a:gd name="connsiteY3" fmla="*/ 0 h 257442"/>
                <a:gd name="connsiteX0" fmla="*/ 1407657 w 1407657"/>
                <a:gd name="connsiteY0" fmla="*/ 0 h 257442"/>
                <a:gd name="connsiteX1" fmla="*/ 1352936 w 1407657"/>
                <a:gd name="connsiteY1" fmla="*/ 257442 h 257442"/>
                <a:gd name="connsiteX2" fmla="*/ 1 w 1407657"/>
                <a:gd name="connsiteY2" fmla="*/ 257442 h 257442"/>
                <a:gd name="connsiteX3" fmla="*/ 0 w 1407657"/>
                <a:gd name="connsiteY3" fmla="*/ 0 h 257442"/>
                <a:gd name="connsiteX0" fmla="*/ 1407657 w 1407657"/>
                <a:gd name="connsiteY0" fmla="*/ 0 h 257442"/>
                <a:gd name="connsiteX1" fmla="*/ 1352936 w 1407657"/>
                <a:gd name="connsiteY1" fmla="*/ 257442 h 257442"/>
                <a:gd name="connsiteX2" fmla="*/ 1 w 1407657"/>
                <a:gd name="connsiteY2" fmla="*/ 257442 h 257442"/>
                <a:gd name="connsiteX3" fmla="*/ 0 w 1407657"/>
                <a:gd name="connsiteY3" fmla="*/ 0 h 257442"/>
                <a:gd name="connsiteX0" fmla="*/ 1407656 w 1407656"/>
                <a:gd name="connsiteY0" fmla="*/ 0 h 257442"/>
                <a:gd name="connsiteX1" fmla="*/ 1352935 w 1407656"/>
                <a:gd name="connsiteY1" fmla="*/ 257442 h 257442"/>
                <a:gd name="connsiteX2" fmla="*/ 0 w 1407656"/>
                <a:gd name="connsiteY2" fmla="*/ 257442 h 257442"/>
                <a:gd name="connsiteX3" fmla="*/ 0 w 1407656"/>
                <a:gd name="connsiteY3" fmla="*/ 0 h 257442"/>
                <a:gd name="connsiteX0" fmla="*/ 1585589 w 1585589"/>
                <a:gd name="connsiteY0" fmla="*/ 0 h 257442"/>
                <a:gd name="connsiteX1" fmla="*/ 1352935 w 1585589"/>
                <a:gd name="connsiteY1" fmla="*/ 257442 h 257442"/>
                <a:gd name="connsiteX2" fmla="*/ 0 w 1585589"/>
                <a:gd name="connsiteY2" fmla="*/ 257442 h 257442"/>
                <a:gd name="connsiteX3" fmla="*/ 0 w 1585589"/>
                <a:gd name="connsiteY3" fmla="*/ 0 h 257442"/>
                <a:gd name="connsiteX0" fmla="*/ 1585589 w 1585589"/>
                <a:gd name="connsiteY0" fmla="*/ 0 h 257442"/>
                <a:gd name="connsiteX1" fmla="*/ 1530868 w 1585589"/>
                <a:gd name="connsiteY1" fmla="*/ 257442 h 257442"/>
                <a:gd name="connsiteX2" fmla="*/ 0 w 1585589"/>
                <a:gd name="connsiteY2" fmla="*/ 257442 h 257442"/>
                <a:gd name="connsiteX3" fmla="*/ 0 w 1585589"/>
                <a:gd name="connsiteY3" fmla="*/ 0 h 257442"/>
                <a:gd name="connsiteX0" fmla="*/ 1585590 w 1585590"/>
                <a:gd name="connsiteY0" fmla="*/ 0 h 257442"/>
                <a:gd name="connsiteX1" fmla="*/ 1530869 w 1585590"/>
                <a:gd name="connsiteY1" fmla="*/ 257442 h 257442"/>
                <a:gd name="connsiteX2" fmla="*/ 0 w 1585590"/>
                <a:gd name="connsiteY2" fmla="*/ 257442 h 257442"/>
                <a:gd name="connsiteX3" fmla="*/ 1 w 1585590"/>
                <a:gd name="connsiteY3" fmla="*/ 0 h 257442"/>
                <a:gd name="connsiteX0" fmla="*/ 1585590 w 1585590"/>
                <a:gd name="connsiteY0" fmla="*/ 0 h 257442"/>
                <a:gd name="connsiteX1" fmla="*/ 1530869 w 1585590"/>
                <a:gd name="connsiteY1" fmla="*/ 257442 h 257442"/>
                <a:gd name="connsiteX2" fmla="*/ 0 w 1585590"/>
                <a:gd name="connsiteY2" fmla="*/ 257442 h 257442"/>
                <a:gd name="connsiteX3" fmla="*/ 0 w 1585590"/>
                <a:gd name="connsiteY3" fmla="*/ 0 h 257442"/>
                <a:gd name="connsiteX0" fmla="*/ 1745891 w 1745891"/>
                <a:gd name="connsiteY0" fmla="*/ 0 h 257442"/>
                <a:gd name="connsiteX1" fmla="*/ 1530869 w 1745891"/>
                <a:gd name="connsiteY1" fmla="*/ 257442 h 257442"/>
                <a:gd name="connsiteX2" fmla="*/ 0 w 1745891"/>
                <a:gd name="connsiteY2" fmla="*/ 257442 h 257442"/>
                <a:gd name="connsiteX3" fmla="*/ 0 w 1745891"/>
                <a:gd name="connsiteY3" fmla="*/ 0 h 257442"/>
                <a:gd name="connsiteX0" fmla="*/ 1745891 w 1745891"/>
                <a:gd name="connsiteY0" fmla="*/ 0 h 257442"/>
                <a:gd name="connsiteX1" fmla="*/ 1691170 w 1745891"/>
                <a:gd name="connsiteY1" fmla="*/ 257442 h 257442"/>
                <a:gd name="connsiteX2" fmla="*/ 0 w 1745891"/>
                <a:gd name="connsiteY2" fmla="*/ 257442 h 257442"/>
                <a:gd name="connsiteX3" fmla="*/ 0 w 1745891"/>
                <a:gd name="connsiteY3" fmla="*/ 0 h 257442"/>
                <a:gd name="connsiteX0" fmla="*/ 1745891 w 1745891"/>
                <a:gd name="connsiteY0" fmla="*/ 0 h 257442"/>
                <a:gd name="connsiteX1" fmla="*/ 1691170 w 1745891"/>
                <a:gd name="connsiteY1" fmla="*/ 257442 h 257442"/>
                <a:gd name="connsiteX2" fmla="*/ 0 w 1745891"/>
                <a:gd name="connsiteY2" fmla="*/ 257442 h 257442"/>
                <a:gd name="connsiteX3" fmla="*/ 0 w 1745891"/>
                <a:gd name="connsiteY3" fmla="*/ 0 h 257442"/>
                <a:gd name="connsiteX0" fmla="*/ 1745891 w 1745891"/>
                <a:gd name="connsiteY0" fmla="*/ 0 h 257442"/>
                <a:gd name="connsiteX1" fmla="*/ 1691170 w 1745891"/>
                <a:gd name="connsiteY1" fmla="*/ 257442 h 257442"/>
                <a:gd name="connsiteX2" fmla="*/ 0 w 1745891"/>
                <a:gd name="connsiteY2" fmla="*/ 257442 h 257442"/>
                <a:gd name="connsiteX3" fmla="*/ 0 w 1745891"/>
                <a:gd name="connsiteY3" fmla="*/ 0 h 257442"/>
                <a:gd name="connsiteX0" fmla="*/ 1906191 w 1906191"/>
                <a:gd name="connsiteY0" fmla="*/ 0 h 257442"/>
                <a:gd name="connsiteX1" fmla="*/ 1691170 w 1906191"/>
                <a:gd name="connsiteY1" fmla="*/ 257442 h 257442"/>
                <a:gd name="connsiteX2" fmla="*/ 0 w 1906191"/>
                <a:gd name="connsiteY2" fmla="*/ 257442 h 257442"/>
                <a:gd name="connsiteX3" fmla="*/ 0 w 1906191"/>
                <a:gd name="connsiteY3" fmla="*/ 0 h 257442"/>
                <a:gd name="connsiteX0" fmla="*/ 1906191 w 1906191"/>
                <a:gd name="connsiteY0" fmla="*/ 0 h 257442"/>
                <a:gd name="connsiteX1" fmla="*/ 1851470 w 1906191"/>
                <a:gd name="connsiteY1" fmla="*/ 257442 h 257442"/>
                <a:gd name="connsiteX2" fmla="*/ 0 w 1906191"/>
                <a:gd name="connsiteY2" fmla="*/ 257442 h 257442"/>
                <a:gd name="connsiteX3" fmla="*/ 0 w 1906191"/>
                <a:gd name="connsiteY3" fmla="*/ 0 h 257442"/>
                <a:gd name="connsiteX0" fmla="*/ 1906191 w 1906191"/>
                <a:gd name="connsiteY0" fmla="*/ 0 h 257442"/>
                <a:gd name="connsiteX1" fmla="*/ 1851470 w 1906191"/>
                <a:gd name="connsiteY1" fmla="*/ 257442 h 257442"/>
                <a:gd name="connsiteX2" fmla="*/ 0 w 1906191"/>
                <a:gd name="connsiteY2" fmla="*/ 257442 h 257442"/>
                <a:gd name="connsiteX3" fmla="*/ 0 w 1906191"/>
                <a:gd name="connsiteY3" fmla="*/ 0 h 257442"/>
                <a:gd name="connsiteX0" fmla="*/ 1906191 w 1906191"/>
                <a:gd name="connsiteY0" fmla="*/ 0 h 257442"/>
                <a:gd name="connsiteX1" fmla="*/ 1851470 w 1906191"/>
                <a:gd name="connsiteY1" fmla="*/ 257442 h 257442"/>
                <a:gd name="connsiteX2" fmla="*/ 0 w 1906191"/>
                <a:gd name="connsiteY2" fmla="*/ 257442 h 257442"/>
                <a:gd name="connsiteX3" fmla="*/ 0 w 1906191"/>
                <a:gd name="connsiteY3" fmla="*/ 0 h 257442"/>
                <a:gd name="connsiteX0" fmla="*/ 2074506 w 2074506"/>
                <a:gd name="connsiteY0" fmla="*/ 0 h 257442"/>
                <a:gd name="connsiteX1" fmla="*/ 1851470 w 2074506"/>
                <a:gd name="connsiteY1" fmla="*/ 257442 h 257442"/>
                <a:gd name="connsiteX2" fmla="*/ 0 w 2074506"/>
                <a:gd name="connsiteY2" fmla="*/ 257442 h 257442"/>
                <a:gd name="connsiteX3" fmla="*/ 0 w 2074506"/>
                <a:gd name="connsiteY3" fmla="*/ 0 h 257442"/>
                <a:gd name="connsiteX0" fmla="*/ 2074506 w 2074506"/>
                <a:gd name="connsiteY0" fmla="*/ 0 h 257442"/>
                <a:gd name="connsiteX1" fmla="*/ 2019784 w 2074506"/>
                <a:gd name="connsiteY1" fmla="*/ 257442 h 257442"/>
                <a:gd name="connsiteX2" fmla="*/ 0 w 2074506"/>
                <a:gd name="connsiteY2" fmla="*/ 257442 h 257442"/>
                <a:gd name="connsiteX3" fmla="*/ 0 w 2074506"/>
                <a:gd name="connsiteY3" fmla="*/ 0 h 257442"/>
                <a:gd name="connsiteX0" fmla="*/ 2074507 w 2074507"/>
                <a:gd name="connsiteY0" fmla="*/ 0 h 257442"/>
                <a:gd name="connsiteX1" fmla="*/ 2019785 w 2074507"/>
                <a:gd name="connsiteY1" fmla="*/ 257442 h 257442"/>
                <a:gd name="connsiteX2" fmla="*/ 0 w 2074507"/>
                <a:gd name="connsiteY2" fmla="*/ 257442 h 257442"/>
                <a:gd name="connsiteX3" fmla="*/ 1 w 2074507"/>
                <a:gd name="connsiteY3" fmla="*/ 0 h 257442"/>
                <a:gd name="connsiteX0" fmla="*/ 2074507 w 2074507"/>
                <a:gd name="connsiteY0" fmla="*/ 0 h 257442"/>
                <a:gd name="connsiteX1" fmla="*/ 2019785 w 2074507"/>
                <a:gd name="connsiteY1" fmla="*/ 257442 h 257442"/>
                <a:gd name="connsiteX2" fmla="*/ 0 w 2074507"/>
                <a:gd name="connsiteY2" fmla="*/ 257442 h 257442"/>
                <a:gd name="connsiteX3" fmla="*/ 1 w 2074507"/>
                <a:gd name="connsiteY3" fmla="*/ 0 h 257442"/>
                <a:gd name="connsiteX0" fmla="*/ 2232050 w 2232050"/>
                <a:gd name="connsiteY0" fmla="*/ 0 h 257442"/>
                <a:gd name="connsiteX1" fmla="*/ 2019785 w 2232050"/>
                <a:gd name="connsiteY1" fmla="*/ 257442 h 257442"/>
                <a:gd name="connsiteX2" fmla="*/ 0 w 2232050"/>
                <a:gd name="connsiteY2" fmla="*/ 257442 h 257442"/>
                <a:gd name="connsiteX3" fmla="*/ 1 w 2232050"/>
                <a:gd name="connsiteY3" fmla="*/ 0 h 257442"/>
                <a:gd name="connsiteX0" fmla="*/ 2232050 w 2232050"/>
                <a:gd name="connsiteY0" fmla="*/ 0 h 257442"/>
                <a:gd name="connsiteX1" fmla="*/ 2177328 w 2232050"/>
                <a:gd name="connsiteY1" fmla="*/ 257442 h 257442"/>
                <a:gd name="connsiteX2" fmla="*/ 0 w 2232050"/>
                <a:gd name="connsiteY2" fmla="*/ 257442 h 257442"/>
                <a:gd name="connsiteX3" fmla="*/ 1 w 2232050"/>
                <a:gd name="connsiteY3" fmla="*/ 0 h 257442"/>
                <a:gd name="connsiteX0" fmla="*/ 2232050 w 2232050"/>
                <a:gd name="connsiteY0" fmla="*/ 0 h 257442"/>
                <a:gd name="connsiteX1" fmla="*/ 2177328 w 2232050"/>
                <a:gd name="connsiteY1" fmla="*/ 257442 h 257442"/>
                <a:gd name="connsiteX2" fmla="*/ 0 w 2232050"/>
                <a:gd name="connsiteY2" fmla="*/ 257442 h 257442"/>
                <a:gd name="connsiteX3" fmla="*/ 1 w 2232050"/>
                <a:gd name="connsiteY3" fmla="*/ 0 h 257442"/>
                <a:gd name="connsiteX0" fmla="*/ 2232050 w 2232050"/>
                <a:gd name="connsiteY0" fmla="*/ 0 h 257442"/>
                <a:gd name="connsiteX1" fmla="*/ 2177328 w 2232050"/>
                <a:gd name="connsiteY1" fmla="*/ 257442 h 257442"/>
                <a:gd name="connsiteX2" fmla="*/ 0 w 2232050"/>
                <a:gd name="connsiteY2" fmla="*/ 257442 h 257442"/>
                <a:gd name="connsiteX3" fmla="*/ 0 w 2232050"/>
                <a:gd name="connsiteY3" fmla="*/ 0 h 257442"/>
                <a:gd name="connsiteX0" fmla="*/ 2333038 w 2333038"/>
                <a:gd name="connsiteY0" fmla="*/ 0 h 257442"/>
                <a:gd name="connsiteX1" fmla="*/ 2177328 w 2333038"/>
                <a:gd name="connsiteY1" fmla="*/ 257442 h 257442"/>
                <a:gd name="connsiteX2" fmla="*/ 0 w 2333038"/>
                <a:gd name="connsiteY2" fmla="*/ 257442 h 257442"/>
                <a:gd name="connsiteX3" fmla="*/ 0 w 2333038"/>
                <a:gd name="connsiteY3" fmla="*/ 0 h 257442"/>
                <a:gd name="connsiteX0" fmla="*/ 2333038 w 2333038"/>
                <a:gd name="connsiteY0" fmla="*/ 0 h 257442"/>
                <a:gd name="connsiteX1" fmla="*/ 2278317 w 2333038"/>
                <a:gd name="connsiteY1" fmla="*/ 257442 h 257442"/>
                <a:gd name="connsiteX2" fmla="*/ 0 w 2333038"/>
                <a:gd name="connsiteY2" fmla="*/ 257442 h 257442"/>
                <a:gd name="connsiteX3" fmla="*/ 0 w 2333038"/>
                <a:gd name="connsiteY3" fmla="*/ 0 h 257442"/>
                <a:gd name="connsiteX0" fmla="*/ 2333038 w 2333038"/>
                <a:gd name="connsiteY0" fmla="*/ 0 h 257442"/>
                <a:gd name="connsiteX1" fmla="*/ 2278317 w 2333038"/>
                <a:gd name="connsiteY1" fmla="*/ 257442 h 257442"/>
                <a:gd name="connsiteX2" fmla="*/ 0 w 2333038"/>
                <a:gd name="connsiteY2" fmla="*/ 257442 h 257442"/>
                <a:gd name="connsiteX3" fmla="*/ 0 w 2333038"/>
                <a:gd name="connsiteY3" fmla="*/ 0 h 257442"/>
                <a:gd name="connsiteX0" fmla="*/ 2333038 w 2333038"/>
                <a:gd name="connsiteY0" fmla="*/ 0 h 257442"/>
                <a:gd name="connsiteX1" fmla="*/ 2278317 w 2333038"/>
                <a:gd name="connsiteY1" fmla="*/ 257442 h 257442"/>
                <a:gd name="connsiteX2" fmla="*/ 0 w 2333038"/>
                <a:gd name="connsiteY2" fmla="*/ 257442 h 257442"/>
                <a:gd name="connsiteX3" fmla="*/ 0 w 2333038"/>
                <a:gd name="connsiteY3" fmla="*/ 0 h 257442"/>
                <a:gd name="connsiteX0" fmla="*/ 2493338 w 2493338"/>
                <a:gd name="connsiteY0" fmla="*/ 0 h 257442"/>
                <a:gd name="connsiteX1" fmla="*/ 2278317 w 2493338"/>
                <a:gd name="connsiteY1" fmla="*/ 257442 h 257442"/>
                <a:gd name="connsiteX2" fmla="*/ 0 w 2493338"/>
                <a:gd name="connsiteY2" fmla="*/ 257442 h 257442"/>
                <a:gd name="connsiteX3" fmla="*/ 0 w 2493338"/>
                <a:gd name="connsiteY3" fmla="*/ 0 h 257442"/>
                <a:gd name="connsiteX0" fmla="*/ 2493338 w 2493338"/>
                <a:gd name="connsiteY0" fmla="*/ 0 h 257442"/>
                <a:gd name="connsiteX1" fmla="*/ 2438617 w 2493338"/>
                <a:gd name="connsiteY1" fmla="*/ 257442 h 257442"/>
                <a:gd name="connsiteX2" fmla="*/ 0 w 2493338"/>
                <a:gd name="connsiteY2" fmla="*/ 257442 h 257442"/>
                <a:gd name="connsiteX3" fmla="*/ 0 w 2493338"/>
                <a:gd name="connsiteY3" fmla="*/ 0 h 257442"/>
                <a:gd name="connsiteX0" fmla="*/ 2493338 w 2493338"/>
                <a:gd name="connsiteY0" fmla="*/ 0 h 257442"/>
                <a:gd name="connsiteX1" fmla="*/ 2438617 w 2493338"/>
                <a:gd name="connsiteY1" fmla="*/ 257442 h 257442"/>
                <a:gd name="connsiteX2" fmla="*/ 0 w 2493338"/>
                <a:gd name="connsiteY2" fmla="*/ 257442 h 257442"/>
                <a:gd name="connsiteX3" fmla="*/ 0 w 2493338"/>
                <a:gd name="connsiteY3" fmla="*/ 0 h 257442"/>
                <a:gd name="connsiteX0" fmla="*/ 2493338 w 2493338"/>
                <a:gd name="connsiteY0" fmla="*/ 0 h 257442"/>
                <a:gd name="connsiteX1" fmla="*/ 2438617 w 2493338"/>
                <a:gd name="connsiteY1" fmla="*/ 257442 h 257442"/>
                <a:gd name="connsiteX2" fmla="*/ 0 w 2493338"/>
                <a:gd name="connsiteY2" fmla="*/ 257442 h 257442"/>
                <a:gd name="connsiteX3" fmla="*/ 0 w 2493338"/>
                <a:gd name="connsiteY3" fmla="*/ 0 h 257442"/>
                <a:gd name="connsiteX0" fmla="*/ 2696920 w 2696920"/>
                <a:gd name="connsiteY0" fmla="*/ 0 h 257442"/>
                <a:gd name="connsiteX1" fmla="*/ 2438617 w 2696920"/>
                <a:gd name="connsiteY1" fmla="*/ 257442 h 257442"/>
                <a:gd name="connsiteX2" fmla="*/ 0 w 2696920"/>
                <a:gd name="connsiteY2" fmla="*/ 257442 h 257442"/>
                <a:gd name="connsiteX3" fmla="*/ 0 w 2696920"/>
                <a:gd name="connsiteY3" fmla="*/ 0 h 257442"/>
                <a:gd name="connsiteX0" fmla="*/ 2696920 w 2696920"/>
                <a:gd name="connsiteY0" fmla="*/ 0 h 257442"/>
                <a:gd name="connsiteX1" fmla="*/ 2642199 w 2696920"/>
                <a:gd name="connsiteY1" fmla="*/ 257442 h 257442"/>
                <a:gd name="connsiteX2" fmla="*/ 0 w 2696920"/>
                <a:gd name="connsiteY2" fmla="*/ 257442 h 257442"/>
                <a:gd name="connsiteX3" fmla="*/ 0 w 2696920"/>
                <a:gd name="connsiteY3" fmla="*/ 0 h 257442"/>
                <a:gd name="connsiteX0" fmla="*/ 2696920 w 2696920"/>
                <a:gd name="connsiteY0" fmla="*/ 0 h 257442"/>
                <a:gd name="connsiteX1" fmla="*/ 2642199 w 2696920"/>
                <a:gd name="connsiteY1" fmla="*/ 257442 h 257442"/>
                <a:gd name="connsiteX2" fmla="*/ 0 w 2696920"/>
                <a:gd name="connsiteY2" fmla="*/ 257442 h 257442"/>
                <a:gd name="connsiteX3" fmla="*/ 0 w 2696920"/>
                <a:gd name="connsiteY3" fmla="*/ 0 h 257442"/>
                <a:gd name="connsiteX0" fmla="*/ 2696920 w 2696920"/>
                <a:gd name="connsiteY0" fmla="*/ 0 h 257442"/>
                <a:gd name="connsiteX1" fmla="*/ 2642199 w 2696920"/>
                <a:gd name="connsiteY1" fmla="*/ 257442 h 257442"/>
                <a:gd name="connsiteX2" fmla="*/ 0 w 2696920"/>
                <a:gd name="connsiteY2" fmla="*/ 257442 h 257442"/>
                <a:gd name="connsiteX3" fmla="*/ 0 w 2696920"/>
                <a:gd name="connsiteY3" fmla="*/ 0 h 257442"/>
                <a:gd name="connsiteX0" fmla="*/ 986067 w 2642199"/>
                <a:gd name="connsiteY0" fmla="*/ 0 h 257442"/>
                <a:gd name="connsiteX1" fmla="*/ 2642199 w 2642199"/>
                <a:gd name="connsiteY1" fmla="*/ 257442 h 257442"/>
                <a:gd name="connsiteX2" fmla="*/ 0 w 2642199"/>
                <a:gd name="connsiteY2" fmla="*/ 257442 h 257442"/>
                <a:gd name="connsiteX3" fmla="*/ 0 w 2642199"/>
                <a:gd name="connsiteY3" fmla="*/ 0 h 257442"/>
                <a:gd name="connsiteX0" fmla="*/ 986067 w 986067"/>
                <a:gd name="connsiteY0" fmla="*/ 0 h 257442"/>
                <a:gd name="connsiteX1" fmla="*/ 931347 w 986067"/>
                <a:gd name="connsiteY1" fmla="*/ 257442 h 257442"/>
                <a:gd name="connsiteX2" fmla="*/ 0 w 986067"/>
                <a:gd name="connsiteY2" fmla="*/ 257442 h 257442"/>
                <a:gd name="connsiteX3" fmla="*/ 0 w 986067"/>
                <a:gd name="connsiteY3" fmla="*/ 0 h 257442"/>
                <a:gd name="connsiteX0" fmla="*/ 986067 w 986067"/>
                <a:gd name="connsiteY0" fmla="*/ 0 h 257442"/>
                <a:gd name="connsiteX1" fmla="*/ 931347 w 986067"/>
                <a:gd name="connsiteY1" fmla="*/ 257442 h 257442"/>
                <a:gd name="connsiteX2" fmla="*/ 1 w 986067"/>
                <a:gd name="connsiteY2" fmla="*/ 257442 h 257442"/>
                <a:gd name="connsiteX3" fmla="*/ 0 w 986067"/>
                <a:gd name="connsiteY3" fmla="*/ 0 h 257442"/>
                <a:gd name="connsiteX0" fmla="*/ 986066 w 986066"/>
                <a:gd name="connsiteY0" fmla="*/ 0 h 257442"/>
                <a:gd name="connsiteX1" fmla="*/ 931346 w 986066"/>
                <a:gd name="connsiteY1" fmla="*/ 257442 h 257442"/>
                <a:gd name="connsiteX2" fmla="*/ 0 w 986066"/>
                <a:gd name="connsiteY2" fmla="*/ 257442 h 257442"/>
                <a:gd name="connsiteX3" fmla="*/ 0 w 986066"/>
                <a:gd name="connsiteY3" fmla="*/ 0 h 257442"/>
                <a:gd name="connsiteX0" fmla="*/ 1163999 w 1163999"/>
                <a:gd name="connsiteY0" fmla="*/ 0 h 257442"/>
                <a:gd name="connsiteX1" fmla="*/ 931346 w 1163999"/>
                <a:gd name="connsiteY1" fmla="*/ 257442 h 257442"/>
                <a:gd name="connsiteX2" fmla="*/ 0 w 1163999"/>
                <a:gd name="connsiteY2" fmla="*/ 257442 h 257442"/>
                <a:gd name="connsiteX3" fmla="*/ 0 w 1163999"/>
                <a:gd name="connsiteY3" fmla="*/ 0 h 257442"/>
                <a:gd name="connsiteX0" fmla="*/ 1163999 w 1163999"/>
                <a:gd name="connsiteY0" fmla="*/ 0 h 257442"/>
                <a:gd name="connsiteX1" fmla="*/ 1109278 w 1163999"/>
                <a:gd name="connsiteY1" fmla="*/ 257442 h 257442"/>
                <a:gd name="connsiteX2" fmla="*/ 0 w 1163999"/>
                <a:gd name="connsiteY2" fmla="*/ 257442 h 257442"/>
                <a:gd name="connsiteX3" fmla="*/ 0 w 1163999"/>
                <a:gd name="connsiteY3" fmla="*/ 0 h 257442"/>
                <a:gd name="connsiteX0" fmla="*/ 1164000 w 1164000"/>
                <a:gd name="connsiteY0" fmla="*/ 0 h 257442"/>
                <a:gd name="connsiteX1" fmla="*/ 1109279 w 1164000"/>
                <a:gd name="connsiteY1" fmla="*/ 257442 h 257442"/>
                <a:gd name="connsiteX2" fmla="*/ 0 w 1164000"/>
                <a:gd name="connsiteY2" fmla="*/ 257442 h 257442"/>
                <a:gd name="connsiteX3" fmla="*/ 1 w 1164000"/>
                <a:gd name="connsiteY3" fmla="*/ 0 h 257442"/>
                <a:gd name="connsiteX0" fmla="*/ 1164000 w 1164000"/>
                <a:gd name="connsiteY0" fmla="*/ 0 h 257442"/>
                <a:gd name="connsiteX1" fmla="*/ 1109279 w 1164000"/>
                <a:gd name="connsiteY1" fmla="*/ 257442 h 257442"/>
                <a:gd name="connsiteX2" fmla="*/ 0 w 1164000"/>
                <a:gd name="connsiteY2" fmla="*/ 257442 h 257442"/>
                <a:gd name="connsiteX3" fmla="*/ 0 w 1164000"/>
                <a:gd name="connsiteY3" fmla="*/ 0 h 257442"/>
                <a:gd name="connsiteX0" fmla="*/ 1332316 w 1332316"/>
                <a:gd name="connsiteY0" fmla="*/ 0 h 257442"/>
                <a:gd name="connsiteX1" fmla="*/ 1109279 w 1332316"/>
                <a:gd name="connsiteY1" fmla="*/ 257442 h 257442"/>
                <a:gd name="connsiteX2" fmla="*/ 0 w 1332316"/>
                <a:gd name="connsiteY2" fmla="*/ 257442 h 257442"/>
                <a:gd name="connsiteX3" fmla="*/ 0 w 1332316"/>
                <a:gd name="connsiteY3" fmla="*/ 0 h 257442"/>
                <a:gd name="connsiteX0" fmla="*/ 1332316 w 1332316"/>
                <a:gd name="connsiteY0" fmla="*/ 0 h 257442"/>
                <a:gd name="connsiteX1" fmla="*/ 1277595 w 1332316"/>
                <a:gd name="connsiteY1" fmla="*/ 257442 h 257442"/>
                <a:gd name="connsiteX2" fmla="*/ 0 w 1332316"/>
                <a:gd name="connsiteY2" fmla="*/ 257442 h 257442"/>
                <a:gd name="connsiteX3" fmla="*/ 0 w 1332316"/>
                <a:gd name="connsiteY3" fmla="*/ 0 h 257442"/>
                <a:gd name="connsiteX0" fmla="*/ 1332316 w 1332316"/>
                <a:gd name="connsiteY0" fmla="*/ 0 h 257442"/>
                <a:gd name="connsiteX1" fmla="*/ 1277595 w 1332316"/>
                <a:gd name="connsiteY1" fmla="*/ 257442 h 257442"/>
                <a:gd name="connsiteX2" fmla="*/ 0 w 1332316"/>
                <a:gd name="connsiteY2" fmla="*/ 257442 h 257442"/>
                <a:gd name="connsiteX3" fmla="*/ 0 w 1332316"/>
                <a:gd name="connsiteY3" fmla="*/ 0 h 257442"/>
                <a:gd name="connsiteX0" fmla="*/ 1332316 w 1332316"/>
                <a:gd name="connsiteY0" fmla="*/ 0 h 257442"/>
                <a:gd name="connsiteX1" fmla="*/ 1277595 w 1332316"/>
                <a:gd name="connsiteY1" fmla="*/ 257442 h 257442"/>
                <a:gd name="connsiteX2" fmla="*/ 0 w 1332316"/>
                <a:gd name="connsiteY2" fmla="*/ 257442 h 257442"/>
                <a:gd name="connsiteX3" fmla="*/ 0 w 1332316"/>
                <a:gd name="connsiteY3" fmla="*/ 0 h 257442"/>
                <a:gd name="connsiteX0" fmla="*/ 1500631 w 1500631"/>
                <a:gd name="connsiteY0" fmla="*/ 0 h 257442"/>
                <a:gd name="connsiteX1" fmla="*/ 1277595 w 1500631"/>
                <a:gd name="connsiteY1" fmla="*/ 257442 h 257442"/>
                <a:gd name="connsiteX2" fmla="*/ 0 w 1500631"/>
                <a:gd name="connsiteY2" fmla="*/ 257442 h 257442"/>
                <a:gd name="connsiteX3" fmla="*/ 0 w 1500631"/>
                <a:gd name="connsiteY3" fmla="*/ 0 h 257442"/>
                <a:gd name="connsiteX0" fmla="*/ 1500631 w 1500631"/>
                <a:gd name="connsiteY0" fmla="*/ 0 h 257442"/>
                <a:gd name="connsiteX1" fmla="*/ 1445910 w 1500631"/>
                <a:gd name="connsiteY1" fmla="*/ 257442 h 257442"/>
                <a:gd name="connsiteX2" fmla="*/ 0 w 1500631"/>
                <a:gd name="connsiteY2" fmla="*/ 257442 h 257442"/>
                <a:gd name="connsiteX3" fmla="*/ 0 w 1500631"/>
                <a:gd name="connsiteY3" fmla="*/ 0 h 257442"/>
                <a:gd name="connsiteX0" fmla="*/ 1500631 w 1500631"/>
                <a:gd name="connsiteY0" fmla="*/ 0 h 257442"/>
                <a:gd name="connsiteX1" fmla="*/ 1445910 w 1500631"/>
                <a:gd name="connsiteY1" fmla="*/ 257442 h 257442"/>
                <a:gd name="connsiteX2" fmla="*/ 0 w 1500631"/>
                <a:gd name="connsiteY2" fmla="*/ 257442 h 257442"/>
                <a:gd name="connsiteX3" fmla="*/ 0 w 1500631"/>
                <a:gd name="connsiteY3" fmla="*/ 0 h 257442"/>
                <a:gd name="connsiteX0" fmla="*/ 1500631 w 1500631"/>
                <a:gd name="connsiteY0" fmla="*/ 0 h 257442"/>
                <a:gd name="connsiteX1" fmla="*/ 1445910 w 1500631"/>
                <a:gd name="connsiteY1" fmla="*/ 257442 h 257442"/>
                <a:gd name="connsiteX2" fmla="*/ 0 w 1500631"/>
                <a:gd name="connsiteY2" fmla="*/ 257442 h 257442"/>
                <a:gd name="connsiteX3" fmla="*/ 0 w 1500631"/>
                <a:gd name="connsiteY3" fmla="*/ 0 h 257442"/>
                <a:gd name="connsiteX0" fmla="*/ 1652916 w 1652916"/>
                <a:gd name="connsiteY0" fmla="*/ 0 h 257442"/>
                <a:gd name="connsiteX1" fmla="*/ 1445910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652916 w 1652916"/>
                <a:gd name="connsiteY0" fmla="*/ 0 h 257442"/>
                <a:gd name="connsiteX1" fmla="*/ 1598194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652917 w 1652917"/>
                <a:gd name="connsiteY0" fmla="*/ 0 h 257442"/>
                <a:gd name="connsiteX1" fmla="*/ 1598195 w 1652917"/>
                <a:gd name="connsiteY1" fmla="*/ 257442 h 257442"/>
                <a:gd name="connsiteX2" fmla="*/ 0 w 1652917"/>
                <a:gd name="connsiteY2" fmla="*/ 257442 h 257442"/>
                <a:gd name="connsiteX3" fmla="*/ 1 w 1652917"/>
                <a:gd name="connsiteY3" fmla="*/ 0 h 257442"/>
                <a:gd name="connsiteX0" fmla="*/ 1652917 w 1652917"/>
                <a:gd name="connsiteY0" fmla="*/ 0 h 257442"/>
                <a:gd name="connsiteX1" fmla="*/ 1598195 w 1652917"/>
                <a:gd name="connsiteY1" fmla="*/ 257442 h 257442"/>
                <a:gd name="connsiteX2" fmla="*/ 0 w 1652917"/>
                <a:gd name="connsiteY2" fmla="*/ 257442 h 257442"/>
                <a:gd name="connsiteX3" fmla="*/ 1 w 1652917"/>
                <a:gd name="connsiteY3" fmla="*/ 0 h 257442"/>
                <a:gd name="connsiteX0" fmla="*/ 1830850 w 1830850"/>
                <a:gd name="connsiteY0" fmla="*/ 0 h 257442"/>
                <a:gd name="connsiteX1" fmla="*/ 1598195 w 1830850"/>
                <a:gd name="connsiteY1" fmla="*/ 257442 h 257442"/>
                <a:gd name="connsiteX2" fmla="*/ 0 w 1830850"/>
                <a:gd name="connsiteY2" fmla="*/ 257442 h 257442"/>
                <a:gd name="connsiteX3" fmla="*/ 1 w 1830850"/>
                <a:gd name="connsiteY3" fmla="*/ 0 h 257442"/>
                <a:gd name="connsiteX0" fmla="*/ 1830850 w 1830850"/>
                <a:gd name="connsiteY0" fmla="*/ 0 h 257442"/>
                <a:gd name="connsiteX1" fmla="*/ 1776128 w 1830850"/>
                <a:gd name="connsiteY1" fmla="*/ 257442 h 257442"/>
                <a:gd name="connsiteX2" fmla="*/ 0 w 1830850"/>
                <a:gd name="connsiteY2" fmla="*/ 257442 h 257442"/>
                <a:gd name="connsiteX3" fmla="*/ 1 w 1830850"/>
                <a:gd name="connsiteY3" fmla="*/ 0 h 257442"/>
                <a:gd name="connsiteX0" fmla="*/ 1830850 w 1830850"/>
                <a:gd name="connsiteY0" fmla="*/ 0 h 257442"/>
                <a:gd name="connsiteX1" fmla="*/ 1776128 w 1830850"/>
                <a:gd name="connsiteY1" fmla="*/ 257442 h 257442"/>
                <a:gd name="connsiteX2" fmla="*/ 0 w 1830850"/>
                <a:gd name="connsiteY2" fmla="*/ 257442 h 257442"/>
                <a:gd name="connsiteX3" fmla="*/ 1 w 1830850"/>
                <a:gd name="connsiteY3" fmla="*/ 0 h 257442"/>
                <a:gd name="connsiteX0" fmla="*/ 1830850 w 1830850"/>
                <a:gd name="connsiteY0" fmla="*/ 0 h 257442"/>
                <a:gd name="connsiteX1" fmla="*/ 1776128 w 1830850"/>
                <a:gd name="connsiteY1" fmla="*/ 257442 h 257442"/>
                <a:gd name="connsiteX2" fmla="*/ 0 w 1830850"/>
                <a:gd name="connsiteY2" fmla="*/ 257442 h 257442"/>
                <a:gd name="connsiteX3" fmla="*/ 0 w 1830850"/>
                <a:gd name="connsiteY3" fmla="*/ 0 h 257442"/>
                <a:gd name="connsiteX0" fmla="*/ 1999165 w 1999165"/>
                <a:gd name="connsiteY0" fmla="*/ 0 h 257442"/>
                <a:gd name="connsiteX1" fmla="*/ 1776128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2167480 w 2167480"/>
                <a:gd name="connsiteY0" fmla="*/ 0 h 257442"/>
                <a:gd name="connsiteX1" fmla="*/ 1944444 w 2167480"/>
                <a:gd name="connsiteY1" fmla="*/ 257442 h 257442"/>
                <a:gd name="connsiteX2" fmla="*/ 0 w 2167480"/>
                <a:gd name="connsiteY2" fmla="*/ 257442 h 257442"/>
                <a:gd name="connsiteX3" fmla="*/ 0 w 2167480"/>
                <a:gd name="connsiteY3" fmla="*/ 0 h 257442"/>
                <a:gd name="connsiteX0" fmla="*/ 2167480 w 2167480"/>
                <a:gd name="connsiteY0" fmla="*/ 0 h 257442"/>
                <a:gd name="connsiteX1" fmla="*/ 2112758 w 2167480"/>
                <a:gd name="connsiteY1" fmla="*/ 257442 h 257442"/>
                <a:gd name="connsiteX2" fmla="*/ 0 w 2167480"/>
                <a:gd name="connsiteY2" fmla="*/ 257442 h 257442"/>
                <a:gd name="connsiteX3" fmla="*/ 0 w 2167480"/>
                <a:gd name="connsiteY3" fmla="*/ 0 h 257442"/>
                <a:gd name="connsiteX0" fmla="*/ 2167481 w 2167481"/>
                <a:gd name="connsiteY0" fmla="*/ 0 h 257442"/>
                <a:gd name="connsiteX1" fmla="*/ 2112759 w 2167481"/>
                <a:gd name="connsiteY1" fmla="*/ 257442 h 257442"/>
                <a:gd name="connsiteX2" fmla="*/ 0 w 2167481"/>
                <a:gd name="connsiteY2" fmla="*/ 257442 h 257442"/>
                <a:gd name="connsiteX3" fmla="*/ 1 w 2167481"/>
                <a:gd name="connsiteY3" fmla="*/ 0 h 257442"/>
                <a:gd name="connsiteX0" fmla="*/ 2167481 w 2167481"/>
                <a:gd name="connsiteY0" fmla="*/ 0 h 257442"/>
                <a:gd name="connsiteX1" fmla="*/ 2112759 w 2167481"/>
                <a:gd name="connsiteY1" fmla="*/ 257442 h 257442"/>
                <a:gd name="connsiteX2" fmla="*/ 0 w 2167481"/>
                <a:gd name="connsiteY2" fmla="*/ 257442 h 257442"/>
                <a:gd name="connsiteX3" fmla="*/ 1 w 2167481"/>
                <a:gd name="connsiteY3" fmla="*/ 0 h 257442"/>
                <a:gd name="connsiteX0" fmla="*/ 2327781 w 2327781"/>
                <a:gd name="connsiteY0" fmla="*/ 0 h 257442"/>
                <a:gd name="connsiteX1" fmla="*/ 2112759 w 2327781"/>
                <a:gd name="connsiteY1" fmla="*/ 257442 h 257442"/>
                <a:gd name="connsiteX2" fmla="*/ 0 w 2327781"/>
                <a:gd name="connsiteY2" fmla="*/ 257442 h 257442"/>
                <a:gd name="connsiteX3" fmla="*/ 1 w 2327781"/>
                <a:gd name="connsiteY3" fmla="*/ 0 h 257442"/>
                <a:gd name="connsiteX0" fmla="*/ 2327781 w 2327781"/>
                <a:gd name="connsiteY0" fmla="*/ 0 h 257442"/>
                <a:gd name="connsiteX1" fmla="*/ 2273060 w 2327781"/>
                <a:gd name="connsiteY1" fmla="*/ 257442 h 257442"/>
                <a:gd name="connsiteX2" fmla="*/ 0 w 2327781"/>
                <a:gd name="connsiteY2" fmla="*/ 257442 h 257442"/>
                <a:gd name="connsiteX3" fmla="*/ 1 w 2327781"/>
                <a:gd name="connsiteY3" fmla="*/ 0 h 257442"/>
                <a:gd name="connsiteX0" fmla="*/ 2327780 w 2327780"/>
                <a:gd name="connsiteY0" fmla="*/ 0 h 257442"/>
                <a:gd name="connsiteX1" fmla="*/ 2273059 w 2327780"/>
                <a:gd name="connsiteY1" fmla="*/ 257442 h 257442"/>
                <a:gd name="connsiteX2" fmla="*/ 0 w 2327780"/>
                <a:gd name="connsiteY2" fmla="*/ 257442 h 257442"/>
                <a:gd name="connsiteX3" fmla="*/ 0 w 2327780"/>
                <a:gd name="connsiteY3" fmla="*/ 0 h 257442"/>
                <a:gd name="connsiteX0" fmla="*/ 2327781 w 2327781"/>
                <a:gd name="connsiteY0" fmla="*/ 0 h 257442"/>
                <a:gd name="connsiteX1" fmla="*/ 2273060 w 2327781"/>
                <a:gd name="connsiteY1" fmla="*/ 257442 h 257442"/>
                <a:gd name="connsiteX2" fmla="*/ 1 w 2327781"/>
                <a:gd name="connsiteY2" fmla="*/ 257442 h 257442"/>
                <a:gd name="connsiteX3" fmla="*/ 0 w 2327781"/>
                <a:gd name="connsiteY3" fmla="*/ 0 h 257442"/>
                <a:gd name="connsiteX0" fmla="*/ 950802 w 2273060"/>
                <a:gd name="connsiteY0" fmla="*/ 0 h 257442"/>
                <a:gd name="connsiteX1" fmla="*/ 2273060 w 2273060"/>
                <a:gd name="connsiteY1" fmla="*/ 257442 h 257442"/>
                <a:gd name="connsiteX2" fmla="*/ 1 w 2273060"/>
                <a:gd name="connsiteY2" fmla="*/ 257442 h 257442"/>
                <a:gd name="connsiteX3" fmla="*/ 0 w 2273060"/>
                <a:gd name="connsiteY3" fmla="*/ 0 h 257442"/>
                <a:gd name="connsiteX0" fmla="*/ 950802 w 950802"/>
                <a:gd name="connsiteY0" fmla="*/ 0 h 257442"/>
                <a:gd name="connsiteX1" fmla="*/ 896081 w 950802"/>
                <a:gd name="connsiteY1" fmla="*/ 257442 h 257442"/>
                <a:gd name="connsiteX2" fmla="*/ 1 w 950802"/>
                <a:gd name="connsiteY2" fmla="*/ 257442 h 257442"/>
                <a:gd name="connsiteX3" fmla="*/ 0 w 950802"/>
                <a:gd name="connsiteY3" fmla="*/ 0 h 257442"/>
                <a:gd name="connsiteX0" fmla="*/ 950802 w 950802"/>
                <a:gd name="connsiteY0" fmla="*/ 0 h 257442"/>
                <a:gd name="connsiteX1" fmla="*/ 896081 w 950802"/>
                <a:gd name="connsiteY1" fmla="*/ 257442 h 257442"/>
                <a:gd name="connsiteX2" fmla="*/ 1 w 950802"/>
                <a:gd name="connsiteY2" fmla="*/ 257442 h 257442"/>
                <a:gd name="connsiteX3" fmla="*/ 0 w 950802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1128734 w 1128734"/>
                <a:gd name="connsiteY0" fmla="*/ 0 h 257442"/>
                <a:gd name="connsiteX1" fmla="*/ 896080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128734 w 1128734"/>
                <a:gd name="connsiteY0" fmla="*/ 0 h 257442"/>
                <a:gd name="connsiteX1" fmla="*/ 1074012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128735 w 1128735"/>
                <a:gd name="connsiteY0" fmla="*/ 0 h 257442"/>
                <a:gd name="connsiteX1" fmla="*/ 1074013 w 1128735"/>
                <a:gd name="connsiteY1" fmla="*/ 257442 h 257442"/>
                <a:gd name="connsiteX2" fmla="*/ 0 w 1128735"/>
                <a:gd name="connsiteY2" fmla="*/ 257442 h 257442"/>
                <a:gd name="connsiteX3" fmla="*/ 1 w 1128735"/>
                <a:gd name="connsiteY3" fmla="*/ 0 h 257442"/>
                <a:gd name="connsiteX0" fmla="*/ 1128735 w 1128735"/>
                <a:gd name="connsiteY0" fmla="*/ 0 h 257442"/>
                <a:gd name="connsiteX1" fmla="*/ 1074013 w 1128735"/>
                <a:gd name="connsiteY1" fmla="*/ 257442 h 257442"/>
                <a:gd name="connsiteX2" fmla="*/ 0 w 1128735"/>
                <a:gd name="connsiteY2" fmla="*/ 257442 h 257442"/>
                <a:gd name="connsiteX3" fmla="*/ 1 w 1128735"/>
                <a:gd name="connsiteY3" fmla="*/ 0 h 257442"/>
                <a:gd name="connsiteX0" fmla="*/ 1314683 w 1314683"/>
                <a:gd name="connsiteY0" fmla="*/ 0 h 257442"/>
                <a:gd name="connsiteX1" fmla="*/ 1074013 w 1314683"/>
                <a:gd name="connsiteY1" fmla="*/ 257442 h 257442"/>
                <a:gd name="connsiteX2" fmla="*/ 0 w 1314683"/>
                <a:gd name="connsiteY2" fmla="*/ 257442 h 257442"/>
                <a:gd name="connsiteX3" fmla="*/ 1 w 1314683"/>
                <a:gd name="connsiteY3" fmla="*/ 0 h 257442"/>
                <a:gd name="connsiteX0" fmla="*/ 1314683 w 1314683"/>
                <a:gd name="connsiteY0" fmla="*/ 0 h 257442"/>
                <a:gd name="connsiteX1" fmla="*/ 1259962 w 1314683"/>
                <a:gd name="connsiteY1" fmla="*/ 257442 h 257442"/>
                <a:gd name="connsiteX2" fmla="*/ 0 w 1314683"/>
                <a:gd name="connsiteY2" fmla="*/ 257442 h 257442"/>
                <a:gd name="connsiteX3" fmla="*/ 1 w 1314683"/>
                <a:gd name="connsiteY3" fmla="*/ 0 h 257442"/>
                <a:gd name="connsiteX0" fmla="*/ 1314682 w 1314682"/>
                <a:gd name="connsiteY0" fmla="*/ 0 h 257442"/>
                <a:gd name="connsiteX1" fmla="*/ 1259961 w 1314682"/>
                <a:gd name="connsiteY1" fmla="*/ 257442 h 257442"/>
                <a:gd name="connsiteX2" fmla="*/ 0 w 1314682"/>
                <a:gd name="connsiteY2" fmla="*/ 257442 h 257442"/>
                <a:gd name="connsiteX3" fmla="*/ 0 w 1314682"/>
                <a:gd name="connsiteY3" fmla="*/ 0 h 257442"/>
                <a:gd name="connsiteX0" fmla="*/ 1314683 w 1314683"/>
                <a:gd name="connsiteY0" fmla="*/ 0 h 257442"/>
                <a:gd name="connsiteX1" fmla="*/ 1259962 w 1314683"/>
                <a:gd name="connsiteY1" fmla="*/ 257442 h 257442"/>
                <a:gd name="connsiteX2" fmla="*/ 1 w 1314683"/>
                <a:gd name="connsiteY2" fmla="*/ 257442 h 257442"/>
                <a:gd name="connsiteX3" fmla="*/ 0 w 1314683"/>
                <a:gd name="connsiteY3" fmla="*/ 0 h 257442"/>
                <a:gd name="connsiteX0" fmla="*/ 1474984 w 1474984"/>
                <a:gd name="connsiteY0" fmla="*/ 0 h 257442"/>
                <a:gd name="connsiteX1" fmla="*/ 1259962 w 1474984"/>
                <a:gd name="connsiteY1" fmla="*/ 257442 h 257442"/>
                <a:gd name="connsiteX2" fmla="*/ 1 w 1474984"/>
                <a:gd name="connsiteY2" fmla="*/ 257442 h 257442"/>
                <a:gd name="connsiteX3" fmla="*/ 0 w 1474984"/>
                <a:gd name="connsiteY3" fmla="*/ 0 h 257442"/>
                <a:gd name="connsiteX0" fmla="*/ 1474984 w 1474984"/>
                <a:gd name="connsiteY0" fmla="*/ 0 h 257442"/>
                <a:gd name="connsiteX1" fmla="*/ 1420262 w 1474984"/>
                <a:gd name="connsiteY1" fmla="*/ 257442 h 257442"/>
                <a:gd name="connsiteX2" fmla="*/ 1 w 1474984"/>
                <a:gd name="connsiteY2" fmla="*/ 257442 h 257442"/>
                <a:gd name="connsiteX3" fmla="*/ 0 w 1474984"/>
                <a:gd name="connsiteY3" fmla="*/ 0 h 257442"/>
                <a:gd name="connsiteX0" fmla="*/ 1474984 w 1474984"/>
                <a:gd name="connsiteY0" fmla="*/ 0 h 257442"/>
                <a:gd name="connsiteX1" fmla="*/ 1420262 w 1474984"/>
                <a:gd name="connsiteY1" fmla="*/ 257442 h 257442"/>
                <a:gd name="connsiteX2" fmla="*/ 0 w 1474984"/>
                <a:gd name="connsiteY2" fmla="*/ 257442 h 257442"/>
                <a:gd name="connsiteX3" fmla="*/ 0 w 1474984"/>
                <a:gd name="connsiteY3" fmla="*/ 0 h 257442"/>
                <a:gd name="connsiteX0" fmla="*/ 1474984 w 1474984"/>
                <a:gd name="connsiteY0" fmla="*/ 0 h 257442"/>
                <a:gd name="connsiteX1" fmla="*/ 1420262 w 1474984"/>
                <a:gd name="connsiteY1" fmla="*/ 257442 h 257442"/>
                <a:gd name="connsiteX2" fmla="*/ 0 w 1474984"/>
                <a:gd name="connsiteY2" fmla="*/ 257442 h 257442"/>
                <a:gd name="connsiteX3" fmla="*/ 0 w 1474984"/>
                <a:gd name="connsiteY3" fmla="*/ 0 h 257442"/>
                <a:gd name="connsiteX0" fmla="*/ 1635283 w 1635283"/>
                <a:gd name="connsiteY0" fmla="*/ 0 h 257442"/>
                <a:gd name="connsiteX1" fmla="*/ 1420262 w 1635283"/>
                <a:gd name="connsiteY1" fmla="*/ 257442 h 257442"/>
                <a:gd name="connsiteX2" fmla="*/ 0 w 1635283"/>
                <a:gd name="connsiteY2" fmla="*/ 257442 h 257442"/>
                <a:gd name="connsiteX3" fmla="*/ 0 w 1635283"/>
                <a:gd name="connsiteY3" fmla="*/ 0 h 257442"/>
                <a:gd name="connsiteX0" fmla="*/ 1635283 w 1635283"/>
                <a:gd name="connsiteY0" fmla="*/ 0 h 257442"/>
                <a:gd name="connsiteX1" fmla="*/ 1580562 w 1635283"/>
                <a:gd name="connsiteY1" fmla="*/ 257442 h 257442"/>
                <a:gd name="connsiteX2" fmla="*/ 0 w 1635283"/>
                <a:gd name="connsiteY2" fmla="*/ 257442 h 257442"/>
                <a:gd name="connsiteX3" fmla="*/ 0 w 1635283"/>
                <a:gd name="connsiteY3" fmla="*/ 0 h 257442"/>
                <a:gd name="connsiteX0" fmla="*/ 1635283 w 1635283"/>
                <a:gd name="connsiteY0" fmla="*/ 0 h 257442"/>
                <a:gd name="connsiteX1" fmla="*/ 1580562 w 1635283"/>
                <a:gd name="connsiteY1" fmla="*/ 257442 h 257442"/>
                <a:gd name="connsiteX2" fmla="*/ 0 w 1635283"/>
                <a:gd name="connsiteY2" fmla="*/ 257442 h 257442"/>
                <a:gd name="connsiteX3" fmla="*/ 0 w 1635283"/>
                <a:gd name="connsiteY3" fmla="*/ 0 h 257442"/>
                <a:gd name="connsiteX0" fmla="*/ 1635283 w 1635283"/>
                <a:gd name="connsiteY0" fmla="*/ 0 h 257442"/>
                <a:gd name="connsiteX1" fmla="*/ 1580562 w 1635283"/>
                <a:gd name="connsiteY1" fmla="*/ 257442 h 257442"/>
                <a:gd name="connsiteX2" fmla="*/ 0 w 1635283"/>
                <a:gd name="connsiteY2" fmla="*/ 257442 h 257442"/>
                <a:gd name="connsiteX3" fmla="*/ 0 w 1635283"/>
                <a:gd name="connsiteY3" fmla="*/ 0 h 257442"/>
                <a:gd name="connsiteX0" fmla="*/ 1787569 w 1787569"/>
                <a:gd name="connsiteY0" fmla="*/ 0 h 257442"/>
                <a:gd name="connsiteX1" fmla="*/ 1580562 w 1787569"/>
                <a:gd name="connsiteY1" fmla="*/ 257442 h 257442"/>
                <a:gd name="connsiteX2" fmla="*/ 0 w 1787569"/>
                <a:gd name="connsiteY2" fmla="*/ 257442 h 257442"/>
                <a:gd name="connsiteX3" fmla="*/ 0 w 1787569"/>
                <a:gd name="connsiteY3" fmla="*/ 0 h 257442"/>
                <a:gd name="connsiteX0" fmla="*/ 1787569 w 1787569"/>
                <a:gd name="connsiteY0" fmla="*/ 0 h 257442"/>
                <a:gd name="connsiteX1" fmla="*/ 1732848 w 1787569"/>
                <a:gd name="connsiteY1" fmla="*/ 257442 h 257442"/>
                <a:gd name="connsiteX2" fmla="*/ 0 w 1787569"/>
                <a:gd name="connsiteY2" fmla="*/ 257442 h 257442"/>
                <a:gd name="connsiteX3" fmla="*/ 0 w 1787569"/>
                <a:gd name="connsiteY3" fmla="*/ 0 h 257442"/>
                <a:gd name="connsiteX0" fmla="*/ 1787569 w 1787569"/>
                <a:gd name="connsiteY0" fmla="*/ 0 h 257442"/>
                <a:gd name="connsiteX1" fmla="*/ 1732848 w 1787569"/>
                <a:gd name="connsiteY1" fmla="*/ 257442 h 257442"/>
                <a:gd name="connsiteX2" fmla="*/ 0 w 1787569"/>
                <a:gd name="connsiteY2" fmla="*/ 257442 h 257442"/>
                <a:gd name="connsiteX3" fmla="*/ 0 w 1787569"/>
                <a:gd name="connsiteY3" fmla="*/ 0 h 257442"/>
                <a:gd name="connsiteX0" fmla="*/ 1787569 w 1787569"/>
                <a:gd name="connsiteY0" fmla="*/ 0 h 257442"/>
                <a:gd name="connsiteX1" fmla="*/ 1732848 w 1787569"/>
                <a:gd name="connsiteY1" fmla="*/ 257442 h 257442"/>
                <a:gd name="connsiteX2" fmla="*/ 0 w 1787569"/>
                <a:gd name="connsiteY2" fmla="*/ 257442 h 257442"/>
                <a:gd name="connsiteX3" fmla="*/ 0 w 1787569"/>
                <a:gd name="connsiteY3" fmla="*/ 0 h 257442"/>
                <a:gd name="connsiteX0" fmla="*/ 1888557 w 1888557"/>
                <a:gd name="connsiteY0" fmla="*/ 0 h 257442"/>
                <a:gd name="connsiteX1" fmla="*/ 1732848 w 1888557"/>
                <a:gd name="connsiteY1" fmla="*/ 257442 h 257442"/>
                <a:gd name="connsiteX2" fmla="*/ 0 w 1888557"/>
                <a:gd name="connsiteY2" fmla="*/ 257442 h 257442"/>
                <a:gd name="connsiteX3" fmla="*/ 0 w 1888557"/>
                <a:gd name="connsiteY3" fmla="*/ 0 h 257442"/>
                <a:gd name="connsiteX0" fmla="*/ 1888557 w 1888557"/>
                <a:gd name="connsiteY0" fmla="*/ 0 h 257442"/>
                <a:gd name="connsiteX1" fmla="*/ 1833836 w 1888557"/>
                <a:gd name="connsiteY1" fmla="*/ 257442 h 257442"/>
                <a:gd name="connsiteX2" fmla="*/ 0 w 1888557"/>
                <a:gd name="connsiteY2" fmla="*/ 257442 h 257442"/>
                <a:gd name="connsiteX3" fmla="*/ 0 w 1888557"/>
                <a:gd name="connsiteY3" fmla="*/ 0 h 257442"/>
                <a:gd name="connsiteX0" fmla="*/ 1888557 w 1888557"/>
                <a:gd name="connsiteY0" fmla="*/ 0 h 257442"/>
                <a:gd name="connsiteX1" fmla="*/ 1833836 w 1888557"/>
                <a:gd name="connsiteY1" fmla="*/ 257442 h 257442"/>
                <a:gd name="connsiteX2" fmla="*/ 0 w 1888557"/>
                <a:gd name="connsiteY2" fmla="*/ 257442 h 257442"/>
                <a:gd name="connsiteX3" fmla="*/ 0 w 1888557"/>
                <a:gd name="connsiteY3" fmla="*/ 0 h 257442"/>
                <a:gd name="connsiteX0" fmla="*/ 1888557 w 1888557"/>
                <a:gd name="connsiteY0" fmla="*/ 0 h 257442"/>
                <a:gd name="connsiteX1" fmla="*/ 1833836 w 1888557"/>
                <a:gd name="connsiteY1" fmla="*/ 257442 h 257442"/>
                <a:gd name="connsiteX2" fmla="*/ 0 w 1888557"/>
                <a:gd name="connsiteY2" fmla="*/ 257442 h 257442"/>
                <a:gd name="connsiteX3" fmla="*/ 0 w 1888557"/>
                <a:gd name="connsiteY3" fmla="*/ 0 h 257442"/>
                <a:gd name="connsiteX0" fmla="*/ 2040843 w 2040843"/>
                <a:gd name="connsiteY0" fmla="*/ 0 h 257442"/>
                <a:gd name="connsiteX1" fmla="*/ 1833836 w 2040843"/>
                <a:gd name="connsiteY1" fmla="*/ 257442 h 257442"/>
                <a:gd name="connsiteX2" fmla="*/ 0 w 2040843"/>
                <a:gd name="connsiteY2" fmla="*/ 257442 h 257442"/>
                <a:gd name="connsiteX3" fmla="*/ 0 w 2040843"/>
                <a:gd name="connsiteY3" fmla="*/ 0 h 257442"/>
                <a:gd name="connsiteX0" fmla="*/ 2040843 w 2040843"/>
                <a:gd name="connsiteY0" fmla="*/ 0 h 257442"/>
                <a:gd name="connsiteX1" fmla="*/ 1986122 w 2040843"/>
                <a:gd name="connsiteY1" fmla="*/ 257442 h 257442"/>
                <a:gd name="connsiteX2" fmla="*/ 0 w 2040843"/>
                <a:gd name="connsiteY2" fmla="*/ 257442 h 257442"/>
                <a:gd name="connsiteX3" fmla="*/ 0 w 2040843"/>
                <a:gd name="connsiteY3" fmla="*/ 0 h 257442"/>
                <a:gd name="connsiteX0" fmla="*/ 2040843 w 2040843"/>
                <a:gd name="connsiteY0" fmla="*/ 0 h 257442"/>
                <a:gd name="connsiteX1" fmla="*/ 1986122 w 2040843"/>
                <a:gd name="connsiteY1" fmla="*/ 257442 h 257442"/>
                <a:gd name="connsiteX2" fmla="*/ 0 w 2040843"/>
                <a:gd name="connsiteY2" fmla="*/ 257442 h 257442"/>
                <a:gd name="connsiteX3" fmla="*/ 0 w 2040843"/>
                <a:gd name="connsiteY3" fmla="*/ 0 h 257442"/>
                <a:gd name="connsiteX0" fmla="*/ 2040843 w 2040843"/>
                <a:gd name="connsiteY0" fmla="*/ 0 h 257442"/>
                <a:gd name="connsiteX1" fmla="*/ 1986122 w 2040843"/>
                <a:gd name="connsiteY1" fmla="*/ 257442 h 257442"/>
                <a:gd name="connsiteX2" fmla="*/ 0 w 2040843"/>
                <a:gd name="connsiteY2" fmla="*/ 257442 h 257442"/>
                <a:gd name="connsiteX3" fmla="*/ 0 w 2040843"/>
                <a:gd name="connsiteY3" fmla="*/ 0 h 257442"/>
                <a:gd name="connsiteX0" fmla="*/ 2141832 w 2141832"/>
                <a:gd name="connsiteY0" fmla="*/ 0 h 257442"/>
                <a:gd name="connsiteX1" fmla="*/ 1986122 w 2141832"/>
                <a:gd name="connsiteY1" fmla="*/ 257442 h 257442"/>
                <a:gd name="connsiteX2" fmla="*/ 0 w 2141832"/>
                <a:gd name="connsiteY2" fmla="*/ 257442 h 257442"/>
                <a:gd name="connsiteX3" fmla="*/ 0 w 2141832"/>
                <a:gd name="connsiteY3" fmla="*/ 0 h 257442"/>
                <a:gd name="connsiteX0" fmla="*/ 2141832 w 2141832"/>
                <a:gd name="connsiteY0" fmla="*/ 0 h 257442"/>
                <a:gd name="connsiteX1" fmla="*/ 2087110 w 2141832"/>
                <a:gd name="connsiteY1" fmla="*/ 257442 h 257442"/>
                <a:gd name="connsiteX2" fmla="*/ 0 w 2141832"/>
                <a:gd name="connsiteY2" fmla="*/ 257442 h 257442"/>
                <a:gd name="connsiteX3" fmla="*/ 0 w 2141832"/>
                <a:gd name="connsiteY3" fmla="*/ 0 h 257442"/>
                <a:gd name="connsiteX0" fmla="*/ 2141833 w 2141833"/>
                <a:gd name="connsiteY0" fmla="*/ 0 h 257442"/>
                <a:gd name="connsiteX1" fmla="*/ 2087111 w 2141833"/>
                <a:gd name="connsiteY1" fmla="*/ 257442 h 257442"/>
                <a:gd name="connsiteX2" fmla="*/ 0 w 2141833"/>
                <a:gd name="connsiteY2" fmla="*/ 257442 h 257442"/>
                <a:gd name="connsiteX3" fmla="*/ 1 w 2141833"/>
                <a:gd name="connsiteY3" fmla="*/ 0 h 257442"/>
                <a:gd name="connsiteX0" fmla="*/ 2141833 w 2141833"/>
                <a:gd name="connsiteY0" fmla="*/ 0 h 257442"/>
                <a:gd name="connsiteX1" fmla="*/ 2087111 w 2141833"/>
                <a:gd name="connsiteY1" fmla="*/ 257442 h 257442"/>
                <a:gd name="connsiteX2" fmla="*/ 0 w 2141833"/>
                <a:gd name="connsiteY2" fmla="*/ 257442 h 257442"/>
                <a:gd name="connsiteX3" fmla="*/ 1 w 2141833"/>
                <a:gd name="connsiteY3" fmla="*/ 0 h 257442"/>
                <a:gd name="connsiteX0" fmla="*/ 2302133 w 2302133"/>
                <a:gd name="connsiteY0" fmla="*/ 0 h 257442"/>
                <a:gd name="connsiteX1" fmla="*/ 2087111 w 2302133"/>
                <a:gd name="connsiteY1" fmla="*/ 257442 h 257442"/>
                <a:gd name="connsiteX2" fmla="*/ 0 w 2302133"/>
                <a:gd name="connsiteY2" fmla="*/ 257442 h 257442"/>
                <a:gd name="connsiteX3" fmla="*/ 1 w 2302133"/>
                <a:gd name="connsiteY3" fmla="*/ 0 h 257442"/>
                <a:gd name="connsiteX0" fmla="*/ 2302133 w 2302133"/>
                <a:gd name="connsiteY0" fmla="*/ 0 h 257442"/>
                <a:gd name="connsiteX1" fmla="*/ 2247412 w 2302133"/>
                <a:gd name="connsiteY1" fmla="*/ 257442 h 257442"/>
                <a:gd name="connsiteX2" fmla="*/ 0 w 2302133"/>
                <a:gd name="connsiteY2" fmla="*/ 257442 h 257442"/>
                <a:gd name="connsiteX3" fmla="*/ 1 w 2302133"/>
                <a:gd name="connsiteY3" fmla="*/ 0 h 257442"/>
                <a:gd name="connsiteX0" fmla="*/ 2302132 w 2302132"/>
                <a:gd name="connsiteY0" fmla="*/ 0 h 257442"/>
                <a:gd name="connsiteX1" fmla="*/ 2247411 w 2302132"/>
                <a:gd name="connsiteY1" fmla="*/ 257442 h 257442"/>
                <a:gd name="connsiteX2" fmla="*/ 0 w 2302132"/>
                <a:gd name="connsiteY2" fmla="*/ 257442 h 257442"/>
                <a:gd name="connsiteX3" fmla="*/ 0 w 2302132"/>
                <a:gd name="connsiteY3" fmla="*/ 0 h 257442"/>
                <a:gd name="connsiteX0" fmla="*/ 2302133 w 2302133"/>
                <a:gd name="connsiteY0" fmla="*/ 0 h 257442"/>
                <a:gd name="connsiteX1" fmla="*/ 2247412 w 2302133"/>
                <a:gd name="connsiteY1" fmla="*/ 257442 h 257442"/>
                <a:gd name="connsiteX2" fmla="*/ 1 w 2302133"/>
                <a:gd name="connsiteY2" fmla="*/ 257442 h 257442"/>
                <a:gd name="connsiteX3" fmla="*/ 0 w 2302133"/>
                <a:gd name="connsiteY3" fmla="*/ 0 h 257442"/>
                <a:gd name="connsiteX0" fmla="*/ 2462433 w 2462433"/>
                <a:gd name="connsiteY0" fmla="*/ 0 h 257442"/>
                <a:gd name="connsiteX1" fmla="*/ 2247412 w 2462433"/>
                <a:gd name="connsiteY1" fmla="*/ 257442 h 257442"/>
                <a:gd name="connsiteX2" fmla="*/ 1 w 2462433"/>
                <a:gd name="connsiteY2" fmla="*/ 257442 h 257442"/>
                <a:gd name="connsiteX3" fmla="*/ 0 w 2462433"/>
                <a:gd name="connsiteY3" fmla="*/ 0 h 257442"/>
                <a:gd name="connsiteX0" fmla="*/ 2462433 w 2462433"/>
                <a:gd name="connsiteY0" fmla="*/ 0 h 257442"/>
                <a:gd name="connsiteX1" fmla="*/ 2407712 w 2462433"/>
                <a:gd name="connsiteY1" fmla="*/ 257442 h 257442"/>
                <a:gd name="connsiteX2" fmla="*/ 1 w 2462433"/>
                <a:gd name="connsiteY2" fmla="*/ 257442 h 257442"/>
                <a:gd name="connsiteX3" fmla="*/ 0 w 2462433"/>
                <a:gd name="connsiteY3" fmla="*/ 0 h 257442"/>
                <a:gd name="connsiteX0" fmla="*/ 2462433 w 2462433"/>
                <a:gd name="connsiteY0" fmla="*/ 0 h 257442"/>
                <a:gd name="connsiteX1" fmla="*/ 2407712 w 2462433"/>
                <a:gd name="connsiteY1" fmla="*/ 257442 h 257442"/>
                <a:gd name="connsiteX2" fmla="*/ 1 w 2462433"/>
                <a:gd name="connsiteY2" fmla="*/ 257442 h 257442"/>
                <a:gd name="connsiteX3" fmla="*/ 0 w 2462433"/>
                <a:gd name="connsiteY3" fmla="*/ 0 h 257442"/>
                <a:gd name="connsiteX0" fmla="*/ 2462432 w 2462432"/>
                <a:gd name="connsiteY0" fmla="*/ 0 h 257442"/>
                <a:gd name="connsiteX1" fmla="*/ 2407711 w 2462432"/>
                <a:gd name="connsiteY1" fmla="*/ 257442 h 257442"/>
                <a:gd name="connsiteX2" fmla="*/ 0 w 2462432"/>
                <a:gd name="connsiteY2" fmla="*/ 257442 h 257442"/>
                <a:gd name="connsiteX3" fmla="*/ 0 w 2462432"/>
                <a:gd name="connsiteY3" fmla="*/ 0 h 257442"/>
                <a:gd name="connsiteX0" fmla="*/ 2563421 w 2563421"/>
                <a:gd name="connsiteY0" fmla="*/ 0 h 257442"/>
                <a:gd name="connsiteX1" fmla="*/ 2407711 w 2563421"/>
                <a:gd name="connsiteY1" fmla="*/ 257442 h 257442"/>
                <a:gd name="connsiteX2" fmla="*/ 0 w 2563421"/>
                <a:gd name="connsiteY2" fmla="*/ 257442 h 257442"/>
                <a:gd name="connsiteX3" fmla="*/ 0 w 2563421"/>
                <a:gd name="connsiteY3" fmla="*/ 0 h 257442"/>
                <a:gd name="connsiteX0" fmla="*/ 2563421 w 2563421"/>
                <a:gd name="connsiteY0" fmla="*/ 0 h 257442"/>
                <a:gd name="connsiteX1" fmla="*/ 2508700 w 2563421"/>
                <a:gd name="connsiteY1" fmla="*/ 257442 h 257442"/>
                <a:gd name="connsiteX2" fmla="*/ 0 w 2563421"/>
                <a:gd name="connsiteY2" fmla="*/ 257442 h 257442"/>
                <a:gd name="connsiteX3" fmla="*/ 0 w 2563421"/>
                <a:gd name="connsiteY3" fmla="*/ 0 h 257442"/>
                <a:gd name="connsiteX0" fmla="*/ 2563422 w 2563422"/>
                <a:gd name="connsiteY0" fmla="*/ 0 h 257442"/>
                <a:gd name="connsiteX1" fmla="*/ 2508701 w 2563422"/>
                <a:gd name="connsiteY1" fmla="*/ 257442 h 257442"/>
                <a:gd name="connsiteX2" fmla="*/ 0 w 2563422"/>
                <a:gd name="connsiteY2" fmla="*/ 257442 h 257442"/>
                <a:gd name="connsiteX3" fmla="*/ 1 w 2563422"/>
                <a:gd name="connsiteY3" fmla="*/ 0 h 257442"/>
                <a:gd name="connsiteX0" fmla="*/ 2563422 w 2563422"/>
                <a:gd name="connsiteY0" fmla="*/ 0 h 257442"/>
                <a:gd name="connsiteX1" fmla="*/ 2508701 w 2563422"/>
                <a:gd name="connsiteY1" fmla="*/ 257442 h 257442"/>
                <a:gd name="connsiteX2" fmla="*/ 0 w 2563422"/>
                <a:gd name="connsiteY2" fmla="*/ 257442 h 257442"/>
                <a:gd name="connsiteX3" fmla="*/ 0 w 2563422"/>
                <a:gd name="connsiteY3" fmla="*/ 0 h 257442"/>
                <a:gd name="connsiteX0" fmla="*/ 2731737 w 2731737"/>
                <a:gd name="connsiteY0" fmla="*/ 0 h 257442"/>
                <a:gd name="connsiteX1" fmla="*/ 2508701 w 2731737"/>
                <a:gd name="connsiteY1" fmla="*/ 257442 h 257442"/>
                <a:gd name="connsiteX2" fmla="*/ 0 w 2731737"/>
                <a:gd name="connsiteY2" fmla="*/ 257442 h 257442"/>
                <a:gd name="connsiteX3" fmla="*/ 0 w 2731737"/>
                <a:gd name="connsiteY3" fmla="*/ 0 h 257442"/>
                <a:gd name="connsiteX0" fmla="*/ 2731737 w 2731737"/>
                <a:gd name="connsiteY0" fmla="*/ 0 h 257442"/>
                <a:gd name="connsiteX1" fmla="*/ 2677016 w 2731737"/>
                <a:gd name="connsiteY1" fmla="*/ 257442 h 257442"/>
                <a:gd name="connsiteX2" fmla="*/ 0 w 2731737"/>
                <a:gd name="connsiteY2" fmla="*/ 257442 h 257442"/>
                <a:gd name="connsiteX3" fmla="*/ 0 w 2731737"/>
                <a:gd name="connsiteY3" fmla="*/ 0 h 257442"/>
                <a:gd name="connsiteX0" fmla="*/ 2731737 w 2731737"/>
                <a:gd name="connsiteY0" fmla="*/ 0 h 257442"/>
                <a:gd name="connsiteX1" fmla="*/ 2677016 w 2731737"/>
                <a:gd name="connsiteY1" fmla="*/ 257442 h 257442"/>
                <a:gd name="connsiteX2" fmla="*/ 0 w 2731737"/>
                <a:gd name="connsiteY2" fmla="*/ 257442 h 257442"/>
                <a:gd name="connsiteX3" fmla="*/ 0 w 2731737"/>
                <a:gd name="connsiteY3" fmla="*/ 0 h 257442"/>
                <a:gd name="connsiteX0" fmla="*/ 2731737 w 2731737"/>
                <a:gd name="connsiteY0" fmla="*/ 0 h 257442"/>
                <a:gd name="connsiteX1" fmla="*/ 2677016 w 2731737"/>
                <a:gd name="connsiteY1" fmla="*/ 257442 h 257442"/>
                <a:gd name="connsiteX2" fmla="*/ 0 w 2731737"/>
                <a:gd name="connsiteY2" fmla="*/ 257442 h 257442"/>
                <a:gd name="connsiteX3" fmla="*/ 0 w 2731737"/>
                <a:gd name="connsiteY3" fmla="*/ 0 h 257442"/>
                <a:gd name="connsiteX0" fmla="*/ 2892037 w 2892037"/>
                <a:gd name="connsiteY0" fmla="*/ 0 h 257442"/>
                <a:gd name="connsiteX1" fmla="*/ 2677016 w 2892037"/>
                <a:gd name="connsiteY1" fmla="*/ 257442 h 257442"/>
                <a:gd name="connsiteX2" fmla="*/ 0 w 2892037"/>
                <a:gd name="connsiteY2" fmla="*/ 257442 h 257442"/>
                <a:gd name="connsiteX3" fmla="*/ 0 w 2892037"/>
                <a:gd name="connsiteY3" fmla="*/ 0 h 257442"/>
                <a:gd name="connsiteX0" fmla="*/ 2892037 w 2892037"/>
                <a:gd name="connsiteY0" fmla="*/ 0 h 257442"/>
                <a:gd name="connsiteX1" fmla="*/ 2837316 w 2892037"/>
                <a:gd name="connsiteY1" fmla="*/ 257442 h 257442"/>
                <a:gd name="connsiteX2" fmla="*/ 0 w 2892037"/>
                <a:gd name="connsiteY2" fmla="*/ 257442 h 257442"/>
                <a:gd name="connsiteX3" fmla="*/ 0 w 2892037"/>
                <a:gd name="connsiteY3" fmla="*/ 0 h 257442"/>
                <a:gd name="connsiteX0" fmla="*/ 2892037 w 2892037"/>
                <a:gd name="connsiteY0" fmla="*/ 0 h 257442"/>
                <a:gd name="connsiteX1" fmla="*/ 2837316 w 2892037"/>
                <a:gd name="connsiteY1" fmla="*/ 257442 h 257442"/>
                <a:gd name="connsiteX2" fmla="*/ 0 w 2892037"/>
                <a:gd name="connsiteY2" fmla="*/ 257442 h 257442"/>
                <a:gd name="connsiteX3" fmla="*/ 0 w 2892037"/>
                <a:gd name="connsiteY3" fmla="*/ 0 h 257442"/>
                <a:gd name="connsiteX0" fmla="*/ 2892037 w 2892037"/>
                <a:gd name="connsiteY0" fmla="*/ 0 h 257442"/>
                <a:gd name="connsiteX1" fmla="*/ 2837316 w 2892037"/>
                <a:gd name="connsiteY1" fmla="*/ 257442 h 257442"/>
                <a:gd name="connsiteX2" fmla="*/ 0 w 2892037"/>
                <a:gd name="connsiteY2" fmla="*/ 257442 h 257442"/>
                <a:gd name="connsiteX3" fmla="*/ 0 w 2892037"/>
                <a:gd name="connsiteY3" fmla="*/ 0 h 257442"/>
                <a:gd name="connsiteX0" fmla="*/ 3060353 w 3060353"/>
                <a:gd name="connsiteY0" fmla="*/ 0 h 257442"/>
                <a:gd name="connsiteX1" fmla="*/ 2837316 w 3060353"/>
                <a:gd name="connsiteY1" fmla="*/ 257442 h 257442"/>
                <a:gd name="connsiteX2" fmla="*/ 0 w 3060353"/>
                <a:gd name="connsiteY2" fmla="*/ 257442 h 257442"/>
                <a:gd name="connsiteX3" fmla="*/ 0 w 3060353"/>
                <a:gd name="connsiteY3" fmla="*/ 0 h 257442"/>
                <a:gd name="connsiteX0" fmla="*/ 3060353 w 3060353"/>
                <a:gd name="connsiteY0" fmla="*/ 0 h 257442"/>
                <a:gd name="connsiteX1" fmla="*/ 3005632 w 3060353"/>
                <a:gd name="connsiteY1" fmla="*/ 257442 h 257442"/>
                <a:gd name="connsiteX2" fmla="*/ 0 w 3060353"/>
                <a:gd name="connsiteY2" fmla="*/ 257442 h 257442"/>
                <a:gd name="connsiteX3" fmla="*/ 0 w 3060353"/>
                <a:gd name="connsiteY3" fmla="*/ 0 h 257442"/>
                <a:gd name="connsiteX0" fmla="*/ 3060353 w 3060353"/>
                <a:gd name="connsiteY0" fmla="*/ 0 h 257442"/>
                <a:gd name="connsiteX1" fmla="*/ 3005632 w 3060353"/>
                <a:gd name="connsiteY1" fmla="*/ 257442 h 257442"/>
                <a:gd name="connsiteX2" fmla="*/ 0 w 3060353"/>
                <a:gd name="connsiteY2" fmla="*/ 257442 h 257442"/>
                <a:gd name="connsiteX3" fmla="*/ 0 w 3060353"/>
                <a:gd name="connsiteY3" fmla="*/ 0 h 257442"/>
                <a:gd name="connsiteX0" fmla="*/ 3060353 w 3060353"/>
                <a:gd name="connsiteY0" fmla="*/ 0 h 257442"/>
                <a:gd name="connsiteX1" fmla="*/ 3005632 w 3060353"/>
                <a:gd name="connsiteY1" fmla="*/ 257442 h 257442"/>
                <a:gd name="connsiteX2" fmla="*/ 0 w 3060353"/>
                <a:gd name="connsiteY2" fmla="*/ 257442 h 257442"/>
                <a:gd name="connsiteX3" fmla="*/ 0 w 3060353"/>
                <a:gd name="connsiteY3" fmla="*/ 0 h 257442"/>
                <a:gd name="connsiteX0" fmla="*/ 3228668 w 3228668"/>
                <a:gd name="connsiteY0" fmla="*/ 0 h 257442"/>
                <a:gd name="connsiteX1" fmla="*/ 3005632 w 3228668"/>
                <a:gd name="connsiteY1" fmla="*/ 257442 h 257442"/>
                <a:gd name="connsiteX2" fmla="*/ 0 w 3228668"/>
                <a:gd name="connsiteY2" fmla="*/ 257442 h 257442"/>
                <a:gd name="connsiteX3" fmla="*/ 0 w 3228668"/>
                <a:gd name="connsiteY3" fmla="*/ 0 h 257442"/>
                <a:gd name="connsiteX0" fmla="*/ 3228668 w 3228668"/>
                <a:gd name="connsiteY0" fmla="*/ 0 h 257442"/>
                <a:gd name="connsiteX1" fmla="*/ 3173946 w 3228668"/>
                <a:gd name="connsiteY1" fmla="*/ 257442 h 257442"/>
                <a:gd name="connsiteX2" fmla="*/ 0 w 3228668"/>
                <a:gd name="connsiteY2" fmla="*/ 257442 h 257442"/>
                <a:gd name="connsiteX3" fmla="*/ 0 w 3228668"/>
                <a:gd name="connsiteY3" fmla="*/ 0 h 257442"/>
                <a:gd name="connsiteX0" fmla="*/ 3228669 w 3228669"/>
                <a:gd name="connsiteY0" fmla="*/ 0 h 257442"/>
                <a:gd name="connsiteX1" fmla="*/ 3173947 w 3228669"/>
                <a:gd name="connsiteY1" fmla="*/ 257442 h 257442"/>
                <a:gd name="connsiteX2" fmla="*/ 0 w 3228669"/>
                <a:gd name="connsiteY2" fmla="*/ 257442 h 257442"/>
                <a:gd name="connsiteX3" fmla="*/ 1 w 3228669"/>
                <a:gd name="connsiteY3" fmla="*/ 0 h 257442"/>
                <a:gd name="connsiteX0" fmla="*/ 3228669 w 3228669"/>
                <a:gd name="connsiteY0" fmla="*/ 0 h 257442"/>
                <a:gd name="connsiteX1" fmla="*/ 3173947 w 3228669"/>
                <a:gd name="connsiteY1" fmla="*/ 257442 h 257442"/>
                <a:gd name="connsiteX2" fmla="*/ 0 w 3228669"/>
                <a:gd name="connsiteY2" fmla="*/ 257442 h 257442"/>
                <a:gd name="connsiteX3" fmla="*/ 1 w 3228669"/>
                <a:gd name="connsiteY3" fmla="*/ 0 h 257442"/>
                <a:gd name="connsiteX0" fmla="*/ 3414617 w 3414617"/>
                <a:gd name="connsiteY0" fmla="*/ 0 h 257442"/>
                <a:gd name="connsiteX1" fmla="*/ 3173947 w 3414617"/>
                <a:gd name="connsiteY1" fmla="*/ 257442 h 257442"/>
                <a:gd name="connsiteX2" fmla="*/ 0 w 3414617"/>
                <a:gd name="connsiteY2" fmla="*/ 257442 h 257442"/>
                <a:gd name="connsiteX3" fmla="*/ 1 w 3414617"/>
                <a:gd name="connsiteY3" fmla="*/ 0 h 257442"/>
                <a:gd name="connsiteX0" fmla="*/ 3414617 w 3414617"/>
                <a:gd name="connsiteY0" fmla="*/ 0 h 257442"/>
                <a:gd name="connsiteX1" fmla="*/ 3359896 w 3414617"/>
                <a:gd name="connsiteY1" fmla="*/ 257442 h 257442"/>
                <a:gd name="connsiteX2" fmla="*/ 0 w 3414617"/>
                <a:gd name="connsiteY2" fmla="*/ 257442 h 257442"/>
                <a:gd name="connsiteX3" fmla="*/ 1 w 3414617"/>
                <a:gd name="connsiteY3" fmla="*/ 0 h 257442"/>
                <a:gd name="connsiteX0" fmla="*/ 3414616 w 3414616"/>
                <a:gd name="connsiteY0" fmla="*/ 0 h 257442"/>
                <a:gd name="connsiteX1" fmla="*/ 3359895 w 3414616"/>
                <a:gd name="connsiteY1" fmla="*/ 257442 h 257442"/>
                <a:gd name="connsiteX2" fmla="*/ 0 w 3414616"/>
                <a:gd name="connsiteY2" fmla="*/ 257442 h 257442"/>
                <a:gd name="connsiteX3" fmla="*/ 0 w 3414616"/>
                <a:gd name="connsiteY3" fmla="*/ 0 h 257442"/>
                <a:gd name="connsiteX0" fmla="*/ 3414617 w 3414617"/>
                <a:gd name="connsiteY0" fmla="*/ 0 h 257442"/>
                <a:gd name="connsiteX1" fmla="*/ 3359896 w 3414617"/>
                <a:gd name="connsiteY1" fmla="*/ 257442 h 257442"/>
                <a:gd name="connsiteX2" fmla="*/ 1 w 3414617"/>
                <a:gd name="connsiteY2" fmla="*/ 257442 h 257442"/>
                <a:gd name="connsiteX3" fmla="*/ 0 w 3414617"/>
                <a:gd name="connsiteY3" fmla="*/ 0 h 257442"/>
                <a:gd name="connsiteX0" fmla="*/ 3515607 w 3515607"/>
                <a:gd name="connsiteY0" fmla="*/ 0 h 257442"/>
                <a:gd name="connsiteX1" fmla="*/ 3359896 w 3515607"/>
                <a:gd name="connsiteY1" fmla="*/ 257442 h 257442"/>
                <a:gd name="connsiteX2" fmla="*/ 1 w 3515607"/>
                <a:gd name="connsiteY2" fmla="*/ 257442 h 257442"/>
                <a:gd name="connsiteX3" fmla="*/ 0 w 3515607"/>
                <a:gd name="connsiteY3" fmla="*/ 0 h 257442"/>
                <a:gd name="connsiteX0" fmla="*/ 3515607 w 3515607"/>
                <a:gd name="connsiteY0" fmla="*/ 0 h 257442"/>
                <a:gd name="connsiteX1" fmla="*/ 3460886 w 3515607"/>
                <a:gd name="connsiteY1" fmla="*/ 257442 h 257442"/>
                <a:gd name="connsiteX2" fmla="*/ 1 w 3515607"/>
                <a:gd name="connsiteY2" fmla="*/ 257442 h 257442"/>
                <a:gd name="connsiteX3" fmla="*/ 0 w 3515607"/>
                <a:gd name="connsiteY3" fmla="*/ 0 h 257442"/>
                <a:gd name="connsiteX0" fmla="*/ 3515607 w 3515607"/>
                <a:gd name="connsiteY0" fmla="*/ 0 h 257442"/>
                <a:gd name="connsiteX1" fmla="*/ 3460886 w 3515607"/>
                <a:gd name="connsiteY1" fmla="*/ 257442 h 257442"/>
                <a:gd name="connsiteX2" fmla="*/ 1 w 3515607"/>
                <a:gd name="connsiteY2" fmla="*/ 257442 h 257442"/>
                <a:gd name="connsiteX3" fmla="*/ 0 w 3515607"/>
                <a:gd name="connsiteY3" fmla="*/ 0 h 257442"/>
                <a:gd name="connsiteX0" fmla="*/ 3515606 w 3515606"/>
                <a:gd name="connsiteY0" fmla="*/ 0 h 257442"/>
                <a:gd name="connsiteX1" fmla="*/ 3460885 w 3515606"/>
                <a:gd name="connsiteY1" fmla="*/ 257442 h 257442"/>
                <a:gd name="connsiteX2" fmla="*/ 0 w 3515606"/>
                <a:gd name="connsiteY2" fmla="*/ 257442 h 257442"/>
                <a:gd name="connsiteX3" fmla="*/ 0 w 3515606"/>
                <a:gd name="connsiteY3" fmla="*/ 0 h 257442"/>
                <a:gd name="connsiteX0" fmla="*/ 3683920 w 3683920"/>
                <a:gd name="connsiteY0" fmla="*/ 0 h 257442"/>
                <a:gd name="connsiteX1" fmla="*/ 3460885 w 3683920"/>
                <a:gd name="connsiteY1" fmla="*/ 257442 h 257442"/>
                <a:gd name="connsiteX2" fmla="*/ 0 w 3683920"/>
                <a:gd name="connsiteY2" fmla="*/ 257442 h 257442"/>
                <a:gd name="connsiteX3" fmla="*/ 0 w 3683920"/>
                <a:gd name="connsiteY3" fmla="*/ 0 h 257442"/>
                <a:gd name="connsiteX0" fmla="*/ 3683920 w 3683920"/>
                <a:gd name="connsiteY0" fmla="*/ 0 h 257442"/>
                <a:gd name="connsiteX1" fmla="*/ 3629199 w 3683920"/>
                <a:gd name="connsiteY1" fmla="*/ 257442 h 257442"/>
                <a:gd name="connsiteX2" fmla="*/ 0 w 3683920"/>
                <a:gd name="connsiteY2" fmla="*/ 257442 h 257442"/>
                <a:gd name="connsiteX3" fmla="*/ 0 w 3683920"/>
                <a:gd name="connsiteY3" fmla="*/ 0 h 257442"/>
                <a:gd name="connsiteX0" fmla="*/ 3683921 w 3683921"/>
                <a:gd name="connsiteY0" fmla="*/ 0 h 257442"/>
                <a:gd name="connsiteX1" fmla="*/ 3629200 w 3683921"/>
                <a:gd name="connsiteY1" fmla="*/ 257442 h 257442"/>
                <a:gd name="connsiteX2" fmla="*/ 0 w 3683921"/>
                <a:gd name="connsiteY2" fmla="*/ 257442 h 257442"/>
                <a:gd name="connsiteX3" fmla="*/ 1 w 3683921"/>
                <a:gd name="connsiteY3" fmla="*/ 0 h 257442"/>
                <a:gd name="connsiteX0" fmla="*/ 3683921 w 3683921"/>
                <a:gd name="connsiteY0" fmla="*/ 0 h 257442"/>
                <a:gd name="connsiteX1" fmla="*/ 3629200 w 3683921"/>
                <a:gd name="connsiteY1" fmla="*/ 257442 h 257442"/>
                <a:gd name="connsiteX2" fmla="*/ 0 w 3683921"/>
                <a:gd name="connsiteY2" fmla="*/ 257442 h 257442"/>
                <a:gd name="connsiteX3" fmla="*/ 1 w 3683921"/>
                <a:gd name="connsiteY3" fmla="*/ 0 h 257442"/>
                <a:gd name="connsiteX0" fmla="*/ 3844222 w 3844222"/>
                <a:gd name="connsiteY0" fmla="*/ 0 h 257442"/>
                <a:gd name="connsiteX1" fmla="*/ 3629200 w 3844222"/>
                <a:gd name="connsiteY1" fmla="*/ 257442 h 257442"/>
                <a:gd name="connsiteX2" fmla="*/ 0 w 3844222"/>
                <a:gd name="connsiteY2" fmla="*/ 257442 h 257442"/>
                <a:gd name="connsiteX3" fmla="*/ 1 w 3844222"/>
                <a:gd name="connsiteY3" fmla="*/ 0 h 257442"/>
                <a:gd name="connsiteX0" fmla="*/ 3844222 w 3844222"/>
                <a:gd name="connsiteY0" fmla="*/ 0 h 257442"/>
                <a:gd name="connsiteX1" fmla="*/ 3789500 w 3844222"/>
                <a:gd name="connsiteY1" fmla="*/ 257442 h 257442"/>
                <a:gd name="connsiteX2" fmla="*/ 0 w 3844222"/>
                <a:gd name="connsiteY2" fmla="*/ 257442 h 257442"/>
                <a:gd name="connsiteX3" fmla="*/ 1 w 3844222"/>
                <a:gd name="connsiteY3" fmla="*/ 0 h 257442"/>
                <a:gd name="connsiteX0" fmla="*/ 3844222 w 3844222"/>
                <a:gd name="connsiteY0" fmla="*/ 0 h 257442"/>
                <a:gd name="connsiteX1" fmla="*/ 3789500 w 3844222"/>
                <a:gd name="connsiteY1" fmla="*/ 257442 h 257442"/>
                <a:gd name="connsiteX2" fmla="*/ 0 w 3844222"/>
                <a:gd name="connsiteY2" fmla="*/ 257442 h 257442"/>
                <a:gd name="connsiteX3" fmla="*/ 1 w 3844222"/>
                <a:gd name="connsiteY3" fmla="*/ 0 h 257442"/>
                <a:gd name="connsiteX0" fmla="*/ 3844222 w 3844222"/>
                <a:gd name="connsiteY0" fmla="*/ 0 h 257442"/>
                <a:gd name="connsiteX1" fmla="*/ 3789500 w 3844222"/>
                <a:gd name="connsiteY1" fmla="*/ 257442 h 257442"/>
                <a:gd name="connsiteX2" fmla="*/ 0 w 3844222"/>
                <a:gd name="connsiteY2" fmla="*/ 257442 h 257442"/>
                <a:gd name="connsiteX3" fmla="*/ 0 w 3844222"/>
                <a:gd name="connsiteY3" fmla="*/ 0 h 257442"/>
                <a:gd name="connsiteX0" fmla="*/ 986067 w 3789500"/>
                <a:gd name="connsiteY0" fmla="*/ 0 h 257442"/>
                <a:gd name="connsiteX1" fmla="*/ 3789500 w 3789500"/>
                <a:gd name="connsiteY1" fmla="*/ 257442 h 257442"/>
                <a:gd name="connsiteX2" fmla="*/ 0 w 3789500"/>
                <a:gd name="connsiteY2" fmla="*/ 257442 h 257442"/>
                <a:gd name="connsiteX3" fmla="*/ 0 w 3789500"/>
                <a:gd name="connsiteY3" fmla="*/ 0 h 257442"/>
                <a:gd name="connsiteX0" fmla="*/ 986067 w 986067"/>
                <a:gd name="connsiteY0" fmla="*/ 0 h 257442"/>
                <a:gd name="connsiteX1" fmla="*/ 931346 w 986067"/>
                <a:gd name="connsiteY1" fmla="*/ 257442 h 257442"/>
                <a:gd name="connsiteX2" fmla="*/ 0 w 986067"/>
                <a:gd name="connsiteY2" fmla="*/ 257442 h 257442"/>
                <a:gd name="connsiteX3" fmla="*/ 0 w 986067"/>
                <a:gd name="connsiteY3" fmla="*/ 0 h 257442"/>
                <a:gd name="connsiteX0" fmla="*/ 986067 w 986067"/>
                <a:gd name="connsiteY0" fmla="*/ 0 h 257442"/>
                <a:gd name="connsiteX1" fmla="*/ 931346 w 986067"/>
                <a:gd name="connsiteY1" fmla="*/ 257442 h 257442"/>
                <a:gd name="connsiteX2" fmla="*/ 1 w 986067"/>
                <a:gd name="connsiteY2" fmla="*/ 257442 h 257442"/>
                <a:gd name="connsiteX3" fmla="*/ 0 w 986067"/>
                <a:gd name="connsiteY3" fmla="*/ 0 h 257442"/>
                <a:gd name="connsiteX0" fmla="*/ 986066 w 986066"/>
                <a:gd name="connsiteY0" fmla="*/ 0 h 257442"/>
                <a:gd name="connsiteX1" fmla="*/ 931345 w 986066"/>
                <a:gd name="connsiteY1" fmla="*/ 257442 h 257442"/>
                <a:gd name="connsiteX2" fmla="*/ 0 w 986066"/>
                <a:gd name="connsiteY2" fmla="*/ 257442 h 257442"/>
                <a:gd name="connsiteX3" fmla="*/ 0 w 986066"/>
                <a:gd name="connsiteY3" fmla="*/ 0 h 257442"/>
                <a:gd name="connsiteX0" fmla="*/ 1163999 w 1163999"/>
                <a:gd name="connsiteY0" fmla="*/ 0 h 257442"/>
                <a:gd name="connsiteX1" fmla="*/ 931345 w 1163999"/>
                <a:gd name="connsiteY1" fmla="*/ 257442 h 257442"/>
                <a:gd name="connsiteX2" fmla="*/ 0 w 1163999"/>
                <a:gd name="connsiteY2" fmla="*/ 257442 h 257442"/>
                <a:gd name="connsiteX3" fmla="*/ 0 w 1163999"/>
                <a:gd name="connsiteY3" fmla="*/ 0 h 257442"/>
                <a:gd name="connsiteX0" fmla="*/ 1163999 w 1163999"/>
                <a:gd name="connsiteY0" fmla="*/ 0 h 257442"/>
                <a:gd name="connsiteX1" fmla="*/ 1109278 w 1163999"/>
                <a:gd name="connsiteY1" fmla="*/ 257442 h 257442"/>
                <a:gd name="connsiteX2" fmla="*/ 0 w 1163999"/>
                <a:gd name="connsiteY2" fmla="*/ 257442 h 257442"/>
                <a:gd name="connsiteX3" fmla="*/ 0 w 1163999"/>
                <a:gd name="connsiteY3" fmla="*/ 0 h 257442"/>
                <a:gd name="connsiteX0" fmla="*/ 1164000 w 1164000"/>
                <a:gd name="connsiteY0" fmla="*/ 0 h 257442"/>
                <a:gd name="connsiteX1" fmla="*/ 1109279 w 1164000"/>
                <a:gd name="connsiteY1" fmla="*/ 257442 h 257442"/>
                <a:gd name="connsiteX2" fmla="*/ 0 w 1164000"/>
                <a:gd name="connsiteY2" fmla="*/ 257442 h 257442"/>
                <a:gd name="connsiteX3" fmla="*/ 1 w 1164000"/>
                <a:gd name="connsiteY3" fmla="*/ 0 h 257442"/>
                <a:gd name="connsiteX0" fmla="*/ 1164000 w 1164000"/>
                <a:gd name="connsiteY0" fmla="*/ 0 h 257442"/>
                <a:gd name="connsiteX1" fmla="*/ 1109279 w 1164000"/>
                <a:gd name="connsiteY1" fmla="*/ 257442 h 257442"/>
                <a:gd name="connsiteX2" fmla="*/ 0 w 1164000"/>
                <a:gd name="connsiteY2" fmla="*/ 257442 h 257442"/>
                <a:gd name="connsiteX3" fmla="*/ 0 w 1164000"/>
                <a:gd name="connsiteY3" fmla="*/ 0 h 257442"/>
                <a:gd name="connsiteX0" fmla="*/ 1332316 w 1332316"/>
                <a:gd name="connsiteY0" fmla="*/ 0 h 257442"/>
                <a:gd name="connsiteX1" fmla="*/ 1109279 w 1332316"/>
                <a:gd name="connsiteY1" fmla="*/ 257442 h 257442"/>
                <a:gd name="connsiteX2" fmla="*/ 0 w 1332316"/>
                <a:gd name="connsiteY2" fmla="*/ 257442 h 257442"/>
                <a:gd name="connsiteX3" fmla="*/ 0 w 1332316"/>
                <a:gd name="connsiteY3" fmla="*/ 0 h 257442"/>
                <a:gd name="connsiteX0" fmla="*/ 1332316 w 1332316"/>
                <a:gd name="connsiteY0" fmla="*/ 0 h 257442"/>
                <a:gd name="connsiteX1" fmla="*/ 1277595 w 1332316"/>
                <a:gd name="connsiteY1" fmla="*/ 257442 h 257442"/>
                <a:gd name="connsiteX2" fmla="*/ 0 w 1332316"/>
                <a:gd name="connsiteY2" fmla="*/ 257442 h 257442"/>
                <a:gd name="connsiteX3" fmla="*/ 0 w 1332316"/>
                <a:gd name="connsiteY3" fmla="*/ 0 h 257442"/>
                <a:gd name="connsiteX0" fmla="*/ 1332316 w 1332316"/>
                <a:gd name="connsiteY0" fmla="*/ 0 h 257442"/>
                <a:gd name="connsiteX1" fmla="*/ 1277595 w 1332316"/>
                <a:gd name="connsiteY1" fmla="*/ 257442 h 257442"/>
                <a:gd name="connsiteX2" fmla="*/ 0 w 1332316"/>
                <a:gd name="connsiteY2" fmla="*/ 257442 h 257442"/>
                <a:gd name="connsiteX3" fmla="*/ 0 w 1332316"/>
                <a:gd name="connsiteY3" fmla="*/ 0 h 257442"/>
                <a:gd name="connsiteX0" fmla="*/ 1332316 w 1332316"/>
                <a:gd name="connsiteY0" fmla="*/ 0 h 257442"/>
                <a:gd name="connsiteX1" fmla="*/ 1277595 w 1332316"/>
                <a:gd name="connsiteY1" fmla="*/ 257442 h 257442"/>
                <a:gd name="connsiteX2" fmla="*/ 0 w 1332316"/>
                <a:gd name="connsiteY2" fmla="*/ 257442 h 257442"/>
                <a:gd name="connsiteX3" fmla="*/ 0 w 1332316"/>
                <a:gd name="connsiteY3" fmla="*/ 0 h 257442"/>
                <a:gd name="connsiteX0" fmla="*/ 1500631 w 1500631"/>
                <a:gd name="connsiteY0" fmla="*/ 0 h 257442"/>
                <a:gd name="connsiteX1" fmla="*/ 1277595 w 1500631"/>
                <a:gd name="connsiteY1" fmla="*/ 257442 h 257442"/>
                <a:gd name="connsiteX2" fmla="*/ 0 w 1500631"/>
                <a:gd name="connsiteY2" fmla="*/ 257442 h 257442"/>
                <a:gd name="connsiteX3" fmla="*/ 0 w 1500631"/>
                <a:gd name="connsiteY3" fmla="*/ 0 h 257442"/>
                <a:gd name="connsiteX0" fmla="*/ 1500631 w 1500631"/>
                <a:gd name="connsiteY0" fmla="*/ 0 h 257442"/>
                <a:gd name="connsiteX1" fmla="*/ 1445910 w 1500631"/>
                <a:gd name="connsiteY1" fmla="*/ 257442 h 257442"/>
                <a:gd name="connsiteX2" fmla="*/ 0 w 1500631"/>
                <a:gd name="connsiteY2" fmla="*/ 257442 h 257442"/>
                <a:gd name="connsiteX3" fmla="*/ 0 w 1500631"/>
                <a:gd name="connsiteY3" fmla="*/ 0 h 257442"/>
                <a:gd name="connsiteX0" fmla="*/ 1500631 w 1500631"/>
                <a:gd name="connsiteY0" fmla="*/ 0 h 257442"/>
                <a:gd name="connsiteX1" fmla="*/ 1445910 w 1500631"/>
                <a:gd name="connsiteY1" fmla="*/ 257442 h 257442"/>
                <a:gd name="connsiteX2" fmla="*/ 0 w 1500631"/>
                <a:gd name="connsiteY2" fmla="*/ 257442 h 257442"/>
                <a:gd name="connsiteX3" fmla="*/ 0 w 1500631"/>
                <a:gd name="connsiteY3" fmla="*/ 0 h 257442"/>
                <a:gd name="connsiteX0" fmla="*/ 1500631 w 1500631"/>
                <a:gd name="connsiteY0" fmla="*/ 0 h 257442"/>
                <a:gd name="connsiteX1" fmla="*/ 1445910 w 1500631"/>
                <a:gd name="connsiteY1" fmla="*/ 257442 h 257442"/>
                <a:gd name="connsiteX2" fmla="*/ 0 w 1500631"/>
                <a:gd name="connsiteY2" fmla="*/ 257442 h 257442"/>
                <a:gd name="connsiteX3" fmla="*/ 0 w 1500631"/>
                <a:gd name="connsiteY3" fmla="*/ 0 h 257442"/>
                <a:gd name="connsiteX0" fmla="*/ 1652916 w 1652916"/>
                <a:gd name="connsiteY0" fmla="*/ 0 h 257442"/>
                <a:gd name="connsiteX1" fmla="*/ 1445910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652916 w 1652916"/>
                <a:gd name="connsiteY0" fmla="*/ 0 h 257442"/>
                <a:gd name="connsiteX1" fmla="*/ 1598194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652917 w 1652917"/>
                <a:gd name="connsiteY0" fmla="*/ 0 h 257442"/>
                <a:gd name="connsiteX1" fmla="*/ 1598195 w 1652917"/>
                <a:gd name="connsiteY1" fmla="*/ 257442 h 257442"/>
                <a:gd name="connsiteX2" fmla="*/ 0 w 1652917"/>
                <a:gd name="connsiteY2" fmla="*/ 257442 h 257442"/>
                <a:gd name="connsiteX3" fmla="*/ 1 w 1652917"/>
                <a:gd name="connsiteY3" fmla="*/ 0 h 257442"/>
                <a:gd name="connsiteX0" fmla="*/ 1652917 w 1652917"/>
                <a:gd name="connsiteY0" fmla="*/ 0 h 257442"/>
                <a:gd name="connsiteX1" fmla="*/ 1598195 w 1652917"/>
                <a:gd name="connsiteY1" fmla="*/ 257442 h 257442"/>
                <a:gd name="connsiteX2" fmla="*/ 0 w 1652917"/>
                <a:gd name="connsiteY2" fmla="*/ 257442 h 257442"/>
                <a:gd name="connsiteX3" fmla="*/ 1 w 1652917"/>
                <a:gd name="connsiteY3" fmla="*/ 0 h 257442"/>
                <a:gd name="connsiteX0" fmla="*/ 1830850 w 1830850"/>
                <a:gd name="connsiteY0" fmla="*/ 0 h 257442"/>
                <a:gd name="connsiteX1" fmla="*/ 1598195 w 1830850"/>
                <a:gd name="connsiteY1" fmla="*/ 257442 h 257442"/>
                <a:gd name="connsiteX2" fmla="*/ 0 w 1830850"/>
                <a:gd name="connsiteY2" fmla="*/ 257442 h 257442"/>
                <a:gd name="connsiteX3" fmla="*/ 1 w 1830850"/>
                <a:gd name="connsiteY3" fmla="*/ 0 h 257442"/>
                <a:gd name="connsiteX0" fmla="*/ 1830850 w 1830850"/>
                <a:gd name="connsiteY0" fmla="*/ 0 h 257442"/>
                <a:gd name="connsiteX1" fmla="*/ 1776128 w 1830850"/>
                <a:gd name="connsiteY1" fmla="*/ 257442 h 257442"/>
                <a:gd name="connsiteX2" fmla="*/ 0 w 1830850"/>
                <a:gd name="connsiteY2" fmla="*/ 257442 h 257442"/>
                <a:gd name="connsiteX3" fmla="*/ 1 w 1830850"/>
                <a:gd name="connsiteY3" fmla="*/ 0 h 257442"/>
                <a:gd name="connsiteX0" fmla="*/ 1830850 w 1830850"/>
                <a:gd name="connsiteY0" fmla="*/ 0 h 257442"/>
                <a:gd name="connsiteX1" fmla="*/ 1776128 w 1830850"/>
                <a:gd name="connsiteY1" fmla="*/ 257442 h 257442"/>
                <a:gd name="connsiteX2" fmla="*/ 0 w 1830850"/>
                <a:gd name="connsiteY2" fmla="*/ 257442 h 257442"/>
                <a:gd name="connsiteX3" fmla="*/ 1 w 1830850"/>
                <a:gd name="connsiteY3" fmla="*/ 0 h 257442"/>
                <a:gd name="connsiteX0" fmla="*/ 1830850 w 1830850"/>
                <a:gd name="connsiteY0" fmla="*/ 0 h 257442"/>
                <a:gd name="connsiteX1" fmla="*/ 1776128 w 1830850"/>
                <a:gd name="connsiteY1" fmla="*/ 257442 h 257442"/>
                <a:gd name="connsiteX2" fmla="*/ 0 w 1830850"/>
                <a:gd name="connsiteY2" fmla="*/ 257442 h 257442"/>
                <a:gd name="connsiteX3" fmla="*/ 0 w 1830850"/>
                <a:gd name="connsiteY3" fmla="*/ 0 h 257442"/>
                <a:gd name="connsiteX0" fmla="*/ 1999165 w 1999165"/>
                <a:gd name="connsiteY0" fmla="*/ 0 h 257442"/>
                <a:gd name="connsiteX1" fmla="*/ 1776128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2167480 w 2167480"/>
                <a:gd name="connsiteY0" fmla="*/ 0 h 257442"/>
                <a:gd name="connsiteX1" fmla="*/ 1944444 w 2167480"/>
                <a:gd name="connsiteY1" fmla="*/ 257442 h 257442"/>
                <a:gd name="connsiteX2" fmla="*/ 0 w 2167480"/>
                <a:gd name="connsiteY2" fmla="*/ 257442 h 257442"/>
                <a:gd name="connsiteX3" fmla="*/ 0 w 2167480"/>
                <a:gd name="connsiteY3" fmla="*/ 0 h 257442"/>
                <a:gd name="connsiteX0" fmla="*/ 2167480 w 2167480"/>
                <a:gd name="connsiteY0" fmla="*/ 0 h 257442"/>
                <a:gd name="connsiteX1" fmla="*/ 2112758 w 2167480"/>
                <a:gd name="connsiteY1" fmla="*/ 257442 h 257442"/>
                <a:gd name="connsiteX2" fmla="*/ 0 w 2167480"/>
                <a:gd name="connsiteY2" fmla="*/ 257442 h 257442"/>
                <a:gd name="connsiteX3" fmla="*/ 0 w 2167480"/>
                <a:gd name="connsiteY3" fmla="*/ 0 h 257442"/>
                <a:gd name="connsiteX0" fmla="*/ 2167481 w 2167481"/>
                <a:gd name="connsiteY0" fmla="*/ 0 h 257442"/>
                <a:gd name="connsiteX1" fmla="*/ 2112759 w 2167481"/>
                <a:gd name="connsiteY1" fmla="*/ 257442 h 257442"/>
                <a:gd name="connsiteX2" fmla="*/ 0 w 2167481"/>
                <a:gd name="connsiteY2" fmla="*/ 257442 h 257442"/>
                <a:gd name="connsiteX3" fmla="*/ 1 w 2167481"/>
                <a:gd name="connsiteY3" fmla="*/ 0 h 257442"/>
                <a:gd name="connsiteX0" fmla="*/ 2167481 w 2167481"/>
                <a:gd name="connsiteY0" fmla="*/ 0 h 257442"/>
                <a:gd name="connsiteX1" fmla="*/ 2112759 w 2167481"/>
                <a:gd name="connsiteY1" fmla="*/ 257442 h 257442"/>
                <a:gd name="connsiteX2" fmla="*/ 0 w 2167481"/>
                <a:gd name="connsiteY2" fmla="*/ 257442 h 257442"/>
                <a:gd name="connsiteX3" fmla="*/ 1 w 2167481"/>
                <a:gd name="connsiteY3" fmla="*/ 0 h 257442"/>
                <a:gd name="connsiteX0" fmla="*/ 2327781 w 2327781"/>
                <a:gd name="connsiteY0" fmla="*/ 0 h 257442"/>
                <a:gd name="connsiteX1" fmla="*/ 2112759 w 2327781"/>
                <a:gd name="connsiteY1" fmla="*/ 257442 h 257442"/>
                <a:gd name="connsiteX2" fmla="*/ 0 w 2327781"/>
                <a:gd name="connsiteY2" fmla="*/ 257442 h 257442"/>
                <a:gd name="connsiteX3" fmla="*/ 1 w 2327781"/>
                <a:gd name="connsiteY3" fmla="*/ 0 h 257442"/>
                <a:gd name="connsiteX0" fmla="*/ 2327781 w 2327781"/>
                <a:gd name="connsiteY0" fmla="*/ 0 h 257442"/>
                <a:gd name="connsiteX1" fmla="*/ 2273060 w 2327781"/>
                <a:gd name="connsiteY1" fmla="*/ 257442 h 257442"/>
                <a:gd name="connsiteX2" fmla="*/ 0 w 2327781"/>
                <a:gd name="connsiteY2" fmla="*/ 257442 h 257442"/>
                <a:gd name="connsiteX3" fmla="*/ 1 w 2327781"/>
                <a:gd name="connsiteY3" fmla="*/ 0 h 257442"/>
                <a:gd name="connsiteX0" fmla="*/ 2327780 w 2327780"/>
                <a:gd name="connsiteY0" fmla="*/ 0 h 257442"/>
                <a:gd name="connsiteX1" fmla="*/ 2273059 w 2327780"/>
                <a:gd name="connsiteY1" fmla="*/ 257442 h 257442"/>
                <a:gd name="connsiteX2" fmla="*/ 0 w 2327780"/>
                <a:gd name="connsiteY2" fmla="*/ 257442 h 257442"/>
                <a:gd name="connsiteX3" fmla="*/ 0 w 2327780"/>
                <a:gd name="connsiteY3" fmla="*/ 0 h 257442"/>
                <a:gd name="connsiteX0" fmla="*/ 2327781 w 2327781"/>
                <a:gd name="connsiteY0" fmla="*/ 0 h 257442"/>
                <a:gd name="connsiteX1" fmla="*/ 2273060 w 2327781"/>
                <a:gd name="connsiteY1" fmla="*/ 257442 h 257442"/>
                <a:gd name="connsiteX2" fmla="*/ 1 w 2327781"/>
                <a:gd name="connsiteY2" fmla="*/ 257442 h 257442"/>
                <a:gd name="connsiteX3" fmla="*/ 0 w 2327781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27781" h="257442">
                  <a:moveTo>
                    <a:pt x="2327781" y="0"/>
                  </a:moveTo>
                  <a:lnTo>
                    <a:pt x="2273060" y="257442"/>
                  </a:lnTo>
                  <a:lnTo>
                    <a:pt x="1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4" name="btfpRunningAgenda2LevelTextLeft228391">
              <a:extLst>
                <a:ext uri="{FF2B5EF4-FFF2-40B4-BE49-F238E27FC236}">
                  <a16:creationId xmlns:a16="http://schemas.microsoft.com/office/drawing/2014/main" id="{E66786D9-6F83-4AC7-9FA1-063103B29BC6}"/>
                </a:ext>
              </a:extLst>
            </p:cNvPr>
            <p:cNvSpPr txBox="1"/>
            <p:nvPr/>
          </p:nvSpPr>
          <p:spPr bwMode="gray">
            <a:xfrm>
              <a:off x="0" y="876300"/>
              <a:ext cx="2273059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all" spc="4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WORKFORCE</a:t>
              </a:r>
            </a:p>
          </p:txBody>
        </p:sp>
        <p:sp>
          <p:nvSpPr>
            <p:cNvPr id="36" name="btfpRunningAgenda2LevelBarRight228391">
              <a:extLst>
                <a:ext uri="{FF2B5EF4-FFF2-40B4-BE49-F238E27FC236}">
                  <a16:creationId xmlns:a16="http://schemas.microsoft.com/office/drawing/2014/main" id="{35FAFE6B-9B21-476F-94C6-C69C98E86AAB}"/>
                </a:ext>
              </a:extLst>
            </p:cNvPr>
            <p:cNvSpPr/>
            <p:nvPr/>
          </p:nvSpPr>
          <p:spPr bwMode="gray">
            <a:xfrm>
              <a:off x="2192937" y="876300"/>
              <a:ext cx="2714104" cy="257442"/>
            </a:xfrm>
            <a:custGeom>
              <a:avLst/>
              <a:gdLst>
                <a:gd name="connsiteX0" fmla="*/ 934771 w 2367856"/>
                <a:gd name="connsiteY0" fmla="*/ 0 h 257442"/>
                <a:gd name="connsiteX1" fmla="*/ 2367856 w 2367856"/>
                <a:gd name="connsiteY1" fmla="*/ 0 h 257442"/>
                <a:gd name="connsiteX2" fmla="*/ 2313135 w 2367856"/>
                <a:gd name="connsiteY2" fmla="*/ 257442 h 257442"/>
                <a:gd name="connsiteX3" fmla="*/ 0 w 2367856"/>
                <a:gd name="connsiteY3" fmla="*/ 257442 h 257442"/>
                <a:gd name="connsiteX0" fmla="*/ 934771 w 2313135"/>
                <a:gd name="connsiteY0" fmla="*/ 0 h 257442"/>
                <a:gd name="connsiteX1" fmla="*/ 880050 w 2313135"/>
                <a:gd name="connsiteY1" fmla="*/ 257442 h 257442"/>
                <a:gd name="connsiteX2" fmla="*/ 2313135 w 2313135"/>
                <a:gd name="connsiteY2" fmla="*/ 257442 h 257442"/>
                <a:gd name="connsiteX3" fmla="*/ 0 w 2313135"/>
                <a:gd name="connsiteY3" fmla="*/ 257442 h 257442"/>
                <a:gd name="connsiteX0" fmla="*/ 934771 w 934771"/>
                <a:gd name="connsiteY0" fmla="*/ 0 h 257442"/>
                <a:gd name="connsiteX1" fmla="*/ 880050 w 934771"/>
                <a:gd name="connsiteY1" fmla="*/ 257442 h 257442"/>
                <a:gd name="connsiteX2" fmla="*/ 1 w 934771"/>
                <a:gd name="connsiteY2" fmla="*/ 257442 h 257442"/>
                <a:gd name="connsiteX3" fmla="*/ 0 w 934771"/>
                <a:gd name="connsiteY3" fmla="*/ 257442 h 257442"/>
                <a:gd name="connsiteX0" fmla="*/ 934770 w 934770"/>
                <a:gd name="connsiteY0" fmla="*/ 0 h 257442"/>
                <a:gd name="connsiteX1" fmla="*/ 880049 w 934770"/>
                <a:gd name="connsiteY1" fmla="*/ 257442 h 257442"/>
                <a:gd name="connsiteX2" fmla="*/ 0 w 934770"/>
                <a:gd name="connsiteY2" fmla="*/ 257442 h 257442"/>
                <a:gd name="connsiteX3" fmla="*/ 54721 w 934770"/>
                <a:gd name="connsiteY3" fmla="*/ 0 h 257442"/>
                <a:gd name="connsiteX0" fmla="*/ 1103085 w 1103085"/>
                <a:gd name="connsiteY0" fmla="*/ 0 h 257442"/>
                <a:gd name="connsiteX1" fmla="*/ 880049 w 1103085"/>
                <a:gd name="connsiteY1" fmla="*/ 257442 h 257442"/>
                <a:gd name="connsiteX2" fmla="*/ 0 w 1103085"/>
                <a:gd name="connsiteY2" fmla="*/ 257442 h 257442"/>
                <a:gd name="connsiteX3" fmla="*/ 54721 w 1103085"/>
                <a:gd name="connsiteY3" fmla="*/ 0 h 257442"/>
                <a:gd name="connsiteX0" fmla="*/ 1103085 w 1103085"/>
                <a:gd name="connsiteY0" fmla="*/ 0 h 257442"/>
                <a:gd name="connsiteX1" fmla="*/ 1048364 w 1103085"/>
                <a:gd name="connsiteY1" fmla="*/ 257442 h 257442"/>
                <a:gd name="connsiteX2" fmla="*/ 0 w 1103085"/>
                <a:gd name="connsiteY2" fmla="*/ 257442 h 257442"/>
                <a:gd name="connsiteX3" fmla="*/ 54721 w 1103085"/>
                <a:gd name="connsiteY3" fmla="*/ 0 h 257442"/>
                <a:gd name="connsiteX0" fmla="*/ 1103086 w 1103086"/>
                <a:gd name="connsiteY0" fmla="*/ 0 h 257442"/>
                <a:gd name="connsiteX1" fmla="*/ 1048365 w 1103086"/>
                <a:gd name="connsiteY1" fmla="*/ 257442 h 257442"/>
                <a:gd name="connsiteX2" fmla="*/ 0 w 1103086"/>
                <a:gd name="connsiteY2" fmla="*/ 257442 h 257442"/>
                <a:gd name="connsiteX3" fmla="*/ 54722 w 1103086"/>
                <a:gd name="connsiteY3" fmla="*/ 0 h 257442"/>
                <a:gd name="connsiteX0" fmla="*/ 1103086 w 1103086"/>
                <a:gd name="connsiteY0" fmla="*/ 0 h 257442"/>
                <a:gd name="connsiteX1" fmla="*/ 1048365 w 1103086"/>
                <a:gd name="connsiteY1" fmla="*/ 257442 h 257442"/>
                <a:gd name="connsiteX2" fmla="*/ 0 w 1103086"/>
                <a:gd name="connsiteY2" fmla="*/ 257442 h 257442"/>
                <a:gd name="connsiteX3" fmla="*/ 54721 w 1103086"/>
                <a:gd name="connsiteY3" fmla="*/ 0 h 257442"/>
                <a:gd name="connsiteX0" fmla="*/ 1271402 w 1271402"/>
                <a:gd name="connsiteY0" fmla="*/ 0 h 257442"/>
                <a:gd name="connsiteX1" fmla="*/ 1048365 w 1271402"/>
                <a:gd name="connsiteY1" fmla="*/ 257442 h 257442"/>
                <a:gd name="connsiteX2" fmla="*/ 0 w 1271402"/>
                <a:gd name="connsiteY2" fmla="*/ 257442 h 257442"/>
                <a:gd name="connsiteX3" fmla="*/ 54721 w 1271402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54721 w 1271402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54721 w 1271402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54721 w 1271402"/>
                <a:gd name="connsiteY3" fmla="*/ 0 h 257442"/>
                <a:gd name="connsiteX0" fmla="*/ 1439717 w 1439717"/>
                <a:gd name="connsiteY0" fmla="*/ 0 h 257442"/>
                <a:gd name="connsiteX1" fmla="*/ 1216681 w 1439717"/>
                <a:gd name="connsiteY1" fmla="*/ 257442 h 257442"/>
                <a:gd name="connsiteX2" fmla="*/ 0 w 1439717"/>
                <a:gd name="connsiteY2" fmla="*/ 257442 h 257442"/>
                <a:gd name="connsiteX3" fmla="*/ 54721 w 1439717"/>
                <a:gd name="connsiteY3" fmla="*/ 0 h 257442"/>
                <a:gd name="connsiteX0" fmla="*/ 1439717 w 1439717"/>
                <a:gd name="connsiteY0" fmla="*/ 0 h 257442"/>
                <a:gd name="connsiteX1" fmla="*/ 1384996 w 1439717"/>
                <a:gd name="connsiteY1" fmla="*/ 257442 h 257442"/>
                <a:gd name="connsiteX2" fmla="*/ 0 w 1439717"/>
                <a:gd name="connsiteY2" fmla="*/ 257442 h 257442"/>
                <a:gd name="connsiteX3" fmla="*/ 54721 w 1439717"/>
                <a:gd name="connsiteY3" fmla="*/ 0 h 257442"/>
                <a:gd name="connsiteX0" fmla="*/ 1439717 w 1439717"/>
                <a:gd name="connsiteY0" fmla="*/ 0 h 257442"/>
                <a:gd name="connsiteX1" fmla="*/ 1384996 w 1439717"/>
                <a:gd name="connsiteY1" fmla="*/ 257442 h 257442"/>
                <a:gd name="connsiteX2" fmla="*/ 0 w 1439717"/>
                <a:gd name="connsiteY2" fmla="*/ 257442 h 257442"/>
                <a:gd name="connsiteX3" fmla="*/ 54721 w 1439717"/>
                <a:gd name="connsiteY3" fmla="*/ 0 h 257442"/>
                <a:gd name="connsiteX0" fmla="*/ 1439717 w 1439717"/>
                <a:gd name="connsiteY0" fmla="*/ 0 h 257442"/>
                <a:gd name="connsiteX1" fmla="*/ 1384996 w 1439717"/>
                <a:gd name="connsiteY1" fmla="*/ 257442 h 257442"/>
                <a:gd name="connsiteX2" fmla="*/ 0 w 1439717"/>
                <a:gd name="connsiteY2" fmla="*/ 257442 h 257442"/>
                <a:gd name="connsiteX3" fmla="*/ 54721 w 1439717"/>
                <a:gd name="connsiteY3" fmla="*/ 0 h 257442"/>
                <a:gd name="connsiteX0" fmla="*/ 1692991 w 1692991"/>
                <a:gd name="connsiteY0" fmla="*/ 0 h 257442"/>
                <a:gd name="connsiteX1" fmla="*/ 1384996 w 1692991"/>
                <a:gd name="connsiteY1" fmla="*/ 257442 h 257442"/>
                <a:gd name="connsiteX2" fmla="*/ 0 w 1692991"/>
                <a:gd name="connsiteY2" fmla="*/ 257442 h 257442"/>
                <a:gd name="connsiteX3" fmla="*/ 54721 w 1692991"/>
                <a:gd name="connsiteY3" fmla="*/ 0 h 257442"/>
                <a:gd name="connsiteX0" fmla="*/ 1692991 w 1692991"/>
                <a:gd name="connsiteY0" fmla="*/ 0 h 257442"/>
                <a:gd name="connsiteX1" fmla="*/ 1638270 w 1692991"/>
                <a:gd name="connsiteY1" fmla="*/ 257442 h 257442"/>
                <a:gd name="connsiteX2" fmla="*/ 0 w 1692991"/>
                <a:gd name="connsiteY2" fmla="*/ 257442 h 257442"/>
                <a:gd name="connsiteX3" fmla="*/ 54721 w 1692991"/>
                <a:gd name="connsiteY3" fmla="*/ 0 h 257442"/>
                <a:gd name="connsiteX0" fmla="*/ 1692991 w 1692991"/>
                <a:gd name="connsiteY0" fmla="*/ 0 h 257442"/>
                <a:gd name="connsiteX1" fmla="*/ 1638270 w 1692991"/>
                <a:gd name="connsiteY1" fmla="*/ 257442 h 257442"/>
                <a:gd name="connsiteX2" fmla="*/ 0 w 1692991"/>
                <a:gd name="connsiteY2" fmla="*/ 257442 h 257442"/>
                <a:gd name="connsiteX3" fmla="*/ 54721 w 1692991"/>
                <a:gd name="connsiteY3" fmla="*/ 0 h 257442"/>
                <a:gd name="connsiteX0" fmla="*/ 1692991 w 1692991"/>
                <a:gd name="connsiteY0" fmla="*/ 0 h 257442"/>
                <a:gd name="connsiteX1" fmla="*/ 1638270 w 1692991"/>
                <a:gd name="connsiteY1" fmla="*/ 257442 h 257442"/>
                <a:gd name="connsiteX2" fmla="*/ 0 w 1692991"/>
                <a:gd name="connsiteY2" fmla="*/ 257442 h 257442"/>
                <a:gd name="connsiteX3" fmla="*/ 54721 w 1692991"/>
                <a:gd name="connsiteY3" fmla="*/ 0 h 257442"/>
                <a:gd name="connsiteX0" fmla="*/ 1870925 w 1870925"/>
                <a:gd name="connsiteY0" fmla="*/ 0 h 257442"/>
                <a:gd name="connsiteX1" fmla="*/ 1638270 w 1870925"/>
                <a:gd name="connsiteY1" fmla="*/ 257442 h 257442"/>
                <a:gd name="connsiteX2" fmla="*/ 0 w 1870925"/>
                <a:gd name="connsiteY2" fmla="*/ 257442 h 257442"/>
                <a:gd name="connsiteX3" fmla="*/ 54721 w 1870925"/>
                <a:gd name="connsiteY3" fmla="*/ 0 h 257442"/>
                <a:gd name="connsiteX0" fmla="*/ 1870925 w 1870925"/>
                <a:gd name="connsiteY0" fmla="*/ 0 h 257442"/>
                <a:gd name="connsiteX1" fmla="*/ 1816204 w 1870925"/>
                <a:gd name="connsiteY1" fmla="*/ 257442 h 257442"/>
                <a:gd name="connsiteX2" fmla="*/ 0 w 1870925"/>
                <a:gd name="connsiteY2" fmla="*/ 257442 h 257442"/>
                <a:gd name="connsiteX3" fmla="*/ 54721 w 1870925"/>
                <a:gd name="connsiteY3" fmla="*/ 0 h 257442"/>
                <a:gd name="connsiteX0" fmla="*/ 1870925 w 1870925"/>
                <a:gd name="connsiteY0" fmla="*/ 0 h 257442"/>
                <a:gd name="connsiteX1" fmla="*/ 1816204 w 1870925"/>
                <a:gd name="connsiteY1" fmla="*/ 257442 h 257442"/>
                <a:gd name="connsiteX2" fmla="*/ 0 w 1870925"/>
                <a:gd name="connsiteY2" fmla="*/ 257442 h 257442"/>
                <a:gd name="connsiteX3" fmla="*/ 54721 w 1870925"/>
                <a:gd name="connsiteY3" fmla="*/ 0 h 257442"/>
                <a:gd name="connsiteX0" fmla="*/ 1870925 w 1870925"/>
                <a:gd name="connsiteY0" fmla="*/ 0 h 257442"/>
                <a:gd name="connsiteX1" fmla="*/ 1816204 w 1870925"/>
                <a:gd name="connsiteY1" fmla="*/ 257442 h 257442"/>
                <a:gd name="connsiteX2" fmla="*/ 0 w 1870925"/>
                <a:gd name="connsiteY2" fmla="*/ 257442 h 257442"/>
                <a:gd name="connsiteX3" fmla="*/ 54721 w 1870925"/>
                <a:gd name="connsiteY3" fmla="*/ 0 h 257442"/>
                <a:gd name="connsiteX0" fmla="*/ 2039240 w 2039240"/>
                <a:gd name="connsiteY0" fmla="*/ 0 h 257442"/>
                <a:gd name="connsiteX1" fmla="*/ 1816204 w 2039240"/>
                <a:gd name="connsiteY1" fmla="*/ 257442 h 257442"/>
                <a:gd name="connsiteX2" fmla="*/ 0 w 2039240"/>
                <a:gd name="connsiteY2" fmla="*/ 257442 h 257442"/>
                <a:gd name="connsiteX3" fmla="*/ 54721 w 2039240"/>
                <a:gd name="connsiteY3" fmla="*/ 0 h 257442"/>
                <a:gd name="connsiteX0" fmla="*/ 2039240 w 2039240"/>
                <a:gd name="connsiteY0" fmla="*/ 0 h 257442"/>
                <a:gd name="connsiteX1" fmla="*/ 1984518 w 2039240"/>
                <a:gd name="connsiteY1" fmla="*/ 257442 h 257442"/>
                <a:gd name="connsiteX2" fmla="*/ 0 w 2039240"/>
                <a:gd name="connsiteY2" fmla="*/ 257442 h 257442"/>
                <a:gd name="connsiteX3" fmla="*/ 54721 w 2039240"/>
                <a:gd name="connsiteY3" fmla="*/ 0 h 257442"/>
                <a:gd name="connsiteX0" fmla="*/ 2039241 w 2039241"/>
                <a:gd name="connsiteY0" fmla="*/ 0 h 257442"/>
                <a:gd name="connsiteX1" fmla="*/ 1984519 w 2039241"/>
                <a:gd name="connsiteY1" fmla="*/ 257442 h 257442"/>
                <a:gd name="connsiteX2" fmla="*/ 0 w 2039241"/>
                <a:gd name="connsiteY2" fmla="*/ 257442 h 257442"/>
                <a:gd name="connsiteX3" fmla="*/ 54722 w 2039241"/>
                <a:gd name="connsiteY3" fmla="*/ 0 h 257442"/>
                <a:gd name="connsiteX0" fmla="*/ 2039241 w 2039241"/>
                <a:gd name="connsiteY0" fmla="*/ 0 h 257442"/>
                <a:gd name="connsiteX1" fmla="*/ 1984519 w 2039241"/>
                <a:gd name="connsiteY1" fmla="*/ 257442 h 257442"/>
                <a:gd name="connsiteX2" fmla="*/ 0 w 2039241"/>
                <a:gd name="connsiteY2" fmla="*/ 257442 h 257442"/>
                <a:gd name="connsiteX3" fmla="*/ 54722 w 2039241"/>
                <a:gd name="connsiteY3" fmla="*/ 0 h 257442"/>
                <a:gd name="connsiteX0" fmla="*/ 950801 w 1984519"/>
                <a:gd name="connsiteY0" fmla="*/ 0 h 257442"/>
                <a:gd name="connsiteX1" fmla="*/ 1984519 w 1984519"/>
                <a:gd name="connsiteY1" fmla="*/ 257442 h 257442"/>
                <a:gd name="connsiteX2" fmla="*/ 0 w 1984519"/>
                <a:gd name="connsiteY2" fmla="*/ 257442 h 257442"/>
                <a:gd name="connsiteX3" fmla="*/ 54722 w 1984519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54722 w 950801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54722 w 950801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54721 w 950801"/>
                <a:gd name="connsiteY3" fmla="*/ 0 h 257442"/>
                <a:gd name="connsiteX0" fmla="*/ 1119116 w 1119116"/>
                <a:gd name="connsiteY0" fmla="*/ 0 h 257442"/>
                <a:gd name="connsiteX1" fmla="*/ 896080 w 1119116"/>
                <a:gd name="connsiteY1" fmla="*/ 257442 h 257442"/>
                <a:gd name="connsiteX2" fmla="*/ 0 w 1119116"/>
                <a:gd name="connsiteY2" fmla="*/ 257442 h 257442"/>
                <a:gd name="connsiteX3" fmla="*/ 54721 w 1119116"/>
                <a:gd name="connsiteY3" fmla="*/ 0 h 257442"/>
                <a:gd name="connsiteX0" fmla="*/ 1119116 w 1119116"/>
                <a:gd name="connsiteY0" fmla="*/ 0 h 257442"/>
                <a:gd name="connsiteX1" fmla="*/ 1064394 w 1119116"/>
                <a:gd name="connsiteY1" fmla="*/ 257442 h 257442"/>
                <a:gd name="connsiteX2" fmla="*/ 0 w 1119116"/>
                <a:gd name="connsiteY2" fmla="*/ 257442 h 257442"/>
                <a:gd name="connsiteX3" fmla="*/ 54721 w 1119116"/>
                <a:gd name="connsiteY3" fmla="*/ 0 h 257442"/>
                <a:gd name="connsiteX0" fmla="*/ 1119117 w 1119117"/>
                <a:gd name="connsiteY0" fmla="*/ 0 h 257442"/>
                <a:gd name="connsiteX1" fmla="*/ 1064395 w 1119117"/>
                <a:gd name="connsiteY1" fmla="*/ 257442 h 257442"/>
                <a:gd name="connsiteX2" fmla="*/ 0 w 1119117"/>
                <a:gd name="connsiteY2" fmla="*/ 257442 h 257442"/>
                <a:gd name="connsiteX3" fmla="*/ 54722 w 1119117"/>
                <a:gd name="connsiteY3" fmla="*/ 0 h 257442"/>
                <a:gd name="connsiteX0" fmla="*/ 1119117 w 1119117"/>
                <a:gd name="connsiteY0" fmla="*/ 0 h 257442"/>
                <a:gd name="connsiteX1" fmla="*/ 1064395 w 1119117"/>
                <a:gd name="connsiteY1" fmla="*/ 257442 h 257442"/>
                <a:gd name="connsiteX2" fmla="*/ 0 w 1119117"/>
                <a:gd name="connsiteY2" fmla="*/ 257442 h 257442"/>
                <a:gd name="connsiteX3" fmla="*/ 54722 w 1119117"/>
                <a:gd name="connsiteY3" fmla="*/ 0 h 257442"/>
                <a:gd name="connsiteX0" fmla="*/ 1287433 w 1287433"/>
                <a:gd name="connsiteY0" fmla="*/ 0 h 257442"/>
                <a:gd name="connsiteX1" fmla="*/ 1064395 w 1287433"/>
                <a:gd name="connsiteY1" fmla="*/ 257442 h 257442"/>
                <a:gd name="connsiteX2" fmla="*/ 0 w 1287433"/>
                <a:gd name="connsiteY2" fmla="*/ 257442 h 257442"/>
                <a:gd name="connsiteX3" fmla="*/ 54722 w 1287433"/>
                <a:gd name="connsiteY3" fmla="*/ 0 h 257442"/>
                <a:gd name="connsiteX0" fmla="*/ 1287433 w 1287433"/>
                <a:gd name="connsiteY0" fmla="*/ 0 h 257442"/>
                <a:gd name="connsiteX1" fmla="*/ 1232712 w 1287433"/>
                <a:gd name="connsiteY1" fmla="*/ 257442 h 257442"/>
                <a:gd name="connsiteX2" fmla="*/ 0 w 1287433"/>
                <a:gd name="connsiteY2" fmla="*/ 257442 h 257442"/>
                <a:gd name="connsiteX3" fmla="*/ 54722 w 1287433"/>
                <a:gd name="connsiteY3" fmla="*/ 0 h 257442"/>
                <a:gd name="connsiteX0" fmla="*/ 1287432 w 1287432"/>
                <a:gd name="connsiteY0" fmla="*/ 0 h 257442"/>
                <a:gd name="connsiteX1" fmla="*/ 1232711 w 1287432"/>
                <a:gd name="connsiteY1" fmla="*/ 257442 h 257442"/>
                <a:gd name="connsiteX2" fmla="*/ 0 w 1287432"/>
                <a:gd name="connsiteY2" fmla="*/ 257442 h 257442"/>
                <a:gd name="connsiteX3" fmla="*/ 54721 w 1287432"/>
                <a:gd name="connsiteY3" fmla="*/ 0 h 257442"/>
                <a:gd name="connsiteX0" fmla="*/ 1287432 w 1287432"/>
                <a:gd name="connsiteY0" fmla="*/ 0 h 257442"/>
                <a:gd name="connsiteX1" fmla="*/ 1232711 w 1287432"/>
                <a:gd name="connsiteY1" fmla="*/ 257442 h 257442"/>
                <a:gd name="connsiteX2" fmla="*/ 0 w 1287432"/>
                <a:gd name="connsiteY2" fmla="*/ 257442 h 257442"/>
                <a:gd name="connsiteX3" fmla="*/ 54720 w 1287432"/>
                <a:gd name="connsiteY3" fmla="*/ 0 h 257442"/>
                <a:gd name="connsiteX0" fmla="*/ 1455746 w 1455746"/>
                <a:gd name="connsiteY0" fmla="*/ 0 h 257442"/>
                <a:gd name="connsiteX1" fmla="*/ 1232711 w 1455746"/>
                <a:gd name="connsiteY1" fmla="*/ 257442 h 257442"/>
                <a:gd name="connsiteX2" fmla="*/ 0 w 1455746"/>
                <a:gd name="connsiteY2" fmla="*/ 257442 h 257442"/>
                <a:gd name="connsiteX3" fmla="*/ 54720 w 1455746"/>
                <a:gd name="connsiteY3" fmla="*/ 0 h 257442"/>
                <a:gd name="connsiteX0" fmla="*/ 1455746 w 1455746"/>
                <a:gd name="connsiteY0" fmla="*/ 0 h 257442"/>
                <a:gd name="connsiteX1" fmla="*/ 1401025 w 1455746"/>
                <a:gd name="connsiteY1" fmla="*/ 257442 h 257442"/>
                <a:gd name="connsiteX2" fmla="*/ 0 w 1455746"/>
                <a:gd name="connsiteY2" fmla="*/ 257442 h 257442"/>
                <a:gd name="connsiteX3" fmla="*/ 54720 w 1455746"/>
                <a:gd name="connsiteY3" fmla="*/ 0 h 257442"/>
                <a:gd name="connsiteX0" fmla="*/ 1455747 w 1455747"/>
                <a:gd name="connsiteY0" fmla="*/ 0 h 257442"/>
                <a:gd name="connsiteX1" fmla="*/ 1401026 w 1455747"/>
                <a:gd name="connsiteY1" fmla="*/ 257442 h 257442"/>
                <a:gd name="connsiteX2" fmla="*/ 0 w 1455747"/>
                <a:gd name="connsiteY2" fmla="*/ 257442 h 257442"/>
                <a:gd name="connsiteX3" fmla="*/ 54721 w 1455747"/>
                <a:gd name="connsiteY3" fmla="*/ 0 h 257442"/>
                <a:gd name="connsiteX0" fmla="*/ 1455747 w 1455747"/>
                <a:gd name="connsiteY0" fmla="*/ 0 h 257442"/>
                <a:gd name="connsiteX1" fmla="*/ 1401026 w 1455747"/>
                <a:gd name="connsiteY1" fmla="*/ 257442 h 257442"/>
                <a:gd name="connsiteX2" fmla="*/ 0 w 1455747"/>
                <a:gd name="connsiteY2" fmla="*/ 257442 h 257442"/>
                <a:gd name="connsiteX3" fmla="*/ 54722 w 1455747"/>
                <a:gd name="connsiteY3" fmla="*/ 0 h 257442"/>
                <a:gd name="connsiteX0" fmla="*/ 1633681 w 1633681"/>
                <a:gd name="connsiteY0" fmla="*/ 0 h 257442"/>
                <a:gd name="connsiteX1" fmla="*/ 1401026 w 1633681"/>
                <a:gd name="connsiteY1" fmla="*/ 257442 h 257442"/>
                <a:gd name="connsiteX2" fmla="*/ 0 w 1633681"/>
                <a:gd name="connsiteY2" fmla="*/ 257442 h 257442"/>
                <a:gd name="connsiteX3" fmla="*/ 54722 w 1633681"/>
                <a:gd name="connsiteY3" fmla="*/ 0 h 257442"/>
                <a:gd name="connsiteX0" fmla="*/ 1633681 w 1633681"/>
                <a:gd name="connsiteY0" fmla="*/ 0 h 257442"/>
                <a:gd name="connsiteX1" fmla="*/ 1578960 w 1633681"/>
                <a:gd name="connsiteY1" fmla="*/ 257442 h 257442"/>
                <a:gd name="connsiteX2" fmla="*/ 0 w 1633681"/>
                <a:gd name="connsiteY2" fmla="*/ 257442 h 257442"/>
                <a:gd name="connsiteX3" fmla="*/ 54722 w 1633681"/>
                <a:gd name="connsiteY3" fmla="*/ 0 h 257442"/>
                <a:gd name="connsiteX0" fmla="*/ 1633680 w 1633680"/>
                <a:gd name="connsiteY0" fmla="*/ 0 h 257442"/>
                <a:gd name="connsiteX1" fmla="*/ 1578959 w 1633680"/>
                <a:gd name="connsiteY1" fmla="*/ 257442 h 257442"/>
                <a:gd name="connsiteX2" fmla="*/ 0 w 1633680"/>
                <a:gd name="connsiteY2" fmla="*/ 257442 h 257442"/>
                <a:gd name="connsiteX3" fmla="*/ 54721 w 1633680"/>
                <a:gd name="connsiteY3" fmla="*/ 0 h 257442"/>
                <a:gd name="connsiteX0" fmla="*/ 1633680 w 1633680"/>
                <a:gd name="connsiteY0" fmla="*/ 0 h 257442"/>
                <a:gd name="connsiteX1" fmla="*/ 1578959 w 1633680"/>
                <a:gd name="connsiteY1" fmla="*/ 257442 h 257442"/>
                <a:gd name="connsiteX2" fmla="*/ 0 w 1633680"/>
                <a:gd name="connsiteY2" fmla="*/ 257442 h 257442"/>
                <a:gd name="connsiteX3" fmla="*/ 54720 w 1633680"/>
                <a:gd name="connsiteY3" fmla="*/ 0 h 257442"/>
                <a:gd name="connsiteX0" fmla="*/ 1801994 w 1801994"/>
                <a:gd name="connsiteY0" fmla="*/ 0 h 257442"/>
                <a:gd name="connsiteX1" fmla="*/ 1578959 w 1801994"/>
                <a:gd name="connsiteY1" fmla="*/ 257442 h 257442"/>
                <a:gd name="connsiteX2" fmla="*/ 0 w 1801994"/>
                <a:gd name="connsiteY2" fmla="*/ 257442 h 257442"/>
                <a:gd name="connsiteX3" fmla="*/ 54720 w 1801994"/>
                <a:gd name="connsiteY3" fmla="*/ 0 h 257442"/>
                <a:gd name="connsiteX0" fmla="*/ 1801994 w 1801994"/>
                <a:gd name="connsiteY0" fmla="*/ 0 h 257442"/>
                <a:gd name="connsiteX1" fmla="*/ 1747273 w 1801994"/>
                <a:gd name="connsiteY1" fmla="*/ 257442 h 257442"/>
                <a:gd name="connsiteX2" fmla="*/ 0 w 1801994"/>
                <a:gd name="connsiteY2" fmla="*/ 257442 h 257442"/>
                <a:gd name="connsiteX3" fmla="*/ 54720 w 1801994"/>
                <a:gd name="connsiteY3" fmla="*/ 0 h 257442"/>
                <a:gd name="connsiteX0" fmla="*/ 1801995 w 1801995"/>
                <a:gd name="connsiteY0" fmla="*/ 0 h 257442"/>
                <a:gd name="connsiteX1" fmla="*/ 1747274 w 1801995"/>
                <a:gd name="connsiteY1" fmla="*/ 257442 h 257442"/>
                <a:gd name="connsiteX2" fmla="*/ 0 w 1801995"/>
                <a:gd name="connsiteY2" fmla="*/ 257442 h 257442"/>
                <a:gd name="connsiteX3" fmla="*/ 54721 w 1801995"/>
                <a:gd name="connsiteY3" fmla="*/ 0 h 257442"/>
                <a:gd name="connsiteX0" fmla="*/ 1801995 w 1801995"/>
                <a:gd name="connsiteY0" fmla="*/ 0 h 257442"/>
                <a:gd name="connsiteX1" fmla="*/ 1747274 w 1801995"/>
                <a:gd name="connsiteY1" fmla="*/ 257442 h 257442"/>
                <a:gd name="connsiteX2" fmla="*/ 0 w 1801995"/>
                <a:gd name="connsiteY2" fmla="*/ 257442 h 257442"/>
                <a:gd name="connsiteX3" fmla="*/ 54722 w 1801995"/>
                <a:gd name="connsiteY3" fmla="*/ 0 h 257442"/>
                <a:gd name="connsiteX0" fmla="*/ 1979930 w 1979930"/>
                <a:gd name="connsiteY0" fmla="*/ 0 h 257442"/>
                <a:gd name="connsiteX1" fmla="*/ 1747274 w 1979930"/>
                <a:gd name="connsiteY1" fmla="*/ 257442 h 257442"/>
                <a:gd name="connsiteX2" fmla="*/ 0 w 1979930"/>
                <a:gd name="connsiteY2" fmla="*/ 257442 h 257442"/>
                <a:gd name="connsiteX3" fmla="*/ 54722 w 1979930"/>
                <a:gd name="connsiteY3" fmla="*/ 0 h 257442"/>
                <a:gd name="connsiteX0" fmla="*/ 1979930 w 1979930"/>
                <a:gd name="connsiteY0" fmla="*/ 0 h 257442"/>
                <a:gd name="connsiteX1" fmla="*/ 1925208 w 1979930"/>
                <a:gd name="connsiteY1" fmla="*/ 257442 h 257442"/>
                <a:gd name="connsiteX2" fmla="*/ 0 w 1979930"/>
                <a:gd name="connsiteY2" fmla="*/ 257442 h 257442"/>
                <a:gd name="connsiteX3" fmla="*/ 54722 w 1979930"/>
                <a:gd name="connsiteY3" fmla="*/ 0 h 257442"/>
                <a:gd name="connsiteX0" fmla="*/ 1979930 w 1979930"/>
                <a:gd name="connsiteY0" fmla="*/ 0 h 257442"/>
                <a:gd name="connsiteX1" fmla="*/ 1925208 w 1979930"/>
                <a:gd name="connsiteY1" fmla="*/ 257442 h 257442"/>
                <a:gd name="connsiteX2" fmla="*/ 0 w 1979930"/>
                <a:gd name="connsiteY2" fmla="*/ 257442 h 257442"/>
                <a:gd name="connsiteX3" fmla="*/ 54722 w 1979930"/>
                <a:gd name="connsiteY3" fmla="*/ 0 h 257442"/>
                <a:gd name="connsiteX0" fmla="*/ 1979930 w 1979930"/>
                <a:gd name="connsiteY0" fmla="*/ 0 h 257442"/>
                <a:gd name="connsiteX1" fmla="*/ 1925208 w 1979930"/>
                <a:gd name="connsiteY1" fmla="*/ 257442 h 257442"/>
                <a:gd name="connsiteX2" fmla="*/ 0 w 1979930"/>
                <a:gd name="connsiteY2" fmla="*/ 257442 h 257442"/>
                <a:gd name="connsiteX3" fmla="*/ 54721 w 1979930"/>
                <a:gd name="connsiteY3" fmla="*/ 0 h 257442"/>
                <a:gd name="connsiteX0" fmla="*/ 2148244 w 2148244"/>
                <a:gd name="connsiteY0" fmla="*/ 0 h 257442"/>
                <a:gd name="connsiteX1" fmla="*/ 1925208 w 2148244"/>
                <a:gd name="connsiteY1" fmla="*/ 257442 h 257442"/>
                <a:gd name="connsiteX2" fmla="*/ 0 w 2148244"/>
                <a:gd name="connsiteY2" fmla="*/ 257442 h 257442"/>
                <a:gd name="connsiteX3" fmla="*/ 54721 w 2148244"/>
                <a:gd name="connsiteY3" fmla="*/ 0 h 257442"/>
                <a:gd name="connsiteX0" fmla="*/ 2148244 w 2148244"/>
                <a:gd name="connsiteY0" fmla="*/ 0 h 257442"/>
                <a:gd name="connsiteX1" fmla="*/ 2093523 w 2148244"/>
                <a:gd name="connsiteY1" fmla="*/ 257442 h 257442"/>
                <a:gd name="connsiteX2" fmla="*/ 0 w 2148244"/>
                <a:gd name="connsiteY2" fmla="*/ 257442 h 257442"/>
                <a:gd name="connsiteX3" fmla="*/ 54721 w 2148244"/>
                <a:gd name="connsiteY3" fmla="*/ 0 h 257442"/>
                <a:gd name="connsiteX0" fmla="*/ 2148244 w 2148244"/>
                <a:gd name="connsiteY0" fmla="*/ 0 h 257442"/>
                <a:gd name="connsiteX1" fmla="*/ 2093523 w 2148244"/>
                <a:gd name="connsiteY1" fmla="*/ 257442 h 257442"/>
                <a:gd name="connsiteX2" fmla="*/ 0 w 2148244"/>
                <a:gd name="connsiteY2" fmla="*/ 257442 h 257442"/>
                <a:gd name="connsiteX3" fmla="*/ 54721 w 2148244"/>
                <a:gd name="connsiteY3" fmla="*/ 0 h 257442"/>
                <a:gd name="connsiteX0" fmla="*/ 2148244 w 2148244"/>
                <a:gd name="connsiteY0" fmla="*/ 0 h 257442"/>
                <a:gd name="connsiteX1" fmla="*/ 2093523 w 2148244"/>
                <a:gd name="connsiteY1" fmla="*/ 257442 h 257442"/>
                <a:gd name="connsiteX2" fmla="*/ 0 w 2148244"/>
                <a:gd name="connsiteY2" fmla="*/ 257442 h 257442"/>
                <a:gd name="connsiteX3" fmla="*/ 54721 w 2148244"/>
                <a:gd name="connsiteY3" fmla="*/ 0 h 257442"/>
                <a:gd name="connsiteX0" fmla="*/ 2316560 w 2316560"/>
                <a:gd name="connsiteY0" fmla="*/ 0 h 257442"/>
                <a:gd name="connsiteX1" fmla="*/ 2093523 w 2316560"/>
                <a:gd name="connsiteY1" fmla="*/ 257442 h 257442"/>
                <a:gd name="connsiteX2" fmla="*/ 0 w 2316560"/>
                <a:gd name="connsiteY2" fmla="*/ 257442 h 257442"/>
                <a:gd name="connsiteX3" fmla="*/ 54721 w 2316560"/>
                <a:gd name="connsiteY3" fmla="*/ 0 h 257442"/>
                <a:gd name="connsiteX0" fmla="*/ 2316560 w 2316560"/>
                <a:gd name="connsiteY0" fmla="*/ 0 h 257442"/>
                <a:gd name="connsiteX1" fmla="*/ 2261839 w 2316560"/>
                <a:gd name="connsiteY1" fmla="*/ 257442 h 257442"/>
                <a:gd name="connsiteX2" fmla="*/ 0 w 2316560"/>
                <a:gd name="connsiteY2" fmla="*/ 257442 h 257442"/>
                <a:gd name="connsiteX3" fmla="*/ 54721 w 2316560"/>
                <a:gd name="connsiteY3" fmla="*/ 0 h 257442"/>
                <a:gd name="connsiteX0" fmla="*/ 2316560 w 2316560"/>
                <a:gd name="connsiteY0" fmla="*/ 0 h 257442"/>
                <a:gd name="connsiteX1" fmla="*/ 2261839 w 2316560"/>
                <a:gd name="connsiteY1" fmla="*/ 257442 h 257442"/>
                <a:gd name="connsiteX2" fmla="*/ 0 w 2316560"/>
                <a:gd name="connsiteY2" fmla="*/ 257442 h 257442"/>
                <a:gd name="connsiteX3" fmla="*/ 54721 w 2316560"/>
                <a:gd name="connsiteY3" fmla="*/ 0 h 257442"/>
                <a:gd name="connsiteX0" fmla="*/ 2316560 w 2316560"/>
                <a:gd name="connsiteY0" fmla="*/ 0 h 257442"/>
                <a:gd name="connsiteX1" fmla="*/ 2261839 w 2316560"/>
                <a:gd name="connsiteY1" fmla="*/ 257442 h 257442"/>
                <a:gd name="connsiteX2" fmla="*/ 0 w 2316560"/>
                <a:gd name="connsiteY2" fmla="*/ 257442 h 257442"/>
                <a:gd name="connsiteX3" fmla="*/ 54721 w 2316560"/>
                <a:gd name="connsiteY3" fmla="*/ 0 h 257442"/>
                <a:gd name="connsiteX0" fmla="*/ 2484874 w 2484874"/>
                <a:gd name="connsiteY0" fmla="*/ 0 h 257442"/>
                <a:gd name="connsiteX1" fmla="*/ 2261839 w 2484874"/>
                <a:gd name="connsiteY1" fmla="*/ 257442 h 257442"/>
                <a:gd name="connsiteX2" fmla="*/ 0 w 2484874"/>
                <a:gd name="connsiteY2" fmla="*/ 257442 h 257442"/>
                <a:gd name="connsiteX3" fmla="*/ 54721 w 2484874"/>
                <a:gd name="connsiteY3" fmla="*/ 0 h 257442"/>
                <a:gd name="connsiteX0" fmla="*/ 2484874 w 2484874"/>
                <a:gd name="connsiteY0" fmla="*/ 0 h 257442"/>
                <a:gd name="connsiteX1" fmla="*/ 2430153 w 2484874"/>
                <a:gd name="connsiteY1" fmla="*/ 257442 h 257442"/>
                <a:gd name="connsiteX2" fmla="*/ 0 w 2484874"/>
                <a:gd name="connsiteY2" fmla="*/ 257442 h 257442"/>
                <a:gd name="connsiteX3" fmla="*/ 54721 w 2484874"/>
                <a:gd name="connsiteY3" fmla="*/ 0 h 257442"/>
                <a:gd name="connsiteX0" fmla="*/ 2484874 w 2484874"/>
                <a:gd name="connsiteY0" fmla="*/ 0 h 257442"/>
                <a:gd name="connsiteX1" fmla="*/ 2430153 w 2484874"/>
                <a:gd name="connsiteY1" fmla="*/ 257442 h 257442"/>
                <a:gd name="connsiteX2" fmla="*/ 0 w 2484874"/>
                <a:gd name="connsiteY2" fmla="*/ 257442 h 257442"/>
                <a:gd name="connsiteX3" fmla="*/ 54721 w 2484874"/>
                <a:gd name="connsiteY3" fmla="*/ 0 h 257442"/>
                <a:gd name="connsiteX0" fmla="*/ 2484874 w 2484874"/>
                <a:gd name="connsiteY0" fmla="*/ 0 h 257442"/>
                <a:gd name="connsiteX1" fmla="*/ 2430153 w 2484874"/>
                <a:gd name="connsiteY1" fmla="*/ 257442 h 257442"/>
                <a:gd name="connsiteX2" fmla="*/ 0 w 2484874"/>
                <a:gd name="connsiteY2" fmla="*/ 257442 h 257442"/>
                <a:gd name="connsiteX3" fmla="*/ 54721 w 2484874"/>
                <a:gd name="connsiteY3" fmla="*/ 0 h 257442"/>
                <a:gd name="connsiteX0" fmla="*/ 2645175 w 2645175"/>
                <a:gd name="connsiteY0" fmla="*/ 0 h 257442"/>
                <a:gd name="connsiteX1" fmla="*/ 2430153 w 2645175"/>
                <a:gd name="connsiteY1" fmla="*/ 257442 h 257442"/>
                <a:gd name="connsiteX2" fmla="*/ 0 w 2645175"/>
                <a:gd name="connsiteY2" fmla="*/ 257442 h 257442"/>
                <a:gd name="connsiteX3" fmla="*/ 54721 w 2645175"/>
                <a:gd name="connsiteY3" fmla="*/ 0 h 257442"/>
                <a:gd name="connsiteX0" fmla="*/ 2645175 w 2645175"/>
                <a:gd name="connsiteY0" fmla="*/ 0 h 257442"/>
                <a:gd name="connsiteX1" fmla="*/ 2590454 w 2645175"/>
                <a:gd name="connsiteY1" fmla="*/ 257442 h 257442"/>
                <a:gd name="connsiteX2" fmla="*/ 0 w 2645175"/>
                <a:gd name="connsiteY2" fmla="*/ 257442 h 257442"/>
                <a:gd name="connsiteX3" fmla="*/ 54721 w 2645175"/>
                <a:gd name="connsiteY3" fmla="*/ 0 h 257442"/>
                <a:gd name="connsiteX0" fmla="*/ 2645175 w 2645175"/>
                <a:gd name="connsiteY0" fmla="*/ 0 h 257442"/>
                <a:gd name="connsiteX1" fmla="*/ 2590454 w 2645175"/>
                <a:gd name="connsiteY1" fmla="*/ 257442 h 257442"/>
                <a:gd name="connsiteX2" fmla="*/ 0 w 2645175"/>
                <a:gd name="connsiteY2" fmla="*/ 257442 h 257442"/>
                <a:gd name="connsiteX3" fmla="*/ 54721 w 2645175"/>
                <a:gd name="connsiteY3" fmla="*/ 0 h 257442"/>
                <a:gd name="connsiteX0" fmla="*/ 2645175 w 2645175"/>
                <a:gd name="connsiteY0" fmla="*/ 0 h 257442"/>
                <a:gd name="connsiteX1" fmla="*/ 2590454 w 2645175"/>
                <a:gd name="connsiteY1" fmla="*/ 257442 h 257442"/>
                <a:gd name="connsiteX2" fmla="*/ 0 w 2645175"/>
                <a:gd name="connsiteY2" fmla="*/ 257442 h 257442"/>
                <a:gd name="connsiteX3" fmla="*/ 54721 w 2645175"/>
                <a:gd name="connsiteY3" fmla="*/ 0 h 257442"/>
                <a:gd name="connsiteX0" fmla="*/ 2813491 w 2813491"/>
                <a:gd name="connsiteY0" fmla="*/ 0 h 257442"/>
                <a:gd name="connsiteX1" fmla="*/ 2590454 w 2813491"/>
                <a:gd name="connsiteY1" fmla="*/ 257442 h 257442"/>
                <a:gd name="connsiteX2" fmla="*/ 0 w 2813491"/>
                <a:gd name="connsiteY2" fmla="*/ 257442 h 257442"/>
                <a:gd name="connsiteX3" fmla="*/ 54721 w 2813491"/>
                <a:gd name="connsiteY3" fmla="*/ 0 h 257442"/>
                <a:gd name="connsiteX0" fmla="*/ 2813491 w 2813491"/>
                <a:gd name="connsiteY0" fmla="*/ 0 h 257442"/>
                <a:gd name="connsiteX1" fmla="*/ 2758770 w 2813491"/>
                <a:gd name="connsiteY1" fmla="*/ 257442 h 257442"/>
                <a:gd name="connsiteX2" fmla="*/ 0 w 2813491"/>
                <a:gd name="connsiteY2" fmla="*/ 257442 h 257442"/>
                <a:gd name="connsiteX3" fmla="*/ 54721 w 2813491"/>
                <a:gd name="connsiteY3" fmla="*/ 0 h 257442"/>
                <a:gd name="connsiteX0" fmla="*/ 2813491 w 2813491"/>
                <a:gd name="connsiteY0" fmla="*/ 0 h 257442"/>
                <a:gd name="connsiteX1" fmla="*/ 2758770 w 2813491"/>
                <a:gd name="connsiteY1" fmla="*/ 257442 h 257442"/>
                <a:gd name="connsiteX2" fmla="*/ 0 w 2813491"/>
                <a:gd name="connsiteY2" fmla="*/ 257442 h 257442"/>
                <a:gd name="connsiteX3" fmla="*/ 54721 w 2813491"/>
                <a:gd name="connsiteY3" fmla="*/ 0 h 257442"/>
                <a:gd name="connsiteX0" fmla="*/ 2813491 w 2813491"/>
                <a:gd name="connsiteY0" fmla="*/ 0 h 257442"/>
                <a:gd name="connsiteX1" fmla="*/ 2758770 w 2813491"/>
                <a:gd name="connsiteY1" fmla="*/ 257442 h 257442"/>
                <a:gd name="connsiteX2" fmla="*/ 0 w 2813491"/>
                <a:gd name="connsiteY2" fmla="*/ 257442 h 257442"/>
                <a:gd name="connsiteX3" fmla="*/ 54721 w 2813491"/>
                <a:gd name="connsiteY3" fmla="*/ 0 h 257442"/>
                <a:gd name="connsiteX0" fmla="*/ 2981805 w 2981805"/>
                <a:gd name="connsiteY0" fmla="*/ 0 h 257442"/>
                <a:gd name="connsiteX1" fmla="*/ 2758770 w 2981805"/>
                <a:gd name="connsiteY1" fmla="*/ 257442 h 257442"/>
                <a:gd name="connsiteX2" fmla="*/ 0 w 2981805"/>
                <a:gd name="connsiteY2" fmla="*/ 257442 h 257442"/>
                <a:gd name="connsiteX3" fmla="*/ 54721 w 2981805"/>
                <a:gd name="connsiteY3" fmla="*/ 0 h 257442"/>
                <a:gd name="connsiteX0" fmla="*/ 2981805 w 2981805"/>
                <a:gd name="connsiteY0" fmla="*/ 0 h 257442"/>
                <a:gd name="connsiteX1" fmla="*/ 2927084 w 2981805"/>
                <a:gd name="connsiteY1" fmla="*/ 257442 h 257442"/>
                <a:gd name="connsiteX2" fmla="*/ 0 w 2981805"/>
                <a:gd name="connsiteY2" fmla="*/ 257442 h 257442"/>
                <a:gd name="connsiteX3" fmla="*/ 54721 w 2981805"/>
                <a:gd name="connsiteY3" fmla="*/ 0 h 257442"/>
                <a:gd name="connsiteX0" fmla="*/ 2981805 w 2981805"/>
                <a:gd name="connsiteY0" fmla="*/ 0 h 257442"/>
                <a:gd name="connsiteX1" fmla="*/ 2927084 w 2981805"/>
                <a:gd name="connsiteY1" fmla="*/ 257442 h 257442"/>
                <a:gd name="connsiteX2" fmla="*/ 0 w 2981805"/>
                <a:gd name="connsiteY2" fmla="*/ 257442 h 257442"/>
                <a:gd name="connsiteX3" fmla="*/ 54721 w 2981805"/>
                <a:gd name="connsiteY3" fmla="*/ 0 h 257442"/>
                <a:gd name="connsiteX0" fmla="*/ 2981805 w 2981805"/>
                <a:gd name="connsiteY0" fmla="*/ 0 h 257442"/>
                <a:gd name="connsiteX1" fmla="*/ 2927084 w 2981805"/>
                <a:gd name="connsiteY1" fmla="*/ 257442 h 257442"/>
                <a:gd name="connsiteX2" fmla="*/ 0 w 2981805"/>
                <a:gd name="connsiteY2" fmla="*/ 257442 h 257442"/>
                <a:gd name="connsiteX3" fmla="*/ 54721 w 2981805"/>
                <a:gd name="connsiteY3" fmla="*/ 0 h 257442"/>
                <a:gd name="connsiteX0" fmla="*/ 3150121 w 3150121"/>
                <a:gd name="connsiteY0" fmla="*/ 0 h 257442"/>
                <a:gd name="connsiteX1" fmla="*/ 2927084 w 3150121"/>
                <a:gd name="connsiteY1" fmla="*/ 257442 h 257442"/>
                <a:gd name="connsiteX2" fmla="*/ 0 w 3150121"/>
                <a:gd name="connsiteY2" fmla="*/ 257442 h 257442"/>
                <a:gd name="connsiteX3" fmla="*/ 54721 w 3150121"/>
                <a:gd name="connsiteY3" fmla="*/ 0 h 257442"/>
                <a:gd name="connsiteX0" fmla="*/ 3150121 w 3150121"/>
                <a:gd name="connsiteY0" fmla="*/ 0 h 257442"/>
                <a:gd name="connsiteX1" fmla="*/ 3095400 w 3150121"/>
                <a:gd name="connsiteY1" fmla="*/ 257442 h 257442"/>
                <a:gd name="connsiteX2" fmla="*/ 0 w 3150121"/>
                <a:gd name="connsiteY2" fmla="*/ 257442 h 257442"/>
                <a:gd name="connsiteX3" fmla="*/ 54721 w 3150121"/>
                <a:gd name="connsiteY3" fmla="*/ 0 h 257442"/>
                <a:gd name="connsiteX0" fmla="*/ 3150121 w 3150121"/>
                <a:gd name="connsiteY0" fmla="*/ 0 h 257442"/>
                <a:gd name="connsiteX1" fmla="*/ 3095400 w 3150121"/>
                <a:gd name="connsiteY1" fmla="*/ 257442 h 257442"/>
                <a:gd name="connsiteX2" fmla="*/ 0 w 3150121"/>
                <a:gd name="connsiteY2" fmla="*/ 257442 h 257442"/>
                <a:gd name="connsiteX3" fmla="*/ 54721 w 3150121"/>
                <a:gd name="connsiteY3" fmla="*/ 0 h 257442"/>
                <a:gd name="connsiteX0" fmla="*/ 3150121 w 3150121"/>
                <a:gd name="connsiteY0" fmla="*/ 0 h 257442"/>
                <a:gd name="connsiteX1" fmla="*/ 3095400 w 3150121"/>
                <a:gd name="connsiteY1" fmla="*/ 257442 h 257442"/>
                <a:gd name="connsiteX2" fmla="*/ 0 w 3150121"/>
                <a:gd name="connsiteY2" fmla="*/ 257442 h 257442"/>
                <a:gd name="connsiteX3" fmla="*/ 54721 w 3150121"/>
                <a:gd name="connsiteY3" fmla="*/ 0 h 257442"/>
                <a:gd name="connsiteX0" fmla="*/ 3318436 w 3318436"/>
                <a:gd name="connsiteY0" fmla="*/ 0 h 257442"/>
                <a:gd name="connsiteX1" fmla="*/ 3095400 w 3318436"/>
                <a:gd name="connsiteY1" fmla="*/ 257442 h 257442"/>
                <a:gd name="connsiteX2" fmla="*/ 0 w 3318436"/>
                <a:gd name="connsiteY2" fmla="*/ 257442 h 257442"/>
                <a:gd name="connsiteX3" fmla="*/ 54721 w 3318436"/>
                <a:gd name="connsiteY3" fmla="*/ 0 h 257442"/>
                <a:gd name="connsiteX0" fmla="*/ 3318436 w 3318436"/>
                <a:gd name="connsiteY0" fmla="*/ 0 h 257442"/>
                <a:gd name="connsiteX1" fmla="*/ 3263714 w 3318436"/>
                <a:gd name="connsiteY1" fmla="*/ 257442 h 257442"/>
                <a:gd name="connsiteX2" fmla="*/ 0 w 3318436"/>
                <a:gd name="connsiteY2" fmla="*/ 257442 h 257442"/>
                <a:gd name="connsiteX3" fmla="*/ 54721 w 3318436"/>
                <a:gd name="connsiteY3" fmla="*/ 0 h 257442"/>
                <a:gd name="connsiteX0" fmla="*/ 3318437 w 3318437"/>
                <a:gd name="connsiteY0" fmla="*/ 0 h 257442"/>
                <a:gd name="connsiteX1" fmla="*/ 3263715 w 3318437"/>
                <a:gd name="connsiteY1" fmla="*/ 257442 h 257442"/>
                <a:gd name="connsiteX2" fmla="*/ 0 w 3318437"/>
                <a:gd name="connsiteY2" fmla="*/ 257442 h 257442"/>
                <a:gd name="connsiteX3" fmla="*/ 54722 w 3318437"/>
                <a:gd name="connsiteY3" fmla="*/ 0 h 257442"/>
                <a:gd name="connsiteX0" fmla="*/ 3318437 w 3318437"/>
                <a:gd name="connsiteY0" fmla="*/ 0 h 257442"/>
                <a:gd name="connsiteX1" fmla="*/ 3263715 w 3318437"/>
                <a:gd name="connsiteY1" fmla="*/ 257442 h 257442"/>
                <a:gd name="connsiteX2" fmla="*/ 0 w 3318437"/>
                <a:gd name="connsiteY2" fmla="*/ 257442 h 257442"/>
                <a:gd name="connsiteX3" fmla="*/ 54722 w 3318437"/>
                <a:gd name="connsiteY3" fmla="*/ 0 h 257442"/>
                <a:gd name="connsiteX0" fmla="*/ 3560298 w 3560298"/>
                <a:gd name="connsiteY0" fmla="*/ 0 h 257442"/>
                <a:gd name="connsiteX1" fmla="*/ 3263715 w 3560298"/>
                <a:gd name="connsiteY1" fmla="*/ 257442 h 257442"/>
                <a:gd name="connsiteX2" fmla="*/ 0 w 3560298"/>
                <a:gd name="connsiteY2" fmla="*/ 257442 h 257442"/>
                <a:gd name="connsiteX3" fmla="*/ 54722 w 3560298"/>
                <a:gd name="connsiteY3" fmla="*/ 0 h 257442"/>
                <a:gd name="connsiteX0" fmla="*/ 3560298 w 3560298"/>
                <a:gd name="connsiteY0" fmla="*/ 0 h 257442"/>
                <a:gd name="connsiteX1" fmla="*/ 3505576 w 3560298"/>
                <a:gd name="connsiteY1" fmla="*/ 257442 h 257442"/>
                <a:gd name="connsiteX2" fmla="*/ 0 w 3560298"/>
                <a:gd name="connsiteY2" fmla="*/ 257442 h 257442"/>
                <a:gd name="connsiteX3" fmla="*/ 54722 w 3560298"/>
                <a:gd name="connsiteY3" fmla="*/ 0 h 257442"/>
                <a:gd name="connsiteX0" fmla="*/ 3560298 w 3560298"/>
                <a:gd name="connsiteY0" fmla="*/ 0 h 257442"/>
                <a:gd name="connsiteX1" fmla="*/ 3505576 w 3560298"/>
                <a:gd name="connsiteY1" fmla="*/ 257442 h 257442"/>
                <a:gd name="connsiteX2" fmla="*/ 0 w 3560298"/>
                <a:gd name="connsiteY2" fmla="*/ 257442 h 257442"/>
                <a:gd name="connsiteX3" fmla="*/ 54722 w 3560298"/>
                <a:gd name="connsiteY3" fmla="*/ 0 h 257442"/>
                <a:gd name="connsiteX0" fmla="*/ 3560298 w 3560298"/>
                <a:gd name="connsiteY0" fmla="*/ 0 h 257442"/>
                <a:gd name="connsiteX1" fmla="*/ 3505576 w 3560298"/>
                <a:gd name="connsiteY1" fmla="*/ 257442 h 257442"/>
                <a:gd name="connsiteX2" fmla="*/ 0 w 3560298"/>
                <a:gd name="connsiteY2" fmla="*/ 257442 h 257442"/>
                <a:gd name="connsiteX3" fmla="*/ 54721 w 3560298"/>
                <a:gd name="connsiteY3" fmla="*/ 0 h 257442"/>
                <a:gd name="connsiteX0" fmla="*/ 3738231 w 3738231"/>
                <a:gd name="connsiteY0" fmla="*/ 0 h 257442"/>
                <a:gd name="connsiteX1" fmla="*/ 3505576 w 3738231"/>
                <a:gd name="connsiteY1" fmla="*/ 257442 h 257442"/>
                <a:gd name="connsiteX2" fmla="*/ 0 w 3738231"/>
                <a:gd name="connsiteY2" fmla="*/ 257442 h 257442"/>
                <a:gd name="connsiteX3" fmla="*/ 54721 w 3738231"/>
                <a:gd name="connsiteY3" fmla="*/ 0 h 257442"/>
                <a:gd name="connsiteX0" fmla="*/ 3738231 w 3738231"/>
                <a:gd name="connsiteY0" fmla="*/ 0 h 257442"/>
                <a:gd name="connsiteX1" fmla="*/ 3683510 w 3738231"/>
                <a:gd name="connsiteY1" fmla="*/ 257442 h 257442"/>
                <a:gd name="connsiteX2" fmla="*/ 0 w 3738231"/>
                <a:gd name="connsiteY2" fmla="*/ 257442 h 257442"/>
                <a:gd name="connsiteX3" fmla="*/ 54721 w 3738231"/>
                <a:gd name="connsiteY3" fmla="*/ 0 h 257442"/>
                <a:gd name="connsiteX0" fmla="*/ 3738231 w 3738231"/>
                <a:gd name="connsiteY0" fmla="*/ 0 h 257442"/>
                <a:gd name="connsiteX1" fmla="*/ 3683510 w 3738231"/>
                <a:gd name="connsiteY1" fmla="*/ 257442 h 257442"/>
                <a:gd name="connsiteX2" fmla="*/ 0 w 3738231"/>
                <a:gd name="connsiteY2" fmla="*/ 257442 h 257442"/>
                <a:gd name="connsiteX3" fmla="*/ 54721 w 3738231"/>
                <a:gd name="connsiteY3" fmla="*/ 0 h 257442"/>
                <a:gd name="connsiteX0" fmla="*/ 3738231 w 3738231"/>
                <a:gd name="connsiteY0" fmla="*/ 0 h 257442"/>
                <a:gd name="connsiteX1" fmla="*/ 3683510 w 3738231"/>
                <a:gd name="connsiteY1" fmla="*/ 257442 h 257442"/>
                <a:gd name="connsiteX2" fmla="*/ 0 w 3738231"/>
                <a:gd name="connsiteY2" fmla="*/ 257442 h 257442"/>
                <a:gd name="connsiteX3" fmla="*/ 54721 w 3738231"/>
                <a:gd name="connsiteY3" fmla="*/ 0 h 257442"/>
                <a:gd name="connsiteX0" fmla="*/ 3906546 w 3906546"/>
                <a:gd name="connsiteY0" fmla="*/ 0 h 257442"/>
                <a:gd name="connsiteX1" fmla="*/ 3683510 w 3906546"/>
                <a:gd name="connsiteY1" fmla="*/ 257442 h 257442"/>
                <a:gd name="connsiteX2" fmla="*/ 0 w 3906546"/>
                <a:gd name="connsiteY2" fmla="*/ 257442 h 257442"/>
                <a:gd name="connsiteX3" fmla="*/ 54721 w 3906546"/>
                <a:gd name="connsiteY3" fmla="*/ 0 h 257442"/>
                <a:gd name="connsiteX0" fmla="*/ 3906546 w 3906546"/>
                <a:gd name="connsiteY0" fmla="*/ 0 h 257442"/>
                <a:gd name="connsiteX1" fmla="*/ 3851824 w 3906546"/>
                <a:gd name="connsiteY1" fmla="*/ 257442 h 257442"/>
                <a:gd name="connsiteX2" fmla="*/ 0 w 3906546"/>
                <a:gd name="connsiteY2" fmla="*/ 257442 h 257442"/>
                <a:gd name="connsiteX3" fmla="*/ 54721 w 3906546"/>
                <a:gd name="connsiteY3" fmla="*/ 0 h 257442"/>
                <a:gd name="connsiteX0" fmla="*/ 3906547 w 3906547"/>
                <a:gd name="connsiteY0" fmla="*/ 0 h 257442"/>
                <a:gd name="connsiteX1" fmla="*/ 3851825 w 3906547"/>
                <a:gd name="connsiteY1" fmla="*/ 257442 h 257442"/>
                <a:gd name="connsiteX2" fmla="*/ 0 w 3906547"/>
                <a:gd name="connsiteY2" fmla="*/ 257442 h 257442"/>
                <a:gd name="connsiteX3" fmla="*/ 54722 w 3906547"/>
                <a:gd name="connsiteY3" fmla="*/ 0 h 257442"/>
                <a:gd name="connsiteX0" fmla="*/ 3906547 w 3906547"/>
                <a:gd name="connsiteY0" fmla="*/ 0 h 257442"/>
                <a:gd name="connsiteX1" fmla="*/ 3851825 w 3906547"/>
                <a:gd name="connsiteY1" fmla="*/ 257442 h 257442"/>
                <a:gd name="connsiteX2" fmla="*/ 0 w 3906547"/>
                <a:gd name="connsiteY2" fmla="*/ 257442 h 257442"/>
                <a:gd name="connsiteX3" fmla="*/ 54722 w 3906547"/>
                <a:gd name="connsiteY3" fmla="*/ 0 h 257442"/>
                <a:gd name="connsiteX0" fmla="*/ 4074863 w 4074863"/>
                <a:gd name="connsiteY0" fmla="*/ 0 h 257442"/>
                <a:gd name="connsiteX1" fmla="*/ 3851825 w 4074863"/>
                <a:gd name="connsiteY1" fmla="*/ 257442 h 257442"/>
                <a:gd name="connsiteX2" fmla="*/ 0 w 4074863"/>
                <a:gd name="connsiteY2" fmla="*/ 257442 h 257442"/>
                <a:gd name="connsiteX3" fmla="*/ 54722 w 4074863"/>
                <a:gd name="connsiteY3" fmla="*/ 0 h 257442"/>
                <a:gd name="connsiteX0" fmla="*/ 4074863 w 4074863"/>
                <a:gd name="connsiteY0" fmla="*/ 0 h 257442"/>
                <a:gd name="connsiteX1" fmla="*/ 4020142 w 4074863"/>
                <a:gd name="connsiteY1" fmla="*/ 257442 h 257442"/>
                <a:gd name="connsiteX2" fmla="*/ 0 w 4074863"/>
                <a:gd name="connsiteY2" fmla="*/ 257442 h 257442"/>
                <a:gd name="connsiteX3" fmla="*/ 54722 w 4074863"/>
                <a:gd name="connsiteY3" fmla="*/ 0 h 257442"/>
                <a:gd name="connsiteX0" fmla="*/ 4074862 w 4074862"/>
                <a:gd name="connsiteY0" fmla="*/ 0 h 257442"/>
                <a:gd name="connsiteX1" fmla="*/ 4020141 w 4074862"/>
                <a:gd name="connsiteY1" fmla="*/ 257442 h 257442"/>
                <a:gd name="connsiteX2" fmla="*/ 0 w 4074862"/>
                <a:gd name="connsiteY2" fmla="*/ 257442 h 257442"/>
                <a:gd name="connsiteX3" fmla="*/ 54721 w 4074862"/>
                <a:gd name="connsiteY3" fmla="*/ 0 h 257442"/>
                <a:gd name="connsiteX0" fmla="*/ 4074862 w 4074862"/>
                <a:gd name="connsiteY0" fmla="*/ 0 h 257442"/>
                <a:gd name="connsiteX1" fmla="*/ 4020141 w 4074862"/>
                <a:gd name="connsiteY1" fmla="*/ 257442 h 257442"/>
                <a:gd name="connsiteX2" fmla="*/ 0 w 4074862"/>
                <a:gd name="connsiteY2" fmla="*/ 257442 h 257442"/>
                <a:gd name="connsiteX3" fmla="*/ 54720 w 4074862"/>
                <a:gd name="connsiteY3" fmla="*/ 0 h 257442"/>
                <a:gd name="connsiteX0" fmla="*/ 4325377 w 4325377"/>
                <a:gd name="connsiteY0" fmla="*/ 0 h 257442"/>
                <a:gd name="connsiteX1" fmla="*/ 4020141 w 4325377"/>
                <a:gd name="connsiteY1" fmla="*/ 257442 h 257442"/>
                <a:gd name="connsiteX2" fmla="*/ 0 w 4325377"/>
                <a:gd name="connsiteY2" fmla="*/ 257442 h 257442"/>
                <a:gd name="connsiteX3" fmla="*/ 54720 w 4325377"/>
                <a:gd name="connsiteY3" fmla="*/ 0 h 257442"/>
                <a:gd name="connsiteX0" fmla="*/ 4325377 w 4325377"/>
                <a:gd name="connsiteY0" fmla="*/ 0 h 257442"/>
                <a:gd name="connsiteX1" fmla="*/ 4270656 w 4325377"/>
                <a:gd name="connsiteY1" fmla="*/ 257442 h 257442"/>
                <a:gd name="connsiteX2" fmla="*/ 0 w 4325377"/>
                <a:gd name="connsiteY2" fmla="*/ 257442 h 257442"/>
                <a:gd name="connsiteX3" fmla="*/ 54720 w 4325377"/>
                <a:gd name="connsiteY3" fmla="*/ 0 h 257442"/>
                <a:gd name="connsiteX0" fmla="*/ 4325378 w 4325378"/>
                <a:gd name="connsiteY0" fmla="*/ 0 h 257442"/>
                <a:gd name="connsiteX1" fmla="*/ 4270657 w 4325378"/>
                <a:gd name="connsiteY1" fmla="*/ 257442 h 257442"/>
                <a:gd name="connsiteX2" fmla="*/ 0 w 4325378"/>
                <a:gd name="connsiteY2" fmla="*/ 257442 h 257442"/>
                <a:gd name="connsiteX3" fmla="*/ 54721 w 4325378"/>
                <a:gd name="connsiteY3" fmla="*/ 0 h 257442"/>
                <a:gd name="connsiteX0" fmla="*/ 4325378 w 4325378"/>
                <a:gd name="connsiteY0" fmla="*/ 0 h 257442"/>
                <a:gd name="connsiteX1" fmla="*/ 4270657 w 4325378"/>
                <a:gd name="connsiteY1" fmla="*/ 257442 h 257442"/>
                <a:gd name="connsiteX2" fmla="*/ 0 w 4325378"/>
                <a:gd name="connsiteY2" fmla="*/ 257442 h 257442"/>
                <a:gd name="connsiteX3" fmla="*/ 54721 w 4325378"/>
                <a:gd name="connsiteY3" fmla="*/ 0 h 257442"/>
                <a:gd name="connsiteX0" fmla="*/ 942786 w 4270657"/>
                <a:gd name="connsiteY0" fmla="*/ 0 h 257442"/>
                <a:gd name="connsiteX1" fmla="*/ 4270657 w 4270657"/>
                <a:gd name="connsiteY1" fmla="*/ 257442 h 257442"/>
                <a:gd name="connsiteX2" fmla="*/ 0 w 4270657"/>
                <a:gd name="connsiteY2" fmla="*/ 257442 h 257442"/>
                <a:gd name="connsiteX3" fmla="*/ 54721 w 4270657"/>
                <a:gd name="connsiteY3" fmla="*/ 0 h 257442"/>
                <a:gd name="connsiteX0" fmla="*/ 942786 w 942786"/>
                <a:gd name="connsiteY0" fmla="*/ 0 h 257442"/>
                <a:gd name="connsiteX1" fmla="*/ 888066 w 942786"/>
                <a:gd name="connsiteY1" fmla="*/ 257442 h 257442"/>
                <a:gd name="connsiteX2" fmla="*/ 0 w 942786"/>
                <a:gd name="connsiteY2" fmla="*/ 257442 h 257442"/>
                <a:gd name="connsiteX3" fmla="*/ 54721 w 942786"/>
                <a:gd name="connsiteY3" fmla="*/ 0 h 257442"/>
                <a:gd name="connsiteX0" fmla="*/ 942785 w 942785"/>
                <a:gd name="connsiteY0" fmla="*/ 0 h 257442"/>
                <a:gd name="connsiteX1" fmla="*/ 888065 w 942785"/>
                <a:gd name="connsiteY1" fmla="*/ 257442 h 257442"/>
                <a:gd name="connsiteX2" fmla="*/ 0 w 942785"/>
                <a:gd name="connsiteY2" fmla="*/ 257442 h 257442"/>
                <a:gd name="connsiteX3" fmla="*/ 54720 w 942785"/>
                <a:gd name="connsiteY3" fmla="*/ 0 h 257442"/>
                <a:gd name="connsiteX0" fmla="*/ 942785 w 942785"/>
                <a:gd name="connsiteY0" fmla="*/ 0 h 257442"/>
                <a:gd name="connsiteX1" fmla="*/ 888065 w 942785"/>
                <a:gd name="connsiteY1" fmla="*/ 257442 h 257442"/>
                <a:gd name="connsiteX2" fmla="*/ 0 w 942785"/>
                <a:gd name="connsiteY2" fmla="*/ 257442 h 257442"/>
                <a:gd name="connsiteX3" fmla="*/ 54721 w 942785"/>
                <a:gd name="connsiteY3" fmla="*/ 0 h 257442"/>
                <a:gd name="connsiteX0" fmla="*/ 1111101 w 1111101"/>
                <a:gd name="connsiteY0" fmla="*/ 0 h 257442"/>
                <a:gd name="connsiteX1" fmla="*/ 888065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279416 w 1279416"/>
                <a:gd name="connsiteY0" fmla="*/ 0 h 257442"/>
                <a:gd name="connsiteX1" fmla="*/ 1056380 w 1279416"/>
                <a:gd name="connsiteY1" fmla="*/ 257442 h 257442"/>
                <a:gd name="connsiteX2" fmla="*/ 0 w 1279416"/>
                <a:gd name="connsiteY2" fmla="*/ 257442 h 257442"/>
                <a:gd name="connsiteX3" fmla="*/ 54721 w 1279416"/>
                <a:gd name="connsiteY3" fmla="*/ 0 h 257442"/>
                <a:gd name="connsiteX0" fmla="*/ 1279416 w 1279416"/>
                <a:gd name="connsiteY0" fmla="*/ 0 h 257442"/>
                <a:gd name="connsiteX1" fmla="*/ 1224694 w 1279416"/>
                <a:gd name="connsiteY1" fmla="*/ 257442 h 257442"/>
                <a:gd name="connsiteX2" fmla="*/ 0 w 1279416"/>
                <a:gd name="connsiteY2" fmla="*/ 257442 h 257442"/>
                <a:gd name="connsiteX3" fmla="*/ 54721 w 1279416"/>
                <a:gd name="connsiteY3" fmla="*/ 0 h 257442"/>
                <a:gd name="connsiteX0" fmla="*/ 1279417 w 1279417"/>
                <a:gd name="connsiteY0" fmla="*/ 0 h 257442"/>
                <a:gd name="connsiteX1" fmla="*/ 1224695 w 1279417"/>
                <a:gd name="connsiteY1" fmla="*/ 257442 h 257442"/>
                <a:gd name="connsiteX2" fmla="*/ 0 w 1279417"/>
                <a:gd name="connsiteY2" fmla="*/ 257442 h 257442"/>
                <a:gd name="connsiteX3" fmla="*/ 54722 w 1279417"/>
                <a:gd name="connsiteY3" fmla="*/ 0 h 257442"/>
                <a:gd name="connsiteX0" fmla="*/ 1279417 w 1279417"/>
                <a:gd name="connsiteY0" fmla="*/ 0 h 257442"/>
                <a:gd name="connsiteX1" fmla="*/ 1224695 w 1279417"/>
                <a:gd name="connsiteY1" fmla="*/ 257442 h 257442"/>
                <a:gd name="connsiteX2" fmla="*/ 0 w 1279417"/>
                <a:gd name="connsiteY2" fmla="*/ 257442 h 257442"/>
                <a:gd name="connsiteX3" fmla="*/ 54722 w 1279417"/>
                <a:gd name="connsiteY3" fmla="*/ 0 h 257442"/>
                <a:gd name="connsiteX0" fmla="*/ 1447733 w 1447733"/>
                <a:gd name="connsiteY0" fmla="*/ 0 h 257442"/>
                <a:gd name="connsiteX1" fmla="*/ 1224695 w 1447733"/>
                <a:gd name="connsiteY1" fmla="*/ 257442 h 257442"/>
                <a:gd name="connsiteX2" fmla="*/ 0 w 1447733"/>
                <a:gd name="connsiteY2" fmla="*/ 257442 h 257442"/>
                <a:gd name="connsiteX3" fmla="*/ 54722 w 1447733"/>
                <a:gd name="connsiteY3" fmla="*/ 0 h 257442"/>
                <a:gd name="connsiteX0" fmla="*/ 1447733 w 1447733"/>
                <a:gd name="connsiteY0" fmla="*/ 0 h 257442"/>
                <a:gd name="connsiteX1" fmla="*/ 1393012 w 1447733"/>
                <a:gd name="connsiteY1" fmla="*/ 257442 h 257442"/>
                <a:gd name="connsiteX2" fmla="*/ 0 w 1447733"/>
                <a:gd name="connsiteY2" fmla="*/ 257442 h 257442"/>
                <a:gd name="connsiteX3" fmla="*/ 54722 w 1447733"/>
                <a:gd name="connsiteY3" fmla="*/ 0 h 257442"/>
                <a:gd name="connsiteX0" fmla="*/ 1447732 w 1447732"/>
                <a:gd name="connsiteY0" fmla="*/ 0 h 257442"/>
                <a:gd name="connsiteX1" fmla="*/ 1393011 w 1447732"/>
                <a:gd name="connsiteY1" fmla="*/ 257442 h 257442"/>
                <a:gd name="connsiteX2" fmla="*/ 0 w 1447732"/>
                <a:gd name="connsiteY2" fmla="*/ 257442 h 257442"/>
                <a:gd name="connsiteX3" fmla="*/ 54721 w 1447732"/>
                <a:gd name="connsiteY3" fmla="*/ 0 h 257442"/>
                <a:gd name="connsiteX0" fmla="*/ 1447732 w 1447732"/>
                <a:gd name="connsiteY0" fmla="*/ 0 h 257442"/>
                <a:gd name="connsiteX1" fmla="*/ 1393011 w 1447732"/>
                <a:gd name="connsiteY1" fmla="*/ 257442 h 257442"/>
                <a:gd name="connsiteX2" fmla="*/ 0 w 1447732"/>
                <a:gd name="connsiteY2" fmla="*/ 257442 h 257442"/>
                <a:gd name="connsiteX3" fmla="*/ 54720 w 1447732"/>
                <a:gd name="connsiteY3" fmla="*/ 0 h 257442"/>
                <a:gd name="connsiteX0" fmla="*/ 1616046 w 1616046"/>
                <a:gd name="connsiteY0" fmla="*/ 0 h 257442"/>
                <a:gd name="connsiteX1" fmla="*/ 1393011 w 1616046"/>
                <a:gd name="connsiteY1" fmla="*/ 257442 h 257442"/>
                <a:gd name="connsiteX2" fmla="*/ 0 w 1616046"/>
                <a:gd name="connsiteY2" fmla="*/ 257442 h 257442"/>
                <a:gd name="connsiteX3" fmla="*/ 54720 w 1616046"/>
                <a:gd name="connsiteY3" fmla="*/ 0 h 257442"/>
                <a:gd name="connsiteX0" fmla="*/ 1616046 w 1616046"/>
                <a:gd name="connsiteY0" fmla="*/ 0 h 257442"/>
                <a:gd name="connsiteX1" fmla="*/ 1561325 w 1616046"/>
                <a:gd name="connsiteY1" fmla="*/ 257442 h 257442"/>
                <a:gd name="connsiteX2" fmla="*/ 0 w 1616046"/>
                <a:gd name="connsiteY2" fmla="*/ 257442 h 257442"/>
                <a:gd name="connsiteX3" fmla="*/ 54720 w 1616046"/>
                <a:gd name="connsiteY3" fmla="*/ 0 h 257442"/>
                <a:gd name="connsiteX0" fmla="*/ 1616047 w 1616047"/>
                <a:gd name="connsiteY0" fmla="*/ 0 h 257442"/>
                <a:gd name="connsiteX1" fmla="*/ 1561326 w 1616047"/>
                <a:gd name="connsiteY1" fmla="*/ 257442 h 257442"/>
                <a:gd name="connsiteX2" fmla="*/ 0 w 1616047"/>
                <a:gd name="connsiteY2" fmla="*/ 257442 h 257442"/>
                <a:gd name="connsiteX3" fmla="*/ 54721 w 1616047"/>
                <a:gd name="connsiteY3" fmla="*/ 0 h 257442"/>
                <a:gd name="connsiteX0" fmla="*/ 1616047 w 1616047"/>
                <a:gd name="connsiteY0" fmla="*/ 0 h 257442"/>
                <a:gd name="connsiteX1" fmla="*/ 1561326 w 1616047"/>
                <a:gd name="connsiteY1" fmla="*/ 257442 h 257442"/>
                <a:gd name="connsiteX2" fmla="*/ 0 w 1616047"/>
                <a:gd name="connsiteY2" fmla="*/ 257442 h 257442"/>
                <a:gd name="connsiteX3" fmla="*/ 54722 w 1616047"/>
                <a:gd name="connsiteY3" fmla="*/ 0 h 257442"/>
                <a:gd name="connsiteX0" fmla="*/ 1857909 w 1857909"/>
                <a:gd name="connsiteY0" fmla="*/ 0 h 257442"/>
                <a:gd name="connsiteX1" fmla="*/ 1561326 w 1857909"/>
                <a:gd name="connsiteY1" fmla="*/ 257442 h 257442"/>
                <a:gd name="connsiteX2" fmla="*/ 0 w 1857909"/>
                <a:gd name="connsiteY2" fmla="*/ 257442 h 257442"/>
                <a:gd name="connsiteX3" fmla="*/ 54722 w 1857909"/>
                <a:gd name="connsiteY3" fmla="*/ 0 h 257442"/>
                <a:gd name="connsiteX0" fmla="*/ 1857909 w 1857909"/>
                <a:gd name="connsiteY0" fmla="*/ 0 h 257442"/>
                <a:gd name="connsiteX1" fmla="*/ 1803188 w 1857909"/>
                <a:gd name="connsiteY1" fmla="*/ 257442 h 257442"/>
                <a:gd name="connsiteX2" fmla="*/ 0 w 1857909"/>
                <a:gd name="connsiteY2" fmla="*/ 257442 h 257442"/>
                <a:gd name="connsiteX3" fmla="*/ 54722 w 1857909"/>
                <a:gd name="connsiteY3" fmla="*/ 0 h 257442"/>
                <a:gd name="connsiteX0" fmla="*/ 1857908 w 1857908"/>
                <a:gd name="connsiteY0" fmla="*/ 0 h 257442"/>
                <a:gd name="connsiteX1" fmla="*/ 1803187 w 1857908"/>
                <a:gd name="connsiteY1" fmla="*/ 257442 h 257442"/>
                <a:gd name="connsiteX2" fmla="*/ 0 w 1857908"/>
                <a:gd name="connsiteY2" fmla="*/ 257442 h 257442"/>
                <a:gd name="connsiteX3" fmla="*/ 54721 w 1857908"/>
                <a:gd name="connsiteY3" fmla="*/ 0 h 257442"/>
                <a:gd name="connsiteX0" fmla="*/ 1857908 w 1857908"/>
                <a:gd name="connsiteY0" fmla="*/ 0 h 257442"/>
                <a:gd name="connsiteX1" fmla="*/ 1803187 w 1857908"/>
                <a:gd name="connsiteY1" fmla="*/ 257442 h 257442"/>
                <a:gd name="connsiteX2" fmla="*/ 0 w 1857908"/>
                <a:gd name="connsiteY2" fmla="*/ 257442 h 257442"/>
                <a:gd name="connsiteX3" fmla="*/ 54720 w 1857908"/>
                <a:gd name="connsiteY3" fmla="*/ 0 h 257442"/>
                <a:gd name="connsiteX0" fmla="*/ 2035841 w 2035841"/>
                <a:gd name="connsiteY0" fmla="*/ 0 h 257442"/>
                <a:gd name="connsiteX1" fmla="*/ 1803187 w 2035841"/>
                <a:gd name="connsiteY1" fmla="*/ 257442 h 257442"/>
                <a:gd name="connsiteX2" fmla="*/ 0 w 2035841"/>
                <a:gd name="connsiteY2" fmla="*/ 257442 h 257442"/>
                <a:gd name="connsiteX3" fmla="*/ 54720 w 2035841"/>
                <a:gd name="connsiteY3" fmla="*/ 0 h 257442"/>
                <a:gd name="connsiteX0" fmla="*/ 2035841 w 2035841"/>
                <a:gd name="connsiteY0" fmla="*/ 0 h 257442"/>
                <a:gd name="connsiteX1" fmla="*/ 1981120 w 2035841"/>
                <a:gd name="connsiteY1" fmla="*/ 257442 h 257442"/>
                <a:gd name="connsiteX2" fmla="*/ 0 w 2035841"/>
                <a:gd name="connsiteY2" fmla="*/ 257442 h 257442"/>
                <a:gd name="connsiteX3" fmla="*/ 54720 w 2035841"/>
                <a:gd name="connsiteY3" fmla="*/ 0 h 257442"/>
                <a:gd name="connsiteX0" fmla="*/ 2035842 w 2035842"/>
                <a:gd name="connsiteY0" fmla="*/ 0 h 257442"/>
                <a:gd name="connsiteX1" fmla="*/ 1981121 w 2035842"/>
                <a:gd name="connsiteY1" fmla="*/ 257442 h 257442"/>
                <a:gd name="connsiteX2" fmla="*/ 0 w 2035842"/>
                <a:gd name="connsiteY2" fmla="*/ 257442 h 257442"/>
                <a:gd name="connsiteX3" fmla="*/ 54721 w 2035842"/>
                <a:gd name="connsiteY3" fmla="*/ 0 h 257442"/>
                <a:gd name="connsiteX0" fmla="*/ 2035842 w 2035842"/>
                <a:gd name="connsiteY0" fmla="*/ 0 h 257442"/>
                <a:gd name="connsiteX1" fmla="*/ 1981121 w 2035842"/>
                <a:gd name="connsiteY1" fmla="*/ 257442 h 257442"/>
                <a:gd name="connsiteX2" fmla="*/ 0 w 2035842"/>
                <a:gd name="connsiteY2" fmla="*/ 257442 h 257442"/>
                <a:gd name="connsiteX3" fmla="*/ 54721 w 2035842"/>
                <a:gd name="connsiteY3" fmla="*/ 0 h 257442"/>
                <a:gd name="connsiteX0" fmla="*/ 2204157 w 2204157"/>
                <a:gd name="connsiteY0" fmla="*/ 0 h 257442"/>
                <a:gd name="connsiteX1" fmla="*/ 1981121 w 2204157"/>
                <a:gd name="connsiteY1" fmla="*/ 257442 h 257442"/>
                <a:gd name="connsiteX2" fmla="*/ 0 w 2204157"/>
                <a:gd name="connsiteY2" fmla="*/ 257442 h 257442"/>
                <a:gd name="connsiteX3" fmla="*/ 54721 w 2204157"/>
                <a:gd name="connsiteY3" fmla="*/ 0 h 257442"/>
                <a:gd name="connsiteX0" fmla="*/ 2204157 w 2204157"/>
                <a:gd name="connsiteY0" fmla="*/ 0 h 257442"/>
                <a:gd name="connsiteX1" fmla="*/ 2149436 w 2204157"/>
                <a:gd name="connsiteY1" fmla="*/ 257442 h 257442"/>
                <a:gd name="connsiteX2" fmla="*/ 0 w 2204157"/>
                <a:gd name="connsiteY2" fmla="*/ 257442 h 257442"/>
                <a:gd name="connsiteX3" fmla="*/ 54721 w 2204157"/>
                <a:gd name="connsiteY3" fmla="*/ 0 h 257442"/>
                <a:gd name="connsiteX0" fmla="*/ 2204157 w 2204157"/>
                <a:gd name="connsiteY0" fmla="*/ 0 h 257442"/>
                <a:gd name="connsiteX1" fmla="*/ 2149436 w 2204157"/>
                <a:gd name="connsiteY1" fmla="*/ 257442 h 257442"/>
                <a:gd name="connsiteX2" fmla="*/ 0 w 2204157"/>
                <a:gd name="connsiteY2" fmla="*/ 257442 h 257442"/>
                <a:gd name="connsiteX3" fmla="*/ 54721 w 2204157"/>
                <a:gd name="connsiteY3" fmla="*/ 0 h 257442"/>
                <a:gd name="connsiteX0" fmla="*/ 2204157 w 2204157"/>
                <a:gd name="connsiteY0" fmla="*/ 0 h 257442"/>
                <a:gd name="connsiteX1" fmla="*/ 2149436 w 2204157"/>
                <a:gd name="connsiteY1" fmla="*/ 257442 h 257442"/>
                <a:gd name="connsiteX2" fmla="*/ 0 w 2204157"/>
                <a:gd name="connsiteY2" fmla="*/ 257442 h 257442"/>
                <a:gd name="connsiteX3" fmla="*/ 54721 w 2204157"/>
                <a:gd name="connsiteY3" fmla="*/ 0 h 257442"/>
                <a:gd name="connsiteX0" fmla="*/ 934771 w 2149436"/>
                <a:gd name="connsiteY0" fmla="*/ 0 h 257442"/>
                <a:gd name="connsiteX1" fmla="*/ 2149436 w 2149436"/>
                <a:gd name="connsiteY1" fmla="*/ 257442 h 257442"/>
                <a:gd name="connsiteX2" fmla="*/ 0 w 2149436"/>
                <a:gd name="connsiteY2" fmla="*/ 257442 h 257442"/>
                <a:gd name="connsiteX3" fmla="*/ 54721 w 2149436"/>
                <a:gd name="connsiteY3" fmla="*/ 0 h 257442"/>
                <a:gd name="connsiteX0" fmla="*/ 934771 w 934771"/>
                <a:gd name="connsiteY0" fmla="*/ 0 h 257442"/>
                <a:gd name="connsiteX1" fmla="*/ 880050 w 934771"/>
                <a:gd name="connsiteY1" fmla="*/ 257442 h 257442"/>
                <a:gd name="connsiteX2" fmla="*/ 0 w 934771"/>
                <a:gd name="connsiteY2" fmla="*/ 257442 h 257442"/>
                <a:gd name="connsiteX3" fmla="*/ 54721 w 934771"/>
                <a:gd name="connsiteY3" fmla="*/ 0 h 257442"/>
                <a:gd name="connsiteX0" fmla="*/ 934770 w 934770"/>
                <a:gd name="connsiteY0" fmla="*/ 0 h 257442"/>
                <a:gd name="connsiteX1" fmla="*/ 880049 w 934770"/>
                <a:gd name="connsiteY1" fmla="*/ 257442 h 257442"/>
                <a:gd name="connsiteX2" fmla="*/ 0 w 934770"/>
                <a:gd name="connsiteY2" fmla="*/ 257442 h 257442"/>
                <a:gd name="connsiteX3" fmla="*/ 54720 w 934770"/>
                <a:gd name="connsiteY3" fmla="*/ 0 h 257442"/>
                <a:gd name="connsiteX0" fmla="*/ 934770 w 934770"/>
                <a:gd name="connsiteY0" fmla="*/ 0 h 257442"/>
                <a:gd name="connsiteX1" fmla="*/ 880049 w 934770"/>
                <a:gd name="connsiteY1" fmla="*/ 257442 h 257442"/>
                <a:gd name="connsiteX2" fmla="*/ 0 w 934770"/>
                <a:gd name="connsiteY2" fmla="*/ 257442 h 257442"/>
                <a:gd name="connsiteX3" fmla="*/ 54720 w 934770"/>
                <a:gd name="connsiteY3" fmla="*/ 0 h 257442"/>
                <a:gd name="connsiteX0" fmla="*/ 1243957 w 1243957"/>
                <a:gd name="connsiteY0" fmla="*/ 0 h 257442"/>
                <a:gd name="connsiteX1" fmla="*/ 880049 w 1243957"/>
                <a:gd name="connsiteY1" fmla="*/ 257442 h 257442"/>
                <a:gd name="connsiteX2" fmla="*/ 0 w 1243957"/>
                <a:gd name="connsiteY2" fmla="*/ 257442 h 257442"/>
                <a:gd name="connsiteX3" fmla="*/ 54720 w 1243957"/>
                <a:gd name="connsiteY3" fmla="*/ 0 h 257442"/>
                <a:gd name="connsiteX0" fmla="*/ 1243957 w 1243957"/>
                <a:gd name="connsiteY0" fmla="*/ 0 h 257442"/>
                <a:gd name="connsiteX1" fmla="*/ 1189236 w 1243957"/>
                <a:gd name="connsiteY1" fmla="*/ 257442 h 257442"/>
                <a:gd name="connsiteX2" fmla="*/ 0 w 1243957"/>
                <a:gd name="connsiteY2" fmla="*/ 257442 h 257442"/>
                <a:gd name="connsiteX3" fmla="*/ 54720 w 1243957"/>
                <a:gd name="connsiteY3" fmla="*/ 0 h 257442"/>
                <a:gd name="connsiteX0" fmla="*/ 1243958 w 1243958"/>
                <a:gd name="connsiteY0" fmla="*/ 0 h 257442"/>
                <a:gd name="connsiteX1" fmla="*/ 1189237 w 1243958"/>
                <a:gd name="connsiteY1" fmla="*/ 257442 h 257442"/>
                <a:gd name="connsiteX2" fmla="*/ 0 w 1243958"/>
                <a:gd name="connsiteY2" fmla="*/ 257442 h 257442"/>
                <a:gd name="connsiteX3" fmla="*/ 54721 w 1243958"/>
                <a:gd name="connsiteY3" fmla="*/ 0 h 257442"/>
                <a:gd name="connsiteX0" fmla="*/ 1243958 w 1243958"/>
                <a:gd name="connsiteY0" fmla="*/ 0 h 257442"/>
                <a:gd name="connsiteX1" fmla="*/ 1189237 w 1243958"/>
                <a:gd name="connsiteY1" fmla="*/ 257442 h 257442"/>
                <a:gd name="connsiteX2" fmla="*/ 0 w 1243958"/>
                <a:gd name="connsiteY2" fmla="*/ 257442 h 257442"/>
                <a:gd name="connsiteX3" fmla="*/ 54721 w 1243958"/>
                <a:gd name="connsiteY3" fmla="*/ 0 h 257442"/>
                <a:gd name="connsiteX0" fmla="*/ 1404259 w 1404259"/>
                <a:gd name="connsiteY0" fmla="*/ 0 h 257442"/>
                <a:gd name="connsiteX1" fmla="*/ 1189237 w 1404259"/>
                <a:gd name="connsiteY1" fmla="*/ 257442 h 257442"/>
                <a:gd name="connsiteX2" fmla="*/ 0 w 1404259"/>
                <a:gd name="connsiteY2" fmla="*/ 257442 h 257442"/>
                <a:gd name="connsiteX3" fmla="*/ 54721 w 1404259"/>
                <a:gd name="connsiteY3" fmla="*/ 0 h 257442"/>
                <a:gd name="connsiteX0" fmla="*/ 1404259 w 1404259"/>
                <a:gd name="connsiteY0" fmla="*/ 0 h 257442"/>
                <a:gd name="connsiteX1" fmla="*/ 1349538 w 1404259"/>
                <a:gd name="connsiteY1" fmla="*/ 257442 h 257442"/>
                <a:gd name="connsiteX2" fmla="*/ 0 w 1404259"/>
                <a:gd name="connsiteY2" fmla="*/ 257442 h 257442"/>
                <a:gd name="connsiteX3" fmla="*/ 54721 w 1404259"/>
                <a:gd name="connsiteY3" fmla="*/ 0 h 257442"/>
                <a:gd name="connsiteX0" fmla="*/ 1404259 w 1404259"/>
                <a:gd name="connsiteY0" fmla="*/ 0 h 257442"/>
                <a:gd name="connsiteX1" fmla="*/ 1349538 w 1404259"/>
                <a:gd name="connsiteY1" fmla="*/ 257442 h 257442"/>
                <a:gd name="connsiteX2" fmla="*/ 0 w 1404259"/>
                <a:gd name="connsiteY2" fmla="*/ 257442 h 257442"/>
                <a:gd name="connsiteX3" fmla="*/ 54721 w 1404259"/>
                <a:gd name="connsiteY3" fmla="*/ 0 h 257442"/>
                <a:gd name="connsiteX0" fmla="*/ 1404259 w 1404259"/>
                <a:gd name="connsiteY0" fmla="*/ 0 h 257442"/>
                <a:gd name="connsiteX1" fmla="*/ 1349538 w 1404259"/>
                <a:gd name="connsiteY1" fmla="*/ 257442 h 257442"/>
                <a:gd name="connsiteX2" fmla="*/ 0 w 1404259"/>
                <a:gd name="connsiteY2" fmla="*/ 257442 h 257442"/>
                <a:gd name="connsiteX3" fmla="*/ 54721 w 1404259"/>
                <a:gd name="connsiteY3" fmla="*/ 0 h 257442"/>
                <a:gd name="connsiteX0" fmla="*/ 1572573 w 1572573"/>
                <a:gd name="connsiteY0" fmla="*/ 0 h 257442"/>
                <a:gd name="connsiteX1" fmla="*/ 1349538 w 1572573"/>
                <a:gd name="connsiteY1" fmla="*/ 257442 h 257442"/>
                <a:gd name="connsiteX2" fmla="*/ 0 w 1572573"/>
                <a:gd name="connsiteY2" fmla="*/ 257442 h 257442"/>
                <a:gd name="connsiteX3" fmla="*/ 54721 w 1572573"/>
                <a:gd name="connsiteY3" fmla="*/ 0 h 257442"/>
                <a:gd name="connsiteX0" fmla="*/ 1572573 w 1572573"/>
                <a:gd name="connsiteY0" fmla="*/ 0 h 257442"/>
                <a:gd name="connsiteX1" fmla="*/ 1517852 w 1572573"/>
                <a:gd name="connsiteY1" fmla="*/ 257442 h 257442"/>
                <a:gd name="connsiteX2" fmla="*/ 0 w 1572573"/>
                <a:gd name="connsiteY2" fmla="*/ 257442 h 257442"/>
                <a:gd name="connsiteX3" fmla="*/ 54721 w 1572573"/>
                <a:gd name="connsiteY3" fmla="*/ 0 h 257442"/>
                <a:gd name="connsiteX0" fmla="*/ 1572573 w 1572573"/>
                <a:gd name="connsiteY0" fmla="*/ 0 h 257442"/>
                <a:gd name="connsiteX1" fmla="*/ 1517852 w 1572573"/>
                <a:gd name="connsiteY1" fmla="*/ 257442 h 257442"/>
                <a:gd name="connsiteX2" fmla="*/ 0 w 1572573"/>
                <a:gd name="connsiteY2" fmla="*/ 257442 h 257442"/>
                <a:gd name="connsiteX3" fmla="*/ 54721 w 1572573"/>
                <a:gd name="connsiteY3" fmla="*/ 0 h 257442"/>
                <a:gd name="connsiteX0" fmla="*/ 1572573 w 1572573"/>
                <a:gd name="connsiteY0" fmla="*/ 0 h 257442"/>
                <a:gd name="connsiteX1" fmla="*/ 1517852 w 1572573"/>
                <a:gd name="connsiteY1" fmla="*/ 257442 h 257442"/>
                <a:gd name="connsiteX2" fmla="*/ 0 w 1572573"/>
                <a:gd name="connsiteY2" fmla="*/ 257442 h 257442"/>
                <a:gd name="connsiteX3" fmla="*/ 54721 w 1572573"/>
                <a:gd name="connsiteY3" fmla="*/ 0 h 257442"/>
                <a:gd name="connsiteX0" fmla="*/ 942786 w 1517852"/>
                <a:gd name="connsiteY0" fmla="*/ 0 h 257442"/>
                <a:gd name="connsiteX1" fmla="*/ 1517852 w 1517852"/>
                <a:gd name="connsiteY1" fmla="*/ 257442 h 257442"/>
                <a:gd name="connsiteX2" fmla="*/ 0 w 1517852"/>
                <a:gd name="connsiteY2" fmla="*/ 257442 h 257442"/>
                <a:gd name="connsiteX3" fmla="*/ 54721 w 1517852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0 w 942786"/>
                <a:gd name="connsiteY2" fmla="*/ 257442 h 257442"/>
                <a:gd name="connsiteX3" fmla="*/ 54721 w 942786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0 w 942786"/>
                <a:gd name="connsiteY2" fmla="*/ 257442 h 257442"/>
                <a:gd name="connsiteX3" fmla="*/ 54721 w 942786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0 w 942786"/>
                <a:gd name="connsiteY2" fmla="*/ 257442 h 257442"/>
                <a:gd name="connsiteX3" fmla="*/ 54721 w 942786"/>
                <a:gd name="connsiteY3" fmla="*/ 0 h 257442"/>
                <a:gd name="connsiteX0" fmla="*/ 1111101 w 1111101"/>
                <a:gd name="connsiteY0" fmla="*/ 0 h 257442"/>
                <a:gd name="connsiteX1" fmla="*/ 888065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279416 w 1279416"/>
                <a:gd name="connsiteY0" fmla="*/ 0 h 257442"/>
                <a:gd name="connsiteX1" fmla="*/ 1056380 w 1279416"/>
                <a:gd name="connsiteY1" fmla="*/ 257442 h 257442"/>
                <a:gd name="connsiteX2" fmla="*/ 0 w 1279416"/>
                <a:gd name="connsiteY2" fmla="*/ 257442 h 257442"/>
                <a:gd name="connsiteX3" fmla="*/ 54721 w 1279416"/>
                <a:gd name="connsiteY3" fmla="*/ 0 h 257442"/>
                <a:gd name="connsiteX0" fmla="*/ 1279416 w 1279416"/>
                <a:gd name="connsiteY0" fmla="*/ 0 h 257442"/>
                <a:gd name="connsiteX1" fmla="*/ 1224694 w 1279416"/>
                <a:gd name="connsiteY1" fmla="*/ 257442 h 257442"/>
                <a:gd name="connsiteX2" fmla="*/ 0 w 1279416"/>
                <a:gd name="connsiteY2" fmla="*/ 257442 h 257442"/>
                <a:gd name="connsiteX3" fmla="*/ 54721 w 1279416"/>
                <a:gd name="connsiteY3" fmla="*/ 0 h 257442"/>
                <a:gd name="connsiteX0" fmla="*/ 1279417 w 1279417"/>
                <a:gd name="connsiteY0" fmla="*/ 0 h 257442"/>
                <a:gd name="connsiteX1" fmla="*/ 1224695 w 1279417"/>
                <a:gd name="connsiteY1" fmla="*/ 257442 h 257442"/>
                <a:gd name="connsiteX2" fmla="*/ 0 w 1279417"/>
                <a:gd name="connsiteY2" fmla="*/ 257442 h 257442"/>
                <a:gd name="connsiteX3" fmla="*/ 54722 w 1279417"/>
                <a:gd name="connsiteY3" fmla="*/ 0 h 257442"/>
                <a:gd name="connsiteX0" fmla="*/ 1279417 w 1279417"/>
                <a:gd name="connsiteY0" fmla="*/ 0 h 257442"/>
                <a:gd name="connsiteX1" fmla="*/ 1224695 w 1279417"/>
                <a:gd name="connsiteY1" fmla="*/ 257442 h 257442"/>
                <a:gd name="connsiteX2" fmla="*/ 0 w 1279417"/>
                <a:gd name="connsiteY2" fmla="*/ 257442 h 257442"/>
                <a:gd name="connsiteX3" fmla="*/ 54722 w 1279417"/>
                <a:gd name="connsiteY3" fmla="*/ 0 h 257442"/>
                <a:gd name="connsiteX0" fmla="*/ 1447733 w 1447733"/>
                <a:gd name="connsiteY0" fmla="*/ 0 h 257442"/>
                <a:gd name="connsiteX1" fmla="*/ 1224695 w 1447733"/>
                <a:gd name="connsiteY1" fmla="*/ 257442 h 257442"/>
                <a:gd name="connsiteX2" fmla="*/ 0 w 1447733"/>
                <a:gd name="connsiteY2" fmla="*/ 257442 h 257442"/>
                <a:gd name="connsiteX3" fmla="*/ 54722 w 1447733"/>
                <a:gd name="connsiteY3" fmla="*/ 0 h 257442"/>
                <a:gd name="connsiteX0" fmla="*/ 1447733 w 1447733"/>
                <a:gd name="connsiteY0" fmla="*/ 0 h 257442"/>
                <a:gd name="connsiteX1" fmla="*/ 1393012 w 1447733"/>
                <a:gd name="connsiteY1" fmla="*/ 257442 h 257442"/>
                <a:gd name="connsiteX2" fmla="*/ 0 w 1447733"/>
                <a:gd name="connsiteY2" fmla="*/ 257442 h 257442"/>
                <a:gd name="connsiteX3" fmla="*/ 54722 w 1447733"/>
                <a:gd name="connsiteY3" fmla="*/ 0 h 257442"/>
                <a:gd name="connsiteX0" fmla="*/ 1447732 w 1447732"/>
                <a:gd name="connsiteY0" fmla="*/ 0 h 257442"/>
                <a:gd name="connsiteX1" fmla="*/ 1393011 w 1447732"/>
                <a:gd name="connsiteY1" fmla="*/ 257442 h 257442"/>
                <a:gd name="connsiteX2" fmla="*/ 0 w 1447732"/>
                <a:gd name="connsiteY2" fmla="*/ 257442 h 257442"/>
                <a:gd name="connsiteX3" fmla="*/ 54721 w 1447732"/>
                <a:gd name="connsiteY3" fmla="*/ 0 h 257442"/>
                <a:gd name="connsiteX0" fmla="*/ 1447732 w 1447732"/>
                <a:gd name="connsiteY0" fmla="*/ 0 h 257442"/>
                <a:gd name="connsiteX1" fmla="*/ 1393011 w 1447732"/>
                <a:gd name="connsiteY1" fmla="*/ 257442 h 257442"/>
                <a:gd name="connsiteX2" fmla="*/ 0 w 1447732"/>
                <a:gd name="connsiteY2" fmla="*/ 257442 h 257442"/>
                <a:gd name="connsiteX3" fmla="*/ 54720 w 1447732"/>
                <a:gd name="connsiteY3" fmla="*/ 0 h 257442"/>
                <a:gd name="connsiteX0" fmla="*/ 1756918 w 1756918"/>
                <a:gd name="connsiteY0" fmla="*/ 0 h 257442"/>
                <a:gd name="connsiteX1" fmla="*/ 1393011 w 1756918"/>
                <a:gd name="connsiteY1" fmla="*/ 257442 h 257442"/>
                <a:gd name="connsiteX2" fmla="*/ 0 w 1756918"/>
                <a:gd name="connsiteY2" fmla="*/ 257442 h 257442"/>
                <a:gd name="connsiteX3" fmla="*/ 54720 w 1756918"/>
                <a:gd name="connsiteY3" fmla="*/ 0 h 257442"/>
                <a:gd name="connsiteX0" fmla="*/ 1756918 w 1756918"/>
                <a:gd name="connsiteY0" fmla="*/ 0 h 257442"/>
                <a:gd name="connsiteX1" fmla="*/ 1702197 w 1756918"/>
                <a:gd name="connsiteY1" fmla="*/ 257442 h 257442"/>
                <a:gd name="connsiteX2" fmla="*/ 0 w 1756918"/>
                <a:gd name="connsiteY2" fmla="*/ 257442 h 257442"/>
                <a:gd name="connsiteX3" fmla="*/ 54720 w 1756918"/>
                <a:gd name="connsiteY3" fmla="*/ 0 h 257442"/>
                <a:gd name="connsiteX0" fmla="*/ 1756919 w 1756919"/>
                <a:gd name="connsiteY0" fmla="*/ 0 h 257442"/>
                <a:gd name="connsiteX1" fmla="*/ 1702198 w 1756919"/>
                <a:gd name="connsiteY1" fmla="*/ 257442 h 257442"/>
                <a:gd name="connsiteX2" fmla="*/ 0 w 1756919"/>
                <a:gd name="connsiteY2" fmla="*/ 257442 h 257442"/>
                <a:gd name="connsiteX3" fmla="*/ 54721 w 1756919"/>
                <a:gd name="connsiteY3" fmla="*/ 0 h 257442"/>
                <a:gd name="connsiteX0" fmla="*/ 1756919 w 1756919"/>
                <a:gd name="connsiteY0" fmla="*/ 0 h 257442"/>
                <a:gd name="connsiteX1" fmla="*/ 1702198 w 1756919"/>
                <a:gd name="connsiteY1" fmla="*/ 257442 h 257442"/>
                <a:gd name="connsiteX2" fmla="*/ 0 w 1756919"/>
                <a:gd name="connsiteY2" fmla="*/ 257442 h 257442"/>
                <a:gd name="connsiteX3" fmla="*/ 54722 w 1756919"/>
                <a:gd name="connsiteY3" fmla="*/ 0 h 257442"/>
                <a:gd name="connsiteX0" fmla="*/ 2035843 w 2035843"/>
                <a:gd name="connsiteY0" fmla="*/ 0 h 257442"/>
                <a:gd name="connsiteX1" fmla="*/ 1702198 w 2035843"/>
                <a:gd name="connsiteY1" fmla="*/ 257442 h 257442"/>
                <a:gd name="connsiteX2" fmla="*/ 0 w 2035843"/>
                <a:gd name="connsiteY2" fmla="*/ 257442 h 257442"/>
                <a:gd name="connsiteX3" fmla="*/ 54722 w 2035843"/>
                <a:gd name="connsiteY3" fmla="*/ 0 h 257442"/>
                <a:gd name="connsiteX0" fmla="*/ 2035843 w 2035843"/>
                <a:gd name="connsiteY0" fmla="*/ 0 h 257442"/>
                <a:gd name="connsiteX1" fmla="*/ 1981122 w 2035843"/>
                <a:gd name="connsiteY1" fmla="*/ 257442 h 257442"/>
                <a:gd name="connsiteX2" fmla="*/ 0 w 2035843"/>
                <a:gd name="connsiteY2" fmla="*/ 257442 h 257442"/>
                <a:gd name="connsiteX3" fmla="*/ 54722 w 2035843"/>
                <a:gd name="connsiteY3" fmla="*/ 0 h 257442"/>
                <a:gd name="connsiteX0" fmla="*/ 2035842 w 2035842"/>
                <a:gd name="connsiteY0" fmla="*/ 0 h 257442"/>
                <a:gd name="connsiteX1" fmla="*/ 1981121 w 2035842"/>
                <a:gd name="connsiteY1" fmla="*/ 257442 h 257442"/>
                <a:gd name="connsiteX2" fmla="*/ 0 w 2035842"/>
                <a:gd name="connsiteY2" fmla="*/ 257442 h 257442"/>
                <a:gd name="connsiteX3" fmla="*/ 54721 w 2035842"/>
                <a:gd name="connsiteY3" fmla="*/ 0 h 257442"/>
                <a:gd name="connsiteX0" fmla="*/ 2035842 w 2035842"/>
                <a:gd name="connsiteY0" fmla="*/ 0 h 257442"/>
                <a:gd name="connsiteX1" fmla="*/ 1981121 w 2035842"/>
                <a:gd name="connsiteY1" fmla="*/ 257442 h 257442"/>
                <a:gd name="connsiteX2" fmla="*/ 0 w 2035842"/>
                <a:gd name="connsiteY2" fmla="*/ 257442 h 257442"/>
                <a:gd name="connsiteX3" fmla="*/ 54720 w 2035842"/>
                <a:gd name="connsiteY3" fmla="*/ 0 h 257442"/>
                <a:gd name="connsiteX0" fmla="*/ 2204156 w 2204156"/>
                <a:gd name="connsiteY0" fmla="*/ 0 h 257442"/>
                <a:gd name="connsiteX1" fmla="*/ 1981121 w 2204156"/>
                <a:gd name="connsiteY1" fmla="*/ 257442 h 257442"/>
                <a:gd name="connsiteX2" fmla="*/ 0 w 2204156"/>
                <a:gd name="connsiteY2" fmla="*/ 257442 h 257442"/>
                <a:gd name="connsiteX3" fmla="*/ 54720 w 2204156"/>
                <a:gd name="connsiteY3" fmla="*/ 0 h 257442"/>
                <a:gd name="connsiteX0" fmla="*/ 2204156 w 2204156"/>
                <a:gd name="connsiteY0" fmla="*/ 0 h 257442"/>
                <a:gd name="connsiteX1" fmla="*/ 2149435 w 2204156"/>
                <a:gd name="connsiteY1" fmla="*/ 257442 h 257442"/>
                <a:gd name="connsiteX2" fmla="*/ 0 w 2204156"/>
                <a:gd name="connsiteY2" fmla="*/ 257442 h 257442"/>
                <a:gd name="connsiteX3" fmla="*/ 54720 w 2204156"/>
                <a:gd name="connsiteY3" fmla="*/ 0 h 257442"/>
                <a:gd name="connsiteX0" fmla="*/ 2204157 w 2204157"/>
                <a:gd name="connsiteY0" fmla="*/ 0 h 257442"/>
                <a:gd name="connsiteX1" fmla="*/ 2149436 w 2204157"/>
                <a:gd name="connsiteY1" fmla="*/ 257442 h 257442"/>
                <a:gd name="connsiteX2" fmla="*/ 0 w 2204157"/>
                <a:gd name="connsiteY2" fmla="*/ 257442 h 257442"/>
                <a:gd name="connsiteX3" fmla="*/ 54721 w 2204157"/>
                <a:gd name="connsiteY3" fmla="*/ 0 h 257442"/>
                <a:gd name="connsiteX0" fmla="*/ 2204157 w 2204157"/>
                <a:gd name="connsiteY0" fmla="*/ 0 h 257442"/>
                <a:gd name="connsiteX1" fmla="*/ 2149436 w 2204157"/>
                <a:gd name="connsiteY1" fmla="*/ 257442 h 257442"/>
                <a:gd name="connsiteX2" fmla="*/ 0 w 2204157"/>
                <a:gd name="connsiteY2" fmla="*/ 257442 h 257442"/>
                <a:gd name="connsiteX3" fmla="*/ 54722 w 2204157"/>
                <a:gd name="connsiteY3" fmla="*/ 0 h 257442"/>
                <a:gd name="connsiteX0" fmla="*/ 2047256 w 2149436"/>
                <a:gd name="connsiteY0" fmla="*/ 0 h 257442"/>
                <a:gd name="connsiteX1" fmla="*/ 2149436 w 2149436"/>
                <a:gd name="connsiteY1" fmla="*/ 257442 h 257442"/>
                <a:gd name="connsiteX2" fmla="*/ 0 w 2149436"/>
                <a:gd name="connsiteY2" fmla="*/ 257442 h 257442"/>
                <a:gd name="connsiteX3" fmla="*/ 54722 w 2149436"/>
                <a:gd name="connsiteY3" fmla="*/ 0 h 257442"/>
                <a:gd name="connsiteX0" fmla="*/ 2047256 w 2047256"/>
                <a:gd name="connsiteY0" fmla="*/ 0 h 257442"/>
                <a:gd name="connsiteX1" fmla="*/ 1992535 w 2047256"/>
                <a:gd name="connsiteY1" fmla="*/ 257442 h 257442"/>
                <a:gd name="connsiteX2" fmla="*/ 0 w 2047256"/>
                <a:gd name="connsiteY2" fmla="*/ 257442 h 257442"/>
                <a:gd name="connsiteX3" fmla="*/ 54722 w 2047256"/>
                <a:gd name="connsiteY3" fmla="*/ 0 h 257442"/>
                <a:gd name="connsiteX0" fmla="*/ 2047255 w 2047255"/>
                <a:gd name="connsiteY0" fmla="*/ 0 h 257442"/>
                <a:gd name="connsiteX1" fmla="*/ 1992534 w 2047255"/>
                <a:gd name="connsiteY1" fmla="*/ 257442 h 257442"/>
                <a:gd name="connsiteX2" fmla="*/ 0 w 2047255"/>
                <a:gd name="connsiteY2" fmla="*/ 257442 h 257442"/>
                <a:gd name="connsiteX3" fmla="*/ 54721 w 2047255"/>
                <a:gd name="connsiteY3" fmla="*/ 0 h 257442"/>
                <a:gd name="connsiteX0" fmla="*/ 2047255 w 2047255"/>
                <a:gd name="connsiteY0" fmla="*/ 0 h 257442"/>
                <a:gd name="connsiteX1" fmla="*/ 1992534 w 2047255"/>
                <a:gd name="connsiteY1" fmla="*/ 257442 h 257442"/>
                <a:gd name="connsiteX2" fmla="*/ 0 w 2047255"/>
                <a:gd name="connsiteY2" fmla="*/ 257442 h 257442"/>
                <a:gd name="connsiteX3" fmla="*/ 54721 w 2047255"/>
                <a:gd name="connsiteY3" fmla="*/ 0 h 257442"/>
                <a:gd name="connsiteX0" fmla="*/ 1894969 w 1992534"/>
                <a:gd name="connsiteY0" fmla="*/ 0 h 257442"/>
                <a:gd name="connsiteX1" fmla="*/ 1992534 w 1992534"/>
                <a:gd name="connsiteY1" fmla="*/ 257442 h 257442"/>
                <a:gd name="connsiteX2" fmla="*/ 0 w 1992534"/>
                <a:gd name="connsiteY2" fmla="*/ 257442 h 257442"/>
                <a:gd name="connsiteX3" fmla="*/ 54721 w 1992534"/>
                <a:gd name="connsiteY3" fmla="*/ 0 h 257442"/>
                <a:gd name="connsiteX0" fmla="*/ 1894969 w 1894969"/>
                <a:gd name="connsiteY0" fmla="*/ 0 h 257442"/>
                <a:gd name="connsiteX1" fmla="*/ 1840248 w 1894969"/>
                <a:gd name="connsiteY1" fmla="*/ 257442 h 257442"/>
                <a:gd name="connsiteX2" fmla="*/ 0 w 1894969"/>
                <a:gd name="connsiteY2" fmla="*/ 257442 h 257442"/>
                <a:gd name="connsiteX3" fmla="*/ 54721 w 1894969"/>
                <a:gd name="connsiteY3" fmla="*/ 0 h 257442"/>
                <a:gd name="connsiteX0" fmla="*/ 1894968 w 1894968"/>
                <a:gd name="connsiteY0" fmla="*/ 0 h 257442"/>
                <a:gd name="connsiteX1" fmla="*/ 1840247 w 1894968"/>
                <a:gd name="connsiteY1" fmla="*/ 257442 h 257442"/>
                <a:gd name="connsiteX2" fmla="*/ 0 w 1894968"/>
                <a:gd name="connsiteY2" fmla="*/ 257442 h 257442"/>
                <a:gd name="connsiteX3" fmla="*/ 54720 w 1894968"/>
                <a:gd name="connsiteY3" fmla="*/ 0 h 257442"/>
                <a:gd name="connsiteX0" fmla="*/ 1894968 w 1894968"/>
                <a:gd name="connsiteY0" fmla="*/ 0 h 257442"/>
                <a:gd name="connsiteX1" fmla="*/ 1840247 w 1894968"/>
                <a:gd name="connsiteY1" fmla="*/ 257442 h 257442"/>
                <a:gd name="connsiteX2" fmla="*/ 0 w 1894968"/>
                <a:gd name="connsiteY2" fmla="*/ 257442 h 257442"/>
                <a:gd name="connsiteX3" fmla="*/ 54720 w 1894968"/>
                <a:gd name="connsiteY3" fmla="*/ 0 h 257442"/>
                <a:gd name="connsiteX0" fmla="*/ 2063284 w 2063284"/>
                <a:gd name="connsiteY0" fmla="*/ 0 h 257442"/>
                <a:gd name="connsiteX1" fmla="*/ 1840247 w 2063284"/>
                <a:gd name="connsiteY1" fmla="*/ 257442 h 257442"/>
                <a:gd name="connsiteX2" fmla="*/ 0 w 2063284"/>
                <a:gd name="connsiteY2" fmla="*/ 257442 h 257442"/>
                <a:gd name="connsiteX3" fmla="*/ 54720 w 2063284"/>
                <a:gd name="connsiteY3" fmla="*/ 0 h 257442"/>
                <a:gd name="connsiteX0" fmla="*/ 2063284 w 2063284"/>
                <a:gd name="connsiteY0" fmla="*/ 0 h 257442"/>
                <a:gd name="connsiteX1" fmla="*/ 2008563 w 2063284"/>
                <a:gd name="connsiteY1" fmla="*/ 257442 h 257442"/>
                <a:gd name="connsiteX2" fmla="*/ 0 w 2063284"/>
                <a:gd name="connsiteY2" fmla="*/ 257442 h 257442"/>
                <a:gd name="connsiteX3" fmla="*/ 54720 w 2063284"/>
                <a:gd name="connsiteY3" fmla="*/ 0 h 257442"/>
                <a:gd name="connsiteX0" fmla="*/ 2063285 w 2063285"/>
                <a:gd name="connsiteY0" fmla="*/ 0 h 257442"/>
                <a:gd name="connsiteX1" fmla="*/ 2008564 w 2063285"/>
                <a:gd name="connsiteY1" fmla="*/ 257442 h 257442"/>
                <a:gd name="connsiteX2" fmla="*/ 0 w 2063285"/>
                <a:gd name="connsiteY2" fmla="*/ 257442 h 257442"/>
                <a:gd name="connsiteX3" fmla="*/ 54721 w 2063285"/>
                <a:gd name="connsiteY3" fmla="*/ 0 h 257442"/>
                <a:gd name="connsiteX0" fmla="*/ 2063285 w 2063285"/>
                <a:gd name="connsiteY0" fmla="*/ 0 h 257442"/>
                <a:gd name="connsiteX1" fmla="*/ 2008564 w 2063285"/>
                <a:gd name="connsiteY1" fmla="*/ 257442 h 257442"/>
                <a:gd name="connsiteX2" fmla="*/ 0 w 2063285"/>
                <a:gd name="connsiteY2" fmla="*/ 257442 h 257442"/>
                <a:gd name="connsiteX3" fmla="*/ 54722 w 2063285"/>
                <a:gd name="connsiteY3" fmla="*/ 0 h 257442"/>
                <a:gd name="connsiteX0" fmla="*/ 2305147 w 2305147"/>
                <a:gd name="connsiteY0" fmla="*/ 0 h 257442"/>
                <a:gd name="connsiteX1" fmla="*/ 2008564 w 2305147"/>
                <a:gd name="connsiteY1" fmla="*/ 257442 h 257442"/>
                <a:gd name="connsiteX2" fmla="*/ 0 w 2305147"/>
                <a:gd name="connsiteY2" fmla="*/ 257442 h 257442"/>
                <a:gd name="connsiteX3" fmla="*/ 54722 w 2305147"/>
                <a:gd name="connsiteY3" fmla="*/ 0 h 257442"/>
                <a:gd name="connsiteX0" fmla="*/ 2305147 w 2305147"/>
                <a:gd name="connsiteY0" fmla="*/ 0 h 257442"/>
                <a:gd name="connsiteX1" fmla="*/ 2250426 w 2305147"/>
                <a:gd name="connsiteY1" fmla="*/ 257442 h 257442"/>
                <a:gd name="connsiteX2" fmla="*/ 0 w 2305147"/>
                <a:gd name="connsiteY2" fmla="*/ 257442 h 257442"/>
                <a:gd name="connsiteX3" fmla="*/ 54722 w 2305147"/>
                <a:gd name="connsiteY3" fmla="*/ 0 h 257442"/>
                <a:gd name="connsiteX0" fmla="*/ 2305146 w 2305146"/>
                <a:gd name="connsiteY0" fmla="*/ 0 h 257442"/>
                <a:gd name="connsiteX1" fmla="*/ 2250425 w 2305146"/>
                <a:gd name="connsiteY1" fmla="*/ 257442 h 257442"/>
                <a:gd name="connsiteX2" fmla="*/ 0 w 2305146"/>
                <a:gd name="connsiteY2" fmla="*/ 257442 h 257442"/>
                <a:gd name="connsiteX3" fmla="*/ 54721 w 2305146"/>
                <a:gd name="connsiteY3" fmla="*/ 0 h 257442"/>
                <a:gd name="connsiteX0" fmla="*/ 2305146 w 2305146"/>
                <a:gd name="connsiteY0" fmla="*/ 0 h 257442"/>
                <a:gd name="connsiteX1" fmla="*/ 2250425 w 2305146"/>
                <a:gd name="connsiteY1" fmla="*/ 257442 h 257442"/>
                <a:gd name="connsiteX2" fmla="*/ 0 w 2305146"/>
                <a:gd name="connsiteY2" fmla="*/ 257442 h 257442"/>
                <a:gd name="connsiteX3" fmla="*/ 54720 w 2305146"/>
                <a:gd name="connsiteY3" fmla="*/ 0 h 257442"/>
                <a:gd name="connsiteX0" fmla="*/ 2204156 w 2250425"/>
                <a:gd name="connsiteY0" fmla="*/ 0 h 257442"/>
                <a:gd name="connsiteX1" fmla="*/ 2250425 w 2250425"/>
                <a:gd name="connsiteY1" fmla="*/ 257442 h 257442"/>
                <a:gd name="connsiteX2" fmla="*/ 0 w 2250425"/>
                <a:gd name="connsiteY2" fmla="*/ 257442 h 257442"/>
                <a:gd name="connsiteX3" fmla="*/ 54720 w 2250425"/>
                <a:gd name="connsiteY3" fmla="*/ 0 h 257442"/>
                <a:gd name="connsiteX0" fmla="*/ 2204156 w 2204156"/>
                <a:gd name="connsiteY0" fmla="*/ 0 h 257442"/>
                <a:gd name="connsiteX1" fmla="*/ 2149436 w 2204156"/>
                <a:gd name="connsiteY1" fmla="*/ 257442 h 257442"/>
                <a:gd name="connsiteX2" fmla="*/ 0 w 2204156"/>
                <a:gd name="connsiteY2" fmla="*/ 257442 h 257442"/>
                <a:gd name="connsiteX3" fmla="*/ 54720 w 2204156"/>
                <a:gd name="connsiteY3" fmla="*/ 0 h 257442"/>
                <a:gd name="connsiteX0" fmla="*/ 2204156 w 2204156"/>
                <a:gd name="connsiteY0" fmla="*/ 0 h 257442"/>
                <a:gd name="connsiteX1" fmla="*/ 2149436 w 2204156"/>
                <a:gd name="connsiteY1" fmla="*/ 257442 h 257442"/>
                <a:gd name="connsiteX2" fmla="*/ 0 w 2204156"/>
                <a:gd name="connsiteY2" fmla="*/ 257442 h 257442"/>
                <a:gd name="connsiteX3" fmla="*/ 54720 w 2204156"/>
                <a:gd name="connsiteY3" fmla="*/ 0 h 257442"/>
                <a:gd name="connsiteX0" fmla="*/ 2204156 w 2204156"/>
                <a:gd name="connsiteY0" fmla="*/ 0 h 257442"/>
                <a:gd name="connsiteX1" fmla="*/ 2149436 w 2204156"/>
                <a:gd name="connsiteY1" fmla="*/ 257442 h 257442"/>
                <a:gd name="connsiteX2" fmla="*/ 0 w 2204156"/>
                <a:gd name="connsiteY2" fmla="*/ 257442 h 257442"/>
                <a:gd name="connsiteX3" fmla="*/ 54721 w 2204156"/>
                <a:gd name="connsiteY3" fmla="*/ 0 h 257442"/>
                <a:gd name="connsiteX0" fmla="*/ 942786 w 2149436"/>
                <a:gd name="connsiteY0" fmla="*/ 0 h 257442"/>
                <a:gd name="connsiteX1" fmla="*/ 2149436 w 2149436"/>
                <a:gd name="connsiteY1" fmla="*/ 257442 h 257442"/>
                <a:gd name="connsiteX2" fmla="*/ 0 w 2149436"/>
                <a:gd name="connsiteY2" fmla="*/ 257442 h 257442"/>
                <a:gd name="connsiteX3" fmla="*/ 54721 w 2149436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0 w 942786"/>
                <a:gd name="connsiteY2" fmla="*/ 257442 h 257442"/>
                <a:gd name="connsiteX3" fmla="*/ 54721 w 942786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0 w 942786"/>
                <a:gd name="connsiteY2" fmla="*/ 257442 h 257442"/>
                <a:gd name="connsiteX3" fmla="*/ 54721 w 942786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0 w 942786"/>
                <a:gd name="connsiteY2" fmla="*/ 257442 h 257442"/>
                <a:gd name="connsiteX3" fmla="*/ 54721 w 942786"/>
                <a:gd name="connsiteY3" fmla="*/ 0 h 257442"/>
                <a:gd name="connsiteX0" fmla="*/ 1103086 w 1103086"/>
                <a:gd name="connsiteY0" fmla="*/ 0 h 257442"/>
                <a:gd name="connsiteX1" fmla="*/ 888065 w 1103086"/>
                <a:gd name="connsiteY1" fmla="*/ 257442 h 257442"/>
                <a:gd name="connsiteX2" fmla="*/ 0 w 1103086"/>
                <a:gd name="connsiteY2" fmla="*/ 257442 h 257442"/>
                <a:gd name="connsiteX3" fmla="*/ 54721 w 1103086"/>
                <a:gd name="connsiteY3" fmla="*/ 0 h 257442"/>
                <a:gd name="connsiteX0" fmla="*/ 1103086 w 1103086"/>
                <a:gd name="connsiteY0" fmla="*/ 0 h 257442"/>
                <a:gd name="connsiteX1" fmla="*/ 1048365 w 1103086"/>
                <a:gd name="connsiteY1" fmla="*/ 257442 h 257442"/>
                <a:gd name="connsiteX2" fmla="*/ 0 w 1103086"/>
                <a:gd name="connsiteY2" fmla="*/ 257442 h 257442"/>
                <a:gd name="connsiteX3" fmla="*/ 54721 w 1103086"/>
                <a:gd name="connsiteY3" fmla="*/ 0 h 257442"/>
                <a:gd name="connsiteX0" fmla="*/ 1103086 w 1103086"/>
                <a:gd name="connsiteY0" fmla="*/ 0 h 257442"/>
                <a:gd name="connsiteX1" fmla="*/ 1048365 w 1103086"/>
                <a:gd name="connsiteY1" fmla="*/ 257442 h 257442"/>
                <a:gd name="connsiteX2" fmla="*/ 0 w 1103086"/>
                <a:gd name="connsiteY2" fmla="*/ 257442 h 257442"/>
                <a:gd name="connsiteX3" fmla="*/ 54721 w 1103086"/>
                <a:gd name="connsiteY3" fmla="*/ 0 h 257442"/>
                <a:gd name="connsiteX0" fmla="*/ 1103086 w 1103086"/>
                <a:gd name="connsiteY0" fmla="*/ 0 h 257442"/>
                <a:gd name="connsiteX1" fmla="*/ 1048365 w 1103086"/>
                <a:gd name="connsiteY1" fmla="*/ 257442 h 257442"/>
                <a:gd name="connsiteX2" fmla="*/ 0 w 1103086"/>
                <a:gd name="connsiteY2" fmla="*/ 257442 h 257442"/>
                <a:gd name="connsiteX3" fmla="*/ 54721 w 1103086"/>
                <a:gd name="connsiteY3" fmla="*/ 0 h 257442"/>
                <a:gd name="connsiteX0" fmla="*/ 1271402 w 1271402"/>
                <a:gd name="connsiteY0" fmla="*/ 0 h 257442"/>
                <a:gd name="connsiteX1" fmla="*/ 1048365 w 1271402"/>
                <a:gd name="connsiteY1" fmla="*/ 257442 h 257442"/>
                <a:gd name="connsiteX2" fmla="*/ 0 w 1271402"/>
                <a:gd name="connsiteY2" fmla="*/ 257442 h 257442"/>
                <a:gd name="connsiteX3" fmla="*/ 54721 w 1271402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54721 w 1271402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54721 w 1271402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54721 w 1271402"/>
                <a:gd name="connsiteY3" fmla="*/ 0 h 257442"/>
                <a:gd name="connsiteX0" fmla="*/ 1550324 w 1550324"/>
                <a:gd name="connsiteY0" fmla="*/ 0 h 257442"/>
                <a:gd name="connsiteX1" fmla="*/ 1216681 w 1550324"/>
                <a:gd name="connsiteY1" fmla="*/ 257442 h 257442"/>
                <a:gd name="connsiteX2" fmla="*/ 0 w 1550324"/>
                <a:gd name="connsiteY2" fmla="*/ 257442 h 257442"/>
                <a:gd name="connsiteX3" fmla="*/ 54721 w 1550324"/>
                <a:gd name="connsiteY3" fmla="*/ 0 h 257442"/>
                <a:gd name="connsiteX0" fmla="*/ 1550324 w 1550324"/>
                <a:gd name="connsiteY0" fmla="*/ 0 h 257442"/>
                <a:gd name="connsiteX1" fmla="*/ 1495603 w 1550324"/>
                <a:gd name="connsiteY1" fmla="*/ 257442 h 257442"/>
                <a:gd name="connsiteX2" fmla="*/ 0 w 1550324"/>
                <a:gd name="connsiteY2" fmla="*/ 257442 h 257442"/>
                <a:gd name="connsiteX3" fmla="*/ 54721 w 1550324"/>
                <a:gd name="connsiteY3" fmla="*/ 0 h 257442"/>
                <a:gd name="connsiteX0" fmla="*/ 1550324 w 1550324"/>
                <a:gd name="connsiteY0" fmla="*/ 0 h 257442"/>
                <a:gd name="connsiteX1" fmla="*/ 1495603 w 1550324"/>
                <a:gd name="connsiteY1" fmla="*/ 257442 h 257442"/>
                <a:gd name="connsiteX2" fmla="*/ 0 w 1550324"/>
                <a:gd name="connsiteY2" fmla="*/ 257442 h 257442"/>
                <a:gd name="connsiteX3" fmla="*/ 54721 w 1550324"/>
                <a:gd name="connsiteY3" fmla="*/ 0 h 257442"/>
                <a:gd name="connsiteX0" fmla="*/ 1550324 w 1550324"/>
                <a:gd name="connsiteY0" fmla="*/ 0 h 257442"/>
                <a:gd name="connsiteX1" fmla="*/ 1495603 w 1550324"/>
                <a:gd name="connsiteY1" fmla="*/ 257442 h 257442"/>
                <a:gd name="connsiteX2" fmla="*/ 0 w 1550324"/>
                <a:gd name="connsiteY2" fmla="*/ 257442 h 257442"/>
                <a:gd name="connsiteX3" fmla="*/ 54721 w 1550324"/>
                <a:gd name="connsiteY3" fmla="*/ 0 h 257442"/>
                <a:gd name="connsiteX0" fmla="*/ 1718639 w 1718639"/>
                <a:gd name="connsiteY0" fmla="*/ 0 h 257442"/>
                <a:gd name="connsiteX1" fmla="*/ 1495603 w 1718639"/>
                <a:gd name="connsiteY1" fmla="*/ 257442 h 257442"/>
                <a:gd name="connsiteX2" fmla="*/ 0 w 1718639"/>
                <a:gd name="connsiteY2" fmla="*/ 257442 h 257442"/>
                <a:gd name="connsiteX3" fmla="*/ 54721 w 1718639"/>
                <a:gd name="connsiteY3" fmla="*/ 0 h 257442"/>
                <a:gd name="connsiteX0" fmla="*/ 1718639 w 1718639"/>
                <a:gd name="connsiteY0" fmla="*/ 0 h 257442"/>
                <a:gd name="connsiteX1" fmla="*/ 1663918 w 1718639"/>
                <a:gd name="connsiteY1" fmla="*/ 257442 h 257442"/>
                <a:gd name="connsiteX2" fmla="*/ 0 w 1718639"/>
                <a:gd name="connsiteY2" fmla="*/ 257442 h 257442"/>
                <a:gd name="connsiteX3" fmla="*/ 54721 w 1718639"/>
                <a:gd name="connsiteY3" fmla="*/ 0 h 257442"/>
                <a:gd name="connsiteX0" fmla="*/ 1718639 w 1718639"/>
                <a:gd name="connsiteY0" fmla="*/ 0 h 257442"/>
                <a:gd name="connsiteX1" fmla="*/ 1663918 w 1718639"/>
                <a:gd name="connsiteY1" fmla="*/ 257442 h 257442"/>
                <a:gd name="connsiteX2" fmla="*/ 0 w 1718639"/>
                <a:gd name="connsiteY2" fmla="*/ 257442 h 257442"/>
                <a:gd name="connsiteX3" fmla="*/ 54721 w 1718639"/>
                <a:gd name="connsiteY3" fmla="*/ 0 h 257442"/>
                <a:gd name="connsiteX0" fmla="*/ 1718639 w 1718639"/>
                <a:gd name="connsiteY0" fmla="*/ 0 h 257442"/>
                <a:gd name="connsiteX1" fmla="*/ 1663918 w 1718639"/>
                <a:gd name="connsiteY1" fmla="*/ 257442 h 257442"/>
                <a:gd name="connsiteX2" fmla="*/ 0 w 1718639"/>
                <a:gd name="connsiteY2" fmla="*/ 257442 h 257442"/>
                <a:gd name="connsiteX3" fmla="*/ 54721 w 1718639"/>
                <a:gd name="connsiteY3" fmla="*/ 0 h 257442"/>
                <a:gd name="connsiteX0" fmla="*/ 1971914 w 1971914"/>
                <a:gd name="connsiteY0" fmla="*/ 0 h 257442"/>
                <a:gd name="connsiteX1" fmla="*/ 1663918 w 1971914"/>
                <a:gd name="connsiteY1" fmla="*/ 257442 h 257442"/>
                <a:gd name="connsiteX2" fmla="*/ 0 w 1971914"/>
                <a:gd name="connsiteY2" fmla="*/ 257442 h 257442"/>
                <a:gd name="connsiteX3" fmla="*/ 54721 w 1971914"/>
                <a:gd name="connsiteY3" fmla="*/ 0 h 257442"/>
                <a:gd name="connsiteX0" fmla="*/ 1971914 w 1971914"/>
                <a:gd name="connsiteY0" fmla="*/ 0 h 257442"/>
                <a:gd name="connsiteX1" fmla="*/ 1917192 w 1971914"/>
                <a:gd name="connsiteY1" fmla="*/ 257442 h 257442"/>
                <a:gd name="connsiteX2" fmla="*/ 0 w 1971914"/>
                <a:gd name="connsiteY2" fmla="*/ 257442 h 257442"/>
                <a:gd name="connsiteX3" fmla="*/ 54721 w 1971914"/>
                <a:gd name="connsiteY3" fmla="*/ 0 h 257442"/>
                <a:gd name="connsiteX0" fmla="*/ 1971915 w 1971915"/>
                <a:gd name="connsiteY0" fmla="*/ 0 h 257442"/>
                <a:gd name="connsiteX1" fmla="*/ 1917193 w 1971915"/>
                <a:gd name="connsiteY1" fmla="*/ 257442 h 257442"/>
                <a:gd name="connsiteX2" fmla="*/ 0 w 1971915"/>
                <a:gd name="connsiteY2" fmla="*/ 257442 h 257442"/>
                <a:gd name="connsiteX3" fmla="*/ 54722 w 1971915"/>
                <a:gd name="connsiteY3" fmla="*/ 0 h 257442"/>
                <a:gd name="connsiteX0" fmla="*/ 1971915 w 1971915"/>
                <a:gd name="connsiteY0" fmla="*/ 0 h 257442"/>
                <a:gd name="connsiteX1" fmla="*/ 1917193 w 1971915"/>
                <a:gd name="connsiteY1" fmla="*/ 257442 h 257442"/>
                <a:gd name="connsiteX2" fmla="*/ 0 w 1971915"/>
                <a:gd name="connsiteY2" fmla="*/ 257442 h 257442"/>
                <a:gd name="connsiteX3" fmla="*/ 54722 w 1971915"/>
                <a:gd name="connsiteY3" fmla="*/ 0 h 257442"/>
                <a:gd name="connsiteX0" fmla="*/ 2132215 w 2132215"/>
                <a:gd name="connsiteY0" fmla="*/ 0 h 257442"/>
                <a:gd name="connsiteX1" fmla="*/ 1917193 w 2132215"/>
                <a:gd name="connsiteY1" fmla="*/ 257442 h 257442"/>
                <a:gd name="connsiteX2" fmla="*/ 0 w 2132215"/>
                <a:gd name="connsiteY2" fmla="*/ 257442 h 257442"/>
                <a:gd name="connsiteX3" fmla="*/ 54722 w 2132215"/>
                <a:gd name="connsiteY3" fmla="*/ 0 h 257442"/>
                <a:gd name="connsiteX0" fmla="*/ 2132215 w 2132215"/>
                <a:gd name="connsiteY0" fmla="*/ 0 h 257442"/>
                <a:gd name="connsiteX1" fmla="*/ 2077494 w 2132215"/>
                <a:gd name="connsiteY1" fmla="*/ 257442 h 257442"/>
                <a:gd name="connsiteX2" fmla="*/ 0 w 2132215"/>
                <a:gd name="connsiteY2" fmla="*/ 257442 h 257442"/>
                <a:gd name="connsiteX3" fmla="*/ 54722 w 2132215"/>
                <a:gd name="connsiteY3" fmla="*/ 0 h 257442"/>
                <a:gd name="connsiteX0" fmla="*/ 2132214 w 2132214"/>
                <a:gd name="connsiteY0" fmla="*/ 0 h 257442"/>
                <a:gd name="connsiteX1" fmla="*/ 2077493 w 2132214"/>
                <a:gd name="connsiteY1" fmla="*/ 257442 h 257442"/>
                <a:gd name="connsiteX2" fmla="*/ 0 w 2132214"/>
                <a:gd name="connsiteY2" fmla="*/ 257442 h 257442"/>
                <a:gd name="connsiteX3" fmla="*/ 54721 w 2132214"/>
                <a:gd name="connsiteY3" fmla="*/ 0 h 257442"/>
                <a:gd name="connsiteX0" fmla="*/ 2132214 w 2132214"/>
                <a:gd name="connsiteY0" fmla="*/ 0 h 257442"/>
                <a:gd name="connsiteX1" fmla="*/ 2077493 w 2132214"/>
                <a:gd name="connsiteY1" fmla="*/ 257442 h 257442"/>
                <a:gd name="connsiteX2" fmla="*/ 0 w 2132214"/>
                <a:gd name="connsiteY2" fmla="*/ 257442 h 257442"/>
                <a:gd name="connsiteX3" fmla="*/ 54720 w 2132214"/>
                <a:gd name="connsiteY3" fmla="*/ 0 h 257442"/>
                <a:gd name="connsiteX0" fmla="*/ 934770 w 2077493"/>
                <a:gd name="connsiteY0" fmla="*/ 0 h 257442"/>
                <a:gd name="connsiteX1" fmla="*/ 2077493 w 2077493"/>
                <a:gd name="connsiteY1" fmla="*/ 257442 h 257442"/>
                <a:gd name="connsiteX2" fmla="*/ 0 w 2077493"/>
                <a:gd name="connsiteY2" fmla="*/ 257442 h 257442"/>
                <a:gd name="connsiteX3" fmla="*/ 54720 w 2077493"/>
                <a:gd name="connsiteY3" fmla="*/ 0 h 257442"/>
                <a:gd name="connsiteX0" fmla="*/ 934770 w 934770"/>
                <a:gd name="connsiteY0" fmla="*/ 0 h 257442"/>
                <a:gd name="connsiteX1" fmla="*/ 880050 w 934770"/>
                <a:gd name="connsiteY1" fmla="*/ 257442 h 257442"/>
                <a:gd name="connsiteX2" fmla="*/ 0 w 934770"/>
                <a:gd name="connsiteY2" fmla="*/ 257442 h 257442"/>
                <a:gd name="connsiteX3" fmla="*/ 54720 w 934770"/>
                <a:gd name="connsiteY3" fmla="*/ 0 h 257442"/>
                <a:gd name="connsiteX0" fmla="*/ 934770 w 934770"/>
                <a:gd name="connsiteY0" fmla="*/ 0 h 257442"/>
                <a:gd name="connsiteX1" fmla="*/ 880050 w 934770"/>
                <a:gd name="connsiteY1" fmla="*/ 257442 h 257442"/>
                <a:gd name="connsiteX2" fmla="*/ 0 w 934770"/>
                <a:gd name="connsiteY2" fmla="*/ 257442 h 257442"/>
                <a:gd name="connsiteX3" fmla="*/ 54720 w 934770"/>
                <a:gd name="connsiteY3" fmla="*/ 0 h 257442"/>
                <a:gd name="connsiteX0" fmla="*/ 934770 w 934770"/>
                <a:gd name="connsiteY0" fmla="*/ 0 h 257442"/>
                <a:gd name="connsiteX1" fmla="*/ 880050 w 934770"/>
                <a:gd name="connsiteY1" fmla="*/ 257442 h 257442"/>
                <a:gd name="connsiteX2" fmla="*/ 0 w 934770"/>
                <a:gd name="connsiteY2" fmla="*/ 257442 h 257442"/>
                <a:gd name="connsiteX3" fmla="*/ 54721 w 934770"/>
                <a:gd name="connsiteY3" fmla="*/ 0 h 257442"/>
                <a:gd name="connsiteX0" fmla="*/ 1188046 w 1188046"/>
                <a:gd name="connsiteY0" fmla="*/ 0 h 257442"/>
                <a:gd name="connsiteX1" fmla="*/ 880050 w 1188046"/>
                <a:gd name="connsiteY1" fmla="*/ 257442 h 257442"/>
                <a:gd name="connsiteX2" fmla="*/ 0 w 1188046"/>
                <a:gd name="connsiteY2" fmla="*/ 257442 h 257442"/>
                <a:gd name="connsiteX3" fmla="*/ 54721 w 1188046"/>
                <a:gd name="connsiteY3" fmla="*/ 0 h 257442"/>
                <a:gd name="connsiteX0" fmla="*/ 1188046 w 1188046"/>
                <a:gd name="connsiteY0" fmla="*/ 0 h 257442"/>
                <a:gd name="connsiteX1" fmla="*/ 1133325 w 1188046"/>
                <a:gd name="connsiteY1" fmla="*/ 257442 h 257442"/>
                <a:gd name="connsiteX2" fmla="*/ 0 w 1188046"/>
                <a:gd name="connsiteY2" fmla="*/ 257442 h 257442"/>
                <a:gd name="connsiteX3" fmla="*/ 54721 w 1188046"/>
                <a:gd name="connsiteY3" fmla="*/ 0 h 257442"/>
                <a:gd name="connsiteX0" fmla="*/ 1188046 w 1188046"/>
                <a:gd name="connsiteY0" fmla="*/ 0 h 257442"/>
                <a:gd name="connsiteX1" fmla="*/ 1133325 w 1188046"/>
                <a:gd name="connsiteY1" fmla="*/ 257442 h 257442"/>
                <a:gd name="connsiteX2" fmla="*/ 0 w 1188046"/>
                <a:gd name="connsiteY2" fmla="*/ 257442 h 257442"/>
                <a:gd name="connsiteX3" fmla="*/ 54721 w 1188046"/>
                <a:gd name="connsiteY3" fmla="*/ 0 h 257442"/>
                <a:gd name="connsiteX0" fmla="*/ 1188046 w 1188046"/>
                <a:gd name="connsiteY0" fmla="*/ 0 h 257442"/>
                <a:gd name="connsiteX1" fmla="*/ 1133325 w 1188046"/>
                <a:gd name="connsiteY1" fmla="*/ 257442 h 257442"/>
                <a:gd name="connsiteX2" fmla="*/ 0 w 1188046"/>
                <a:gd name="connsiteY2" fmla="*/ 257442 h 257442"/>
                <a:gd name="connsiteX3" fmla="*/ 54721 w 1188046"/>
                <a:gd name="connsiteY3" fmla="*/ 0 h 257442"/>
                <a:gd name="connsiteX0" fmla="*/ 1348346 w 1348346"/>
                <a:gd name="connsiteY0" fmla="*/ 0 h 257442"/>
                <a:gd name="connsiteX1" fmla="*/ 1133325 w 1348346"/>
                <a:gd name="connsiteY1" fmla="*/ 257442 h 257442"/>
                <a:gd name="connsiteX2" fmla="*/ 0 w 1348346"/>
                <a:gd name="connsiteY2" fmla="*/ 257442 h 257442"/>
                <a:gd name="connsiteX3" fmla="*/ 54721 w 1348346"/>
                <a:gd name="connsiteY3" fmla="*/ 0 h 257442"/>
                <a:gd name="connsiteX0" fmla="*/ 1348346 w 1348346"/>
                <a:gd name="connsiteY0" fmla="*/ 0 h 257442"/>
                <a:gd name="connsiteX1" fmla="*/ 1293625 w 1348346"/>
                <a:gd name="connsiteY1" fmla="*/ 257442 h 257442"/>
                <a:gd name="connsiteX2" fmla="*/ 0 w 1348346"/>
                <a:gd name="connsiteY2" fmla="*/ 257442 h 257442"/>
                <a:gd name="connsiteX3" fmla="*/ 54721 w 1348346"/>
                <a:gd name="connsiteY3" fmla="*/ 0 h 257442"/>
                <a:gd name="connsiteX0" fmla="*/ 1348346 w 1348346"/>
                <a:gd name="connsiteY0" fmla="*/ 0 h 257442"/>
                <a:gd name="connsiteX1" fmla="*/ 1293625 w 1348346"/>
                <a:gd name="connsiteY1" fmla="*/ 257442 h 257442"/>
                <a:gd name="connsiteX2" fmla="*/ 0 w 1348346"/>
                <a:gd name="connsiteY2" fmla="*/ 257442 h 257442"/>
                <a:gd name="connsiteX3" fmla="*/ 54721 w 1348346"/>
                <a:gd name="connsiteY3" fmla="*/ 0 h 257442"/>
                <a:gd name="connsiteX0" fmla="*/ 1348346 w 1348346"/>
                <a:gd name="connsiteY0" fmla="*/ 0 h 257442"/>
                <a:gd name="connsiteX1" fmla="*/ 1293625 w 1348346"/>
                <a:gd name="connsiteY1" fmla="*/ 257442 h 257442"/>
                <a:gd name="connsiteX2" fmla="*/ 0 w 1348346"/>
                <a:gd name="connsiteY2" fmla="*/ 257442 h 257442"/>
                <a:gd name="connsiteX3" fmla="*/ 54721 w 1348346"/>
                <a:gd name="connsiteY3" fmla="*/ 0 h 257442"/>
                <a:gd name="connsiteX0" fmla="*/ 1188046 w 1293625"/>
                <a:gd name="connsiteY0" fmla="*/ 0 h 257442"/>
                <a:gd name="connsiteX1" fmla="*/ 1293625 w 1293625"/>
                <a:gd name="connsiteY1" fmla="*/ 257442 h 257442"/>
                <a:gd name="connsiteX2" fmla="*/ 0 w 1293625"/>
                <a:gd name="connsiteY2" fmla="*/ 257442 h 257442"/>
                <a:gd name="connsiteX3" fmla="*/ 54721 w 1293625"/>
                <a:gd name="connsiteY3" fmla="*/ 0 h 257442"/>
                <a:gd name="connsiteX0" fmla="*/ 1188046 w 1188046"/>
                <a:gd name="connsiteY0" fmla="*/ 0 h 257442"/>
                <a:gd name="connsiteX1" fmla="*/ 1133326 w 1188046"/>
                <a:gd name="connsiteY1" fmla="*/ 257442 h 257442"/>
                <a:gd name="connsiteX2" fmla="*/ 0 w 1188046"/>
                <a:gd name="connsiteY2" fmla="*/ 257442 h 257442"/>
                <a:gd name="connsiteX3" fmla="*/ 54721 w 1188046"/>
                <a:gd name="connsiteY3" fmla="*/ 0 h 257442"/>
                <a:gd name="connsiteX0" fmla="*/ 1188045 w 1188045"/>
                <a:gd name="connsiteY0" fmla="*/ 0 h 257442"/>
                <a:gd name="connsiteX1" fmla="*/ 1133325 w 1188045"/>
                <a:gd name="connsiteY1" fmla="*/ 257442 h 257442"/>
                <a:gd name="connsiteX2" fmla="*/ 0 w 1188045"/>
                <a:gd name="connsiteY2" fmla="*/ 257442 h 257442"/>
                <a:gd name="connsiteX3" fmla="*/ 54720 w 1188045"/>
                <a:gd name="connsiteY3" fmla="*/ 0 h 257442"/>
                <a:gd name="connsiteX0" fmla="*/ 1188045 w 1188045"/>
                <a:gd name="connsiteY0" fmla="*/ 0 h 257442"/>
                <a:gd name="connsiteX1" fmla="*/ 1133325 w 1188045"/>
                <a:gd name="connsiteY1" fmla="*/ 257442 h 257442"/>
                <a:gd name="connsiteX2" fmla="*/ 0 w 1188045"/>
                <a:gd name="connsiteY2" fmla="*/ 257442 h 257442"/>
                <a:gd name="connsiteX3" fmla="*/ 54721 w 1188045"/>
                <a:gd name="connsiteY3" fmla="*/ 0 h 257442"/>
                <a:gd name="connsiteX0" fmla="*/ 1500631 w 1500631"/>
                <a:gd name="connsiteY0" fmla="*/ 0 h 257442"/>
                <a:gd name="connsiteX1" fmla="*/ 1133325 w 1500631"/>
                <a:gd name="connsiteY1" fmla="*/ 257442 h 257442"/>
                <a:gd name="connsiteX2" fmla="*/ 0 w 1500631"/>
                <a:gd name="connsiteY2" fmla="*/ 257442 h 257442"/>
                <a:gd name="connsiteX3" fmla="*/ 54721 w 1500631"/>
                <a:gd name="connsiteY3" fmla="*/ 0 h 257442"/>
                <a:gd name="connsiteX0" fmla="*/ 1500631 w 1500631"/>
                <a:gd name="connsiteY0" fmla="*/ 0 h 257442"/>
                <a:gd name="connsiteX1" fmla="*/ 1445910 w 1500631"/>
                <a:gd name="connsiteY1" fmla="*/ 257442 h 257442"/>
                <a:gd name="connsiteX2" fmla="*/ 0 w 1500631"/>
                <a:gd name="connsiteY2" fmla="*/ 257442 h 257442"/>
                <a:gd name="connsiteX3" fmla="*/ 54721 w 1500631"/>
                <a:gd name="connsiteY3" fmla="*/ 0 h 257442"/>
                <a:gd name="connsiteX0" fmla="*/ 1500631 w 1500631"/>
                <a:gd name="connsiteY0" fmla="*/ 0 h 257442"/>
                <a:gd name="connsiteX1" fmla="*/ 1445910 w 1500631"/>
                <a:gd name="connsiteY1" fmla="*/ 257442 h 257442"/>
                <a:gd name="connsiteX2" fmla="*/ 0 w 1500631"/>
                <a:gd name="connsiteY2" fmla="*/ 257442 h 257442"/>
                <a:gd name="connsiteX3" fmla="*/ 54721 w 1500631"/>
                <a:gd name="connsiteY3" fmla="*/ 0 h 257442"/>
                <a:gd name="connsiteX0" fmla="*/ 1500631 w 1500631"/>
                <a:gd name="connsiteY0" fmla="*/ 0 h 257442"/>
                <a:gd name="connsiteX1" fmla="*/ 1445910 w 1500631"/>
                <a:gd name="connsiteY1" fmla="*/ 257442 h 257442"/>
                <a:gd name="connsiteX2" fmla="*/ 0 w 1500631"/>
                <a:gd name="connsiteY2" fmla="*/ 257442 h 257442"/>
                <a:gd name="connsiteX3" fmla="*/ 54721 w 1500631"/>
                <a:gd name="connsiteY3" fmla="*/ 0 h 257442"/>
                <a:gd name="connsiteX0" fmla="*/ 1660931 w 1660931"/>
                <a:gd name="connsiteY0" fmla="*/ 0 h 257442"/>
                <a:gd name="connsiteX1" fmla="*/ 1445910 w 1660931"/>
                <a:gd name="connsiteY1" fmla="*/ 257442 h 257442"/>
                <a:gd name="connsiteX2" fmla="*/ 0 w 1660931"/>
                <a:gd name="connsiteY2" fmla="*/ 257442 h 257442"/>
                <a:gd name="connsiteX3" fmla="*/ 54721 w 1660931"/>
                <a:gd name="connsiteY3" fmla="*/ 0 h 257442"/>
                <a:gd name="connsiteX0" fmla="*/ 1660931 w 1660931"/>
                <a:gd name="connsiteY0" fmla="*/ 0 h 257442"/>
                <a:gd name="connsiteX1" fmla="*/ 1606210 w 1660931"/>
                <a:gd name="connsiteY1" fmla="*/ 257442 h 257442"/>
                <a:gd name="connsiteX2" fmla="*/ 0 w 1660931"/>
                <a:gd name="connsiteY2" fmla="*/ 257442 h 257442"/>
                <a:gd name="connsiteX3" fmla="*/ 54721 w 1660931"/>
                <a:gd name="connsiteY3" fmla="*/ 0 h 257442"/>
                <a:gd name="connsiteX0" fmla="*/ 1660931 w 1660931"/>
                <a:gd name="connsiteY0" fmla="*/ 0 h 257442"/>
                <a:gd name="connsiteX1" fmla="*/ 1606210 w 1660931"/>
                <a:gd name="connsiteY1" fmla="*/ 257442 h 257442"/>
                <a:gd name="connsiteX2" fmla="*/ 0 w 1660931"/>
                <a:gd name="connsiteY2" fmla="*/ 257442 h 257442"/>
                <a:gd name="connsiteX3" fmla="*/ 54721 w 1660931"/>
                <a:gd name="connsiteY3" fmla="*/ 0 h 257442"/>
                <a:gd name="connsiteX0" fmla="*/ 1660931 w 1660931"/>
                <a:gd name="connsiteY0" fmla="*/ 0 h 257442"/>
                <a:gd name="connsiteX1" fmla="*/ 1606210 w 1660931"/>
                <a:gd name="connsiteY1" fmla="*/ 257442 h 257442"/>
                <a:gd name="connsiteX2" fmla="*/ 0 w 1660931"/>
                <a:gd name="connsiteY2" fmla="*/ 257442 h 257442"/>
                <a:gd name="connsiteX3" fmla="*/ 54721 w 1660931"/>
                <a:gd name="connsiteY3" fmla="*/ 0 h 257442"/>
                <a:gd name="connsiteX0" fmla="*/ 934771 w 1606210"/>
                <a:gd name="connsiteY0" fmla="*/ 0 h 257442"/>
                <a:gd name="connsiteX1" fmla="*/ 1606210 w 1606210"/>
                <a:gd name="connsiteY1" fmla="*/ 257442 h 257442"/>
                <a:gd name="connsiteX2" fmla="*/ 0 w 1606210"/>
                <a:gd name="connsiteY2" fmla="*/ 257442 h 257442"/>
                <a:gd name="connsiteX3" fmla="*/ 54721 w 1606210"/>
                <a:gd name="connsiteY3" fmla="*/ 0 h 257442"/>
                <a:gd name="connsiteX0" fmla="*/ 934771 w 934771"/>
                <a:gd name="connsiteY0" fmla="*/ 0 h 257442"/>
                <a:gd name="connsiteX1" fmla="*/ 880050 w 934771"/>
                <a:gd name="connsiteY1" fmla="*/ 257442 h 257442"/>
                <a:gd name="connsiteX2" fmla="*/ 0 w 934771"/>
                <a:gd name="connsiteY2" fmla="*/ 257442 h 257442"/>
                <a:gd name="connsiteX3" fmla="*/ 54721 w 934771"/>
                <a:gd name="connsiteY3" fmla="*/ 0 h 257442"/>
                <a:gd name="connsiteX0" fmla="*/ 934770 w 934770"/>
                <a:gd name="connsiteY0" fmla="*/ 0 h 257442"/>
                <a:gd name="connsiteX1" fmla="*/ 880049 w 934770"/>
                <a:gd name="connsiteY1" fmla="*/ 257442 h 257442"/>
                <a:gd name="connsiteX2" fmla="*/ 0 w 934770"/>
                <a:gd name="connsiteY2" fmla="*/ 257442 h 257442"/>
                <a:gd name="connsiteX3" fmla="*/ 54720 w 934770"/>
                <a:gd name="connsiteY3" fmla="*/ 0 h 257442"/>
                <a:gd name="connsiteX0" fmla="*/ 934770 w 934770"/>
                <a:gd name="connsiteY0" fmla="*/ 0 h 257442"/>
                <a:gd name="connsiteX1" fmla="*/ 880049 w 934770"/>
                <a:gd name="connsiteY1" fmla="*/ 257442 h 257442"/>
                <a:gd name="connsiteX2" fmla="*/ 0 w 934770"/>
                <a:gd name="connsiteY2" fmla="*/ 257442 h 257442"/>
                <a:gd name="connsiteX3" fmla="*/ 54720 w 934770"/>
                <a:gd name="connsiteY3" fmla="*/ 0 h 257442"/>
                <a:gd name="connsiteX0" fmla="*/ 1103085 w 1103085"/>
                <a:gd name="connsiteY0" fmla="*/ 0 h 257442"/>
                <a:gd name="connsiteX1" fmla="*/ 880049 w 1103085"/>
                <a:gd name="connsiteY1" fmla="*/ 257442 h 257442"/>
                <a:gd name="connsiteX2" fmla="*/ 0 w 1103085"/>
                <a:gd name="connsiteY2" fmla="*/ 257442 h 257442"/>
                <a:gd name="connsiteX3" fmla="*/ 54720 w 1103085"/>
                <a:gd name="connsiteY3" fmla="*/ 0 h 257442"/>
                <a:gd name="connsiteX0" fmla="*/ 1103085 w 1103085"/>
                <a:gd name="connsiteY0" fmla="*/ 0 h 257442"/>
                <a:gd name="connsiteX1" fmla="*/ 1048364 w 1103085"/>
                <a:gd name="connsiteY1" fmla="*/ 257442 h 257442"/>
                <a:gd name="connsiteX2" fmla="*/ 0 w 1103085"/>
                <a:gd name="connsiteY2" fmla="*/ 257442 h 257442"/>
                <a:gd name="connsiteX3" fmla="*/ 54720 w 1103085"/>
                <a:gd name="connsiteY3" fmla="*/ 0 h 257442"/>
                <a:gd name="connsiteX0" fmla="*/ 1103086 w 1103086"/>
                <a:gd name="connsiteY0" fmla="*/ 0 h 257442"/>
                <a:gd name="connsiteX1" fmla="*/ 1048365 w 1103086"/>
                <a:gd name="connsiteY1" fmla="*/ 257442 h 257442"/>
                <a:gd name="connsiteX2" fmla="*/ 0 w 1103086"/>
                <a:gd name="connsiteY2" fmla="*/ 257442 h 257442"/>
                <a:gd name="connsiteX3" fmla="*/ 54721 w 1103086"/>
                <a:gd name="connsiteY3" fmla="*/ 0 h 257442"/>
                <a:gd name="connsiteX0" fmla="*/ 1103086 w 1103086"/>
                <a:gd name="connsiteY0" fmla="*/ 0 h 257442"/>
                <a:gd name="connsiteX1" fmla="*/ 1048365 w 1103086"/>
                <a:gd name="connsiteY1" fmla="*/ 257442 h 257442"/>
                <a:gd name="connsiteX2" fmla="*/ 0 w 1103086"/>
                <a:gd name="connsiteY2" fmla="*/ 257442 h 257442"/>
                <a:gd name="connsiteX3" fmla="*/ 54721 w 1103086"/>
                <a:gd name="connsiteY3" fmla="*/ 0 h 257442"/>
                <a:gd name="connsiteX0" fmla="*/ 1271402 w 1271402"/>
                <a:gd name="connsiteY0" fmla="*/ 0 h 257442"/>
                <a:gd name="connsiteX1" fmla="*/ 1048365 w 1271402"/>
                <a:gd name="connsiteY1" fmla="*/ 257442 h 257442"/>
                <a:gd name="connsiteX2" fmla="*/ 0 w 1271402"/>
                <a:gd name="connsiteY2" fmla="*/ 257442 h 257442"/>
                <a:gd name="connsiteX3" fmla="*/ 54721 w 1271402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54721 w 1271402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54721 w 1271402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54721 w 1271402"/>
                <a:gd name="connsiteY3" fmla="*/ 0 h 257442"/>
                <a:gd name="connsiteX0" fmla="*/ 1439717 w 1439717"/>
                <a:gd name="connsiteY0" fmla="*/ 0 h 257442"/>
                <a:gd name="connsiteX1" fmla="*/ 1216681 w 1439717"/>
                <a:gd name="connsiteY1" fmla="*/ 257442 h 257442"/>
                <a:gd name="connsiteX2" fmla="*/ 0 w 1439717"/>
                <a:gd name="connsiteY2" fmla="*/ 257442 h 257442"/>
                <a:gd name="connsiteX3" fmla="*/ 54721 w 1439717"/>
                <a:gd name="connsiteY3" fmla="*/ 0 h 257442"/>
                <a:gd name="connsiteX0" fmla="*/ 1439717 w 1439717"/>
                <a:gd name="connsiteY0" fmla="*/ 0 h 257442"/>
                <a:gd name="connsiteX1" fmla="*/ 1384996 w 1439717"/>
                <a:gd name="connsiteY1" fmla="*/ 257442 h 257442"/>
                <a:gd name="connsiteX2" fmla="*/ 0 w 1439717"/>
                <a:gd name="connsiteY2" fmla="*/ 257442 h 257442"/>
                <a:gd name="connsiteX3" fmla="*/ 54721 w 1439717"/>
                <a:gd name="connsiteY3" fmla="*/ 0 h 257442"/>
                <a:gd name="connsiteX0" fmla="*/ 1439717 w 1439717"/>
                <a:gd name="connsiteY0" fmla="*/ 0 h 257442"/>
                <a:gd name="connsiteX1" fmla="*/ 1384996 w 1439717"/>
                <a:gd name="connsiteY1" fmla="*/ 257442 h 257442"/>
                <a:gd name="connsiteX2" fmla="*/ 0 w 1439717"/>
                <a:gd name="connsiteY2" fmla="*/ 257442 h 257442"/>
                <a:gd name="connsiteX3" fmla="*/ 54721 w 1439717"/>
                <a:gd name="connsiteY3" fmla="*/ 0 h 257442"/>
                <a:gd name="connsiteX0" fmla="*/ 1439717 w 1439717"/>
                <a:gd name="connsiteY0" fmla="*/ 0 h 257442"/>
                <a:gd name="connsiteX1" fmla="*/ 1384996 w 1439717"/>
                <a:gd name="connsiteY1" fmla="*/ 257442 h 257442"/>
                <a:gd name="connsiteX2" fmla="*/ 0 w 1439717"/>
                <a:gd name="connsiteY2" fmla="*/ 257442 h 257442"/>
                <a:gd name="connsiteX3" fmla="*/ 54721 w 1439717"/>
                <a:gd name="connsiteY3" fmla="*/ 0 h 257442"/>
                <a:gd name="connsiteX0" fmla="*/ 1692991 w 1692991"/>
                <a:gd name="connsiteY0" fmla="*/ 0 h 257442"/>
                <a:gd name="connsiteX1" fmla="*/ 1384996 w 1692991"/>
                <a:gd name="connsiteY1" fmla="*/ 257442 h 257442"/>
                <a:gd name="connsiteX2" fmla="*/ 0 w 1692991"/>
                <a:gd name="connsiteY2" fmla="*/ 257442 h 257442"/>
                <a:gd name="connsiteX3" fmla="*/ 54721 w 1692991"/>
                <a:gd name="connsiteY3" fmla="*/ 0 h 257442"/>
                <a:gd name="connsiteX0" fmla="*/ 1692991 w 1692991"/>
                <a:gd name="connsiteY0" fmla="*/ 0 h 257442"/>
                <a:gd name="connsiteX1" fmla="*/ 1638270 w 1692991"/>
                <a:gd name="connsiteY1" fmla="*/ 257442 h 257442"/>
                <a:gd name="connsiteX2" fmla="*/ 0 w 1692991"/>
                <a:gd name="connsiteY2" fmla="*/ 257442 h 257442"/>
                <a:gd name="connsiteX3" fmla="*/ 54721 w 1692991"/>
                <a:gd name="connsiteY3" fmla="*/ 0 h 257442"/>
                <a:gd name="connsiteX0" fmla="*/ 1692991 w 1692991"/>
                <a:gd name="connsiteY0" fmla="*/ 0 h 257442"/>
                <a:gd name="connsiteX1" fmla="*/ 1638270 w 1692991"/>
                <a:gd name="connsiteY1" fmla="*/ 257442 h 257442"/>
                <a:gd name="connsiteX2" fmla="*/ 0 w 1692991"/>
                <a:gd name="connsiteY2" fmla="*/ 257442 h 257442"/>
                <a:gd name="connsiteX3" fmla="*/ 54721 w 1692991"/>
                <a:gd name="connsiteY3" fmla="*/ 0 h 257442"/>
                <a:gd name="connsiteX0" fmla="*/ 1692991 w 1692991"/>
                <a:gd name="connsiteY0" fmla="*/ 0 h 257442"/>
                <a:gd name="connsiteX1" fmla="*/ 1638270 w 1692991"/>
                <a:gd name="connsiteY1" fmla="*/ 257442 h 257442"/>
                <a:gd name="connsiteX2" fmla="*/ 0 w 1692991"/>
                <a:gd name="connsiteY2" fmla="*/ 257442 h 257442"/>
                <a:gd name="connsiteX3" fmla="*/ 54721 w 1692991"/>
                <a:gd name="connsiteY3" fmla="*/ 0 h 257442"/>
                <a:gd name="connsiteX0" fmla="*/ 1870925 w 1870925"/>
                <a:gd name="connsiteY0" fmla="*/ 0 h 257442"/>
                <a:gd name="connsiteX1" fmla="*/ 1638270 w 1870925"/>
                <a:gd name="connsiteY1" fmla="*/ 257442 h 257442"/>
                <a:gd name="connsiteX2" fmla="*/ 0 w 1870925"/>
                <a:gd name="connsiteY2" fmla="*/ 257442 h 257442"/>
                <a:gd name="connsiteX3" fmla="*/ 54721 w 1870925"/>
                <a:gd name="connsiteY3" fmla="*/ 0 h 257442"/>
                <a:gd name="connsiteX0" fmla="*/ 1870925 w 1870925"/>
                <a:gd name="connsiteY0" fmla="*/ 0 h 257442"/>
                <a:gd name="connsiteX1" fmla="*/ 1816204 w 1870925"/>
                <a:gd name="connsiteY1" fmla="*/ 257442 h 257442"/>
                <a:gd name="connsiteX2" fmla="*/ 0 w 1870925"/>
                <a:gd name="connsiteY2" fmla="*/ 257442 h 257442"/>
                <a:gd name="connsiteX3" fmla="*/ 54721 w 1870925"/>
                <a:gd name="connsiteY3" fmla="*/ 0 h 257442"/>
                <a:gd name="connsiteX0" fmla="*/ 1870925 w 1870925"/>
                <a:gd name="connsiteY0" fmla="*/ 0 h 257442"/>
                <a:gd name="connsiteX1" fmla="*/ 1816204 w 1870925"/>
                <a:gd name="connsiteY1" fmla="*/ 257442 h 257442"/>
                <a:gd name="connsiteX2" fmla="*/ 0 w 1870925"/>
                <a:gd name="connsiteY2" fmla="*/ 257442 h 257442"/>
                <a:gd name="connsiteX3" fmla="*/ 54721 w 1870925"/>
                <a:gd name="connsiteY3" fmla="*/ 0 h 257442"/>
                <a:gd name="connsiteX0" fmla="*/ 1870925 w 1870925"/>
                <a:gd name="connsiteY0" fmla="*/ 0 h 257442"/>
                <a:gd name="connsiteX1" fmla="*/ 1816204 w 1870925"/>
                <a:gd name="connsiteY1" fmla="*/ 257442 h 257442"/>
                <a:gd name="connsiteX2" fmla="*/ 0 w 1870925"/>
                <a:gd name="connsiteY2" fmla="*/ 257442 h 257442"/>
                <a:gd name="connsiteX3" fmla="*/ 54721 w 1870925"/>
                <a:gd name="connsiteY3" fmla="*/ 0 h 257442"/>
                <a:gd name="connsiteX0" fmla="*/ 2039240 w 2039240"/>
                <a:gd name="connsiteY0" fmla="*/ 0 h 257442"/>
                <a:gd name="connsiteX1" fmla="*/ 1816204 w 2039240"/>
                <a:gd name="connsiteY1" fmla="*/ 257442 h 257442"/>
                <a:gd name="connsiteX2" fmla="*/ 0 w 2039240"/>
                <a:gd name="connsiteY2" fmla="*/ 257442 h 257442"/>
                <a:gd name="connsiteX3" fmla="*/ 54721 w 2039240"/>
                <a:gd name="connsiteY3" fmla="*/ 0 h 257442"/>
                <a:gd name="connsiteX0" fmla="*/ 2039240 w 2039240"/>
                <a:gd name="connsiteY0" fmla="*/ 0 h 257442"/>
                <a:gd name="connsiteX1" fmla="*/ 1984518 w 2039240"/>
                <a:gd name="connsiteY1" fmla="*/ 257442 h 257442"/>
                <a:gd name="connsiteX2" fmla="*/ 0 w 2039240"/>
                <a:gd name="connsiteY2" fmla="*/ 257442 h 257442"/>
                <a:gd name="connsiteX3" fmla="*/ 54721 w 2039240"/>
                <a:gd name="connsiteY3" fmla="*/ 0 h 257442"/>
                <a:gd name="connsiteX0" fmla="*/ 2039241 w 2039241"/>
                <a:gd name="connsiteY0" fmla="*/ 0 h 257442"/>
                <a:gd name="connsiteX1" fmla="*/ 1984519 w 2039241"/>
                <a:gd name="connsiteY1" fmla="*/ 257442 h 257442"/>
                <a:gd name="connsiteX2" fmla="*/ 0 w 2039241"/>
                <a:gd name="connsiteY2" fmla="*/ 257442 h 257442"/>
                <a:gd name="connsiteX3" fmla="*/ 54722 w 2039241"/>
                <a:gd name="connsiteY3" fmla="*/ 0 h 257442"/>
                <a:gd name="connsiteX0" fmla="*/ 2039241 w 2039241"/>
                <a:gd name="connsiteY0" fmla="*/ 0 h 257442"/>
                <a:gd name="connsiteX1" fmla="*/ 1984519 w 2039241"/>
                <a:gd name="connsiteY1" fmla="*/ 257442 h 257442"/>
                <a:gd name="connsiteX2" fmla="*/ 0 w 2039241"/>
                <a:gd name="connsiteY2" fmla="*/ 257442 h 257442"/>
                <a:gd name="connsiteX3" fmla="*/ 54722 w 2039241"/>
                <a:gd name="connsiteY3" fmla="*/ 0 h 257442"/>
                <a:gd name="connsiteX0" fmla="*/ 2300531 w 2300531"/>
                <a:gd name="connsiteY0" fmla="*/ 0 h 257442"/>
                <a:gd name="connsiteX1" fmla="*/ 1984519 w 2300531"/>
                <a:gd name="connsiteY1" fmla="*/ 257442 h 257442"/>
                <a:gd name="connsiteX2" fmla="*/ 0 w 2300531"/>
                <a:gd name="connsiteY2" fmla="*/ 257442 h 257442"/>
                <a:gd name="connsiteX3" fmla="*/ 54722 w 2300531"/>
                <a:gd name="connsiteY3" fmla="*/ 0 h 257442"/>
                <a:gd name="connsiteX0" fmla="*/ 2300531 w 2300531"/>
                <a:gd name="connsiteY0" fmla="*/ 0 h 257442"/>
                <a:gd name="connsiteX1" fmla="*/ 2245810 w 2300531"/>
                <a:gd name="connsiteY1" fmla="*/ 257442 h 257442"/>
                <a:gd name="connsiteX2" fmla="*/ 0 w 2300531"/>
                <a:gd name="connsiteY2" fmla="*/ 257442 h 257442"/>
                <a:gd name="connsiteX3" fmla="*/ 54722 w 2300531"/>
                <a:gd name="connsiteY3" fmla="*/ 0 h 257442"/>
                <a:gd name="connsiteX0" fmla="*/ 2300530 w 2300530"/>
                <a:gd name="connsiteY0" fmla="*/ 0 h 257442"/>
                <a:gd name="connsiteX1" fmla="*/ 2245809 w 2300530"/>
                <a:gd name="connsiteY1" fmla="*/ 257442 h 257442"/>
                <a:gd name="connsiteX2" fmla="*/ 0 w 2300530"/>
                <a:gd name="connsiteY2" fmla="*/ 257442 h 257442"/>
                <a:gd name="connsiteX3" fmla="*/ 54721 w 2300530"/>
                <a:gd name="connsiteY3" fmla="*/ 0 h 257442"/>
                <a:gd name="connsiteX0" fmla="*/ 2300530 w 2300530"/>
                <a:gd name="connsiteY0" fmla="*/ 0 h 257442"/>
                <a:gd name="connsiteX1" fmla="*/ 2245809 w 2300530"/>
                <a:gd name="connsiteY1" fmla="*/ 257442 h 257442"/>
                <a:gd name="connsiteX2" fmla="*/ 0 w 2300530"/>
                <a:gd name="connsiteY2" fmla="*/ 257442 h 257442"/>
                <a:gd name="connsiteX3" fmla="*/ 54720 w 2300530"/>
                <a:gd name="connsiteY3" fmla="*/ 0 h 257442"/>
                <a:gd name="connsiteX0" fmla="*/ 2460829 w 2460829"/>
                <a:gd name="connsiteY0" fmla="*/ 0 h 257442"/>
                <a:gd name="connsiteX1" fmla="*/ 2245809 w 2460829"/>
                <a:gd name="connsiteY1" fmla="*/ 257442 h 257442"/>
                <a:gd name="connsiteX2" fmla="*/ 0 w 2460829"/>
                <a:gd name="connsiteY2" fmla="*/ 257442 h 257442"/>
                <a:gd name="connsiteX3" fmla="*/ 54720 w 2460829"/>
                <a:gd name="connsiteY3" fmla="*/ 0 h 257442"/>
                <a:gd name="connsiteX0" fmla="*/ 2460829 w 2460829"/>
                <a:gd name="connsiteY0" fmla="*/ 0 h 257442"/>
                <a:gd name="connsiteX1" fmla="*/ 2406108 w 2460829"/>
                <a:gd name="connsiteY1" fmla="*/ 257442 h 257442"/>
                <a:gd name="connsiteX2" fmla="*/ 0 w 2460829"/>
                <a:gd name="connsiteY2" fmla="*/ 257442 h 257442"/>
                <a:gd name="connsiteX3" fmla="*/ 54720 w 2460829"/>
                <a:gd name="connsiteY3" fmla="*/ 0 h 257442"/>
                <a:gd name="connsiteX0" fmla="*/ 2460830 w 2460830"/>
                <a:gd name="connsiteY0" fmla="*/ 0 h 257442"/>
                <a:gd name="connsiteX1" fmla="*/ 2406109 w 2460830"/>
                <a:gd name="connsiteY1" fmla="*/ 257442 h 257442"/>
                <a:gd name="connsiteX2" fmla="*/ 0 w 2460830"/>
                <a:gd name="connsiteY2" fmla="*/ 257442 h 257442"/>
                <a:gd name="connsiteX3" fmla="*/ 54721 w 2460830"/>
                <a:gd name="connsiteY3" fmla="*/ 0 h 257442"/>
                <a:gd name="connsiteX0" fmla="*/ 2460830 w 2460830"/>
                <a:gd name="connsiteY0" fmla="*/ 0 h 257442"/>
                <a:gd name="connsiteX1" fmla="*/ 2406109 w 2460830"/>
                <a:gd name="connsiteY1" fmla="*/ 257442 h 257442"/>
                <a:gd name="connsiteX2" fmla="*/ 0 w 2460830"/>
                <a:gd name="connsiteY2" fmla="*/ 257442 h 257442"/>
                <a:gd name="connsiteX3" fmla="*/ 54721 w 2460830"/>
                <a:gd name="connsiteY3" fmla="*/ 0 h 257442"/>
                <a:gd name="connsiteX0" fmla="*/ 2714104 w 2714104"/>
                <a:gd name="connsiteY0" fmla="*/ 0 h 257442"/>
                <a:gd name="connsiteX1" fmla="*/ 2406109 w 2714104"/>
                <a:gd name="connsiteY1" fmla="*/ 257442 h 257442"/>
                <a:gd name="connsiteX2" fmla="*/ 0 w 2714104"/>
                <a:gd name="connsiteY2" fmla="*/ 257442 h 257442"/>
                <a:gd name="connsiteX3" fmla="*/ 54721 w 2714104"/>
                <a:gd name="connsiteY3" fmla="*/ 0 h 257442"/>
                <a:gd name="connsiteX0" fmla="*/ 2714104 w 2714104"/>
                <a:gd name="connsiteY0" fmla="*/ 0 h 257442"/>
                <a:gd name="connsiteX1" fmla="*/ 2659383 w 2714104"/>
                <a:gd name="connsiteY1" fmla="*/ 257442 h 257442"/>
                <a:gd name="connsiteX2" fmla="*/ 0 w 2714104"/>
                <a:gd name="connsiteY2" fmla="*/ 257442 h 257442"/>
                <a:gd name="connsiteX3" fmla="*/ 54721 w 2714104"/>
                <a:gd name="connsiteY3" fmla="*/ 0 h 257442"/>
                <a:gd name="connsiteX0" fmla="*/ 2714104 w 2714104"/>
                <a:gd name="connsiteY0" fmla="*/ 0 h 257442"/>
                <a:gd name="connsiteX1" fmla="*/ 2659383 w 2714104"/>
                <a:gd name="connsiteY1" fmla="*/ 257442 h 257442"/>
                <a:gd name="connsiteX2" fmla="*/ 0 w 2714104"/>
                <a:gd name="connsiteY2" fmla="*/ 257442 h 257442"/>
                <a:gd name="connsiteX3" fmla="*/ 54721 w 2714104"/>
                <a:gd name="connsiteY3" fmla="*/ 0 h 257442"/>
                <a:gd name="connsiteX0" fmla="*/ 2714104 w 2714104"/>
                <a:gd name="connsiteY0" fmla="*/ 0 h 257442"/>
                <a:gd name="connsiteX1" fmla="*/ 2659383 w 2714104"/>
                <a:gd name="connsiteY1" fmla="*/ 257442 h 257442"/>
                <a:gd name="connsiteX2" fmla="*/ 0 w 2714104"/>
                <a:gd name="connsiteY2" fmla="*/ 257442 h 257442"/>
                <a:gd name="connsiteX3" fmla="*/ 54721 w 2714104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14104" h="257442">
                  <a:moveTo>
                    <a:pt x="2714104" y="0"/>
                  </a:moveTo>
                  <a:lnTo>
                    <a:pt x="2659383" y="257442"/>
                  </a:lnTo>
                  <a:lnTo>
                    <a:pt x="0" y="257442"/>
                  </a:lnTo>
                  <a:lnTo>
                    <a:pt x="54721" y="0"/>
                  </a:lnTo>
                  <a:close/>
                </a:path>
              </a:pathLst>
            </a:custGeom>
            <a:solidFill>
              <a:srgbClr val="B4B4B4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" name="btfpRunningAgenda2LevelTextRight228391">
              <a:extLst>
                <a:ext uri="{FF2B5EF4-FFF2-40B4-BE49-F238E27FC236}">
                  <a16:creationId xmlns:a16="http://schemas.microsoft.com/office/drawing/2014/main" id="{A705D401-B388-4CD5-A573-B3DCABCC0E18}"/>
                </a:ext>
              </a:extLst>
            </p:cNvPr>
            <p:cNvSpPr txBox="1"/>
            <p:nvPr/>
          </p:nvSpPr>
          <p:spPr bwMode="gray">
            <a:xfrm>
              <a:off x="2192937" y="876300"/>
              <a:ext cx="2811668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all" spc="4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function split</a:t>
              </a:r>
            </a:p>
          </p:txBody>
        </p:sp>
      </p:grpSp>
      <p:sp>
        <p:nvSpPr>
          <p:cNvPr id="71" name="Rectangle 70">
            <a:extLst>
              <a:ext uri="{FF2B5EF4-FFF2-40B4-BE49-F238E27FC236}">
                <a16:creationId xmlns:a16="http://schemas.microsoft.com/office/drawing/2014/main" id="{69CFF8C1-CD46-499C-AAAF-D4C4F7AE7CDF}"/>
              </a:ext>
            </a:extLst>
          </p:cNvPr>
          <p:cNvSpPr/>
          <p:nvPr/>
        </p:nvSpPr>
        <p:spPr bwMode="gray">
          <a:xfrm>
            <a:off x="7804883" y="2018270"/>
            <a:ext cx="799932" cy="4201377"/>
          </a:xfrm>
          <a:prstGeom prst="rect">
            <a:avLst/>
          </a:prstGeom>
          <a:noFill/>
          <a:ln w="1905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31" name="btfpNotesBox521293">
            <a:extLst>
              <a:ext uri="{FF2B5EF4-FFF2-40B4-BE49-F238E27FC236}">
                <a16:creationId xmlns:a16="http://schemas.microsoft.com/office/drawing/2014/main" id="{7FCD83D4-0A84-15CB-41B6-52A705CEF459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gray">
          <a:xfrm>
            <a:off x="330199" y="6319679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>
                <a:solidFill>
                  <a:srgbClr val="000000"/>
                </a:solidFill>
              </a:rPr>
              <a:t>Note: Irrelevant profiles (interns, former, retired employees) have been excluded; Others include generic and untagged roles; Bars sorted basis total # of profiles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800">
                <a:solidFill>
                  <a:srgbClr val="000000"/>
                </a:solidFill>
              </a:rPr>
              <a:t>Source: Aura, Bain analysis </a:t>
            </a:r>
          </a:p>
        </p:txBody>
      </p:sp>
      <p:pic>
        <p:nvPicPr>
          <p:cNvPr id="48" name="Picture 47">
            <a:extLst>
              <a:ext uri="{FF2B5EF4-FFF2-40B4-BE49-F238E27FC236}">
                <a16:creationId xmlns:a16="http://schemas.microsoft.com/office/drawing/2014/main" id="{92AD20F6-5362-544A-AA00-B09F2968301C}"/>
              </a:ext>
            </a:extLst>
          </p:cNvPr>
          <p:cNvPicPr>
            <a:picLocks noChangeAspect="1"/>
          </p:cNvPicPr>
          <p:nvPr/>
        </p:nvPicPr>
        <p:blipFill>
          <a:blip r:embed="rId33"/>
          <a:stretch>
            <a:fillRect/>
          </a:stretch>
        </p:blipFill>
        <p:spPr>
          <a:xfrm>
            <a:off x="10646654" y="6219647"/>
            <a:ext cx="1261892" cy="353608"/>
          </a:xfrm>
          <a:prstGeom prst="rect">
            <a:avLst/>
          </a:prstGeom>
        </p:spPr>
      </p:pic>
      <p:grpSp>
        <p:nvGrpSpPr>
          <p:cNvPr id="53" name="btfpStatusSticker323952">
            <a:extLst>
              <a:ext uri="{FF2B5EF4-FFF2-40B4-BE49-F238E27FC236}">
                <a16:creationId xmlns:a16="http://schemas.microsoft.com/office/drawing/2014/main" id="{9AED61AC-D9FC-C600-87A7-05F54C92581E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10102664" y="955344"/>
            <a:ext cx="1759136" cy="235611"/>
            <a:chOff x="-2269853" y="876300"/>
            <a:chExt cx="1759136" cy="235611"/>
          </a:xfrm>
        </p:grpSpPr>
        <p:sp>
          <p:nvSpPr>
            <p:cNvPr id="51" name="btfpStatusStickerText323952">
              <a:extLst>
                <a:ext uri="{FF2B5EF4-FFF2-40B4-BE49-F238E27FC236}">
                  <a16:creationId xmlns:a16="http://schemas.microsoft.com/office/drawing/2014/main" id="{2B8FCCD3-088A-7DFB-1D28-31C979763166}"/>
                </a:ext>
              </a:extLst>
            </p:cNvPr>
            <p:cNvSpPr txBox="1"/>
            <p:nvPr/>
          </p:nvSpPr>
          <p:spPr bwMode="gray">
            <a:xfrm>
              <a:off x="-2269853" y="876300"/>
              <a:ext cx="1759136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000000"/>
                  </a:solidFill>
                </a:rPr>
                <a:t>directional</a:t>
              </a:r>
            </a:p>
          </p:txBody>
        </p:sp>
        <p:cxnSp>
          <p:nvCxnSpPr>
            <p:cNvPr id="52" name="btfpStatusStickerLine323952">
              <a:extLst>
                <a:ext uri="{FF2B5EF4-FFF2-40B4-BE49-F238E27FC236}">
                  <a16:creationId xmlns:a16="http://schemas.microsoft.com/office/drawing/2014/main" id="{C03E4E9E-DC81-95BC-B279-B39ADDEFAF28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2269853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Title 1">
            <a:extLst>
              <a:ext uri="{FF2B5EF4-FFF2-40B4-BE49-F238E27FC236}">
                <a16:creationId xmlns:a16="http://schemas.microsoft.com/office/drawing/2014/main" id="{694D5409-4D32-D7A6-3C93-E11306BEA0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1"/>
            <a:ext cx="11522075" cy="876687"/>
          </a:xfrm>
        </p:spPr>
        <p:txBody>
          <a:bodyPr vert="horz"/>
          <a:lstStyle/>
          <a:p>
            <a:r>
              <a:rPr lang="en-US" dirty="0">
                <a:highlight>
                  <a:srgbClr val="FFFFFF"/>
                </a:highlight>
              </a:rPr>
              <a:t>Operations constitute ~55-65% of the workforce across peers; Target’s function split lies in line with the peer set</a:t>
            </a:r>
          </a:p>
        </p:txBody>
      </p:sp>
      <p:sp>
        <p:nvSpPr>
          <p:cNvPr id="100" name="Rounded Rectangle 84">
            <a:extLst>
              <a:ext uri="{FF2B5EF4-FFF2-40B4-BE49-F238E27FC236}">
                <a16:creationId xmlns:a16="http://schemas.microsoft.com/office/drawing/2014/main" id="{F2DB2B85-3467-DB90-A345-485736973799}"/>
              </a:ext>
            </a:extLst>
          </p:cNvPr>
          <p:cNvSpPr/>
          <p:nvPr>
            <p:custDataLst>
              <p:tags r:id="rId7"/>
            </p:custDataLst>
          </p:nvPr>
        </p:nvSpPr>
        <p:spPr bwMode="gray">
          <a:xfrm>
            <a:off x="9779886" y="1286004"/>
            <a:ext cx="325071" cy="306004"/>
          </a:xfrm>
          <a:prstGeom prst="roundRect">
            <a:avLst/>
          </a:prstGeom>
          <a:solidFill>
            <a:schemeClr val="bg1"/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15" name="Graphic 114" descr="Gears outline">
            <a:extLst>
              <a:ext uri="{FF2B5EF4-FFF2-40B4-BE49-F238E27FC236}">
                <a16:creationId xmlns:a16="http://schemas.microsoft.com/office/drawing/2014/main" id="{8EF18AF2-DF0D-2AD0-6090-A4F37DDE8C94}"/>
              </a:ext>
            </a:extLst>
          </p:cNvPr>
          <p:cNvPicPr>
            <a:picLocks noChangeAspect="1"/>
          </p:cNvPicPr>
          <p:nvPr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5"/>
              </a:ext>
            </a:extLst>
          </a:blip>
          <a:stretch>
            <a:fillRect/>
          </a:stretch>
        </p:blipFill>
        <p:spPr>
          <a:xfrm>
            <a:off x="9842867" y="1340210"/>
            <a:ext cx="293429" cy="293429"/>
          </a:xfrm>
          <a:prstGeom prst="rect">
            <a:avLst/>
          </a:prstGeom>
        </p:spPr>
      </p:pic>
      <p:grpSp>
        <p:nvGrpSpPr>
          <p:cNvPr id="58" name="Group 57">
            <a:extLst>
              <a:ext uri="{FF2B5EF4-FFF2-40B4-BE49-F238E27FC236}">
                <a16:creationId xmlns:a16="http://schemas.microsoft.com/office/drawing/2014/main" id="{5083D81E-2DEE-540E-2141-6001EBD40150}"/>
              </a:ext>
            </a:extLst>
          </p:cNvPr>
          <p:cNvGrpSpPr/>
          <p:nvPr/>
        </p:nvGrpSpPr>
        <p:grpSpPr>
          <a:xfrm>
            <a:off x="9596927" y="4621559"/>
            <a:ext cx="2221880" cy="685368"/>
            <a:chOff x="9229521" y="5640749"/>
            <a:chExt cx="2573847" cy="685368"/>
          </a:xfrm>
        </p:grpSpPr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2E4472EB-BDCF-5F01-ED40-901C3D7EA25A}"/>
                </a:ext>
              </a:extLst>
            </p:cNvPr>
            <p:cNvSpPr/>
            <p:nvPr>
              <p:custDataLst>
                <p:tags r:id="rId23"/>
              </p:custDataLst>
            </p:nvPr>
          </p:nvSpPr>
          <p:spPr bwMode="gray">
            <a:xfrm>
              <a:off x="9229521" y="5978331"/>
              <a:ext cx="2573847" cy="347786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900" i="1">
                  <a:solidFill>
                    <a:schemeClr val="tx1"/>
                  </a:solidFill>
                  <a:latin typeface="Arial"/>
                </a:rPr>
                <a:t>Analyst, Associate, Consultant, Manager, Economist, Principal, Director, etc.</a:t>
              </a:r>
              <a:endParaRPr kumimoji="0" lang="en-US" sz="900" b="0" i="1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60" name="btfpQuoteBox867437">
              <a:extLst>
                <a:ext uri="{FF2B5EF4-FFF2-40B4-BE49-F238E27FC236}">
                  <a16:creationId xmlns:a16="http://schemas.microsoft.com/office/drawing/2014/main" id="{496AA141-20E3-755C-0D5A-9CABA8940FA1}"/>
                </a:ext>
              </a:extLst>
            </p:cNvPr>
            <p:cNvSpPr txBox="1"/>
            <p:nvPr>
              <p:custDataLst>
                <p:tags r:id="rId24"/>
              </p:custDataLst>
            </p:nvPr>
          </p:nvSpPr>
          <p:spPr bwMode="gray">
            <a:xfrm>
              <a:off x="9716157" y="5696865"/>
              <a:ext cx="1981374" cy="257442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FFFFFF"/>
              </a:solidFill>
              <a:prstDash val="solid"/>
            </a:ln>
          </p:spPr>
          <p:txBody>
            <a:bodyPr vert="horz" wrap="square" lIns="36036" tIns="36036" rIns="36036" bIns="36036" rtlCol="0" anchor="t">
              <a:spAutoFit/>
            </a:bodyPr>
            <a:lstStyle/>
            <a:p>
              <a:pPr marL="60325" lvl="0" indent="-60325">
                <a:spcBef>
                  <a:spcPts val="600"/>
                </a:spcBef>
                <a:buNone/>
                <a:defRPr/>
              </a:pPr>
              <a:r>
                <a:rPr lang="en-US" sz="1200" b="1">
                  <a:solidFill>
                    <a:srgbClr val="333333"/>
                  </a:solidFill>
                </a:rPr>
                <a:t>Operations</a:t>
              </a:r>
            </a:p>
          </p:txBody>
        </p:sp>
        <p:sp>
          <p:nvSpPr>
            <p:cNvPr id="61" name="Rounded Rectangle 7">
              <a:extLst>
                <a:ext uri="{FF2B5EF4-FFF2-40B4-BE49-F238E27FC236}">
                  <a16:creationId xmlns:a16="http://schemas.microsoft.com/office/drawing/2014/main" id="{A31CBE7C-80F1-8F28-9E50-3E848EA625D3}"/>
                </a:ext>
              </a:extLst>
            </p:cNvPr>
            <p:cNvSpPr/>
            <p:nvPr>
              <p:custDataLst>
                <p:tags r:id="rId25"/>
              </p:custDataLst>
            </p:nvPr>
          </p:nvSpPr>
          <p:spPr bwMode="gray">
            <a:xfrm>
              <a:off x="9259980" y="5640749"/>
              <a:ext cx="410510" cy="347786"/>
            </a:xfrm>
            <a:custGeom>
              <a:avLst/>
              <a:gdLst>
                <a:gd name="connsiteX0" fmla="*/ 665548 w 795234"/>
                <a:gd name="connsiteY0" fmla="*/ 778101 h 778101"/>
                <a:gd name="connsiteX1" fmla="*/ 129686 w 795234"/>
                <a:gd name="connsiteY1" fmla="*/ 778101 h 778101"/>
                <a:gd name="connsiteX2" fmla="*/ 0 w 795234"/>
                <a:gd name="connsiteY2" fmla="*/ 648415 h 778101"/>
                <a:gd name="connsiteX3" fmla="*/ 0 w 795234"/>
                <a:gd name="connsiteY3" fmla="*/ 129686 h 778101"/>
                <a:gd name="connsiteX4" fmla="*/ 129686 w 795234"/>
                <a:gd name="connsiteY4" fmla="*/ 0 h 778101"/>
                <a:gd name="connsiteX5" fmla="*/ 665548 w 795234"/>
                <a:gd name="connsiteY5" fmla="*/ 0 h 778101"/>
                <a:gd name="connsiteX6" fmla="*/ 795234 w 795234"/>
                <a:gd name="connsiteY6" fmla="*/ 129686 h 778101"/>
                <a:gd name="connsiteX7" fmla="*/ 788986 w 795234"/>
                <a:gd name="connsiteY7" fmla="*/ 474662 h 778101"/>
                <a:gd name="connsiteX8" fmla="*/ 795234 w 795234"/>
                <a:gd name="connsiteY8" fmla="*/ 648415 h 778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5234" h="778101">
                  <a:moveTo>
                    <a:pt x="665548" y="778101"/>
                  </a:moveTo>
                  <a:lnTo>
                    <a:pt x="129686" y="778101"/>
                  </a:lnTo>
                  <a:cubicBezTo>
                    <a:pt x="58062" y="778101"/>
                    <a:pt x="0" y="720039"/>
                    <a:pt x="0" y="648415"/>
                  </a:cubicBezTo>
                  <a:lnTo>
                    <a:pt x="0" y="129686"/>
                  </a:lnTo>
                  <a:cubicBezTo>
                    <a:pt x="0" y="58062"/>
                    <a:pt x="58062" y="0"/>
                    <a:pt x="129686" y="0"/>
                  </a:cubicBezTo>
                  <a:lnTo>
                    <a:pt x="665548" y="0"/>
                  </a:lnTo>
                  <a:cubicBezTo>
                    <a:pt x="737172" y="0"/>
                    <a:pt x="795234" y="58062"/>
                    <a:pt x="795234" y="129686"/>
                  </a:cubicBezTo>
                  <a:lnTo>
                    <a:pt x="788986" y="474662"/>
                  </a:lnTo>
                </a:path>
              </a:pathLst>
            </a:custGeom>
            <a:solidFill>
              <a:schemeClr val="bg1"/>
            </a:solidFill>
            <a:ln w="9525" cap="flat" cmpd="sng" algn="ctr">
              <a:solidFill>
                <a:srgbClr val="858585"/>
              </a:solidFill>
              <a:prstDash val="sysDot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7BEE589B-AB00-4B9A-B10A-350F0371681D}"/>
                </a:ext>
              </a:extLst>
            </p:cNvPr>
            <p:cNvCxnSpPr>
              <a:cxnSpLocks/>
            </p:cNvCxnSpPr>
            <p:nvPr>
              <p:custDataLst>
                <p:tags r:id="rId26"/>
              </p:custDataLst>
            </p:nvPr>
          </p:nvCxnSpPr>
          <p:spPr bwMode="gray">
            <a:xfrm>
              <a:off x="9259984" y="5988163"/>
              <a:ext cx="2509227" cy="0"/>
            </a:xfrm>
            <a:prstGeom prst="line">
              <a:avLst/>
            </a:prstGeom>
            <a:ln>
              <a:headEnd type="none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3" name="Rounded Rectangle 84">
              <a:extLst>
                <a:ext uri="{FF2B5EF4-FFF2-40B4-BE49-F238E27FC236}">
                  <a16:creationId xmlns:a16="http://schemas.microsoft.com/office/drawing/2014/main" id="{239AD62B-8CA7-9F5D-FC62-2D478C0F3EE0}"/>
                </a:ext>
              </a:extLst>
            </p:cNvPr>
            <p:cNvSpPr/>
            <p:nvPr>
              <p:custDataLst>
                <p:tags r:id="rId27"/>
              </p:custDataLst>
            </p:nvPr>
          </p:nvSpPr>
          <p:spPr bwMode="gray">
            <a:xfrm>
              <a:off x="9291379" y="5673016"/>
              <a:ext cx="352056" cy="286550"/>
            </a:xfrm>
            <a:prstGeom prst="roundRect">
              <a:avLst/>
            </a:prstGeom>
            <a:solidFill>
              <a:srgbClr val="333333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93863030-8C6E-F114-CA20-8792D0687C3D}"/>
              </a:ext>
            </a:extLst>
          </p:cNvPr>
          <p:cNvGrpSpPr/>
          <p:nvPr/>
        </p:nvGrpSpPr>
        <p:grpSpPr>
          <a:xfrm>
            <a:off x="9596927" y="2544751"/>
            <a:ext cx="2221880" cy="685368"/>
            <a:chOff x="9229521" y="5640749"/>
            <a:chExt cx="2573847" cy="685368"/>
          </a:xfrm>
        </p:grpSpPr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B6F8973A-E782-0BFE-5B29-D9C91BC3D8EC}"/>
                </a:ext>
              </a:extLst>
            </p:cNvPr>
            <p:cNvSpPr/>
            <p:nvPr>
              <p:custDataLst>
                <p:tags r:id="rId18"/>
              </p:custDataLst>
            </p:nvPr>
          </p:nvSpPr>
          <p:spPr bwMode="gray">
            <a:xfrm>
              <a:off x="9229521" y="5978331"/>
              <a:ext cx="2573847" cy="347786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900" i="1" dirty="0">
                  <a:solidFill>
                    <a:schemeClr val="tx1"/>
                  </a:solidFill>
                  <a:latin typeface="Arial"/>
                </a:rPr>
                <a:t>CXOs, Partner, MDs, SVPs, etc.</a:t>
              </a:r>
            </a:p>
          </p:txBody>
        </p:sp>
        <p:sp>
          <p:nvSpPr>
            <p:cNvPr id="66" name="btfpQuoteBox867437">
              <a:extLst>
                <a:ext uri="{FF2B5EF4-FFF2-40B4-BE49-F238E27FC236}">
                  <a16:creationId xmlns:a16="http://schemas.microsoft.com/office/drawing/2014/main" id="{89954DF4-1FD5-C9DD-DC5E-6222F2AC3632}"/>
                </a:ext>
              </a:extLst>
            </p:cNvPr>
            <p:cNvSpPr txBox="1"/>
            <p:nvPr>
              <p:custDataLst>
                <p:tags r:id="rId19"/>
              </p:custDataLst>
            </p:nvPr>
          </p:nvSpPr>
          <p:spPr bwMode="gray">
            <a:xfrm>
              <a:off x="9716157" y="5696865"/>
              <a:ext cx="1981374" cy="257442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FFFFFF"/>
              </a:solidFill>
              <a:prstDash val="solid"/>
            </a:ln>
          </p:spPr>
          <p:txBody>
            <a:bodyPr vert="horz" wrap="square" lIns="36036" tIns="36036" rIns="36036" bIns="36036" rtlCol="0" anchor="t">
              <a:spAutoFit/>
            </a:bodyPr>
            <a:lstStyle/>
            <a:p>
              <a:pPr marL="60325" lvl="0" indent="-60325">
                <a:spcBef>
                  <a:spcPts val="600"/>
                </a:spcBef>
                <a:buNone/>
                <a:defRPr/>
              </a:pPr>
              <a:r>
                <a:rPr lang="en-US" sz="1200" b="1">
                  <a:solidFill>
                    <a:srgbClr val="B4B4B4"/>
                  </a:solidFill>
                </a:rPr>
                <a:t>Leadership</a:t>
              </a:r>
            </a:p>
          </p:txBody>
        </p:sp>
        <p:sp>
          <p:nvSpPr>
            <p:cNvPr id="67" name="Rounded Rectangle 7">
              <a:extLst>
                <a:ext uri="{FF2B5EF4-FFF2-40B4-BE49-F238E27FC236}">
                  <a16:creationId xmlns:a16="http://schemas.microsoft.com/office/drawing/2014/main" id="{363B121D-1E2B-4C17-57AA-E1DB6EEFACF8}"/>
                </a:ext>
              </a:extLst>
            </p:cNvPr>
            <p:cNvSpPr/>
            <p:nvPr>
              <p:custDataLst>
                <p:tags r:id="rId20"/>
              </p:custDataLst>
            </p:nvPr>
          </p:nvSpPr>
          <p:spPr bwMode="gray">
            <a:xfrm>
              <a:off x="9259980" y="5640749"/>
              <a:ext cx="410510" cy="347786"/>
            </a:xfrm>
            <a:custGeom>
              <a:avLst/>
              <a:gdLst>
                <a:gd name="connsiteX0" fmla="*/ 665548 w 795234"/>
                <a:gd name="connsiteY0" fmla="*/ 778101 h 778101"/>
                <a:gd name="connsiteX1" fmla="*/ 129686 w 795234"/>
                <a:gd name="connsiteY1" fmla="*/ 778101 h 778101"/>
                <a:gd name="connsiteX2" fmla="*/ 0 w 795234"/>
                <a:gd name="connsiteY2" fmla="*/ 648415 h 778101"/>
                <a:gd name="connsiteX3" fmla="*/ 0 w 795234"/>
                <a:gd name="connsiteY3" fmla="*/ 129686 h 778101"/>
                <a:gd name="connsiteX4" fmla="*/ 129686 w 795234"/>
                <a:gd name="connsiteY4" fmla="*/ 0 h 778101"/>
                <a:gd name="connsiteX5" fmla="*/ 665548 w 795234"/>
                <a:gd name="connsiteY5" fmla="*/ 0 h 778101"/>
                <a:gd name="connsiteX6" fmla="*/ 795234 w 795234"/>
                <a:gd name="connsiteY6" fmla="*/ 129686 h 778101"/>
                <a:gd name="connsiteX7" fmla="*/ 788986 w 795234"/>
                <a:gd name="connsiteY7" fmla="*/ 474662 h 778101"/>
                <a:gd name="connsiteX8" fmla="*/ 795234 w 795234"/>
                <a:gd name="connsiteY8" fmla="*/ 648415 h 778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5234" h="778101">
                  <a:moveTo>
                    <a:pt x="665548" y="778101"/>
                  </a:moveTo>
                  <a:lnTo>
                    <a:pt x="129686" y="778101"/>
                  </a:lnTo>
                  <a:cubicBezTo>
                    <a:pt x="58062" y="778101"/>
                    <a:pt x="0" y="720039"/>
                    <a:pt x="0" y="648415"/>
                  </a:cubicBezTo>
                  <a:lnTo>
                    <a:pt x="0" y="129686"/>
                  </a:lnTo>
                  <a:cubicBezTo>
                    <a:pt x="0" y="58062"/>
                    <a:pt x="58062" y="0"/>
                    <a:pt x="129686" y="0"/>
                  </a:cubicBezTo>
                  <a:lnTo>
                    <a:pt x="665548" y="0"/>
                  </a:lnTo>
                  <a:cubicBezTo>
                    <a:pt x="737172" y="0"/>
                    <a:pt x="795234" y="58062"/>
                    <a:pt x="795234" y="129686"/>
                  </a:cubicBezTo>
                  <a:lnTo>
                    <a:pt x="788986" y="474662"/>
                  </a:lnTo>
                </a:path>
              </a:pathLst>
            </a:custGeom>
            <a:solidFill>
              <a:schemeClr val="bg1"/>
            </a:solidFill>
            <a:ln w="9525" cap="flat" cmpd="sng" algn="ctr">
              <a:solidFill>
                <a:srgbClr val="858585"/>
              </a:solidFill>
              <a:prstDash val="sysDot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72B568F3-A84E-2A92-79A7-C59B2247B701}"/>
                </a:ext>
              </a:extLst>
            </p:cNvPr>
            <p:cNvCxnSpPr>
              <a:cxnSpLocks/>
            </p:cNvCxnSpPr>
            <p:nvPr>
              <p:custDataLst>
                <p:tags r:id="rId21"/>
              </p:custDataLst>
            </p:nvPr>
          </p:nvCxnSpPr>
          <p:spPr bwMode="gray">
            <a:xfrm>
              <a:off x="9259984" y="5988163"/>
              <a:ext cx="2509227" cy="0"/>
            </a:xfrm>
            <a:prstGeom prst="line">
              <a:avLst/>
            </a:prstGeom>
            <a:ln>
              <a:headEnd type="none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Rounded Rectangle 84">
              <a:extLst>
                <a:ext uri="{FF2B5EF4-FFF2-40B4-BE49-F238E27FC236}">
                  <a16:creationId xmlns:a16="http://schemas.microsoft.com/office/drawing/2014/main" id="{1D5EFA2B-E8F7-E3C9-32DA-BA18FCC91CAD}"/>
                </a:ext>
              </a:extLst>
            </p:cNvPr>
            <p:cNvSpPr/>
            <p:nvPr>
              <p:custDataLst>
                <p:tags r:id="rId22"/>
              </p:custDataLst>
            </p:nvPr>
          </p:nvSpPr>
          <p:spPr bwMode="gray">
            <a:xfrm>
              <a:off x="9291379" y="5673016"/>
              <a:ext cx="352056" cy="286550"/>
            </a:xfrm>
            <a:prstGeom prst="roundRect">
              <a:avLst/>
            </a:prstGeom>
            <a:solidFill>
              <a:srgbClr val="B4B4B4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pic>
        <p:nvPicPr>
          <p:cNvPr id="70" name="Picture 69">
            <a:extLst>
              <a:ext uri="{FF2B5EF4-FFF2-40B4-BE49-F238E27FC236}">
                <a16:creationId xmlns:a16="http://schemas.microsoft.com/office/drawing/2014/main" id="{E7C56A50-D38E-0880-DC4E-703E467DDE0D}"/>
              </a:ext>
            </a:extLst>
          </p:cNvPr>
          <p:cNvPicPr>
            <a:picLocks noChangeAspect="1"/>
          </p:cNvPicPr>
          <p:nvPr/>
        </p:nvPicPr>
        <p:blipFill>
          <a:blip r:embed="rId36"/>
          <a:stretch>
            <a:fillRect/>
          </a:stretch>
        </p:blipFill>
        <p:spPr>
          <a:xfrm>
            <a:off x="9691130" y="4656365"/>
            <a:ext cx="240837" cy="278988"/>
          </a:xfrm>
          <a:prstGeom prst="rect">
            <a:avLst/>
          </a:prstGeom>
        </p:spPr>
      </p:pic>
      <p:grpSp>
        <p:nvGrpSpPr>
          <p:cNvPr id="72" name="Group 71">
            <a:extLst>
              <a:ext uri="{FF2B5EF4-FFF2-40B4-BE49-F238E27FC236}">
                <a16:creationId xmlns:a16="http://schemas.microsoft.com/office/drawing/2014/main" id="{F3764476-7EBD-2CC6-B9B3-0CFCA9406A8B}"/>
              </a:ext>
            </a:extLst>
          </p:cNvPr>
          <p:cNvGrpSpPr/>
          <p:nvPr/>
        </p:nvGrpSpPr>
        <p:grpSpPr>
          <a:xfrm>
            <a:off x="9604027" y="3877311"/>
            <a:ext cx="2221880" cy="685368"/>
            <a:chOff x="9229521" y="5640749"/>
            <a:chExt cx="2573847" cy="685368"/>
          </a:xfrm>
        </p:grpSpPr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E91042E5-2FC6-F293-F372-A3F070AB6F72}"/>
                </a:ext>
              </a:extLst>
            </p:cNvPr>
            <p:cNvSpPr/>
            <p:nvPr>
              <p:custDataLst>
                <p:tags r:id="rId13"/>
              </p:custDataLst>
            </p:nvPr>
          </p:nvSpPr>
          <p:spPr bwMode="gray">
            <a:xfrm>
              <a:off x="9229521" y="5978331"/>
              <a:ext cx="2573847" cy="347786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900" i="1">
                  <a:solidFill>
                    <a:schemeClr val="tx1"/>
                  </a:solidFill>
                  <a:latin typeface="Arial"/>
                </a:rPr>
                <a:t>Software Engineer, Systems Engineer, Development Lead, etc. </a:t>
              </a:r>
              <a:endParaRPr kumimoji="0" lang="en-US" sz="900" b="0" i="1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74" name="btfpQuoteBox867437">
              <a:extLst>
                <a:ext uri="{FF2B5EF4-FFF2-40B4-BE49-F238E27FC236}">
                  <a16:creationId xmlns:a16="http://schemas.microsoft.com/office/drawing/2014/main" id="{468B53FB-4B19-8987-EBEA-488F25B48763}"/>
                </a:ext>
              </a:extLst>
            </p:cNvPr>
            <p:cNvSpPr txBox="1"/>
            <p:nvPr>
              <p:custDataLst>
                <p:tags r:id="rId14"/>
              </p:custDataLst>
            </p:nvPr>
          </p:nvSpPr>
          <p:spPr bwMode="gray">
            <a:xfrm>
              <a:off x="9716157" y="5696865"/>
              <a:ext cx="1981374" cy="257442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FFFFFF"/>
              </a:solidFill>
              <a:prstDash val="solid"/>
            </a:ln>
          </p:spPr>
          <p:txBody>
            <a:bodyPr vert="horz" wrap="square" lIns="36036" tIns="36036" rIns="36036" bIns="36036" rtlCol="0" anchor="t">
              <a:spAutoFit/>
            </a:bodyPr>
            <a:lstStyle/>
            <a:p>
              <a:pPr marL="60325" lvl="0" indent="-60325">
                <a:spcBef>
                  <a:spcPts val="600"/>
                </a:spcBef>
                <a:buNone/>
                <a:defRPr/>
              </a:pPr>
              <a:r>
                <a:rPr lang="en-US" sz="1200" b="1">
                  <a:solidFill>
                    <a:srgbClr val="5C5C5C"/>
                  </a:solidFill>
                </a:rPr>
                <a:t>Engineering &amp; IT</a:t>
              </a:r>
            </a:p>
          </p:txBody>
        </p:sp>
        <p:sp>
          <p:nvSpPr>
            <p:cNvPr id="75" name="Rounded Rectangle 7">
              <a:extLst>
                <a:ext uri="{FF2B5EF4-FFF2-40B4-BE49-F238E27FC236}">
                  <a16:creationId xmlns:a16="http://schemas.microsoft.com/office/drawing/2014/main" id="{D14554BA-0E16-3F50-386B-BC5F63F34A1F}"/>
                </a:ext>
              </a:extLst>
            </p:cNvPr>
            <p:cNvSpPr/>
            <p:nvPr>
              <p:custDataLst>
                <p:tags r:id="rId15"/>
              </p:custDataLst>
            </p:nvPr>
          </p:nvSpPr>
          <p:spPr bwMode="gray">
            <a:xfrm>
              <a:off x="9259980" y="5640749"/>
              <a:ext cx="410510" cy="347786"/>
            </a:xfrm>
            <a:custGeom>
              <a:avLst/>
              <a:gdLst>
                <a:gd name="connsiteX0" fmla="*/ 665548 w 795234"/>
                <a:gd name="connsiteY0" fmla="*/ 778101 h 778101"/>
                <a:gd name="connsiteX1" fmla="*/ 129686 w 795234"/>
                <a:gd name="connsiteY1" fmla="*/ 778101 h 778101"/>
                <a:gd name="connsiteX2" fmla="*/ 0 w 795234"/>
                <a:gd name="connsiteY2" fmla="*/ 648415 h 778101"/>
                <a:gd name="connsiteX3" fmla="*/ 0 w 795234"/>
                <a:gd name="connsiteY3" fmla="*/ 129686 h 778101"/>
                <a:gd name="connsiteX4" fmla="*/ 129686 w 795234"/>
                <a:gd name="connsiteY4" fmla="*/ 0 h 778101"/>
                <a:gd name="connsiteX5" fmla="*/ 665548 w 795234"/>
                <a:gd name="connsiteY5" fmla="*/ 0 h 778101"/>
                <a:gd name="connsiteX6" fmla="*/ 795234 w 795234"/>
                <a:gd name="connsiteY6" fmla="*/ 129686 h 778101"/>
                <a:gd name="connsiteX7" fmla="*/ 788986 w 795234"/>
                <a:gd name="connsiteY7" fmla="*/ 474662 h 778101"/>
                <a:gd name="connsiteX8" fmla="*/ 795234 w 795234"/>
                <a:gd name="connsiteY8" fmla="*/ 648415 h 778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5234" h="778101">
                  <a:moveTo>
                    <a:pt x="665548" y="778101"/>
                  </a:moveTo>
                  <a:lnTo>
                    <a:pt x="129686" y="778101"/>
                  </a:lnTo>
                  <a:cubicBezTo>
                    <a:pt x="58062" y="778101"/>
                    <a:pt x="0" y="720039"/>
                    <a:pt x="0" y="648415"/>
                  </a:cubicBezTo>
                  <a:lnTo>
                    <a:pt x="0" y="129686"/>
                  </a:lnTo>
                  <a:cubicBezTo>
                    <a:pt x="0" y="58062"/>
                    <a:pt x="58062" y="0"/>
                    <a:pt x="129686" y="0"/>
                  </a:cubicBezTo>
                  <a:lnTo>
                    <a:pt x="665548" y="0"/>
                  </a:lnTo>
                  <a:cubicBezTo>
                    <a:pt x="737172" y="0"/>
                    <a:pt x="795234" y="58062"/>
                    <a:pt x="795234" y="129686"/>
                  </a:cubicBezTo>
                  <a:lnTo>
                    <a:pt x="788986" y="474662"/>
                  </a:lnTo>
                </a:path>
              </a:pathLst>
            </a:custGeom>
            <a:solidFill>
              <a:schemeClr val="bg1"/>
            </a:solidFill>
            <a:ln w="9525" cap="flat" cmpd="sng" algn="ctr">
              <a:solidFill>
                <a:srgbClr val="858585"/>
              </a:solidFill>
              <a:prstDash val="sysDot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08571E61-905C-6333-4F53-DBB4E9163FB4}"/>
                </a:ext>
              </a:extLst>
            </p:cNvPr>
            <p:cNvCxnSpPr>
              <a:cxnSpLocks/>
            </p:cNvCxnSpPr>
            <p:nvPr>
              <p:custDataLst>
                <p:tags r:id="rId16"/>
              </p:custDataLst>
            </p:nvPr>
          </p:nvCxnSpPr>
          <p:spPr bwMode="gray">
            <a:xfrm>
              <a:off x="9259984" y="5988163"/>
              <a:ext cx="2509227" cy="0"/>
            </a:xfrm>
            <a:prstGeom prst="line">
              <a:avLst/>
            </a:prstGeom>
            <a:ln>
              <a:headEnd type="none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7" name="Rounded Rectangle 84">
              <a:extLst>
                <a:ext uri="{FF2B5EF4-FFF2-40B4-BE49-F238E27FC236}">
                  <a16:creationId xmlns:a16="http://schemas.microsoft.com/office/drawing/2014/main" id="{4936C56B-0779-A96C-92F9-823B400368DA}"/>
                </a:ext>
              </a:extLst>
            </p:cNvPr>
            <p:cNvSpPr/>
            <p:nvPr>
              <p:custDataLst>
                <p:tags r:id="rId17"/>
              </p:custDataLst>
            </p:nvPr>
          </p:nvSpPr>
          <p:spPr bwMode="gray">
            <a:xfrm>
              <a:off x="9291379" y="5673016"/>
              <a:ext cx="352056" cy="286550"/>
            </a:xfrm>
            <a:prstGeom prst="roundRect">
              <a:avLst/>
            </a:pr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78" name="Group 77">
            <a:extLst>
              <a:ext uri="{FF2B5EF4-FFF2-40B4-BE49-F238E27FC236}">
                <a16:creationId xmlns:a16="http://schemas.microsoft.com/office/drawing/2014/main" id="{A1A05DF5-84D9-82CD-0D98-3B4FD52BDD2F}"/>
              </a:ext>
            </a:extLst>
          </p:cNvPr>
          <p:cNvGrpSpPr/>
          <p:nvPr/>
        </p:nvGrpSpPr>
        <p:grpSpPr>
          <a:xfrm>
            <a:off x="9596927" y="3143794"/>
            <a:ext cx="2221880" cy="685368"/>
            <a:chOff x="9229521" y="5640749"/>
            <a:chExt cx="2573847" cy="685368"/>
          </a:xfrm>
        </p:grpSpPr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449FB099-2793-359D-C2F6-FFA1FC4BCCD8}"/>
                </a:ext>
              </a:extLst>
            </p:cNvPr>
            <p:cNvSpPr/>
            <p:nvPr>
              <p:custDataLst>
                <p:tags r:id="rId8"/>
              </p:custDataLst>
            </p:nvPr>
          </p:nvSpPr>
          <p:spPr bwMode="gray">
            <a:xfrm>
              <a:off x="9229521" y="5978331"/>
              <a:ext cx="2573847" cy="347786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1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</a:rPr>
                <a:t>Executive Assistant, Office Manager, Business Development manager etc.</a:t>
              </a:r>
            </a:p>
          </p:txBody>
        </p:sp>
        <p:sp>
          <p:nvSpPr>
            <p:cNvPr id="80" name="btfpQuoteBox867437">
              <a:extLst>
                <a:ext uri="{FF2B5EF4-FFF2-40B4-BE49-F238E27FC236}">
                  <a16:creationId xmlns:a16="http://schemas.microsoft.com/office/drawing/2014/main" id="{2F10D3B6-8B4F-9A13-731A-79DAC5EB89FC}"/>
                </a:ext>
              </a:extLst>
            </p:cNvPr>
            <p:cNvSpPr txBox="1"/>
            <p:nvPr>
              <p:custDataLst>
                <p:tags r:id="rId9"/>
              </p:custDataLst>
            </p:nvPr>
          </p:nvSpPr>
          <p:spPr bwMode="gray">
            <a:xfrm>
              <a:off x="9716157" y="5696865"/>
              <a:ext cx="1981374" cy="257442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FFFFFF"/>
              </a:solidFill>
              <a:prstDash val="solid"/>
            </a:ln>
          </p:spPr>
          <p:txBody>
            <a:bodyPr vert="horz" wrap="square" lIns="36036" tIns="36036" rIns="36036" bIns="36036" rtlCol="0" anchor="t">
              <a:spAutoFit/>
            </a:bodyPr>
            <a:lstStyle/>
            <a:p>
              <a:pPr marL="60325" lvl="0" indent="-60325">
                <a:spcBef>
                  <a:spcPts val="600"/>
                </a:spcBef>
                <a:buNone/>
                <a:defRPr/>
              </a:pPr>
              <a:r>
                <a:rPr lang="en-US" sz="1200" b="1">
                  <a:solidFill>
                    <a:srgbClr val="858585"/>
                  </a:solidFill>
                </a:rPr>
                <a:t>Support Functions</a:t>
              </a:r>
            </a:p>
          </p:txBody>
        </p:sp>
        <p:sp>
          <p:nvSpPr>
            <p:cNvPr id="81" name="Rounded Rectangle 7">
              <a:extLst>
                <a:ext uri="{FF2B5EF4-FFF2-40B4-BE49-F238E27FC236}">
                  <a16:creationId xmlns:a16="http://schemas.microsoft.com/office/drawing/2014/main" id="{2F34B547-8787-07C3-2517-E3C7BDBA4B5A}"/>
                </a:ext>
              </a:extLst>
            </p:cNvPr>
            <p:cNvSpPr/>
            <p:nvPr>
              <p:custDataLst>
                <p:tags r:id="rId10"/>
              </p:custDataLst>
            </p:nvPr>
          </p:nvSpPr>
          <p:spPr bwMode="gray">
            <a:xfrm>
              <a:off x="9259980" y="5640749"/>
              <a:ext cx="410510" cy="347786"/>
            </a:xfrm>
            <a:custGeom>
              <a:avLst/>
              <a:gdLst>
                <a:gd name="connsiteX0" fmla="*/ 665548 w 795234"/>
                <a:gd name="connsiteY0" fmla="*/ 778101 h 778101"/>
                <a:gd name="connsiteX1" fmla="*/ 129686 w 795234"/>
                <a:gd name="connsiteY1" fmla="*/ 778101 h 778101"/>
                <a:gd name="connsiteX2" fmla="*/ 0 w 795234"/>
                <a:gd name="connsiteY2" fmla="*/ 648415 h 778101"/>
                <a:gd name="connsiteX3" fmla="*/ 0 w 795234"/>
                <a:gd name="connsiteY3" fmla="*/ 129686 h 778101"/>
                <a:gd name="connsiteX4" fmla="*/ 129686 w 795234"/>
                <a:gd name="connsiteY4" fmla="*/ 0 h 778101"/>
                <a:gd name="connsiteX5" fmla="*/ 665548 w 795234"/>
                <a:gd name="connsiteY5" fmla="*/ 0 h 778101"/>
                <a:gd name="connsiteX6" fmla="*/ 795234 w 795234"/>
                <a:gd name="connsiteY6" fmla="*/ 129686 h 778101"/>
                <a:gd name="connsiteX7" fmla="*/ 788986 w 795234"/>
                <a:gd name="connsiteY7" fmla="*/ 474662 h 778101"/>
                <a:gd name="connsiteX8" fmla="*/ 795234 w 795234"/>
                <a:gd name="connsiteY8" fmla="*/ 648415 h 778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5234" h="778101">
                  <a:moveTo>
                    <a:pt x="665548" y="778101"/>
                  </a:moveTo>
                  <a:lnTo>
                    <a:pt x="129686" y="778101"/>
                  </a:lnTo>
                  <a:cubicBezTo>
                    <a:pt x="58062" y="778101"/>
                    <a:pt x="0" y="720039"/>
                    <a:pt x="0" y="648415"/>
                  </a:cubicBezTo>
                  <a:lnTo>
                    <a:pt x="0" y="129686"/>
                  </a:lnTo>
                  <a:cubicBezTo>
                    <a:pt x="0" y="58062"/>
                    <a:pt x="58062" y="0"/>
                    <a:pt x="129686" y="0"/>
                  </a:cubicBezTo>
                  <a:lnTo>
                    <a:pt x="665548" y="0"/>
                  </a:lnTo>
                  <a:cubicBezTo>
                    <a:pt x="737172" y="0"/>
                    <a:pt x="795234" y="58062"/>
                    <a:pt x="795234" y="129686"/>
                  </a:cubicBezTo>
                  <a:lnTo>
                    <a:pt x="788986" y="474662"/>
                  </a:lnTo>
                </a:path>
              </a:pathLst>
            </a:custGeom>
            <a:solidFill>
              <a:schemeClr val="bg1"/>
            </a:solidFill>
            <a:ln w="9525" cap="flat" cmpd="sng" algn="ctr">
              <a:solidFill>
                <a:srgbClr val="858585"/>
              </a:solidFill>
              <a:prstDash val="sysDot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82" name="Straight Connector 81">
              <a:extLst>
                <a:ext uri="{FF2B5EF4-FFF2-40B4-BE49-F238E27FC236}">
                  <a16:creationId xmlns:a16="http://schemas.microsoft.com/office/drawing/2014/main" id="{113174FE-8C4C-850C-5D40-08992CCA76C5}"/>
                </a:ext>
              </a:extLst>
            </p:cNvPr>
            <p:cNvCxnSpPr>
              <a:cxnSpLocks/>
            </p:cNvCxnSpPr>
            <p:nvPr>
              <p:custDataLst>
                <p:tags r:id="rId11"/>
              </p:custDataLst>
            </p:nvPr>
          </p:nvCxnSpPr>
          <p:spPr bwMode="gray">
            <a:xfrm>
              <a:off x="9259984" y="5988163"/>
              <a:ext cx="2509227" cy="0"/>
            </a:xfrm>
            <a:prstGeom prst="line">
              <a:avLst/>
            </a:prstGeom>
            <a:ln>
              <a:headEnd type="none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3" name="Rounded Rectangle 84">
              <a:extLst>
                <a:ext uri="{FF2B5EF4-FFF2-40B4-BE49-F238E27FC236}">
                  <a16:creationId xmlns:a16="http://schemas.microsoft.com/office/drawing/2014/main" id="{9793A2A4-69A5-FACE-D157-D383D8CF8137}"/>
                </a:ext>
              </a:extLst>
            </p:cNvPr>
            <p:cNvSpPr/>
            <p:nvPr>
              <p:custDataLst>
                <p:tags r:id="rId12"/>
              </p:custDataLst>
            </p:nvPr>
          </p:nvSpPr>
          <p:spPr bwMode="gray">
            <a:xfrm>
              <a:off x="9291379" y="5673016"/>
              <a:ext cx="352056" cy="286550"/>
            </a:xfrm>
            <a:prstGeom prst="roundRect">
              <a:avLst/>
            </a:prstGeom>
            <a:solidFill>
              <a:srgbClr val="858585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pic>
        <p:nvPicPr>
          <p:cNvPr id="139" name="Picture 138">
            <a:extLst>
              <a:ext uri="{FF2B5EF4-FFF2-40B4-BE49-F238E27FC236}">
                <a16:creationId xmlns:a16="http://schemas.microsoft.com/office/drawing/2014/main" id="{7E9A0CC6-9D6B-9501-7765-B18C8F3B52DA}"/>
              </a:ext>
            </a:extLst>
          </p:cNvPr>
          <p:cNvPicPr>
            <a:picLocks noChangeAspect="1"/>
          </p:cNvPicPr>
          <p:nvPr/>
        </p:nvPicPr>
        <p:blipFill>
          <a:blip r:embed="rId37"/>
          <a:stretch>
            <a:fillRect/>
          </a:stretch>
        </p:blipFill>
        <p:spPr>
          <a:xfrm>
            <a:off x="9702588" y="3931093"/>
            <a:ext cx="223357" cy="258739"/>
          </a:xfrm>
          <a:prstGeom prst="rect">
            <a:avLst/>
          </a:prstGeom>
        </p:spPr>
      </p:pic>
      <p:pic>
        <p:nvPicPr>
          <p:cNvPr id="174" name="Picture 173">
            <a:extLst>
              <a:ext uri="{FF2B5EF4-FFF2-40B4-BE49-F238E27FC236}">
                <a16:creationId xmlns:a16="http://schemas.microsoft.com/office/drawing/2014/main" id="{14300145-E426-ED9F-3476-D01E4ED857ED}"/>
              </a:ext>
            </a:extLst>
          </p:cNvPr>
          <p:cNvPicPr>
            <a:picLocks noChangeAspect="1"/>
          </p:cNvPicPr>
          <p:nvPr/>
        </p:nvPicPr>
        <p:blipFill>
          <a:blip r:embed="rId38"/>
          <a:stretch>
            <a:fillRect/>
          </a:stretch>
        </p:blipFill>
        <p:spPr>
          <a:xfrm>
            <a:off x="9684286" y="2580323"/>
            <a:ext cx="241659" cy="279940"/>
          </a:xfrm>
          <a:prstGeom prst="rect">
            <a:avLst/>
          </a:prstGeom>
        </p:spPr>
      </p:pic>
      <p:pic>
        <p:nvPicPr>
          <p:cNvPr id="99" name="Picture 98">
            <a:extLst>
              <a:ext uri="{FF2B5EF4-FFF2-40B4-BE49-F238E27FC236}">
                <a16:creationId xmlns:a16="http://schemas.microsoft.com/office/drawing/2014/main" id="{AE09AF33-3FA3-9C92-6559-93096EFE8BEF}"/>
              </a:ext>
            </a:extLst>
          </p:cNvPr>
          <p:cNvPicPr>
            <a:picLocks noChangeAspect="1"/>
          </p:cNvPicPr>
          <p:nvPr/>
        </p:nvPicPr>
        <p:blipFill>
          <a:blip r:embed="rId39"/>
          <a:stretch>
            <a:fillRect/>
          </a:stretch>
        </p:blipFill>
        <p:spPr>
          <a:xfrm>
            <a:off x="9695080" y="3190423"/>
            <a:ext cx="226075" cy="261887"/>
          </a:xfrm>
          <a:prstGeom prst="rect">
            <a:avLst/>
          </a:prstGeom>
        </p:spPr>
      </p:pic>
      <p:sp>
        <p:nvSpPr>
          <p:cNvPr id="113" name="Rectangle: Rounded Corners 112">
            <a:extLst>
              <a:ext uri="{FF2B5EF4-FFF2-40B4-BE49-F238E27FC236}">
                <a16:creationId xmlns:a16="http://schemas.microsoft.com/office/drawing/2014/main" id="{3A67006B-DF4D-57E9-0E7F-168A5856048A}"/>
              </a:ext>
            </a:extLst>
          </p:cNvPr>
          <p:cNvSpPr/>
          <p:nvPr/>
        </p:nvSpPr>
        <p:spPr bwMode="gray">
          <a:xfrm>
            <a:off x="10747068" y="796006"/>
            <a:ext cx="956332" cy="382533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00" dirty="0">
                <a:solidFill>
                  <a:schemeClr val="tx1"/>
                </a:solidFill>
              </a:rPr>
              <a:t>BCN updated 11/09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8504723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4" name="think-cell data - do not delete" hidden="1">
            <a:extLst>
              <a:ext uri="{FF2B5EF4-FFF2-40B4-BE49-F238E27FC236}">
                <a16:creationId xmlns:a16="http://schemas.microsoft.com/office/drawing/2014/main" id="{93F0492B-A78A-B489-664F-AC216335F9C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04" imgH="405" progId="TCLayout.ActiveDocument.1">
                  <p:embed/>
                </p:oleObj>
              </mc:Choice>
              <mc:Fallback>
                <p:oleObj name="think-cell Slide" r:id="rId10" imgW="404" imgH="405" progId="TCLayout.ActiveDocument.1">
                  <p:embed/>
                  <p:pic>
                    <p:nvPicPr>
                      <p:cNvPr id="5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3F0492B-A78A-B489-664F-AC216335F9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r0lg9IPP9y8umrse/9AoLT5R0GKq+XM9pr/aTyOTf0wptcuHbHxeyqBm9svU01qeeEM1v0hpSHUgirOnAK/wuhh4R0jlrHnY+9pFyM8mIa/v+EBRT4DxCrO4MOZv053OPZGuBPBkVTM93MBe9Uwqf4aYnlMSZvsL3oxynmN4ZyHez2Gu5Besl3qxqPf4w7kkGjcfx21rtUtqz54pGW2EahJvCwJSTBgeYUe/G/Za7TK2ixHK+x3nW56q7eZo+z2won0JnoKCGwuAbm+KG95GAvJp9MB862hQs23z3qdKCjiZwGj33JaHcf7hyG9TAcfS4Q4kM7UpETKrfjCJJhZxJ/ddhWAVBiI/BwsHAOu2NO7XupYekC73SwZ3vnasUIHn0RRG/+8pALx9fhcao2TC/w/XdQ/XCngKaXJzwrkAyCtork3j8NJs7IZPzqUjuqYOipylzDieiyuyJnoKaphE8mlVLtsxQWKev/N8ULGsypNKFhr9FQSLr36OZht5z9oCptZegIt4zQ2ahIbR0RaxdobucnQYuhT87NiVpOnB4Ha3vluvWRVj7fGNHKCiruoBdlnU82vsCwPFgiMYpbhIKhn91aCPnKo2TNFtxX6QyB5v2qBfhtnYilKgC595KY6UcV7Fvgrm5X1z7HxN3wciH6rPdnUcExKomxa+L7JjpMzjzYAHjw/hP8e2nKJLB+Q3ZYE3D2RYetodaa4XFaUtWNpUYJUkkeRBclCJ3Pe00EXhJiCCTqetJddDAiPIhQO1fXnBPw47veILzcok9oXPJz/v8+F/m/Ueuz01grmbbzz9kgJj1/06JaJ7ghcFp/Iy7Nqm5UueI0vwmPGgLNJTpI3c60rE59zDWd09Ft5HOmnZ1R+bXXr64i8VxoCYbMhDzZDCHaYFf6329y31P74IH27ehON9p8dsmICzaU9Xz6NJRx4EBByCnonyxVN4G6Un7ETPM9XNTwsiD4h0pNbxvK3+vZyGryLsHhyzmfUUGOYppPLN5QobwkiLWFdw6Wk4vBrr1LZwnRjfEHZrswp0vMSixy4P1J3azScW7pN43vLJ/H4XPnj4gglRdZ0MZ8fNBgAzh4hlRnucJi4u0B7X8dib/D1s8vND4gFmQdFmfYbc82fABGdzhYeL2lux5f9tye3Dr9HBeqirPnARIvPLauHEkHLTIvGN/lGzsiIDsfT6j1hiZBKDoAShvBObUYq2tVaeqIm6vZfzvm3ChJq4Vi+guLlEMro/SSmgvoG1d7MHH76Nxd52FmrAmIBHqXVFBntvRVloISZx/UpWmk6QWEC2GI8UhQnZQubLy4ENm6RgFKILiSmmt73h7n4wV+A/p1kD2nMcqBSQuwhRE/2WESakRz/4z+ha7smmhMZ4bp1RuHJg9qb5EhwkJAT30cf/S3en/+HfCHY/ie43SjAwzgxFHiG+bK7zwWT39HOLKTBh7Hbya5oLegKQNAVLKSxAeEfzYj+nnJyljV9gDRtEXdQouKbEqj5An47z2BwCzTrMHHCYZ3y2zYW0uW7cHQIe+g2NDwFug9V3CGG/V7+oIvNysa8XzqGXJtNIqm9NspwX2v+RYvr8z+bHLjjBQEON8cTYOqd0LMyIWOPyv6ry2iLTOdAnW4UVFX+hbz7xoGOSZJFsZdkJL70not4rnrRKUU1RdcJjobH7HmNcy9Pfbuvw84QNQ0D2nxI5h7NeGbXYetXnPoX+eRz6YZwlZDWO7CKyKRdiv08e2BwI2qs89KDpAIMs/KFX6W9EpPvbMhMe23YCV7rNG4JN3x8rZZVZHmheVvCcacS9i9tDi6mTgKmv/twHf8q1sayR7YhhA4/fwKCWaPwP0EbaBY1q6lHLZce8EG2EaKHWghbd+ftLM6a6wFy0jUzVfwrtJ6ao+Y/p3BkKYfTjqKyIn6wNNkGaXyDskTrTJsCmUn2Yts5XAf+CljoOnkdgAiAQilin1Zr62b2e5XAAnNSRrWby0m5z12ezdf6gGmJVaDHw2wHiuqX7lCKirBR0IyUFDgsgP2o8iBkNapGQp2id3R/fJ5qeQb1HuZWfDIPUIl4pfPAmhJPeiYGzyUACeCv2tmQOoAz+qnYjh7FunW2cNmnp17VgKCDlGpgkLCVzKTTlc2dIdbUGVvcr0z4kNbkZQaTKCiRosrlDMAHJw5Ok5StI5sRTk+Qsrn4zZl5ekbwt+ylV2TO8G5BqqTIJoPP+KzcYr6pmErus/HnKbbxiHEx/nWZshkCCAZYKcA5sR0Uar0Idct6AT+tC6z3NUFW3am+auE4N5RqWw4uL7vsjIAQjmuumjYpL/8fi3N6Nloi90z53+UD/wf/D1+hufJlqcp3A9Y+2rqJvUPIHqECwZ3i67v8gJcpkDtHDz6Q+Y1SzYJrGYZ0TKvBoPa5fav4Ghq7mo9YBgqDCJdHLBUaEXnGLSuEsK+pOQas6qiHDrjrPMcojTUubP4mhNsNeIMOpI7QRLlu1EjKhSuK+4GeKyt198zAIodxaGaYoWqOIx7wT0nsk8cxfy6jbZnY6jYQ4hJD0OKs0OVvknlOPUnd7Yi5OiOwf0H6be8Jjjpme62J8tvatORwPQ3rFo5ga6m4dNfW5Q/41i/Wa59JbYRIbGwDF7ixS1lzLYwImNDMZZZabCMzjJWBAqF3hUd1SN1V2YuxATEVVSUYyEq6gYyxNYfigwW258POjw3k6WcihT9ubtDE6Rxe1W5iUvxZEGMLn7GuUX5OaCfY83QghtvczZkXxi3B/xzPN+vvnmJ/u2rKWZqfgOaHWg4YRn63sRmo2yG7OUKF6LfJh5yYBhnNbG3irIYzZxF4dcjjy16lDLllN6JpW/K+j92iX5Keu/jrCJ3WsItGG/87o9dXzHVxzrgpijguVL0UY66uBq0AEP6LJ7Li6K6BzzULZJgVOkfdDsDGm6Lx2/Gh1KcEH1v3QXxHPrpjkRr6eJOVltu7qHFEYI8c1HhbbYa9ZpnVPrlqySHNf31PJDyzySfft8q5i2oaq10ZYDFoJVsFMUIsLBffrZSFUE1uC0854NcLloYQ5qHezgUr8KikMX8E1MIGj984jXhWY6bs+ioMAq59cF+9wa1GOygpxre94ttWVIS0mAfNZbnLcQlhb2QydemJO3paAgsUBhHINOsRjqdEKE/t+LSTtTGtGH1M812SShrETuT5+nMwQzlGu5Elplm6DwQDVtWCGaWKyd5Nmfj2wqnJ6mVY6aZHOlSZYYJWRktrrl0Ok7Z1X8G3d1+AEikQ9Px0dMjmrR9i8TWp6XWa+WDQH/x9h1gqK30OwDe9Wsk4fZo0VueYiFngdZj2ByGzx5RMuYMAqmoTwl4jrEi3eT0RaDoQY6Fj5OgxL/C9Kgbx+CqrGVVpncd+tSVYz4ebKJxgki9crsBXtqIZfqBSAGw1MpxJR9IAmtm3HEKsuz4quE/bl3+nOG4PIdVMnjCydHUFgsCJ4mPYDJH2RC0BXllZRnvyQEMr+RK4tJjNU1vQzDNvLGzDzGZF5Nkxq75WBeQ0i9K1TjWz15OY+y5/5p2SBsAMAEcQHsyZpwlIbCNMZlr9gspSycdmvFTX5pdI0SL1QzS4ik4zCIIMylTNWZAcP2TKfBlHLz2k86PGhHn8lyaNaUkiw3o8klqac007UKr5SVEDvSyD1k3+22xaH433HyLzO7MuS0y86NyM3u1RCavYTgHsl6kFh2LuopZ2I49dNHSybwP9SaoJYxjWzI6sQjkcLoCjqnZ37WcDnaQf05c1UXobRYn1sq/YQxVpsZvO/XtucZ7LcJ+uhqCFfzV4ZCTbie2X+hybqqdMLdFo8gIYy2HWd/QfdWixG2xr4olVbm00h4QNQLf6Bs7RKtPOgvKsuipyTtDXfVIUHE140G7X3TxcODxRkOVn1lQxOqSGQiMysDUnK323wx4bQNKnPbcKSq7zKrTFlcWhGCtSZ9/QE68Ru/GQaE3h7wFftwqTk7c5qf0heZJ5tD6ECZjZ8yqWiXXVZu8D0/P3lcpdj6KLvp3qCMrBO62ez4ZW4OPWg8mMFNX8sCkCYnFdnYZhHyYl3agSpx7dXuICmOzKrhQ4jUBtTexMU5+QvroGQtyNCUuA0WZ+qmyh/7Oz3nAkJ6Kypaq2yp2fMEdJOnkdpohZnAAjt8UQaIUNJ+kqbd+W2jSYIrGXli3P4M2+T2N8DDqk4tFe9tbUT65AAyKy5hchP4ygOcFnCVk6T/G1G7ZduKfqmC1XQ+IZsTTrQkbmbnGOe+HI1dfjVK3BKfwwKV/1hEqRabsobTfK/S3Mjwvnjuj70DoTrCgZm0EzO/NIOjCRz3ZopzWcCdGNlup/sEFZs3IwiYrESEO35yysZ7E4QQoQ3MwH4MNs1HQHBBABGb9gOSyZ9VevlJXDCBkDP5oeE5l7vhqNHhtsarTq9+EY/9ijpXrSk3OW86wxqcde+OqqGUIow6a90IcpN7z7nmMr/QGOsQNVRmBIWLzAvIQnte+GObAewLlK/IakGBUeJGmFKR53iD5JKAOR0pK4guvAJDdAkKKxBXD5FRVIgzuZ9KcvpmdaKeMQIUVAA+UVgBReNxwmPU7k6PjQueML/BnwAl+C0FTQmkvnOkZYEAzxpsPgmke6zyyUI5tO+K+9h2adqKiHIT+DHZqKE9CJ5wWwXBTrBJZQ01IndAaulZNdcUknfgYw2ZcCuOLkcZaNAeObJCQKINmodraRuFX+qR4PTWKy4TbSnKTmM5p39fScgN0h3IRBShg6/COLqD6moDzhx5rXMb0agHkeP8pc0W/RgFR3VbL2qn380E+54jDoyINiD8iY5xkiu1nhsnX/QMvndPxrjMVG2xJO9mG/JaG9Rbzkr8msxsDKTuwC+C/DAvtDBhOR8byUPtSRRAhPab1uYyZrdv3hEXsQgWtpea22FzGopDvQRJ01rFpHrK4vT3qpPuc0zOKtJ/y5dqrx3D/02TtimbpW64c/A2RSsSeWB8WZw6zVQslG2DkS0N8X3CQGRvWJe6TckU6xseDYXwArKhsdBPSOcEsYVlKwmQbQntD/DDXdZCy4UtfKoYTjTwjddqnC2leSPmUbOeCOhH58xi/xH9+pBTDc1Vfc39Vh6VOcCZrRPGPC9/+Mec+GfY1HG+CgQkmypTK+fOmJe8VHFgy9d3P2nYgsKmJVeWpLjPV5PD8TA1d0ecqPPHplZ1D20GG4PPpqWzrlycwGMGqBq7wsPZoCHyhAhuilEgZocGfel58dejYR9P4Ot4mohAoDz7wzQKP0wKQz1dFTkX4I85yxPpwAkn5FcXJPFwTDbUbuVe62zT+CKC6gxoB2gudGr+aROM9sW31k1JT6CzQKPfHM6SaQJ+ValYmCm4bVH515UVLHb7Th98Lyr/jEO8wyzjbzTWXNyXk92wgP+6Tk/BBQrYkgJIINLXDVuY3Fn4vptJKBSNTW4j8nzCU1By+Dsl4PZundF1FmlfLZ+PCo/liQHjrYpGr3QrhPSPVQolzutAqPVIR/wbNk2Jk5b0TPDJvmaYU4p2Gj/9WYong/+FwqakxjIf4mUWRm7+jmDQkbxAeOXrz40AzZD3oD8aLVFy+GYksJtAmDn27a2A3AKotJND+8+OCDicF48Jc3b5Y8C3mMuIbYWHjXwuIAgavfUtSM0qMTb3O7zKzbRYPuh+6Gmd/nQVv2s5kYi2W7hxT/9mgyYSMh2sAz+PNIws4jaq+xKldFmfr7nGRNdJROKy/vj3ahUPNACYGzOpc8M+sdI9ItKoO1W0fBNWq+trMfyIWIagLBthM/1cubFUw7b4LQhv5+pMQfQ2RQWXOGvNjwZUy6UYgu6MmoedheOQZoECCTCDwM1XmPr8C2SsKbVGg/fND3LOYYgGAzwA6MeIdaJw4mi4ObxtXETANlhSAB0Y9d2z7ZtUul2o660Uep4AMeeOQOa+jrwk+Y77uOdOhg/RCSM6l/I96lqNfGW044JVXBc2AueunyHPdsrtsXH9qTC6G/lGue1KoCelEiu0Z01c6fd9L3Vb128BgqwFU/U4G80mZvWEeFn7gho6TA9ZIHLqDMnje/7kYlfAcJUOxlBUI4IY+AfQf7526LQ65u1PVQVeiSW26C3bjf+WcigArX/7IBydHe34Wp+0wLlEYDt7EPGv2lSYaC6Bq04I8YEQZ1llrvAGbuovGmxsszUZ5ww69Xlkf/anYNceWTew5ORXQk4rkBiJ7cArIuvAph5LAJ/7fyV22cloYNVw7ouvWMhRxwuWYT1IvIOIbsHYVnB5yzyRb0d4IoDzCpepl5xNAIj4lUaIWFSkPYDogM27YJEBqW+7x9d8MbPaTXM0Br9khbAfkCtvlHq74+uINZ3BGOcEtxUzV88rRoqCpa2fLoGNYonvnA7OwdRl4nrLIxw50lS5/HQRfzLzQ9FOS4qQjSMnF3KQ31EOp6ptZ19bYxoeBWdIEUJHyVEpdLGOmm1+trB4VMe4jGKDwwzjcykZiLjJSf/gvnBLnK1xgYUliyp6Uu1M2fF6MTv61ow6qFFC1iGH9npbzLE+Es0ZSuoMlkgLVfuKdWSgqhRvVfhPdiIY2D4NLOocPl4k9Ku2fDHVWc2kYjbN8UXEOokBXFhDgBZ236uqI6ukC8LKcOZ85eTJhL4YcjGJ6ckvHpr/3ugnSXyqxsd/XYYhldepJ8VgKcO1YxPWdeB0RfQXqes79MnxdfPgL9HqhfBaMYCEAgkGS4101jyKYnMiaOzeRzea7hKQm0brG+cIHDd5X/h7vqIQ8EYK1uqiuRYmJGKqwBHWUXcvAMfmcaYgcSBP+nCq2czdrjmAUGxRMhWnrPZIhJk5clYpMnxKWnBQp98OGMJrOoe+GircvcdUP+yNM9qzgSKAZC6TkmdatSdT1eOLgUQn8DDkAXu4WmPeXH1kW1R1KH3x9hW04o7+C8suEX7YtqOL933jeJTH15T732D/2rtBIC77DB9O005ne7VQFDM5VbJn3q2TFvAaf5C971HQD2ByPeu/cm9aqsuMyHkKbOTywrcwt7/y+cjUpYNy66gIzKy682NBDe76V3Y111cvyI9eZ2Sd6TLYyNGM1uK1n1K5u5sIvG1xHbJVESaouHsunKP3wV4j5kz513Enr994Sddpa5FM+LSq93Wi2txjSFrqYK3W3JMP4VFIy60DTInPqQ9eZNcQMafw2rT/S8LZHKSLWBbz4Wi7pZrwjtIBkt/SEG4DiMGHdiKCtEHNMT6fJHbRfL+zZ/dD3jfhKH74uiTkIGC38TKU+wyGjppxPjqkiM4canK/+N+oldE+HjFjV5t0wGw1U/BwZC/DYDHhZ1z3ClelKISS2h79cI5bJrboeKfiv8GoBW1wJnkZLxRfvYg8Tj/vwkeP6eG8FcbM+F2ip01yfw6boIFsw8SiTRgaF73pAgPRyV3Z58ZGFm0mDi0dMjllWxvLcznmj4iLPHxoTCmN6spedKzEy4tYk9eB74fdDwEzLzBYNsPtky3aAM1Lb+73ueo2p7iyn43V0p0a7IPwiKsCNCQJ1PC6C4kN7Biiz5d9x7SkmRRV8ZGLbJqu4x9S247KNXfPrxYCxFuRdi8+O9G2kFBrLnB2sCyMcUqhCKvGy5VIzG70UE5072VgF9BqTI5jXV9EWOK61EXZdUYPo14lAu/FU/6qrCSuKOnclNNtmMnrJkt2qhVL0FnxoPs10P0M4K5JH0zJ74Of2Yqc3bik6FoUHcp27Zd/nIic7l8tTXAakuI3UZiVh5GFSHoKheG2Wl/i4zKgJiLMZwqYi/DvxKZoUskraEOeEs5OUjfexvgU4UvgE0mMROFrIPTB1EjQ4FnMkmWbF1a8KBim2psveQ+fnd+YRMxrufOtuFlW0oC95gt0WnzGX27nbgXVl3f+AO8yHJBMnSjjYcpy6xNgPy2l8rMdvmCaJS6F8lkln/Hywvxl24gqlfJbdkWj/t3SuC5/Q8ZLuHA/iym7PCC2sAax5bNdKIWwyOzys1J/A4+TanPSRFlZB8JRU8vol/XvulRO7HoeAhPDE3xJK21q6A/ntLXEDDoJNuR1TWpaxjxwl+/oJIBWg5Wfelbt2VJPs23W3Xb1D7rSoUJxvA94Il7eUyaH/jsFTlTj2Iv2NbT+ku7vouk2ZQFUTpLkMg4k/qv+nasyX4R0nf0+pB3N9zqO2Nl47HV4IK/U9ODjjicbS5pj/D46uzb5Enhdz7SLq9PqqTxtwwiMdJKZ85hODGetr2786EXtJY5qJbCRzrIKogGX2dGI4DGipxKmpL56A7o2vUmD2giE7Kz2Re1/9psJvqdpKvUJ+989ZVUNrlDVzyzEDKaB5nVHfyvxcm+t7WaOcIbf36FjNBwqfv56PpBnhKA77CSRcq3bc3/H77H32M0Wylvqqzsn0IlQMRVaTxDLLQO/93xaMw26HnUrO7D7KblOSCVjLHUSXC3NrJK2ISEA/qLmiGSwDrMhzmDoHpMH2vMu5icLmpEtUP757NKTHaCrvrCWotZjkiLamuPc4TtL49zSf927ysi4FeDOgkB4VyjDqt26A5lgzObdRlFdd+zYgm5ouvoUw5w3jOyrDE0uOyJLOLAaS9IV6D7+Swsebr3GFWD8+sj103y7s5LklX8nOur8Jgswo8nFX9bJe9gDmkyaGsnyNFHAgitKJiR000MJEv2jrHTAvPzQ2Lw9O0XZuOPVI0lci5UVk5mKgVHbMLZ7f52Om53pelGYEBYcwFWrIHhAiL0MqAnG0XQdW3QMlxf046YDxWREiSDGEO/bqajpaQ7WYoAcFwpwbD194g+XFCgNJxh2Yc2rsFa8bWb1USX2KhU2eqP1UDwIerB4yJT+a5r+RaVQbtdbrD1UQG4TGE4UwsqK137FJes79bn2uH7rqF9NIUZtR3UGbA4x5yEQknpNla5OWMFgzGVlYtU6D6GB9cS8eZ570GzsvUgu/F6aS8SmRZqUSmGobUxYOWRSkOvwTV855BNwjYZwYPrLSXrZoMQRDwQmqAsQE8oesTyLHs5IlHP9Q6mFhRt8ck3meDcKULIyEUKlgTeXBzozV69fHl//PiaKokfJSvCRqHbpZrryk+FVmZjWErE/8xz+1mdOHSIT8NdCKfWHecahHTHrzcnFB/FmDFnXbSWBZNUfx87z7qdCdvglGpoisvBvNXuiV9QYmcNACWh/+5CuT7uD2l+1/xQ4XXh5o6DRdn0MOXApd4yx+5fizUGCofwOcbjUPsQef1c4pJZMCUA2QO4541y7G0aONPphRTq24S7hZ458hab/L9iy24QMXaA9V8cZyMme7Kxd+7ykCQJTAqKTOI4qszsrY0oUf8TlkkBBpnlLlbscrDBNRx2umJ8Fh+e35S7PSvakAqan4jpzoE+lOMqw/OYu0xeN1dPRKs2K81d2+j8TQOpKPzeDfJz7Jppn4CpaiC//X0n/jBQqUUYtAqQ9JfM07uPVoXIC61vxd5K1DfqlzbmdTmsfl7QaWdoBr9MHe1eU/3pxPYyunnFnv+nz6gnUUOTduj20K09WYELNQqkdUio4z7yTVpKUX9B5oN/Y/lhE57qW973fCe1vmLCdpTCSPcCIYWJOQUZvIZwXqf0xeBCutBZrJho9+jU6EiBoCz9PBQ2/1iTqwwyVxHM7zwEBQ3cJIJBgSJBp4lP4kX9kW6NL/JoB56x3NczsVMhqQ5LnQd+MiYNqnmC2BVCG0su8Y1P27MkDl/mxfxykSXbrWjUtUvDPnXokqLaSAoAuwX47xH5/UYTg1HUWk8Bt2wSp4f8rBIM2WZmPcL1wQ3QQj+yZGzcRJ92jznrvL3NPIDBrzmytvC0XOVKZvKLr5cXTuqVcC2y5Yw53VxrNBG2++WPo6Ginw3mVKAFSjvfVppJrQ77L/DJzgW2gHt9LftFBCgQjPSZnR4HYwlGRBJSnP6ofIsM0eTP+Bx0gqW46ZL5Z4UsTwoQdLzanK+DWjegNDy32myYsYkiAbocTndOMh7LWL7qYIBDb18qTzBSMj4jElAjjBxTikKKHVwpResDnF8DOFv3x0eDT4/DyWyQOua40sa/onmvPLw8dYFc+qQ46tHoZ0cbe7qeiUVocneb5exQLgUpMQZsnf2bgCtqSfgThQZkfDdo+yMyHK/RSF7iecniAiDKoh4zfn0YzUhou9UOsSzwzDSOuDviskmJRNPxTxR+8pKWpRluE33PtsGtr4ZCY/pWpr0gUtW7MBPFDrIfR3829ap78Mh8C/odEuP2LwxVbo2vZH/1IJPHSFHN6eBW7m8xVzWCVyLIq2LvQENptsT5FdOrZrMHdF2wOwwb//8kMIxHtTq+o0rL7No/hDgemUODZoWmE5v83H+VPWHVlu0pWUJDBhxTDi5H5Hk+JRlnnaoXlDvCYsaIwsUepeBd1FiduNWvQJzNJhil9hWBZnZUbAguETUojCUH7IYFHywQFI+kPMhHxYDQnzjwWecp5jU4KDSlhEbeIZD7qKxJMGH7bymbDjcP0UwDCURAaDzpuoa6SHdnjQfc1+oK6/I+jj2QjuGCOobw+hA9DLlhUQdOhnoBFuUpIA7IaH71TY8W36DtVihs22ll5fZr8D4bR8ghZ+vonQP3rFSXwlEKyuyKDrUGlzD8TCcZamAG7xY1rQw6GpKdGywIInfIdcVAzb95S27zqQlXcuV1HbhGN6nkNwWMwJ4vQ0dP3dbSYOITejXwm5HOo0zxQ8gvCuZCjBkFO9swhV/7PfCxJv7lAaUlWphs6fz6NztjuqPcf4mHtsTEaz7eYtKLnAox+rBx83OkZnpe5YIA+Abw74m+EGsmX65XaAUaLHvris1XqEm8Nk11OKMEjSEPWXQyWDUERcf3pIcjc1FyXSAD/IvbnipK4pW/DW9xrIqSselJ9Og+TUIo5UeG0JvjihFAXXWqp7kBmypYFJk4gsX4zU70viGCFffRhMCX9gX0QCWQkPYsXOgIx/NDgkY3e214pOxI8Kq81pptiqZsKat3o0dXixnQl+ilhV4M4UxDXlj/AoFtcgj1I7psjkafPOZPHdIEcwL74MWsBccpXnOx8MZIYEtsSG/7TJT9QnjHIplHXujxRt5lsxLl6wNxJ1C8uqYzaY9thPtIlvnHQQ58b10mOBm8UbP/t+rSL9YRTVjXLD7azNxvOAo8kKhYqJfrp49XqJtLgHi14tojP7pcbGyYN+B/Z692ULQMGwy2iYvJvqWjnUVPCptHihxtPiG253+UsJuk1m6snGyDuTkTQqvGVYqP2fQ1u4P9amtjY23IxtM+6GA/XAiH5AJroMfZ8yPxZ97lmilWjXtF4pcx9l8JwyWlVG0dphyRsRHYYpxXLoGmEnK4ep+HhP8aLiOwQulS1CkAqCBVPFOr29E1zGLO/ylEFFjiKsnA3Bqjuh3/fWuIiFPryR4B/qJXTK2M/LvrDF+147Av/D2vYi1+gY8GMyYdV3/u4t3r879rSz8fEvy/pINSpz/yMwT/U7an0hptVfUtoMpGBKKOptglryOpiTEBlV6ElN48kgFcOUYc3rsP6puP6SAmjeiwv+rMub23uOIJ534l7GJ+s1ZFS7/cRD+2hSosqrWtGwdfY7u80PGr7xA6CRZrG6gPBUkD/Q0fe6MBpSvaMyzQf3GyVuCRP55NPGLyb5jAvPqcXjUu1jHHSGveU7WnC9Mll6uULUyqvt4byNy394+LJMt+OKR4dWBqU+izwnl7H55QXjK9YbFLAsvsjb7X/GJiw6bF6G+9v3xdbgird3jLTiarewUJVf0hGibmiJO+6wnHpDOa0LL52Q3tb1CyPqbzb6xGqFFxWcn3vRgTY4UfpLh+J4Wt9EXQG0SyCxYGsTQK9Zr5oB98SUdCvo/Ru4ZJBGxRknMDSmr4THbS1YxZ4cwygokloZkYRbTC9Oc4dDEMPVkRgoWc+bhG5GFCJusquNUWgJb5OkOBd2QDLf9rornZrCnAsQGhp8fSTbtZdTSM5rplMcHD6CvnMBXqRLzdXldjEpoCVKYzKwlcTu7atDwwzoXb4wgfDk/h2yAR3D7grvAN7g1w7Hil5PQ4WkdH+PafR7phH+d+SUl8BKKrNQSn0Pf2BSq35gUnGbHtBTi4m36fyJfMDydutdaU9p/doqdsdxrFM3ExrjhtVVIxu0RS2DFnCr6m/KveI24rBEfHNOzryb++mibJFRSavxkzrvre5Vdm/3HTHr61ZL75GYdMnfby+sy+DIToGBEOjzQMnWGNRG4WfYcB6m0pDlvN/o9zMHAXS7gsJF7Q3ij9fGw9KLeC0hzXQv5l2blj2XTpUS+p4kXa6TmTRAKY1soVp8jyw+9AFSs/2JpLV9Z6Kk0waZNpdeoJx53oyaTcba6PbdkZsmqNohW2wvJJwEDtOLdMPorVw4RURTChp9EBYaOMI+p63B0USxsUGAnm/VplyHg0pOVoF1LvbfNRgX+07zh55YI4/Wvh4hOu2EiVM5uKKG0dKDSFZLIKetNCx0TnCSzHskZCBxEjPXC/Ks96E9m5BtLI975ZBUa5RLHbT1GcsJyeRcP0+d3BvVUqJIlXD/1pXgc9J8Qd9Xhe3CcfnbnprNdWhBd2sGGO5kcteDwjy5EWxTHvUQhJ+qrrFHUcE5FemnY5PYZjOcOTmHBleHfIDimJsMmQ7KkPfODxJiVR2Jwaoa5jY7XXGVvhnLueS0hZmam3QS+okJCvf11JvqFMzFBx5RFFuJyVvqUyteGfWvfe6sQuveRvdHjG7qoTu+nc+wkQpzOOuU7DwZVC4aXSROlN59PMF8ZVNRttGjHPI8AhSjNr7ymbsW3oibeuTWKJ00MoOKa04zaZztO/LCS9VLxvROMJngcdcNNG5tuN2V9nLD/63vVVyqKrqs4I7X0r3Oqaed0SLauw8sCm1S22spL6g8x+K647421IbUKZMT45jCB+qWjHLjZkhtoD2A0EY6VZFDyJQ8+cnfRVXgtozoWOfc44a/yXlEnq4bjWj0KH4YNtkXePWd0IqgACeV+SFxZQQas0qTB8wYHL88Kc+kmRJ55TYE+5xjPIOWu45VtrUc1fQauvmRt1TX2BmjoJmYEN8e5BwH3EpOqg3ftvz7Ktn7xK7TncFrn2EkAytuf79bZp0b+V6RpV0UjYjwMX8iHdR3rTux8/C94sf4qz6YjpwAVBYwxRgqweX35PpRpYGom7Z6q0ImV4qrbB4FyrhHbPJVpB6J7KhnDNu/XaxaR55bpTmgqPjX3y74oZ0icN65axBPJHALzfRQtfajU3+zljBCsBtD8CFyGkEP+G3cib4XT0Y/e2Tdh1P0tjSj5taU+I5lyX6GKUYmRp0gagfxbRZyYMlYJAeIm8HLjcoy94jerDqVucnStEd50oqUg0tX0pdlpslAR7AV/f1FoJB97tojv5voZubvgxv/8ir3+0K+Mt5evU6nGXwGffMiYGaJ0yszw+Hh2ra1WbYgPK8MEOhqmuN+p/qO4v6FWr5F9NHX3A9AMFJa0U0huNkPAvk9gvcOP2Nl8zKpMtvwsCVPat2ot8CfIxq7/ReHCBRPiUqTYcSkPA9vmUGGFiG8LPIZC2vwku67zL1M5z9j0whBwuMqgWDknr9XCANth/wAkF/KA8tJBmPjcsoYvEPo/HV/tSrzTQV+DN2ut+c0I2t34jccQ5qhL5U5EcCglRYEisV92GTBHyn3zLZ/RyGSfIo6BfnBW7lTrLzerW7nrZgJb2ZzVxXvvDO/8LB9lCC893iae1lql6kGm72EDzdtmkgc7U8YVLrP0VyE37eIzOUcQqC6EMKstToh5HCudyrEdDllaCOAbsO4cYvqhReHD7PBK6Z6odMDMlz3IqwMOD+LCj3Wm3e1plppPkbdONVogtJPU3ZHQcJK3GwfGGbp15pT8FD3LdfH/ZNAhVMWBiMbS9rKsoOiOCE+yEXe7Rsdh4OAfwvUOtaIW7cq9GcXPL0ozTIoqsF0OGnSqu9YJqpPV/asEmNTgamLkvUaPesm8MK6gkEQbAhNOhkF9nGKVnK6SpyNyaCJ1ZRLTiZhPhhFAZpybyJ2umyhVG54DxAC5PG2S9dZYNeOkwOLkEogMsbAvkidLZSNIyg1PYBJ29wt0swKGrEfHjTKcfuVQVe2B2E7pEk3wLiUiOWNt0Mcm4+z1HeX5eGOp0fz3kqKPXOQXQxRhQLJHth2sKtJST3LCxibYOuyKNZZYURndS9SisZoe6qDIyUZuPWuuMcbQmlJmEhdZdwdOnTOiFk0amAJYrNhwBs/Z1aQD57w4jt8aNlBnOqwyFKkCpCiHWAGCUb63A23TRctCukwztq7IAtaEnJ+bAziFAHabYQ6KcovcIHNoCjfr/hqYlpISmF5H3l3jWg14Q2j5tqW92KN0UYQq8TbpD+Bxrb1aT+QfiSN86HMIP8RC59LUb5WEKXSfbaTnRCdrdNa9uPcfdZC9zqhutR+C6Mm5EoCzCS44T/Xf0+CElOPA4aHBRQxLe/QiVs14jADA6fqZWN0eXRhoZRPQ+beBSCP752TTi5YKVwa9xdRyq5tTlatCjeLJrkVycA+nMcwI7wr2Ro+KOWoPlyUTFnZE/m+rlwGG9pZytOh560pDzWPZ6sFaoWkiBEhnEJUrFoYtxduvYtLgt1JSxQyQEM6Q11Yqn8ocQYWBCnZ/EY8XxlIiYp7Gecs+FvgPjiPST9tmpnpDSrEZKc2iXtCJGANlYE3fzHahKo9zY0lY5dyyuKPa+j1G3sEKa+hNHnaYEJswUhgMZEG712jEO3mhsAqMNhLPfJQRzdhphNUkUggdZSLM8tDkHkHVLwak3S2yDOgB0RkKf46JHkCDoBhoXEK9OwXuyqUZJxlXFY9UoXutnMs+zsss4yxOa/GY02s4AMHRB6VuXdkHk0mWNs/LsqVooyPSvfZBgp4/xVWPQ32CFsFAeiCoVufeY4zplispbyJZ40L85um8MIPxdPKJKw5ij5ZaVHVGbLsA0HbIZng1S6/Y6un5g/FrHYP3dnj7SBHlNVe5FhjNZYR1gSnUOdnMTLQ6GpNOgQjHyZGGn1D7tuMhhfG7eYU+srrY7Me6wHsnZdLUoKBnZaOmW5M6o3LKSjGfhJZ11ogVQmFHVQcXU0sjgtE03MRrEphiCOc+UOYhB1oM5xDS6GFkAtGdSKVkdXlsBfjJOuDUI/2rXVHFAMs7JskwV/+n1Rnp1JESlmQErda/M/7q6uDpj0mfD8RLTpeQ2bTGZTVMl/C+roun5mefsTX0zKW/HQC9MZX02+cemJcPCrFzCeTI1Q+0na1GslswomLySma2RK6Vd18iYki4uDCgG94eIbBGb6UgJ4fWIL97rgzRNqqPGwjAx7xIflRWUIFkGoxIAlQhLRVu1tFKKNCsbaSt7dn00qBdnrFbkpOTq0qtF4KRSsOzBKHSDcuXc7Obt8Fwx8mZ7YOqUloPFJ0q+9KO7lD8lNx/s9fpgYgFRoC/jshV4m/cJRMX/LnHJcAZKhHbhHF+sTQwGxgSzeDKh92lezIjWE3/nhyeqNIPe0RJt1fjvFrHfO+QCRrq9nE461ezMrF3neAFBaZxq8GRP6BXSmrsVTxBxipYBgMceCvmBBLbKjINMuzyB9BFGw+2skx44BK4UKyIAdFNxu4LUAd9Q5od2wbEWq4h7/KKF1oNzt/K+Q8kV5448fr0phmkIt0OCy/MNHclV5MUo/Vz49lKlIRJCfmFC3yd/ukqk0QkNaGWnBSAbcWg1nea6bIHI9Bkeaqt15yxJfa1teKBKZ+0ZZWhAY9BdVTXZagC6Yhe4yDx/OTK2z9MHCMR3Zx+fPsnnTIIrRUDd3Ze3Sbe2a9hvAYilzIJQYFGuNVwUXMsszpj/FYyb4+5HAl5WZP87Yr/7iEIlbi8XxgHWHXPDQ5zSCD9PkP/bOf8217Ngo0b9wxY1JunWL8ieiphuGN48gufz1XHWNcx4YbIUhTEyZNuu4p+Y6nC6geb/egrdA8ligEHKWTTHM2rwsyYkTYWRxPzykwagBe0yarghXnpzXfdfBDwVyif829fXsWp2vEUSQMZmi+edckAcyhZ1sszwM1csmAOO9VPYrnQn7Q9cMjvi7HWZVnaux5FcnQVYQDMW8+QzG5y5tlcu+7o5je9bDGrse57MJycKeYN38HxHDUWz4k02GNlK9Q1lilYTSJLq9WePljDGMTMYjtc8bd78F08Iqgkmf48C1emZaKlX08wVSygZq42kAWWntaE3U3mIjF88d3HqhIWTKFuzGRjw7qbhUl8YK3qZyocA0pPNvOqSYwFFxDRrWzfV7P/hyPYW15uhhzd5wW6HDb11h/sBj4Cg1x13NE3pH+QTrjHTkq5T9CXpdUuyQBUZMW+e6kaBMHYn7tZUVCPK4+c40YI6Z69GuEMXuK1iUiAKXO73lBPojd/9rxqKC1uEaZls/pwBYPLOVRDSyC7xTUSg2UqPKRPtBH8+uhUGYY9nrjCoXPMJtp2FytICr6w7fsM4eaf8fZNCIqBPBrok9XaWNq2ckjaDUr3pPD6PMaaldKATVcT+VNzCfp40jz5P/d5BKoWsmEWUjNZye9pQzX0mQ8ptmCzDviKLHExE4jxI2jqhXYTTbZxXOEBIVM/krRO1dk/Y/M/dlcOpuk3eLlSGiM/pexOgLqbiWHhp5pgK2w7+3uXUMOFkJ7o98kkcdEn623Nx4+P/Bpf5uhwPYJcGVt5QXDZ+iZhO4l5S/C5eXv/ZZJ+uXt5g7zozU8SZkOG1FFyYs7R0pWOqd7O5fvvhLSoW9tqA9vJFHvf4J+cO1xGV+/AjSA2TfpIcY5GKKpN2QhYT4Yj+wV2wceFEepPNq4JSgiFOTjttUHsILZ4c182NguAniEk/tMfODKtFr5fWVrc+0JQO0mc+hiOjJ/G4jwpd+C8R6wY/eBXW4zx5LeUUx4f1FkPc5z5rTLAoXWPG7Yhcntb8Bk/OajfJmg8Uq6k0Mmh5WTnbkU9JoGmKFrlA3uZSm8rBmSs1h6s1q+OJFBoq/2e49LLVW5SwIeVQ+830gku+r/tQYefgO8s5XrCdx6lDpScUMjthAsdhSj781TZHnLm8WLmyO8k8UP2o0AdIZ3staHhC3gt6ATMVOcPo3j+LpEU9D/Px7NXAxIqu0HOQXVDlz0X+pe+OVb0YoP0OSUKg9g+OZawX6loaYGcPXRYGKWlqLzLUmHaXEl13K3uF6LxubTX465q3tf/7zumpq7KzQphKADt3AZnmeZRhtRTBGoA8YK0teC3b4Z1eVwiaqUZEr7LUX0u7/y7YzsXvzEhAoqqpTc4QnhtgEXQ3JoNREHEAxpcKfHWh67PKSviHIcQKvNoHPFdv2h0zM06BAYcU/d1kbnlFMxYUcIhm/enji0ReNF3yt2xs0WWUMCCF6Hq2wpanMj+7R5QEAVoBbPMWab5zYZwwzF2nBCHB2FzhoziqVyRSHaJo5M1qsJ0eBrxBaAl3TedNmm1R1ZmO7nAhykv47id43CkdA6cnqEhbe/h8cVIETYK7asljfUC9400TVuZz6Mou1lpYKWRfHO32DzMIEi7bOW/TUiA1upXYJdsK8fg/igxlbGU+GUspHruTMUxD4+8P2B3YB6QV4gViAffKecT/Bl0ZOkdCAewB2EpVC43MweJ+louGu/YjdCuQs2vaoDm9SWDBedVA0Gq/XyoYjbyzvacr9W7cVoIhOYaetduoe63/u/Tng2wCBgzHEmf66bOMKpb9t86pRrc+PtKu21CgeOsWAxNf6MAb74xtKlTKCoUqYxkzo/py+w9WcmSi/Z6YZSq0sJgf10FW24Q3GAlnm28HN5LRUP5y7k8AuhO0/ik6vxnXQgWh0Z5oJy44G+fhQITcYvI1mTeivU0yYlbnpa0Z3TbpIiJC+43e5F6+8PKHmT3YggTqXdZNAXB1xzgVPuZ2Yha9Zq0sVDuv4bn541PrnF1jaFvThrY9xN1pAd56sQijCttnmISIo9RZNtlWihLDRTc17FrGotO7HniENysk2l4XVRwJ8aBgvnlroUrR9Se2UqcTU9XXq6SxEcIzVglWuD+64iB8jQwivxbOWNSXchiAPruu6nnLMX3T9N5DQq/CPrSa+DvD+bkejaEDT2njzFMDT3g4oLL20PxNBUcvS760FAonqwDiq829on3DnDm9dpUMdlrLWaf4J0d6enPl1hXlCwqmsBSR9x3/BbHxR08BILq0C61bH5lZ2MKLuIbBYy6cNdfcTj/9syw2bLNTTApIEHFtjukYRk8PoxzfNRz7x2X+soDHjPFcRDqqR2xTicJVy8iRoIHYUABaxJXsT4QUkR75N72XkcXHwC9moy810WoyfMcpBldc8/OegL0KijDqIK2ZcDv632gvoR0dm75sGvm9yCqA0MY3AxyT3awRc0TnNZVGmR2nwJyw8Sfl5ATx9jeH/TFSEsyGB906Vyc3SiG008abR0tTllH4/LIhPHoQA7C9xD9X5Ka533tLitg4ViI3r+rvJDhdRsrHNTNy+TlxQP53v9xZuVlpb6ij2O8/i6XXDMbCeQsTY8dG9F0wNo2iAFGucK3J5h2aeVLH0ZvI+JuZ/cda2PC184OZ/vX7zUZXVqNaIcpMMKbMyLbBgVzIeiS0ynKOy9q7MzU5QOkTbN7j/jVFiBQ68WAWPTDYNRg0NTw8owNyTxTnNi6ObRrF8Few708hvxVM4x3Tx/hUe0hLAvIoY1B3XnAy2uzFUNSjOZMpIRtQ9UKiO1EFxoCMcZ0k28/bfxVu2dfRiFNlSr4tGw59B5/7Bh4Ge1NCkZ8Esl+TI9S0yhVwV1ZK5UIWLf9WcppgOsrGGH3OakapZIIfRBzyT1pXk9bFfi8m3rjYvYiy5WrmZhpqBXtYvgVk8LwsOYe1aMZHnrr81bkOWFbtpa3+yesUr8BRtThj9XzPQ9XwXMELbLTgxEqUaOTh0EfUBIMrp+1oF/SaSPRMJXtGlbr/eaPoRcXnu2ND7U9BOGvbQ9i4NgFq0WyO8om6tlWMft6rPNpyhN4miGJYczYTbXhQnmDFr4z/7NZ3MjVhF23wpQYIyEGWLRq/8S2tU/W6bnLQsIGBVGPcsLQ/Jpw+Zbm3PNqFYkf0Adh94bCs5CY4gA6tePFTWYZufgW9r6F+FNQMJa2RfObi8hGiynZx2mwaUGQHaDn8B2820SQfgZfqX5MhrZzhbkUQ0EhX8koGoE+8pUgO3bBWu8lMqP1kQnq9IYqT8Q+LhoJoQzy+2Qo8NYwRBPC7SSy/qzKXzPymYEnB4/2TKLl7R/OYJq9ET0fjm9L0pUl1M++Ba4EjQD1KxAVZDreHjlj8+kDnKvS+MKp4ipJzsxvZxRQ16HI/G+Rz9MbEGu5cPBl3FsGtqbWVOI1nVB2KmCMGYvf8vMvWhkqhQDeKmcE3f0JYw9RHyeNm36lFde9mPzikeOtEgcdmKqClxNIO7pD5hLyIB8MauyIuT+z/s7R1KIXRa/oq2jX/4YnfEkWK9eyJ1T9U1CDtvL4TiB7tCJI/12XF9LJQ6ehQES9qNUWDY51UEhyNFAi9qgrfokxYnq2M0bh/DzWfvX1SjrxURqlTG2+dVuP16TzSfQF3FAMx9uh4ovhb7gX082BHrUdjvBZ3lEySaVgdBnJlk1EJPfFdsk4L52P7lzy5hUNFUqVdQcltFX99D31Z0qNajIY1/d1conB5CIEFlKEsn85DJI+CLSxTV5U9VvvrjNW2M3io8UoNSIN6MGv51XtuHp1SfpEn1IqI/yoXSO8SzNQQQWP9zRTyY3E6PprW9EGdNuV1rmgkUgmX3VzCk7Fkz9wuMn8DAi3GO5ff7WJ+0DaiISr5YHl+4vmYNOrrHcXAORbXxH7JMWqmxmUQdCMpjDdzkSkN78+pzG48QiWLyLTc4YDMwNYHipQO0jwWnAm0n/xxa1X5m6a0dJT0EW3jvfQAUZm+vFDHqsTWJxrDH4Tg7sUjevWZ9jsOzYKFrcB/g467/ij3c1PkqtFCinknKk64Qgxn/sPYmd8JlBOnGQyjiYbYFyWmq/xh94sWstPcNN6p+m+WQjDcCSbG5aqv7TkEqOLi9ZBhojVJrP+XAjxYAJddVJ05fejVNWYz9YoHXD7HusCO6oGVLdxg3YPAMM1tjcLF//fd2G89CXZgdZCEk1aFkhWTfx3vgeDkoIAkZkV4QCHIejFDwKTIKJdf08YaHBBpof0Wpc/RySfAzv9C0OywNSqX0/79r8p2PbjnQ+oCy1y1mXYYv9/wvmTzcu7DgNklnuKwSYWiDEOTiUax+BKF/7qS9ryn249Um2dbYDWY4C01Klv/Pl3x1+5IvcQ5Nz1ufePKI+xiOIrTikJ3E5QEv2O8hcJ0btQmSVM/39+b+jxXI9GKhQJH4QZTmgZjdNlQzGe16foQd60G6NYaqRUpQU6Mm4fmnRF2XYs7LxFbNq6HPa7OBJTs3YvqhVXGs95J+FmjEDrM9QtLp1NGJ/W07qsiOH2BxUrwb0YG2d7DxPXV6n5twSNsitkQohp6z7cbQPqF+AK8ENS4mwvxdda9PQ5Baqr13JG6VybNf49tFmVWZJj1Ik+LYWFRSDtdvfplbFuFKizrMOeA3plmUFbRS5lQPkX1ZNjLBXdgbBHzPVkSy+qzQYlr4+3MH2+BPu9IrxnyODDh4iCoqsotO911Yj2JGFThB3PjuFKBpNy5wxDh/dSPoPy8bEnJ97qfwIkeDxrZB0+vg1J92jmlNg0OXJryU6jpVauDnNvM8vO4waeDssAf4EXDnjK2t2OskXWCQ58NmP0KHJ4hx+2hi4UOxL2ckPzGuEaVY9qWSgxxu9r3fuF9N7xHY+ZVBMyhR4QaiSAiDrxjiQZXYjeKlfzLf8b/jgB1IIBnGT51J6yZrCq4UeTx2ctnuRDtCgjvJwrKFE88X46i4bFwLAWeG0J/Ti4phtum2208adrr6zvK6xkE1GIL9f+k4ZsCiZEEwxsHU7YG/EZtISLQFFb55KOmlB9uH0P/x61IYYq/K+SjrKTd1GQy3L+0T20Hk2/Yib2h/GRVY0ySkzKUq/I5vXn0SwMVK5yTFuRuOENZGZ9h92NRbLINjD6ad4FCfGoB1nYa8xl44qzo8f+5ijCtn4f4za+OLYZ9KcqMB0voqvJvkazENwE1u1qBR5+pVj2ofxuvO8eKr9gYl3I7S528v717SwKHIRHcC+GYwgEpaV9R/IdBHIyr/EgtG6HIJMitZWXE2pLFeIbu6yw5mkJmu8grynyCypSPv5xv7SAO0nM5P+VY8HI9gNebGmR5/qz6mP0xCMrAqMv7jHi1MyERrSkVqCk9Hg3FScqwuspbmr//tj1d7O7E6Q4yJPxKD7cbbBr6NUuq4boS31AhDKDRDVGrTIJrC8DtdnSvg6fDjIfCXiSLTuDjPwRfQBOhS+DS4IIEdCwE3SAv6kCi4ZYQe7zQFfZ1pkjTvJVZ790eEBz+ZwBLNOpnOcGshccD+UmcZKBmnGvEzkCHHf3pkbfKdIh4OdbhqjU2RWgfyNGkgoGJcJv5IoGeH7h8yqWbXxabfyx0i3hPd7YPAVnn3cAKFr0Vec8VJ59a7gxZZiHgTzdgZQiPLf0b3rQmkJajduJDnaWg7c5C7M4uldBR0lIOqE2sTBTM88tnvqrUTDGSUt44TlFcVWGXNNhAooX2I0Y/VFnPSpMxGUBUv3hSFSWanSHRDhVW80Uc4gl7XeuqAH3spMZK3WMJD94xmXOI22OPkQqJoEEdhFr9yS2/hEI72gDSpUsqeqKGflqIDVhd10Q/k11wN5mk00a++ecODYoZodZUgXqu+kvkPO+X0oa6oZbIj6j5PnUoGFLM8k/FBX372USv7cwm6KWfMSgFk6QCKWdJVHP/qaL+EZ17nUqzs+F+wpsHaCmxiy9siMe+eExKAJnI/8nZrHjbSIlVYmGj52Kc41JOVVgim8TIQkUFV2+QG4Q7+ZLuJ6blQBnntrN7AXQon/WucRD7YBKEAZdLhjYtPjlDdW1+5bdNaqiENqY+VV5Ea95bf4lmU+Rg22rbb3/YsZYCosolIYn2SH5pe36LpeSRhtS4FhdVFTuqQKdRMZq/TQzoWs73FxurCnx6T1MeQhVf05+RYhQjul8VdXypYe/obZ/pwsc0gsTUZaSMaYr7W/qMce8jqLr/vtqqm6wvxKSP9Cl8zt7e4ViMoXoHuW+eKDTcnD1gmSEIhFJuyeQzPQetbK3zzUVkyMQvIxnXFOzzvC4dXNm4sIedHMvPYL7VlzCHq9VOke/1dWjrnOVcg5UxTxjhX5V2k6AcGHrRlpOx6Q3+Xy+F/DTt3X3ysVkxloJ6mXuchifyZF/gd+XQ8vxFW/fpNdUyvaHTlTQ4K/ZqtruCLZxRrF1RdKuQzQbIBOT0KcqxJHcj1h9Q6lgaJcErTJMAE4K2g8I+QKl0QiPQ6ux2YTd6IrstaGuRW6cbyW5kFNWGkTL9uPxKwb/XMqlyf3TKRMQJS6lS9hlnzYr+aYv0jFrDC0JB/Oq8ZWP/YFjbcqHcaeyjWmRK5tahPcs8dVfyAMLg1udm3q+mTnQ0gry0llNqKXHyVxMLxeWOGC/NW9Tt/9+xu3eB5rIENshAFoQE7XtrkkQ7yzHgaEkW1Mgc3fViAUdz+0UQfr93N2u3MLeIJaxX4OR7THbYLhtNxtpInJk76t6irRfp62QHduqLUz8QJqMWVxEYgCdUaTql+HS1t/f06S/jCpS5JbOrCv6zP7Pw5gAdHd4Ht0NUiHbcsSM5VItDT8h8c0EV92N4cNBx39SG8N1dapYoDbSeboiUPrg3M1kYUI8/UeL936PdDAMtVnoshbYyH5FvpitADIbS7ccEqcWJo2hrSVXNjLOOA+k+uP95USSIq1KiR4vbw9LnAOn0DlmFPyb0je8MrFYMNtTwtfmMx1YHZhhtLhGWQDkUu2hq3MP+XpKIcHGHRdDt2+jrH6JQF/rGnZ0tA4Ouh7fHpYrzXS5Bs/0cYUpc5J8YItTK66TNYCKm6jfhFnfOul8NVK/2Rc8Xxit0iHVZ0XW2FJM+ybXoNrUp2aoSKsv90bi1t351ibROZnnSIe6cytLaP58RQTnKvdJcRlmtyfDvMB74VFZi3oR4GcQwiuA1U0BDUmvvHn1+jEFyU+id43fzABHRRMCuaM9hkTQyAaTWr/rRswgNtBk+jCn6wu99BLWdP/lpqcotLLQsU+N/e9G1NOktgsBgKNvUKbBEp31Yi9DHadNPJjUl99tYc3WnApg/rH2/Vmjl+hNwp7/FFi+ENEL5lVQL3hwGaIaTi6SHGXXiqteC/GgqAD0B4+VoC8Nq9Bb+UPojwPX2sW6PW9OsbGHlRqTOyeTbU9tCJWnhO0qYF6EEEVHZ4mszelr1N09n7y7+S/SscGGXy2UPNi8omShFHearYG10Jy7lfgPmgmxtueGH5XIHdvIf2xV8iuyNZmyZ/IUFwO4PtceTaB29IC/+I21CUS5ruURKb2O4LCuRdItAblhEmH+acXwB1y/YUvWxZHb3Zxw60CaYXJnyZrqV5OMhcOQA6JultJ4yEG7LLy7oi/lTG3/iHmDKc0xYDgZZ3HU90oqG0eFYlhrhsh94txTCdTlb1xh7aXEQo4gyokLDuyVO00eopRnRyDidN9QiX3+nq681KwoKjdRAkZPC21vbzdwjhVxnyQ7QA89wjTdowNIYd5tkF6mm84zgKSCMW5r6jsBkt2kN/3nHAaV/6EP0s+OvPnCe8MaagvVs9rpP02lQ8EH7U7JG8ySuNTCtv9rtpHlBpdosa8AvlBct6vlYv55HBlvs0aXjhU6Wy13Has7SjLzpU1aw6aY9FpTENMsdWfQGPsn7jhgzLcXAy40sgXd9htVln1Z/3t+nEC6sSI4BrOLWLWhTDoVsebxqPaw3hi+UibcCSFEqXC5sGjirMo2+sn61jddUtjhN2RD8p1NHWUdK9eTo3vqxfhi3nE147YIUAVC9jkMCQ0dJ2wyNixrX21wc0+gSxT0VyFityM7P0zGe0R1eTgLuMP4KXCyKIc1hYjBo18gZYxV5V/FmmCMpYYw4oo/x+SX7QMVqvbHBEZ9G7dJq+Lyi5N6TuS19ZzpPOp7UiSy6N0TwI1hcMUEWkJTdRy8jadZUzTArQUarhNHaEBQhGOE56FJoTMYcAgJ1UtVevj394Jj8JHTc/VdcmBYdUk2fe3Jaup6NjaRuQ0NUms2pjLQSVqfzVAuT0ye9aNr9qfujbVcv5lk2HirDaaDrJGVGibt26zy0ZdmB2zipzBR7Dt6ngXLcA8SFWBVzhsGHzF6v2+pf1By4dp6FPnEbzMCkveNllVSPuCko1Ea8MlIz3SdgbSQvY8ployK10Mib0DItAkVqHOBTV2i2mKbg/8JsDesttye47PQa9npwEgCUBpLpRSxhjjkHgCvftO7xFjqOIp25PUj0nO5ij0gAJFy8ovL5m6r9rFRtXPegMkMahVhHwB6cK9QPNbt7d41qcSYFuMGLBzz3UiwS16PJ1hIQoiIyPOwgUL885b9IpaCS0hwkGsIe6YA2AG5MleDU1fX6fx6RzzxkbCviijR1YoLY8cMg12pYMy3zZcCN67PZQnfED+k31E7QQsaSC8RU+m7XYMAi7NVoJJKWnuPoLdnPWFdzDwaqNKt1Kh0Yy68igm2taFHutiNIxzvNqJIEbA9o5JBUGy9zLxBpOVidFe/sTrj1hdfDlIaKVe3OsYVKMGlWu2fJB/U3rS469hwNHDh64aUeUlh9l/xXm6tUv9Cs4ySuSfpyjdxBt+e5gFmL40JHumjfbfauFssFo2/r40bCiGDRRRC5kEFhnW+dnCuUtehbsMafml9ao7I8BzUwyZcaF96qT0EyWKk4+bG3nBajUf+LZytFFG2fDSzXYvXVjmr2j4HBgp0ifWrjYsgfmXhzWfe/RchTQ/9CFB4wsyuV6uruIsYQ8aaJ90rIkiPFAJ9LesatSdAswt3PdLPDKzo4kD0SHmLZiTYIfRGBNPmFKI6iHKuQKuYQy/oFW+FfmZ89XEV33WfgfAPjnKKRZjmSQ5TY+wMmHkILH+WArRwg2kgRijLYY/pGeTtqKVt5C8vl1UOdLStuGROKAGo7VOkkUYVR3voQg9ifhsyeQfh+KQwDm3TaOegi1JxuNEtNu83YP7xCFK0DFF9UZpRAyB4r8RSWNlB9OBbElJMc5MC9fUX98leaqCxoB7fA9/k1FokyNY4tNtNezUVXhyE3OPTl8sUYTkBGvHl7BhVjRF+67ef9lywrbq3ASZDSxpTp8Po9kBgWtV4eS8R+MVF51Hg23qA3rW4i8/eN7DwxNRqJaav3YsM2lPxkizZpW7k14BncVxAbjuRj4PAGck+vYQ6GvKub3trFbmEkicPBz9yIj/MVIlHFHdjNKcn1dMgQC9R9T/nB9PwL4IYhyx6bQz05k29TZyeaD9G1L/8hw95/Iiugzc7IRT6x7ttWdVT0Nk7InnWgBRigTmuixMhPa+4Iq/jYPFQjcGd7R8MCSZb6ufvNZaObcNLgsVv8dPTcHUI6FPfk6ieCqUhSUmfQMO3n2RKEoqzZ3bdBDqHuLnV4mlEyHFMQJpYfDvKGpPKqHCMrAHyleeEjA/UX6m+R2abf47iKCQi6JNCiJWdCe1Q5wo4wfCHfSW2wbkHkD7Op5sa+ikNA3fRE2dli4KMEsfi9SyiPiekgqHhdkkweRqN29HjWKnPEXzWczPliOeqKHvVViDnD/cMT0oOBrmfiKF4Q0pHzA5w5Ia8nrMKLUDCxI1r++9gbnm61OS4UtffUcroU15VlbxjwH4V6MK9z9piSxWJkipqAI1zdDWMySwWK8MN1cBE8ezV4YqT9TtPnqOrAZPv9b+4O0q1DKUJKl7hZkAXSjrk2PGeqq9vC+Sl3OEaO0fTtlCWIyfQrrRe/obTmy49dz0MrQh8mQAu49CDc0HItjVW80A7bUl7SCJb/kjGjTssyQclF1hlYCMovai0aibP48PjG0usDRTyEAwulzYfeqoYO+p1iGVBWn1q3QV1pBNshksTRi4B8p0tC4TAnobdS3HGI7tPa6DpW+GWRQ1uBodY6324kDbW7fiHdUKrEppCec+/ng25CcrnYKbg1ptmF5GN1ipaXBKfx+YWi055xtPpnmMNWBRkGmzIsqCnNNuODpDmg5AO7Ot+PO8AAPj0wy2GvyzvQ5z3iuVUnEhXVgi9Ot71mSK+82vjm2a6wknIr6Iy2CrT4ha45pjD9wS4XBLn7FJ7QP6pQNfSHzBZAlHC82Xv1JhLc1M6uSzdap7A8O0KpxvJuvjL64c1gwKpnGKfFerYFpmdY2CXcGml49Y3UrG5mjH1wzZWHucPBEAcyb/XLoTVzhAoRsIqBWXKd9soxFRKb/kZVSRuSqUk4iKcl7JObu+Ic9YQ5J147MMsx9u+JZAkCU0v9bP+TbXnioiUeHyXiloGpkPBxXzoD5xsTxIhAWYUVxLLekoMvtDwkPcE703OEUTBUdTIguH9yY5TdCiH7CglEkWZzNx4rCRjEyCYLM099mlm3ZcRPOQHc13sKbZ0sj9InMDUWK1rtJtotykysXV4LmvwbKlzUuAQPE0nj5WwNKDptzAlYZ1Fd2dt8lLAOqPyvGaPcuiOs/fH7WBmRGSYGdQTIcbe22ZIWxSKCs4c+V+AO6FjawP05qPEjiJ2x7d6yCAC6imzkFFYV6eoGDF84csDhiuus/lmWpvoysJ2sLr3XeWwmEVVvBvR6kserXr4Uq7uwCcunAH61+Kr4g1kq5tuX/RQsichkxGWtI/mNj1KvYWXkj05wcxloH41/uZZ31i8Gsw5+ev+B2SwT1Xe44d0hQ+/1tBEKnGSTl9gLaW8TX40o+lblnUPK+UuU6SbEFFpWE0C7UwApnsDShPIvXWjGHm0+2PciSGh3SM8zJFm57sR9AbFqp7Bwejz2Fju9aZMFovqY+ynDzarhQzFyQQCqTgzVY0HFTcJraBE9Tmd1mHErZrnHbNZQtBKQQJp7y4UZBgJQgxMuso96PjI9dFRj0u2B0T1/IivCX39N5UHzCJzfoF7B9fqlDrf5vJFEZYczi8WDSPeGbUk1QbXragOaiWWKZCZ05xG4keurLVnIp/rzvOFwnKaeG2osqEyEblNK+o/gE5Apb78QE4N09uWPrheUjnXtdKgenUhaIdnMpnSGyn4d6wUb8Sm8t4bEVPUps4JvxigdBfP7yKRaiSDOG2DrhpwY4YcRHiIc/Dmt9Ya9abii4jOprjClsstjrkSuoJMsPlt8m8Kt19vFCcUEz4kwbDUaXxIKZmKRzAbiLPsK/lK4/VaIEJ6jMqdtLfLQJhpVj/F2wMuhjr/EpnDTuEtj00JdxtGTv1H4Nz07Ojj8S+0X0TD36RDHcxUkPkvzZAkTcQvaFMWCdtu8X1RzDysvlMBlu7yw+tWyP73nSHuohy/1l7SNlYaPsNk7Dp1XP4RYxLX2KWUWWwQEdXs0J0PcrnL3Fpkt5gZ8nK8a/ZYQesUIIjcADlLBnxHPzrrjE28bFsDrrnvyfuvcRblkgD8r8S5the60Cc3lzb2fYVO6fj+Oyd4zudr8GMq+undwne006AFoGz2vWpSwv8NmEkIWdv+FnD3kF2gsdZqdWJhvCDYQfPBFnyXYWmZvpQNdXoOwomerzoRhTBX2UPgFFHqQKwWaouKj/Ah/fmlgm2Ky0lInJe/3JB10THcUUVY0ICIBNCJVNOQh93gmZBEO800zVtITK5i+SWIEDDT5jSHObFbneXGLtRKhWc4aYz7bv8lCrfb/yEMyShz/5GF/4EOdREJDfANlT1biMAd5Plm0b8Yvk8CGCD1kOUowX0e8vsCBO/ulV4LThlqDSRe7iob5MDqMxb6NhHnwvuClQwj5C1xCG9iOcA1gJ3XnE2mDr2jG2w5IjjFRbLDyAP/7Ar7fuHZlxjHkMop4w80nskuO55uP2MPvvtvHj8Yi98jMgrZgW1twQ26MLQJQD5BxpdAEJf74OBecJ1oaqvV3YpU+qKISl55fc3OZQj7TdL98usGv8eX5aoBUi3i5yJrl7cr8xX+sLaVwjYHxShJpnN3PI8/I5W0byyM5urIdN7Y0xb4zJ+o69cRtr9JIUFa5jABy01Rqny7975u7VkYwArAQU/t2+FPdOIZR1y4AF45fVdaPu2nKmgh7IjmUqE4GC/9KSt99+YPwXZr3jfUw4x4AAs1V38hbSnJr8ch/MC6MQzawFDpfQNQH5+Nd8GVtCXFfgYHahu9wlTrICu173S9FG2T0YQ05rrv2SuxqAjidruNm8JMOrF0/EtMUyqPBCJeLAf0QPSGSccjcJQAti0cpbAlgDOjO/U6tvgqsOocVU7XIBOtYriYTACcZgu+HfNy4z3eYfL++1Hkn6fzm7TTuGc6EYZEbdT3PqEfdYCrqb5w8qdcwH3Ks2xgb3MW8Qyxm0hyS6wVzcO3gWr4Nkc1bFfk6KvL19D1SevT6PUympp47KvF3CYDLx20H6a1z8fSErr8lyQUXk3EmSEJNKZOa8g+ziKlN+HekGX0UEKCJ+IJPho/eWry0cn7zJY8RUfbXAL05spmDkAEYQY9kBSWuL1vmQOpswYZTpS+qzCgdVJoH71n7Vt9RqcUEQAFeAECyOCrAMXWlgI/JQJF9VXZ26s/nwA8Mh6MeghKPf/BkuRULQLef5CNKTBrSgmT5+RRPE7mgf7P4D3b1mzpq6WpwYXPniNiPzrUs5EOVoFCfhw3UZf+Ur5Os1loGvcBA3oug4Y3eDP6lNtIMPanr06FHPYxjQPgHze1bFoXOKVVCDSSDtSpk3elMnSmBH1ndCJ8u8XVcHjjW8Bu+ScYdp5HSpL9VyBXTSdm9AeiKAZvSVrmBBcqjFAnvdQL0KQpoxSPWAveWTHSzph35CbTFVvqNqEdEewcKZuW8daOjet+oqZUUsLsSdps+iGCOe0xx8N9fg4b8yCtX8hePXG9FGQXVZ6pYE/3i9j6Zx9WZ9A1xLK9WjPzkc0duNPA1c6I6GYiU4jKMsdn+gxVgSA7S/Yp93Uq63fRMBMf4Q9gkegiAx1Zxh3+EBtCLu8MX56jJDGZcFv0rhknVvLJqjudf9TOkUMoO7Ms+pAfO5kLf1mzcQDeBH9AZqVrfwIoFX+EPKcLli15vUlUUTrPdnaJJNV5D1MGuWByNV0W+RhTu2d7u1qksN2v90Qd8Qy7wOzAeFHvwYgn1UqVZgUZAKPrsMfNnkbdrkGxYDtvTO2JvfndyHpqIPNsj4C2PJgoyw4WYcS/BAMksgj2qkw7fQ8+IKJB6VtDrKCFEfyyVU8BMexJDtFNxhRu2yB2QR63TUfdj+4BhrJAG05hg6V58C0ekxYB3Yx0F3LQW9qSttMB+7qGbHEUeEC5f64dzjE8mX5HGps3BEPw36Feazlt5txvSI1oyBKxzyPdmz6RrMsLY0fLa+2u9bOfprh4f6uxYcf5SpgLz4HjGfD/M6NT7gD58TVhq/szln+YKM/wOREquH26ebxFyhQljFclDBhVe4CZVlLW+zgvIJHhZArOK3LVG+gIKKCyPOKdOrYez7S9eVFWeFSIEgz6+cCa0Q4qQyNwU8LHowe1rOmXZFOz14ZvpIVzCRR8/5Fqx5pR/br0Vf3cPuJhgJhGuX7YEZBE+fTbfdQ77Yig3dq6V9ZntWyXPFAt/EyHDLphBcrvt8xzLa96sIOoJ6Hp6FiCC2JX23YQp8AWvO6HloGeEW5z400GCxz3mCcQ2CPwxIg5XzDFsV63VLbc7J3UTpGEHaSKqFASxDNHvMlgWRpNUATFbkAZgTlMKeJXgGXMgwT39KKhyPa5QDB+C0A8ow/HjzzQ4YLrkU0FWZOB6RTfTHy62Ctlh6gDbMXuKjII+Q6zKH0XnLwOQXue5TfWGVTChYZgfG/AU85SieKMNXRvmI64xoMfkIge4fuA0t+e7hwsfzzXJK7M89i83QFSL5fkdvTMMuedfvQB5on/WZ/+YnT/rd+qoO0PH9TUWpLUqw8GVE+X0jLAeINoB1m+QoRNC1OY58SAsqgUq+1v8Qvap+5Ho3vc3E5yEjChvZKSZetoibxIypftksmAcQc8XfeaFHQo2oaoZpx6NbEc/fbsvAweyqabUk5OcTPA2cA6EpFNWnTAEbTQibPmEsMFKRy/jg1BnXG4CgQr4Rx++ITGhGztOrkeGzTPobl5jm8OirAa7lQM6X3qS3PuztXqkOeLJnB1ty0TaOPPQzs0QRUa/YN2xbLAq3BWi8X+9rp/Xn7/fnmQUGB88ybEnF/xNtxD3RbAUv0Sf5aJhecgYw9ABm0esJaU+rgkg6UBqJIP+dE6qcv/4N6uuWIB5d7jDUTjlKLsl9gqorWXDdRjlmNtUkl49X6/JcYKI/SzsMPHf2Pwhuc9nPNfMFVnh+RDoMtvCxP8H/xycp23a4dPn++1wmA/X9v6CCRr48ym5sFiNAO8AbUW2ru4IowmBsPUuaHwx5gi4vuu4FZm3NrVYh+ugu87ejvFye/MBGnGxlSovEmSGnGP4sE1NCSsChUlxZXA68nFXS87nbulFFdIrnLf5nf+05faQHOwM+w7nS9pMchbTJKKASwUNC/78vBuytuSQ075e24OYtdCFiwT+b5l9+I47m7htGPdZM2GLq872q2wiTC2hwmZpKMCNJefgG9KaAd23kEZocooOPmy0UvrkaJEzIV67fp7ghrPJGGKCjGaivcaM/SA+gLN1VPTsFC/E+ihAfGPjb8mhgmaRS96AaYQ/kAUlky7JJkiLbqyIBy3QUMIzdsbC7gvlFVeFG4D5B4pVEgIKGYzL7JdnyrjzbB4oP73l7z5AQcr076Nsp0zDrY16buxIHHTWK5piRl73BHzwTmej48jgRel8BLWj7fs223y2RcP3bvj0QCZo0P6bVsxwlzTmvwwNnvKnf4+jN8UwtzvgOkwjltJVRkHlsjeTxq9jlOJ/TB65kHsdq2SGO83BKTAOd/oMh4sbEf6ZxAoKHgBuveEb+NEQVt44XS6ItNrD7JFewvdP06Ar3A3FU4TMOFczyR3fKCibBeb6CNx7lnHcoxGvE9jvPSN6eh8JRUCaz/oNyQl+8ahyLgyO1oXkPS3SExCSdjOhyTjsXFnVCa3JNFu4NnxJiJXCix6vS4yLJ4zZYxVkr+jQQmUXQBeKrtLHk2gpMQgkryLOii565FQzJv9mGGsqR6GelN+uZhzczcglGP1Nvc+uxoI4ZLwOmDtCiy7e0r54Pe6plp6YyZjATNmhX/v7xBC8k2kXTvatsIpqV0aTYCHDBrMokBm7TG+KIwS1DmzzoWdnlsL8NZR9QIN5UnnWKrHqPmNDWEvjwgv4V75yxfAQ0IMFLnl4Q5cggFYXTlDcsF6BhBE6ScfiTQAH4gnqbl4idd7LA+cNyCphEanpNjdSYN3Ntrjb0qdddfW3I6frxOpjhv0HO3Gs1zYVu5nw0ReoQD/qpXEO6ytJ8+XrjsdjgXxuWSilRhTmDRkmDzDWFEfi9uyEIuUAmaHpOJ7jnH+dlbdONvzRUZI13JFDhmGsFzwsKbXKYfmTZr+92PdjY3AC/lSZ6Iifbz6koLQi/ha6S/ht18VOqWPVN33uRPrnBwnJLAiLzG6gy+sT7fbGERS0SQzAx4Rl2TM/3wl0SEtkQWYtpNhs9Lzrk8wrGxh8GpdDcVJ+CC+/QRPQzSs2v87smXLUiFv+wXERY8grggmt9nBXPab3kPDisEwcs+Nra7GtBjDCMcIGYNYN8dOUcYZWq6Ak0sjRcEj0eLdyu2tS/Fzg5tqSn33H/s6WmVpq1HElRzN0EeOhbd9kke/QF3cj4CaHgYOgQQi/Cc+/Md4KIXUvamNG6yuJDy4HukXEOsbbEz9vdrh85SZmSrHY7J6sLPrLg4fRixTPZYxsnqO7LOBHjGG4So62l+E7zkDEyNcOG6EBS3GlhQx5pR7ezqQDItcS0wbvI0Zwkeo9EZboWG6CBRxYHy6feO/qORY2EPyIKrq3N2qQhQaMsccOZvqHMjj9WFkhjMz3cEW2gp3ntMxIJCGA9TF/dEEPly/2TfTVvzioGUZM0xVAKWIXp5YLGhtkmmbj2+nG5hi8a8vuV6Sdbbuw6rctku4DzviV3O1Mo60oy+iqlsyrrTsE5NgfQId8MVdFqznazbsNICCSY2Kt+b3lIOTY2MMuY4fOOSlZZ/rSB7mcMytRYdC/0Of/nIfUCV51cMIDEs4mVBXfFKuGXG6ZjcfECgdnNQu5TYdOVc2Ip6rUsm1riSqg9075mTKqQLO3xN+GpDsxZoDcpQRHftXDSymx1ynVEai5+1y1G7eKLzV0HSBn8DKGBr14Viu30xnpu6Qfw4omxVfmeS/2/mvcpOBQUCH7oNlYTZhPYTEHpBqW4UhGceE8Utu3FFLJ2z2iMlA82ywHOlvAeY8/MoLgMOqE96QLLpPUJqxo4I0GqK8Oy7/D5mg6zXb1W8PB/2LW4I0ya+xLdPokktdMY9F5pkaBEHHpmwYvK0wi5FUQLbUUj+jkAdIa2xve3wnJRbtt20PzgjF60YdEl5KV249V9TrSKkT23eFfXibk9P90IJZYcIQ/lfFzglhPH8+49po5fViruUEZ9LT76J66j1A9IqJ5VMXvTu39Hd55Af5YJPzGBfmeEZBN2bBn8j41BZeQLHTkJZiMYtbPX12rqqCcbnCFap0RvmRlb4tWJKTFW/vfPm/K1KIt42viTPwgZKJmSg9RzV8d/GUkOnrW5tzjlOapxwBmsFYuqstjUq8i+HNfrWPqs2tKRcjB5sWSoX9bI/iHRdOgRmZqkPuHQGbWdaEYdLll4IAw9F5h7W+9+QDymE8OVGcYDIJLwTs3o0veZUM2ZC4l8pYb3H/LFiL70nUujuEo/I+wfVHeThCqcQdqJfmXSeEumlE9KRM3JeqC5r2Ps/fFZCkRXkV1tkZ4SS5GfcAJdygL8SkHHs/GhrSFrYYf0/9UU1/UR+kVKEL1uc+fBuQvxKHidm9n/MgpKzFffuv7UXlEmtZklUN+MlAgRjWordqt9EsDBUhTHSkQBuGblrQyka8FvfB6WaIqPJ2GuMMtZ5nErEgSv1xNH4uImP2ZeP4kzqa84RUnIAiAc3dm8vQ9uPVNzufXSGb0vMUrskYhSh6LY92TdEGL3I77rD7nq+mMDC84Dv2iI+DQ54CvPQRlTR+7IAQ1xaSjNqeoDcHq78QWWdYXoA6uzdacvGPDRVHC1Pk6byrcFhG2bpWOpU1GxfM3MQq3rGUj9/b3J3OuyP7zh6VYuPTvMkh7Yeu+DWys0hpzyg5NCoCAf/ppUSi8WJJssXGMANIUwMxyGflHLq7eUSjtR+0Y2xlaAynmdiOslJAkhdOeLDgePGqVhIM0Bj4/4aw0k3Vd4LdZtZ4ZOeaWaGgDpYnd4MhdKGW0scO6NsKblzP41GzwfC5gxEULkqyGarBivaIQlMIYaGQySxfRf9qamZ1ycAgeZqaLmE9TwDXjkKHkRVGfvvPPfd+Mxj+DkyCnoz6yCR90RErgVgnS/avaowaPf8/YTu+vLZtH/lLqVssXJXfWVzXMbMil/IYE0Kg2p3LGecUB2XWYyLdfgYlbtWrJyofKQgVIj+Bj+1IigJhRAo89kzrtjEhLM5y9PvKjOeIJef71VcaWY9jprj4biQ5AwOU+ldvoNGYGNnj2g1PNuQ/aLlcgyxNIG4fuaPyP0LXJPMM3InFCG8gKpbUMArzrQn++zxKvnES6QaFAU4D24w4nrRMohAXciBwpoVh5IOv1/ho/Ny3hRI19ttfJhZVnqOXTShalBkGZivLcySlKXDZlZq/2EeXBecdt3MoAOwljZudSTWh0IxPRhWB1NyS1RT2226YufnP1FqY2ZUAYvyfNsjhNm+ztNRNtuIoLGUMVGox7DRww7xZ+blsK1vn9Re7Ej4qK9h0FpQJvV5gm57MbXT7vbEniNq6KkfB86HsXmn1DKmwl9Uls/zim4uKxAzOB6nddx96QBMiit2F7PLiwLxxrH47Tkn/BlOJgvzXbdKobYnaIYNxYqt5yQoL1LBCJADptd8vG83GPcMsSHsKmo8zCivHvM4T8jUqk+z+tD49dC8ZHjZ6vv6mrjS06Am4+qnIbHkFjBCUk5F7cAZTkR/1POitHuWElm8kHkpi2AeIHOnFIQJ3TPiDjfMaoy92uJvbbIWg9ow+BOJXyBLJyuHgz9u9c7jq/YZx+Q0q9tcyH1MEsYtteA10ro8ZFuMuCobXe5ACxSo36XG2n8f/3hXAj3RB9OhOdxNINAPXfE53W4D0e/hLFsF0d1GxqVXYVuS/fUaJ7DTdz2aLd978L6+n3/9D8qEXEsWpTDg8S9s9eLuvDYUqD+vsDVMuSnoUGE5tcD9fTq+egV5H5AqoXbTWHmR+gAIbpwGj4uPvBrhtHD02Ij1aEEhG3qgp9SUtssiNo15So0UuvWL+LCpxByoaba8MN6phsN1lTwHios36cqGDjFxagJ85kANDUGM11zUFo52/OTJZeHEkgyFaqz+NtnMRk/VXSxA38j4mSzqOZktBcLqTAcumEpnYs2YJwjwOKNbLEUjtyME2mNBszKsIkkID7eIHtPksAr1Zdoa7bbDowFqDuijRqGpWqcvnV9elx2osQqChP3+iwHW82cdUVmSLY5Qx0xcibp1ktZ88xvoB6cUN3aPZNLergvtU5W+shs0vWL+nZ/1gK3tuHJjOez2/WzUf02MjSxIpOt/zul1Y3SAnCanDE3IvJLtssOrrwEd+Y5b+cefIcoey8hOy8KzbfLwGDk78OcKiVBmmC3AFBBIaIT0zzF2GTtefUNvjEY4plu6qv3ZpojFX5qDw+PxdnsSet5HRZmnfMznMXGUQAEskav8TjzNqF46moisbsTEZWKIQHbm5kxFnPIJ8FgERUCD9/TkPgqPEXhPBAMHhBMHDx/X2PFSoMBuqZyFioQr/YtJjcKmM9XUCWQBx/0NCfIsTwtGNYCMBemdTmvCsR+GHWj8W87Cj9OgSyEZkgcL//0aaJ9+ncEKqh9CzJzg3og5yXDAwxrteKJAq5/CZ8NG3M+HswgupySNOFrfVqJDApABzu+MMLiYNp8hTu558y+fN0t68VJbxw15PgKwY8xvuLhVtziLuYDowTH32dyBgtLdvx9+QBjst1+/3TsAKOTIiMX9dyTrrgRwJPma5uDC/HVpUroE22sDOdwcFnMtbjs7ptLw71v2bMkRiQJjDhtob1fqZPoT2NW+ajqiiSDZB93aMTZulcAF824ehTwhP1I05zshmiJD5CjzKzahA6DpIKQGjLRvCktrmEngWxFJmY/1TxB9oWZLpeVBxFugBxxr2i7Wef4sbweuyNN18L3c1hVuuzM2nDiDVcBiM/y/TbpkvUN7N1nzazdKiXLG1RvgmX53R4Mm5YKQlroOEA3u4vC1BB2uRwTjk+8LXwsk0l9uG12H3iEisIEv2B0SIH+VjGVWvq4fz8Nn6Sxp+LX1vL56muObPuDjNp13hSSVxZmGuTpybnHMS9nDLesgZL44vR2XSGI7wQagSZLLbxpsKtRDe3bcseP9LbaBnjPMFa/04d3UTwQ5MYc/6Vc91Chl+iAwZNM5zkl+JGYplR/mxivN1yNIL9aUZYactCbyHh8t+x8LxpTYkOafvbV6G0OEbu304ReOzv53nKvTqhs1k8xOjotIYT3HmdNwuQ8Yn9uwe+LtWyk0d1Ca2l3wy/qYFN+LclcsByvc4rPDHRhISPPEkSz91QWPrEuiRoc0EvTu44ms0NoLKDmZiltqCt/A2ioizWJiueTgC8SlSta5IpIduAIqGr+pnkGjncg1oak2aBd4UGfvKxpzljggI01KhG75CFk09xclm27onOJHVUxwbnxlZ/W/sPc/hNHhE/dpcvfdqBol1rtYPyhaXiQ8y803/exxtJ7BqxXoq3cX7J6COt+bJmnRGdPu5T0Df3UD0niJaXKeCV0BZf6FN+gdHXpfESorw6n5hZMq9bO13DVOnciuYHMDw0HUABwZzXjWcpSc7Xy2yXflTSx43eYa3rYBKHPwyQV54vD8KC1u4HiWkFRm9mjY6cj83j+jQJQ2hoArwz/pIDuhneyymEFcYASuK3KsJUGRy/SpkdEVzTi4itXFbWoIMWCxXaHvp1aj/8AhZhWSO4O/48Ra0Wm6Q7VQYhC/p9zvyRkr6Czi2dvUDO6wA8yLn0vI+dhwqAnB5TNgO8YghMhYbwLp5PnuPSWhe6giRhrOL2shqfBmfExCB27xIMjYfT0cw5FFLczZHqhakioeRIt173/bo3LNMKUix2F43QSWD1dNflQp9et3TS+hUEuCNoq197sfsd5Q6df7xDaNm7I4VEoqO4vIEOJ4NeZHrSOY8EiLBdDpLKJ1KKiw801UOjG/XAld992eST43xXZh8idkra6gHrgvGeZuMuXouEFmJuqxYqqLX2xwv+mhJ+NYN9qhKAtHal2ojLdrqiSxEY4IUtfoQvz3mv+u9UFkFsgnfDyc3oA+4ZYsKvV7ipbfkazNbnRWZFRJ1fAHy3/Nk7JOuu35QhudB+lZ4JNdsc3z/SzUIVBnQ4cE5LNfh0DmsUdno6jSCT5IrnngN51duZoAHsEK2AVgFdcJ8qDU8ucAmCkFEf8tTekkaeVfvJr4xP4r//0mWgVlLNqI6V7BKTILcfH24juX+npI/G1ed5TKu+1ftQAKeRBydS+E4GP26yC7pNUlK1sBdJBEyfxz3MGiSuagbvf8+++JrcC3tkQiSKYBu31R3pws+AO59Np1UX/z5n9Xh6P9mnz7HmzCP+HtvaAlnWiyPUdG5EbG9V+SFms+a1LiRw30HCV6FcNI1Lt0lEm4Th1103dhNYyamVhPR8Z7UAUBOywpQup/D2BNRoL6iuROHdr3tbn2w9ee1TEfXZklzlhP9x+kwWJPIpTgLnFRL8mSF1Jk65fQMuc2lH/T5HR49v+aIMg+AdD7YJW9HBipq9qRo84Msv+2dt8Cy4srvy55juI82NHUYnYShrhVAY4FjJ2LhLJEDb8tAhdZSW/avKLnfuV/afwXbjSs/7KCE2doSu9OK6B58EEYN/lXUNycGkLRGYTzU0yS01BdOIfjWYbgvG3YlfJt5oIE0M56ow68IaRmScGXCpq7SoiS++a0R0TxfNdZ3mFisGrEmEuHfv+MkRg1ydeKH1IZK6FfZS9zlDhSR9IfXEYIrALIsz8G2TXnAuzt9NE0DycIOwHb/j9Io/5gtkKyv1ZJeMGGIRB7BL2M0odWqnBNyHqWSmKbSNETDEnM2MI/XodBPuAeUEMPbf6iueYrUTq9w11etgOOp7tqa/bKv8OPzNp8Xw7kyKdaEQ0ca5+MV84YQPcyGcTDv/1YOZTT/DQczEDU0k/bHlLs4y64CbRPzUxv86eu6xOsMKAm7TUJndZoXyhr63mot1LniGouXDhIf7h7B455QsG6h67fj7MIAJSuaYkOEtFDNIuhw1tqdM0Zmskx7VSrHmIoKfpD6D/YoC50MrnedtmiphbBMV+jqiNRzBioIjevV45iNidtwhRRY2DXy4zndqTwOUy/izyByUEJbO21z0WZTFLLw79xI/PgD3YdOWeB09CuTm2Ab32IPcdPWYwgKgzavGPMkaiFmjbVo17zA3gjGS8dD/QkiacsaaCjNmbfA/5VEykEeyVDZIgX66BeYInHCyKrFdlf9zh4S3xqk5O71f9Z5ZwCh0T11G8SM+cypSlC/HWIX6MwvoaV93Y3zzqIU5eBr/d/nVmAXbSNSC6nGbjCCAkfYuA1qa69ktkwIb9g/It2DBd5MORJ7cTtXWYX+GtH4kS6ii+cXul/7SJAkMCQNS3aUSWvQ7JzNwVWrQrMG47ot6oOOW9YVt91ia2JMta4LSLt5o42waVW+yG5p2HlzW4z/VDJ3OG9jfyD0gydsAPvrA+gc0yS3lEAfhibol9aCHfPg9rPi96sbosLt8l/kOyxXDVKjnyLlQteMSjf/wrUsPZcl37NCESgAOf2Z4q9wBOAJMFRAFPxkHXNtQjYs95oAQzF+HX/lDIUmqe0JHMWG1Cf+psfYqx7X/mKFF4XO41C892Kug6avcupQmQv3f/dtkoiKQ1GqgGgnBBcTqsOcgWexTnd9jXKtF6h5l7yaNB+SpzXCGx2fn57qQJjusfPF85nCwoNHBLAxHvSGG9+pjLx8qmfYvNB/hXFnyDNah5VDlgulDpyDWu8csNY5yXLFdEohs0aFqZR/i0zctxlSNuYRuoJ/1WcKcfPAkgqCbzFYaRvwsZaSIElS+h7aZQB4V6XJEcvp1XGCtrS00tt/jKlSG1UQuyfnNLTInoa9bEiQHqVXtaG0whwN10rFOrW5SxIy1WETyHt6371hLnsT+KYAs2IACsrkXIylFqN3jQseA9gU6vwhEXdv0V2gzG9BxzfUSpa4Gp3Qhd8I3ZVsJBqN6V9waR4Vn62gQgDRCAHInv81LGLaUlQmLjHbpAILSh8syLbLKQUm+xmpYs213IKt5oXcEMdZE8cMoYI9lzbOnZvptFdqwloS5cDq9KJ9VBZx8HAAeiUq72brXynYrKzrU7kHTkbqEKqZG2vxr05bV35DhOVaIsYCozt+vGembt8xFth/0JrYGI8gBIO4N3t+r6lcdnlHvzWB6wou2DRrwzDZAixVDpoTelX2w8wZDtdoo3zzjwMCi1WQpREWg+EhberdfABb4AT5GQqRgcrc16Ok+DzznBTa2XHjgnRFBctvlNC9hA0/UliCUZX/fj6sv5AUCyg4VVjW7PytbPD3aTwjTaWCfHC7d53JZale/2I5eusCkIna7gKEBIJb6x0uU00b7enTZZmDC/Mq4cLsf5J0IInTYuJO2TshdZcpI1ACynak4IGdSa0urbkFs15QKVN5aWMo1PPh7f+sEgKz7XErP/1tAG54l8xU/cRquehvtbj0U6fK0Fhz0Yv+8LhNaAMQfNL+fonGRI2kSKWllkiABujaECSmV+TPe8YJQ1s/4Y/EC0CDhg1UQIsT9nLSJ3fM177f+5zOpmpm26pHbTOkOt/GPgGRbnoHkavBN4wYJm/X6ZnBwkP3W7KCf711r4+rgaAvNup4jvMwA6qQy5QEFvyUIXwE3YJr5DVkEf30W+nwdz7F9/spVTwCp2raZjeAHaXT6/LF1x8LKKdLAn7zd7iTgLlCk8DhdHAm8ITXy0QRMaF1vkz+WOWyoGm0NJMpEWDvdvu3HSzkj57H68rHhQ8dpBqAAzWRPKHLt5wRqJ+HrKNxY+r4GK0bBEbsSfHFqMJCY81o3vwokk+1mzcm2HamQZHfocYj2T/EF6e/A65LcZNSgWE7Y/fSS9QAEUJTTySl3ZkFPvRMISiuPDLtEmNk33QKF7u8LKddI7vKhS52j1zn9AlP3kU1d86srKTNpUEBprOD/bF0gKpKyGa1DkYQes1iaUXo8YSN/51V2vqkGSoYzuCkVUUXTTnGrMZXRVq/ofWeBWlIwQMrSXiS95V1Uvxi8lkXSkZKdJhBAIzmx/5DzSYp2yZzyLQnvT+gSWz3CrMS0NL4ypxXg6aB7/be9mId8m/EdGzySn2fDRGJbI8LAyKOsW8QwUW8YK0WbY94lvuq4hFcWWuVKm8fsR14DAQXS2XBtWosbw0rHNWNcoHtQJaWo/hrGtHEuHqmSkRrE+JSiHBWYFhFVk5cj/WVibWlTYycZnBbmUuTUOayQo3HjsibT0/ZKRRXodoeHP9fHPu+/XzPXcXcmLuNhDsAx03IcU2x1DtQHGzbIVeWLjKQgWYeKSkswNQOopzdNPSc9S3hKegoU4ZP+rfsjN0ewdpBNhHBvshksUo+DhmsaWo0C5hm/AX0rTGP/tl4Abilnek672qgrijYKOhB1a+5SivJgu1GlQ9GSAIOc0IbZuvcHQ2zopaxfdp0otlJFP53zdkRenZXQWsVijqXmn3x52vBzxCZAwkV6/11firyJ2aaN0PnTqREev+WG3mW4GF6naaED120SKVWXQgvqRYuY0wHks6dL0aOEExJb1+YtVPwIIW7jgpDfwZ6ojFw8OR5kVRV6k8ff9BVKdpfX0yxZHqaZkC4NLndBumMESa2rS5HviV+8uDmm9SUjTxzGUfbRJSVL4+CmDNg1YPUQq1ZmQL8vRihU3PTXKIf7apjsqwrjcNnjAdMhT4Fx/Kx0DklLB5FxrAb+AwpM/SA6vlDhTsppPTEYIrgRzJYSV5W3LK5cttyBfJufu4k5Uu4rTZpESkJ9MXN65EOrphKZYmY8AYWo0EmD92smKS5R5t2O2a20jOhkGwGM20hMLo3HCISRKsz8yxpFUX2V3la4HkRlZde/Jt2D7UY6V1dYVz2O5LVREZh+FZT+KWExk1PVxnFKha+c15Ifj1oHg2SA8tmNbM2hHxK+ITCj44IZOafeM5aI2rJdPlL7IJ+hVNYuLhnwvjAjpweoa7qG6F0GejUu2xcMbiZyhf+N0//99RZBhHRjMpyyR3UApY4SJ/3TavIJjnZ4EHoOh2sR+bcF5xhGy9/aQW8+YIzUKD5DGEQgodJNflq0weAg9UJ/6rANKdPvU9saebbfC8DKP4zaDpMDPGLGTPXIAdjoRuyIRuWQDvVX0NVlJMklVqpWbcuUAU0N4WG4yua2VVah9wYjyuOhHZMWhH0D1A3ryi6L/6Gg0i8uD5Yjjf4/EIKvAs2Ab07OBJeXRkAMdWZf2wFbQjoMrvjYnVF8eZpZm39lX+fWWQYsyZ7qhzUUmaFscaB89Ks4MOAJjyn949PpWgdp2YAZyOrrwDkzcw8necGezqZFpJIBq1wIaRLGEUxYVmdgHQkwqEBFA1CJaBAgDYkF1sJur/KWQDtxbCbVVJ00E6IWRx1nuErVZpBmqLUYOFw3ZlYiA3zcRnQCSwaRzL5+KPnUya2U/3+F5WXD4LoRHUCYBBBGZmwIVLpgdjy+VwkmYJVGroIgZuRP6NlX5+iKqqgtO2LHiO1pt+y9eAj+UBWQPHVESwix0JA9shwrlAwjO+4B5JsN+0t7y8dSKeHNZj0Dx7Q4epfwHKNF3KmmQJCw7MOkt537QyPcNzpJ16xyz4lB3e4A4lAaBaCaxSR9kvD2AJ2QSgiSxKBsdwH5w5ayRYFpY7YsrZro7THmmGoc15OUpF5eOc3cuRxYNDQK0R5f+94fzTH5VhsIunEScA9E2NaUQ2Plxpv6JhNyYrweMEA8c/Pl14k8TelLsmuasE/D+jyOVJk/mAoCvI3ovNyO4K6xfVQM3rN1wKGKTQul/Q9Z7YW4bAto3o7Dune5Qiy24xViMuQ9Mbrn+IaVtCBAfMgZOE85pkANhLPnuhLV8js1HG0lk+BrBSlzElnIfCTYtT9Qz4seySHFWzWIouy7efGgzcnpZ0EIHeGL2bIdQ6VDDmkrZzFm+1Gg0Y2AuDXk9h3kbrmYWpMV4ZMLoTdK+RLLoCLLR4rauroGyoqc6WeWKEu/qAbRQK1iMSyktko5ZeIyrPKhyXTW8u2BVPszcUv+u0OlDlY3qDFohIjdxjCN5OMsZ8rHpNIEcn/eOcKogkQsIim3Aw112T5bEigkQO92i5epjPuxkovE3oa8fIaVXBPbu/fJ1rkKTJLC2SwXHLweqm/zprVK5rT5+gnzdwRVjU4J6rgp5FdmmQCYFU0uvloSE+YTHNg7annI8E8T6MW9XgV8qQTgnlmKi98256WyHzfL9utx6V8jfVlh1JLlpWFLo7bzJ/lwZsA4J3ZLwvqzni55BEhlWQtS4HggMXCqkpfeogscWuzV3FGu3MhGYBDHCbqjpuh6b8ub00uscGtiNZX9D1fIdsfqX1v6u6nQc7XSctT5a8aUfMAY5k7zG8/ba0jK7qODsmV8uyWfbBYwzqI//TLB9KiGuJPqq/Hf8e+PtuE9W1k6InZ/SfrWD3Lj5jcgrIw9qC3b8goA2ci+7GEgvtWJRcM7wu0dQ5mpezYTrkiFkvUtbhKAOG4MjdNpcoTLp608994RRJGPHsq+kN/ujWGirtMwhtdjIsaahFBszYTEGb+xsljGr7pnE9TQvMhSvVmXMs+dN7oTs4zq4639E4A7eSSNttCQC4As5TZRuBDvns4+S2xLh+8CRHhyB+77QxcKs0oZyVF9svfQoCFM2ew/PjYU/1gG+TrGRiL2NJpWtOc6ufPlc8Ca2EVxtboFpUWmdNSpersubwdjaB3luQoIdhsBN1H84/ZMu3flmukq/+jCDm5a44NEX3YrKziCnel40pEcVO5NUbhRiXnurgeNxQJrTcAyQ/SY3H4hQrbALzA4wUYkaB6d1qYc6NIejFwQ7t/lWzwgaHPbdtgZC33wLoMTNryIeReoOzl2jv3soYC/HQf0xA1DiRbev4Qmo4IXODyscVE8JlZpqA+ijU326cVQLBTgnYUxvc5gf/sL3KKCbmfOjL9E5gn54r4nA0I3MGHdwdVmjmPpPkws+XIxQq3I/Zo/9qNk8DyudsXfG9lybISmlk7R00xN9r6F91+VlyzoeyOaogyh+C0t1C9bNOdV1X+/zpC75a7k0ZX8mUMVDRibIPv7vIWEMw6GShJ3Q5bwthHksJuXkAMUVDYov80YIHY+oB/5qSuDrW2k1/NRqVbvi6d8fpBdnjb4Mzf+15qi/4mjGodfeY0XU8q2VZuTiFcyalu3tUn4jfPrMPrkkk/2CFjObrp5cfQaQfN/FlURIDkaYtO9y9l7UFa3XdRb1GaMDig9OIvyhkAcV1MUlHHlNp1aiGySZoZfYwh8sqrC1FghPVAyRTyoOSF5dq3Dz7xLb2VJgeYapLNoFTEx/YWltye7gn9lOJOIbw9x4+kD2zcjpQrY7jaTUYhLnkP0a+Rm+wDu8jcEqUZbYn1lsBN0kmJp+Vmo8f/eSO7qou2VCe1Yh0wOn5O7T4hRwqmNRsMdv31Qi3gscDpHRczfkYMJKA8JHXFpNlTlstDD4j+qJJXES1S4MgGmujC0VvOL3e96xW1LdXncj6swGepSXP3nxlu5zMY8xrQfItPc6KWFMCIIrzvxNluJmqBLe8XTY79OIXKMAMSWNOsytECHhBGTAv+hLJayJq/EYNwm0RfXtxb+dkD3hiZt8ZU6H/4WiTjyWH5ZeXvtxwdYfqu8hUET/wbEsOT8XZ5cF5o+aDGtEUFnKg+zl7SL7TjQ+RApiuLlM+x2TNPylpvXiBv4neRSFNWMZxS+SpYfwmvBClzX3uADvYKF0U2oWPMGawKXruVK6Q5l3eK8ydEqnnJ1vjEg6KebmvJZGDwTcKu/pKwNeYDM1uMehRQsLOgGrgSh/JkRcUKWA7/tevxyPEaMB2bCArXLu5s8WPUtTYWeCZ9VBAk5Qb1WFg9/bbkYI2TXiWi8KhDzKve0yL5zCZKVLr8tMBfYBqO5K/JIiAzu3Oi+gKvMG0lXaAgJU50KnCpaF5s2GHYsjyTaL91/hsxesLppR0n/7uharWqrlry39uRfL7BgNbaD1x1lbaxU2bFo4jHFUDGjOu2bgt+hmiAi5uOhzNKi4hd5I1gMjqt2Agj4SNBR2yCtJ9IPVfCmZESvoFCVTG9skpNmfQtyvaUQfQyP5iFsdefOVM5HdDddaUaqPc0pXZ30hPLCzIqSuPhFzH+WaOtgeoGoPchWScNzXQLKeIwmCi9J9Bj223PZBQAPJegPSG1QwrMIhm6M/tOSmdiHUHB4vmCxVfagjn5wGGvLCSs/HNOuZNrZEZjIonK6Pa53UV1ly6Z691i9bzFji9YDYtVEdHZBDfuvDrYrYw7Fr6JzbBKrGtXW2py2QIhIMMZgMrpUQ3L9FgXqKjdIYfmfrtFtGglfHg//ib6FSCtsbCSNt91hubjwHzHeb9m5a3g0UWNRJ6YkrmSok7kMkbWsC1eNHZBxpHlyhAVTmBj1Ldex/whxVnaHD8W53gJKio3Kr9S6x61bdsotL9LnD0SMVTasYNSh4WQgYc9Jg2+ounb25csqqIZvomPJqy2U2qClzaVQ0bzcv6alGooukbAILfGRRzAri0TsZf4kGeCIsKXnJ9bTwpKrBlwy3iKBLqntgnO+d7XryA8E7y94xpt4EPSxiNWsZlHRL9pRG/jgm183oTj9SlQ2VlCOfebApzI3JwIksnC/l2fQVHBedoYmB3CeQAvoWvCpUWnct2NTnUjzuEC+8PYs/iA5vbkFy8bmmwB6U/+/gGNMovDP8l5K8AKAWUvvOzOtN/L5j5Di+Zh/56E7xrsvfoEo7VU3RXhtMSWucdiHd9x0m7V4MhvzNSzDo96Jpk8TU1n0UPGhAE2xBNDHbu+njygnb6ruKR8yFoLtvHGLmfYeGiTrUA72COAOJRBthoJreluarzy4NFGPgfKH5cHwxlFfwkc09O53+F37K8sn3hsckiNSRkMWosEFAgulk9JRW3Y5I0xz/7//EklBBQ9nuILgbWAvw9iQjYoWuicgTtguK2yw7aDWYGpQAEuUuBGUgReG2grbbcFN7psiOxC57arq0STZMcBrUuLUSySKpjXxKLIP4mVNr3q5dCvmyOZJ1hgGmXMYYF1+AtTyxPh3N8YxCILH0KBe3viSrhpjNXapwF2DP4tYQy33x73RQcYhsXLXWNRpSI/K2HefH+7Y8KVJwFaEIkXdCyfQ2twXlQ8LZy5zCSzKNdMl1rPcdaeLT/a1XGX8jRjtfo3dwPaxTjzr5AGYnht8prfbn+1aNKdUAUR2+RcGRbBXsM5sLaTylhrrjwlzBtd625SA2tmR6KgdUM6jfMxXsbvDP1R3jCZNnt4tteSo3MFEqpNwzip4QKmelVpc7T82e9GjlYYmMnhAX3xNoJh0ed4flhgZTBirkwpQVQ1VDlv8LN/UYH8jcj3sBbBac9AwvMf0BdtrkgGoa7q7B+0O+/ojdE18yFhUJ2MBdl3FyOPLT6MEgj2Rm0mZdwuI7qSeou/DgppxI0aWl9bfx2ZV7YVgms2/XLpIeme+wXj8SbThUIK6W2Kvn0BCP3s1qvJYH2+YmGdMb5BBC6Ww14k00aivBO1u7FrYL8dSSyXtiv0o4GhzMwbMWJ4Dq/R8K4A82se+tlAaJh/INxY2CiJskvt9i+ngGfW1OjdAy0BHHlWxHjqqyIk9bUyN3zUMO4KC+Xm8WHeWzKZyMB0tBMHa4qbEXDKQ9TAQAj3cnHmvVoB+eeWgNHHUfseGnJUv7Ld0sCbVK4rXEw5pjS4kKVJIC1cGzM6FbcM2eIL8Ba+t8SzuQOHjkpksGLOMOGSams/PLqxepMMkPe8e8QuoCStS9b8TyKfi8DKl7ga8WQE7/RZmdpUFzne5j8xb7BkJUzMuvssBJoNEnGi5UhDFKWWot0rbDs0CtsxDeqb1QZEZhfgpf3EuffM1B0AVnUb4o1POATtti1FAdXSZUSbQFZXdDGz/aY3vXdMzz65JCWs1RuMvc6gobdVAWwKq0Ub1uCjOO7lw340pPX0p61bwEVB3mMqhYLi5jV8/cTSsiKYa9GBt/fA09j4j8dcYW2faOsBLMwF1MaDPFV6AISP77HRU0seK8iZCcuWzv8CtodDUkOYc3zvTH4otu42yIT6Yx2tdSUC9AfMBtBQXm6YndGQopLhhc6qeF7I42nyeGHcEPzRn+gexDwng1b3sYTDcWOe83qYuWtiC8JjlTyBzaTpe1HoJThsgMbZuay041ZFVngvBD3sDym+2epz43+e5RFG79+u+ysIUMtz1Djiq2SnFq8hPxbXCM95UxZLz8NLQOtf4Rr7FDj9yEzy9XB7Hs7iQ5M6U4hw7V5uKUwW7QOVPlYep5WjiGYh8SN6ud1FR1DilgPDZZTWFHhJW54usHX1jm6C1I55sUq5S3l1ImlS7p8p1IlxC0pdyhLkd8OHCBXyN+QrKAViwA5PBSn4bdA33obCylkUd508CxrI9gnBULWvk3WRrwbhC14F42t25JiavyzEDxz/KyrRTMTdDfEvE2SQOdNuLllIgIsEMMSXBu3fIKXW2MJCvBOWY7x5bzeAGkUpmvxYJqpaZtHDbbpCV/k8/02fI/vRzZyDCBNWmwH247l0Xc7HVAy1oLKVQIyMYHcdLuqvDjJMn+h+63JW0kHV+ODZnbq27GrV16IpKUvoqa/tXAr/2C13EEb86jTM4Mft76MpQRfIpCIEXJ1A1iQQSbWP79St7ArANoXV1VXhPOck40Skx+9WZv323PjKDhwXOhKRqrrc0qkXu2s42CQBYRQuBJXmE+PBP8hlFxbeg10Pc0YBJjqcjNuY0wc0IOEXkwUYELZCdgpo9tbOIatJ/DTO+w1lAadCXM2A2NxJYfRx4m5rqkS+PitFKhWcFD1tgMa/L3c8JojFaRHWQYqze6L2Y0Xxl/ie+OL/t4DHvQ1jZIHH1E3ksUMhvxjMHmy5jIwUnx3SRlFGNwp56mDKb3Plh4woUBs3bQpB98aPnpSdLerBkXYtWbC3u/S/Xk8gS2ZQXsNL1M0AX2GxGtpLs2EH+vtjnG6Z3QoYSoS8jU7zNyGEtvNy9oEz+1qM1QfYOMAiVrwMmysTN6rURbPHkGgpZ3oDxQ8T6VHEZmP9Wi0qlSHn1RBXuzZ/Jgs1tcrVijbUl9DIB2+8PGFjZTylAWsZIX2TKBpFqxMKxOCyfj9HzxABQEM/zqkHGvYTE0QYzFhHbBgQcozm9VyUTBh8Dc3i7ceX59Pg9zpwGfZgO7cOrc3KY3nN+yDTx+dVhRSsMWqERxZOaoGmYw6rR09pwoJAyjRjqSFSEuCbXcT4nxT97+JXz5Yb1crx+iRKECoycsIRKVWZRtqIsdBGdLdUur70wvnhLsQXi7BPRL3n2AJUe+6EJJMAc60Snfz23Lx4izIUrr/tx6rlypRXCdJ6BLMM7K8dkjV0FqMxueSm1gDD1izIa0uS9vRU1j2TGdPHCvrPzWddDu143CUTa5MPLLS8RJAQjFqrezvSCkSg06GAJbDlxwc2NAsDv+nnHuovCzOnt00G1pyLgwDrA49tnW3HvOob5ilARckXoQ9xqvX5iw3aVpM8bssrm8ApxrUgUKnD/bEYoMooqRwE3tSuFTPW2PDqTYfv5m3thBkFs5mOGuHW9/NFy84uTRJ0FNoMuPsad9xn692z2KviychMUiLQ55C0luhHyZQ0ZNhQEJoD5SP8u7G5CgDhnKHtulMmolLPPDIqIl69q2SHF6WU5KBcheft9AfgT0BOJHqHfr9MAubEk/Je/rOmcy12sz4s4Pt4F1XvsRJlTT89g1S8qkBETyj58SmrhceZ835/lW+E2eBe2aqhNLQD5czuXEE+GwpcIm8/aZjU5DXdk79bmdM75HgcU7ylTfo09V9VCSxZlsq9ZfgyuCR09Kk+d4phFztAVuqrTTy7vyQQPAN0fiy8BmikP03cI5HEQEpjJtxeImW6ODVw5WBZTbgjeki0h26C5whz4B/kOb3aODjvJLIH9FyybHQB8tx1u/akd8+UfElJEywUcVQLesXgRFIovsKGL12YYwhDYdNMSsOFftjxpaoFBjOnvjRpHnYGC4wmoo+JT7ZDXhEAsRe3K+ROFI4PUoYZ4i3agJBvr6ycEUOr/bHGLHZGwF9cYmSpQco302D+IvgUtNKdJvd7YW/6B4LCq5pDePcST8bG5mnQlWe/CRIEwkUcUpj4KBybkj+o8V3DdE2UW5ZUQ46KFNE7r58KBN01t18mSK1svNjfks5ZYKeWZFGkM3g81FT/LriZxUWINEgBB4qRwUlWSV+JjHvOiJv/ofMd0nlPmcisxPxpWVzGybmN9kGO/QUn59KHamC32xq4q9hh0W4wrLLSm19Qe8wMxbKu71IE4QRxovhuxHz2aM5eBECjs9UjvenkNDMwDphiMuvOBWCoSU6B+obkvqwmrm9xSWPnwzd0BvM4h/2XLpfaw6P3F/I9EBpJiR8IWdRsFD2v4VhjW3OjgI/2keaArk9OZdMkLxva9UT/FbZvsL4JH0dJM8zyoJeD552Cej8Xtw3IOao+6IKQDtv5v0rC//lndjEsxSo0NA/7al+Lf0YbMs5fgDivrOHt8VkjMutowy8onmnGujYZJffnmosvIp3rE5Nl2mc/6ORLI0LOeNhL3Z4wSa5yjtpOhbA90+naerUcAc8wFfrTjZHKLRxzSrVLbu9BJz5Z1oCOSXiJGsKbuwV5N+3GhXh9z5DCGT7fAmB6Z4EfLb2z1SsfHKFTPpoTmcRq6zYuVIDrMseN+t6xS5b0VXq5SkDZ31eb8/cPGk91D7uUL8VKEIynnzzN6s7GiDu4i9tuF9g6iYpfCtiCDKX25PfqNWKn4cjt5pDv0QskNWtct2xygQbmVAagBKnUyLW01w8yWUr7Bin1p7dWxc0OKK48caadF6AssvSXT6YBRqoeYPfQ6fBEcwBfKt0mRswL/wz+gaQvaLiAOodKHEjfKZZRI9y8wlP/6eyCspkymGE0l8sZQBlWMHAgG4oU8ZTNucb3KMbLoy2nH+HMYXO+/0YJj22DnPMkMgUaugQXwLCweWq2Kv0jloNa1iG+JCA91BOjHPM3uYKInp1Mpas6oox6lsHyk/PsyDHfjQbK9lqzNhWZe6oWw3oYy25JEVzpYgvpA1dvo9U/SuM1lSLc/eIXl/nBvbJFIzcUBvqj5Q2nBDR+aXdobxz7eByBWdOJqfMKUypj9V4WuB5MJBj6P1bDvCWEB3kNK4GG7S2Dz6xqMG32rJy38pxKpW8DoQm9SEmOAuY97XvRBtAZ8ENGvaL8SNA+2fOWIEBRp+pL9g1ZF5OFMzDpKpRIQfpiy0yiLRKPEFeLc1vXcaeHqEcSxCitSDLYWuqQgU7tbxewdsJ1ruEX6DfcMrGJkiyJmW63CoYI2jJ+O5AxBjxkYqZq848fpFUDrMLMXqFV1Yjl5RW90RdhdevMVcVpWHK1znTv6yQRX5L9XTNt6HLqo2+TsyDRIz1mj8AebdQKh3znHhKAt4qRpS1AA/y4soOLobQiDTxNeKxVTUFq40IyIyQf1stxNIKpX7StYg/tnAlXVfDgJTJZyCpPxxXQm3VVx7VDykMr0caNXHU1oNdV5GpPcPcI+U+K2wMTo+SMg8r9h+RyaHICeEIw4Mj94p5b6/15tLtUypm3rllqNR6s7yOrtMx5/DLDnKDDO/YzCoRZ54dKGZL2g2hW+f+YLdgJP06GCYowYP7wkT4TUJfF8+oqPXXO6lntq4juSNdHmiE0QzOMNkwAOPa3F3Foi/akf9CM3QkUS95wa+keQWhLBtDANPiU/gdcNzdf76/2NRUIQjspOYR8IN3o2tFsaWSxLs8ac1Ji8SSXZhdAxyEyngJfBYGNQK3PHIhvkmkCS+700sxPkOL27Zk45LxKMCSvwHx3tAh10Sv599VX7XvF3D40v02vqGAAf2H7OL949lIO/v7aHspAMBR1BnyE/6BMVYe2TzlE6ISgvateIHOQH2csASU2RQQcWxJQgGy+WzhgqgIgw5pIvVgoTRorJWbpfTIIwK5uvNcfGJ+NgrQdRSFgH8iUct0AveYlj9qwOz5XZTLFWVk86VUwO+FEaA4YFA4Hrs+LqmM6O32ZP3mMzFrQDtvdXkUnAnUxHntAREX7VxDwWE1tGfi/M6jKZ41ecf/rIdaOdEPq4pajY6sLVXR+LgKLuQxjYq7rsViVmjfvyQbzFIwF4QsFBRDSmwyUvtpj6a79P3gySDJx0tYyiO9SJM9MsHkGtWy9i1/sTgjHTywKepjN8qNVqHyWcnrUseJ5xxRj5YDjnMvbRY+XzJZsfXfsLfSolJv+ZxMJGnxH8xfIXV2J8XDRr0IW1r/qcqR5cVsJM7dxW5/FCcDBx6cvxE3f3CXmb9Caw4AQSGnnNtZmKF0vY8anDtuoeqc3J6bw4Q7U/fpeGEwgXHplgwSRsydHHQAbjCy5xuW87adP8rsX39T95utKj4X3ry3veRUeQj31If5XQU2y9RqhdOUC8PXFt63Y950FLFHn8GvDU2YwFNiR+/YHHMGLP6XdhPFd6+VR1aKQP8TwaEorGew96mmVnTI+a8nN9qB1eTD8dQf5Y2mQBZbMzLtJu7komDUVrfDCgTH1dAs2PpqCdcGx2LrcD83iycQbeBdKvclH21cKLCRDN+yFoxbMgrJu3yH8etR/LGLoA/S6HRf1nH+10mDfJH8fWa8goZ91cV8LDHRYhxEPEBQdLdnsLgKS84teOvT9KC9MIPYdPHqwGPxmBRSOBEStywgngyva24XmISAhWfPjvVxeJzPQVMsQmgJor/jQS5owWcNYhtXwVF5vgcvF0NCLciZFtzQjx4j0Ei+UP5SqJYeAWbHClJ5UZVkWeOKXJxLCsGUxHGUwUT+J71L7QmXGu+E6yfs4IN877EKpCrwjWPyhsMLcpo5WqIwHaWKMR/4tqaKpH5NHEiJE9sPmNVpxKQnENWyu5WAmqTQ2UguL2PRmoxZw0IXQfKGONq/jbuf9NrbblDsAzX62ZBP1vWIli+UnY2B22CkR+PYeOt0vtNUAQrgR3LHQGnAU4NbM8OafNiSRgs1Tjqc5YwNYgFjV3HZVX6Y54Vgp08N+7bzWZ4AK+PlB655qj/wmPxtGg5ydFbBwDXu6RJZLnQrtJlMYqTryBzQb24msa0z7FaNJXK7e9FHbfwz4/s1/usytS6FZzTFdkQSO78tTwPwmdB7YZ8IUYuUHF/5HlTxWf14TNUXLIJE6cdNwvmufF0VhUSyENiHTfQG57DOaX3uOKM6DGmmQ5hiSmPaYKEs+JCDJdYr/3d9mqLOpw8zZGyzSHlkYzDEJLldXg+fEJ+YDKMzk9ff74eYvDWvrNDaJ4gMRB5n9/XiSbnSW+cz0U/Ry1OR0ZsYp+xayhPPAQ8/a+AyOuBTRr5lf7KFvRySUH3QbzRjtOObytwAxZA8/QmMd610db2OFs3aoHeb8q1/9M87+jNhyvi58NYhmfexxMb/vMmVUZWj+ANszRESd02O5F9odhcEvhYFiTS7tf0Lh4gFKIT6mBq3jihSKnw807Af4keX4WmvYuCWpGGmsMPR26oTKqeWqnebutrkNU3kBzbzpIdkvn4gZ4LuuoAJuvbgV8tj8+y5iP469ymUOhAzw2Q3xwSpuW5SIi0l7YDepar1peDEZ7PFpdcDsTRRKGqmQ1NvjxIoq7gBYMcVwAy/ofO5YXUfmZBPfWYOjsyCP4kU6fcrJA3XlwpYabc59oId0WDnuhESPI6oydg5H1Qk4HHxKqWc+F3XeqyfiWzMvdf8e2S/gLo01pambe4akPxBXWxpziNHcrTixP5yoeobaQMTEp1MalzuzCtjcSC7EcESG9xktdurn7fUjyE4ZtPraEmwVefkAx2FbA+Fb3s3ZYB1MwekiuTcehhO7soUCW9vtNTbXn6wpZRTVmH4nYgtaF0QWjMc8L8xA3D6ccdYR3zN/NAEmcACIcq177633xj78Ci3+MWVYisxS+wjYmh0cpAfgUlhIu6Y7AqQAc75jKEk4V9X/HHCC20JjHXIGIHs4xihOlJia0dLnDz4pnG/ZEyaSPY7q5RuA485j+QaKD+QBCaD7E/xDbrXbhWO46TZAJn38ENZ6zqM92DcH+zFaQ06rNb2bxufxMhigrHeaPvWnH9YlCm73TYjIzNcaV5xkldQG/rkL+BZTB6bKIoRdPkHFZG29pcLY639fuMuAc4lKxmNJgkO3xSUpZvX/XmCxcR6wVpFUnAgqPA7rDvuQHmllH7zAr+YFq4b6jsAoEIsPWYBy8Wb18sCjjPoz7JW/959ZTda5bDna19VRKQgCycIfFwqVaOyHc8Fk8HAiE9IUaNpLin9QAbG5sjtizIP90inrPvG35BzjO+dtQBRMB/f3EmgbMnF5zsWmcwqTWEJhjSy1UbIOapgi2iCh3giD+/jhbmEJtB7W/9v4lBHBcswHApDhceH3u6sNc84kXd4znLs/OqUbCTs7dh1NQe2fPOk8iTOb/PBHZqMAi7+3mXod25r9on4rQZ3PPzyoRmQyepwAdhp49SOla5h3gfEe/4SyMOgH02BaemNzBDwzOzAxk9Ye7S+A7Pf7Z/BaaXYqSfjXq9sMEXVMIRmsDOgtCJ3DhI4DWM35CS+Qul4OVraSAgx0VqFzRnVa7q+lDjtKu8FpwWYzRazSoDjtjoEBebGFNGHqVTfQdTltci3ZG7hjizo8jqWZimSuNHRm4Dn19J07yakiyi7QSk7u7oSinWkEWs6d7bkU8YNkgUZSKgXToJ6+mA4Blvre5Js0tjQc1DMV9u5lMV4kYjVTfuX7YzLgYJ4JQEM2yHUwZBLWOcQOG6vShM4M/MMbmRberQcIbOdfLi9uN1UoDpRruZ/xoJbnyFBAoOfNMfe3uN2sQC1gCt/5QzzN2jZDQJFjaLHG7ZkT4A+NaT+vqldBJkg6lMa+ICR0T9KiRwwsi5HLHnn0I0yaO6YzykrEb7nUQKKyU4rzZtZZeZMnGiL7UNxu/pKea+sNgU3i8mQmz3mjSuENIXmPl8EOQij6Phk3cPgws4x72k4v2CzHbDlc/1vrzHz8HGvGJR76YLWTLGxKR5dQ0G9X52kZRpzpDOLSmKgbVwFpDTK9YFkBsJ0gW/gB1A+E/J7FAYXqk82/hWDzYMyz9PXlNIw7AuRbFdatGef9a7q3da9/65qhUQkhq/AB2UaCVf428kwg7bnug1jTo/MBWM2fiwInp0BKohP7yA0V2Yr3JyVTr6LCyMDlrYdhVIGKSDSg+/TC6c5ZDQjYAtbZ9XwUvzjYEGEWWoHjv7UGP0VdqOT23MMfKbqeQm3CP6cdgre/BVXvFcTl/Kkd3Ga7jy9t189F3gIO8apLGDHZAjVZuzi2Q7BLdZMtPMwHqmp+s2x6ioBwGWQFFpUNarWnVzkbZEdFvF6gpO//olhOPPGS97PoKgyLLTVAmn69xI3UPjWFQm+nm7GTO7I3Vb2iDdfJJotRF69N7IuC8uTS9+gB+FtjcvrfqqdFLFTWAIMzSl0tSNFEY26Gwifb8CHi+REqpEaYe2u0cAOyaMHWsDswEgDkqaOWzlDraKAvBv14kkRG6hoS7QhLx4lJzlhCqIHh1G7gI95nPpd7OZmXuLYau4qgwn9J4/7N91ST4k4hFqBEWUVU9PDueFSCSME0DyDIDF51FXFg80sjSJ69F37odugfZ9qu7TibfuIzypiBGuFxJm2D08+E9pPTb8QU5dPQfMk+J8MaZPlCaVjw74Ksrd3fh/Ak5rehu2VuX+yBZnxuRIlZhwVyO+cByNOUsvaJymrMbZNuJhLELnrxVH/voDBOM2AvWSCoxdVCb0aBWW6o0ti/FG9bZZpoibCktqbTFEC6Rod6ppZ+V28Xy6vYFX9zUtvUrlwH6YkeIJxNTIvb5AfL1zemCiE2+8AiRo17FkNnREAr3Jv4fy2KkqoC8RqocbM3K2M/JGfHNmUS1Y9wSGECDbSe2RdWVdyaqSokME9aXpaxmNVIh09uooW77UyL/AaJnT/Jr5Qpn/AR8VgDsusnYc45Dpbv9PQrTOQDUvooJ3ukExW+yKc16XeyfPoooRGeiTyVFCWjom0t6XFX5fzw8Sp9Osyymfl+Cp+1RNV5N6LIzHlSrU5XLzKu3GpYnD98g9DnFqhqDMGvsjfSzjnFbK5AyYnpl8yIS20upVvlCL52sCt+Y/JE1WFATi0moMARBfoNasbR0Hi17Duw5OGzUYmcrYyBai5qFdLmwTm5q/VwPPPk2DCo4sZQvIHp09JhFD3izG2hG8SkVEJDW/H56HyhpFq96tDV26uPfi0OObxlXGJ5gOQkR6LcT9ZCInrvF7bY26TNCtGJtCVNZdpmq3aQWO5c1h4N31iHqnu6Kp1zKvDFriEXVvOzrtbPXv8uwfGMGwr5Q3Yjd6BFKsLZjNVIt0cbugbogfb1ss6UsnE71Vq59xmyCbpbn0npOmd9D//q8p4o+LZJqMPVpBrdjbf9wzRxD875Pqkd3TpaOqI3mRXDAl5nn8sUL6HlOVlSi6dD0DRhDt3X43UnD3qEshtuWvGgiUPUe6ylri7sIZA9Iuce1YYaIVUGKMOFOcEuWSUiRplezshRH6Jj+kE58XZz6Ja2nuV9aEytPVwVPPo8r1MarGX56fyJpbD2fmjAs4wNTGy56kHKyZ9Alem000euYPq+HsqfNYFTnt0K9+givFK61z8cV8T1YJg+tAekFN99QORq3es1Sh+aNm7N3lRdI7EOcOSB4PlDOipguLXa9/6FbCD66RoHGM4SUbZoRPRMEz3BeNyIU8AEepG/nxuTRlH3kRB6tlCsGtU/oQwGOcAhbOkJJeaJiRN5v9QBg64+0mJmcL1lpCahiz30FPNFEUzpBkwqPzTF5wit25xOwP82M5gwOcr8ySY8wW9oMWNgdgjeHYb+yBYEUQK8EA6w7o/+z4LEkmkI+/ia73in1OOfzWCCi0g6bvOD3d1dLTUP9IATsNAhn5WEOWybXpaWrT2PUYxfyhbJbqlLNN0+o5gvlVUE0S4UHc9BIJUEHFFMSs60MeEdzJJEcqspSeZ8c1Gfv1DXO5+CzoiW002FK1ztYQmJv4gbfjMyG8OmQhjMxFcF4kNTBzTbZ1M69P/mBbDQ0NEVUTfP8mVHr7m74s/L0Q+eKmCmGQM0Hg8/fZHL+eE+oUw2b0OIlxy+xF8fwvfDb6bHakzNH64sLq+Wblj7XwZ2MooaSkgwWme0ja/ZR2vk/0FTU9zpje3ElUpPM9io9bXSi0YcgStOoYRGoZ9iUZmNZWIrdgsDrMtU7YynEWb1lBoTwZsefMwNeIpCjT7XgGDmmFT4nLWaNr7QfRUkbvsFrxxje+OZChCKSC64uTu51gEN26po3oy4oTHQejJfmIWvQSpXttQn4twMzd4NF3AEOepjJZWOQXeclP5wqUH+zqc6KvaCxZrP6JTtBN27MwHiivVTJ1K7vLXw1rDE/DWRA7dZRnQ1XUG/WkaAFBv75nhmUIZrbONEVRNTDmBiAMiFLcIsGYWW7mtoiNL1ggLgDts//a4vACw2ZiaIZR83b2y7AT+cl9qfmVeBNUQxEqui3SHcuIcty1IaHMRoF7g0bhRkYbEY18GgQmlJnCXTBICjGz+nkqc/b9Ya0nwjl4wj5RN0o2ADlFxD2djYcjzphHhIG8f7swUrJNbvLMbdDlyjxY+SlrEATUIpO4F7JaDsHB9fgMpNL6ZZkWe+zMdovNM+Jm4ZAc3Frn1qp954M/rIz7PQzwHNFYOZDt2S8wZ35rUEkwZ8/s2KgJMk+G6tYa6v87e+v2lDvo4O05+uVPudD5sD5h0fLByaXcJ+4u2CW8SP65dPOeHY/T3adn6rkMFeTbzKeWSVYGi6s7ov656X6iDxhDxgO1VnCzR1YgkR64DXW20pkZFSJF3cF+2ozWWsPtDaRC+1JUNNhNtHKTvJV2zAGiSZWyj6EuwUBQIQyDla77klWwrJ61eff4VygQ4mKMfoDvMe6dsncQS3xvQU6meeBOhdcQ36BOSqWr8qII32w6kIMKeafJzVzUNXLVtuyJzj4jmL1x3VLGf6X6GEl7I7Rk83VZcMMhZqVUxLGXPHEOjK7/Ifr/K996Inc0kM3SgPc/69XDum8eNL9stOBE1jQj7I5EX6AQQ3VTpCxI2iDfaQKTdnAVurbaeadM/WXE6YGTTkemSkZSEZj9pH/bKU0dC+BwZpLWr5nbIA2W/FQM3MXuC0iKFmR/kg/c3xfB4Xp513b0p+rlfqHstkGawCCpBdYF9VY3qzzfCMt95L0Zbt7n1ptyMsQzkcJauN31MMrZwMXzYKdgqKO74++eMIFiIQnZcg70efBVKhnJstoELmKN9u+wFWfkLwOEnpcjSqIRHCrT/kb5AY1gCMaY/H8E51asHI8Gf7WbK8qqhkJUhqNCkAsacDqAZ1IBMtsGIN6yPPisHpsieZgSCtxfXCpWF/LxyaXiPmxf2FHVz18heITYffPtVFbwp9WqCbycTqslrn/lo7FF9ghY3cYj+pND+euX0Sq4P5yX0se5blSO+VqpuNGLwevJqiqcvtAzoqukDOdX1AVTOzqS2qzFbzi46QWCoVdZ84tLr5olnRK7ozBwiCTfjliXV2mDEpFDbkni92V3iG+p5yj6yRg4ck1LeFnz2XKuXHQiJ5t5LjMgdKHEXdRo2gWgwa7X4S34+FlN5RyfPAWFY66oAXcOGEVZW89DzxbUxq/AimjjyQPEaHHoi9Nv1REUy4+ux9yL13ZHoDsuI7xzvs7XrDzzXmjX0s7Y5OJ/665uTegIIXoBJBhBE13Ed66M5NqiQ3VYyQmvHX+iG1SfbBSTeaovBlIWkUcKn3B/pggCYE9k7Dz5GjGNWHvBnKpSCCEARXm/nd8a/WSBHFSVcZrHT3LdXNHIoAjezKbvvURdG28ZZu4np0wxj5UWZh8O576WkOKUSj5cAeM/TPpbDaaYjVM3NgA4FbZ9UlUXPAyOpkcwlPkXti3HIypalDApAoER3koAaQfDT/Oq3OwpMzOsX8aqoBGdQaz1bz1ECJp/6EvStNSOvYYuTGST6vDxeq+JhoefTLwNFxEN1Th/hvQyfH6OBJAGM8oAtbPuUgU89Me7ERtN+uJn9YsyfT0YE2NHxsVoFUEJaRzwoGxVM6EATnhkP7yOL37pLfV15Fb69iZfycuxPnVoo5xZUm9X6w7YI7UgQxTqs90XMBnV4U6gGGpcgkzhgs5yL/T8D0CacePRvjuIuuGSr2Z0jOKykU1qtKhW1rp21LmnUIDDWRd+dCsYJxTx39WOqw51shUkruDTFyLyQIo8tVS6WKFAurSVaEVyiILRthUO7joXukpYSXSvy+6ZeZ8SypIDqFyiQzFH7NDgM3UTYdJTM15LafsFOx9Vu0Vmgj2iSHgmE7jnBKbhCSQ+V990t8/5OMZpPvbkjTr4iiJtfdAVfFkFspPFTX2VbozIuO62AzBnVrGM9rkfm5YxedCiHDs/xmTT0fwyjliq1yvKBcxjIpPC9gNgUF9uLFfysLKQS93Teh9ytAolOtXhgp2xJhOw7g0HcW+QnwnCCYLyYu5fDQYw3hmy9EIeamMQsFOFxbTOY5dxzFnB1bU7vOSQkBYFIiX+1rvpg4vaqa4gUzumAAXmqCmSSrqd7WJjPGgkkecGvbrhlHTyCEYxtTDfJAPO+E+DLfuiJcax/HY6/mV3DgTJhmmmwYhK2CaDYq1QtAAok9CBDYSIwXB/8eV/ulwcLhJUCKn/3yVH+Sc3sAXS+bqh6ieV/vtjw8K/I5fONflF4IGmDj+jo1rwUMo7aXbxjS/0WJpa4ekBjAgviuOpDIuJHA+9/9hezzQzwe6Ui/EEKIQgfcp7wMIieWe1jPh/p5HpnUb+4SvjIXXqjsuiY9Ra8i8xoo1sOpJqTlBP1Q55t+Mz4UfXTGHSy+Ol19+8MAtwNrN14MIwu+B0Im8WGqiFwv2jIN94hXWhyP6zugWf37PBAtuojC0nHptpsHV//SvhkYwRbrOJlPRCUFz9JvhNigkbJtgBTW1/7gf47x7KMQjrwv+p+BJ166mj3KiXcNg81tyFY6l1FiJFGYZOda50WHwS9z8Wr3XpYc+UmH8q7oa5WGkkTbdeInFuqYYu8qobNPjK3cTBZHrbUWldkIDFTrm+Sjm/CVHRLxP2X/ZD6TpAzkYegkiefwMUKqKlvmdL87UiUlw0OisDlyxQsWdi6gY2IiccEsBJhs6K6ht3l5p0u/HFTfn4z3kIGVIouE6Qj2FRTJCaOgQ52Mau+3qNnhSNho3n4PSsnTMLBFYpHJFTM8mnb26i2CCbSaWe0qxMxITA7oFDPS/bboLsAnoZFWNyNzclJB7gyfkTJqgQd70VRh1tmYop6ySIBU17/+7bkxmZvdWJr+hyH8I8SPdDgc2/uJt9DEDspBK+eRGROb81TwDqjdkFV6Qhfd4CbZCFLiZilgqILZq/ataTQRtFi7zOsTBodPQ+WiwJ/wdFU2Wq37yHkogXFAl400C1pRdks/xJGBQq4eF1BuliRV2T39Qql6wBQk3eAbTxg4KFWJFSVG+mx/0Jo27evb7f+CC4bbdvKGu4MLJd1rcwNZmvuNcUF4D/Egarow1SwUQml+3P9V5vO1L9moD3bZNQAxH9uV7rDls4IehoIxWa13ZDarhQp9bfH6YH46RqA6G30lv/rMKFLpWYw0O5Jql+3ktUxs1PKQp6Ysa30eAe9Mld+aJ/ovY9hc5TWAc2gmK4RQftorB9/yaTYTRjT1EtqTU0zdGf3ggBrQvk0Udn17UAhbX7laQv7AEcm5lH4ZvxJvE7/sKNxGJpVzfe8aQcvh460ASu/f8THJbBrLo4vni0FJk/PPZfNQ1+Mi4RLbqwx1ryzjWGisJOvrgxl5eJHtHSqAJINQnGq2onhPmdN8q2aOOgzTdFhD55eAFNX8C7Dg9lzuUeWCINfpQlBozhKgZAEOuN26ZPnCZblnd8t8Mhgxvz6aB0srQAXug7t0VZOvF5BZQsPSo1/d6SMiK3bgazfzZDkDNgIcq6Nlst5A4JwdwreMvSYe64RgB8Axi38oilc67tUYtX7CKhi6riXxNXIu5/PAbWPSCNhGfRB4xOxkbCkMBnoJOqf3zyEIskvq5acBotz4jfKwvsIIEIb0XYmQE0dqN1ZCZW1nv/3ur7XyhliYG7OyBcqcfFxoh/lH5tPKBRmtJQ0V8LT5Qw+i1zC/fLRhiYvUW1EhRhYbr+CnYFqDZPp11gWYHFM2CqREuGKDiwTbZoCyxjae/Aks+BYlU7sb0sVq43zHwNhq12gSlg+uvkqw4PbtjWr+CSQHL6ZmUFS+hADluT+IjaB7zQYG71HpOrfKOgB2JILvoToqmrTV3lwWLXyaUj6B2FwYxh+sdRKydGLFYSg44gXmJLyO9ZzYSXtHRmlxdttLubXjULWzTAsqRLF9qyPmTBkxhXl/ybNNGn/riWeU4Me8jW/3SVk1cXLS3khzpKDV3snUDlxsNPl2dXKlQsY4B/VeND7Q4EcZ7BavKJoP92u2wt+EjoJAO58Hc3v3g4bhgKVMVHsjvU1iacT2lfpeKu+QZvvtbVDfkdixKJd5vnUolXn4rVdhkmg4uCqupEjRBVHlvz/H23BiSxFK+k8st3gYPLeMObjvPeVmf4sHwfxQxKxKEBAoLG0jbjJ6xYv8ruyD8QRxXg24FzOxi1wcMu0N1KTfxdY584cbXtBFPFbGUq4Io6ndnb9NngeTWxX5AbY8zz0vfonRWKiNthSft6OBdKcYpu+QtjyBFMIZfcrfUazONtv9jCoSd3ccOFdknFFH9RmXsHh7voWgbBpIdleXbcjp4HaKLXhq07dWKnvW409lH2junjOTtdR6pUDCQAZSrPZEcsGUiu6L3Xg0Ny0R4VwIFJLlRdKDBPqwlnMRt3q3fkG9XdpbnTUdYNOWB3jyr6X/wqNPkpAYHrZ3W69YIKD0uI9Y9ZFchjSefLH1fCYz7Y8TgA9jNIhy9HYt+aWdFJCX7FS8EHuz43hx4xcDtSxGpne7zmxp8bLTDVR7jXqvcBmdusS2eExIK9UJNdlSUpgysj7zwhk9HP6hKUpciBXx16cp3eeClyLhgt6d1rhNt5kzFvuaeqw8O69dMKNvMHQ9sKFkgnCWMKZ0Wrbrio5RgTtWLhxHI4EGwtg+aO49KA9kcO9Xkdv3a0cumivRIxuQsgQ0V89c4u+cKiOGMcTLVqHRag1ETgN1yjp1hDWpXMwNdiHEzOeA4sRyXZwbGhrR6Q6h9TY7ayD5z5WjFicKKFA2dBBz4DWa/ZCIK1rCar3LKPsSFFKCanFnHxr27/A64JhPvyYQPBwnB9KPyFPGyfdN6nKJH4Jso+ZEB5Ml71efmFpIwR0R+DdWqWc4mn3K63gMk0bqDeOWpZp59ywl+8wZtvXyVmGFzD/Qih7Dr3pSqDJ4x9z2ljYgoyEWrWovodIw/eFEuVWvnG2fjOUuw2gtJQMb/EkGJwuiddJkD1o+36RMgT2fgu6kNSsSNpJkbOnxpDG3ZtNB74uebkcQpA10DN7fDebv8l3TSoPmJMRqUwrNvGwyYnywnBBtwYLBYpjJc9u6NIVYntwAh1pSPIrQBLlqweVV8fTrjXbrgeijGceQtSWZ2EZk0yo0k1XMA2Txx+ex1wVzg30BLOPcIAqtEb6zAZcL3LfkXDSQaoB3BnhxzQd0yF2HXVgkmRdc44tryDHxeVK8Z7f4/9N3g4PMy3ebIl9FRS290kCiEx6YzvLN6LENUSfkEpocaS+Dak5CaIIba19csUQa/z4Z52sPodCJdcKmNxknvJNWvaaCMp3QybZFGrBDS6n3lYOwPEM/UsmxyxwkU+VygES2kGCTEPb1H9SMUNZWdA3ZG7JwqqdhbaGl8jU62zF37uXlj58BoZZPWDdMpQyQnxzYmo6Ss7H910tkH9GOkp2l6YqDh0NGWg5hbJqoptHc995D6s1NeVN1QfIGe7Y49kDowqrRghvtb1aYfYrTtRAVHUAKAZ/6zmSPQGIK7IsBEhJjQ/K02232EULCE5n4ZBTab7dFNTHgpdemhO/g5UlYZVqnWQumSsne5yt/v/vAWOnTDRA0dXTxR3h7ZyRyq1sghZcOYxCx9FN8WbZVVjYqKHbuRPSiExck3RQ1fK2YUNEmlRzleUraihZ7ji6bsEiUEzN9g6X/9pEXq27znr4WRHT6m2F4aghFojv5ssVY2emGoLJ0gIxKceQuu9Pdgqxot4Hh281LH6cTefu1U9fHRTw1m8sJs0pYBflwuBnqPnDD+14fPkW1X07m6RPnxE441IaB3FFDcyiVGqgV7soKWsSE+QbCi4rnHiYj4JHTyQF+yFyID+R3bVeZKv5UtF0H1Q2F34DsWHwjFCqmn6OmC+BxjYQ72a01GXOfpIb3/3kcTBdp6t5u53Kaf90wM5PtXRFNWze0c8COVw7qy1UuHpNYq3DHZOB3kpcOuxFBPLdl75Ap82L/wk9IzXC3dGEHMRAeQ/PigFN1UifNeZmmzWlWnE5JRkrFH7GJn1VWfysPknZdAegUqwl8d7sJUA2D4ccyMlLdJrh+CnMH3MAuaz31W/j0rhvFT4J9jU2BTAYzN9vSRz941OJu865GJDn0KXjdqZw8e8S6NGHXbohc4xkJhR/R4EescbfbE0WrkVtVPoDco26fmB4rupvTrMuW/fQCwzI1kVam5KEIDXDGnpZfbgaVzbAELXuFE7FsLU9JzcpjqecXAucV8OsDyr3Zf7VBW6ryyRhuf6RIU8aQ5K18zvTWdwmXV3hdh+XwvQ35X5rI9QH6kv6W1DEG3rS3K0eFkvMphFo8BT938HRwearTj/G2/7OUUb5u3LklYLeq9ziLAv8yPWlgY8CQmegJcQbH29qQrYso1fq6fg9M8xNLELOlQqmT50SLbzwrLDg2lEpzxPJFVglGr/12A3nYdXUh0gggVWz7eZ97nLYGB2qCMn0Exr9b6uX+HQ5+cygvYKIZKhXKBK1JMtgyYuLhscsQWwofoIpHAHIeVgxsYY+L3rJ3Ud+Xu9gLMbNIjXVCNRO4G5rntDyhcKd/Ke37B2Hnc1UX3OtlusADc98DoaUpxrRT/NLRlU93kmVZujsSlNQomATXLQpLBcnsTzCrcChvD/ov/SW9i+3BbEUk+XVmsefOkHb+Yu16/q5J8emkU95ygVVYELk8r7JKnzHrn6zQGCzjnhqKtiyh1zFdEBRVNs3+qrvYmgxS6r2CAWda+wwI1avQ8lOWeIhvWJqL+ab31m8S3IoVYxQgo6L/pdo0qacp/LyTiw/PahCFnjKV5+ssDKIPcU3Xfv2wYgaUJbykVvePc4hJ+7MG0aHuBGlG7QLonzcnBNQyOjvrnh2FSmee1XSNZW2kck+eggOkShUMamPSaYie1b+eC5fZi0VE8L3vk6hDvWOzZFPIDiBMJR6oTTZjW49maM9Z1WN1zYqrcki/8mBeFAPK+uLpGFQBl0IecRbTbwWDaKl5jYLH2WGc9ZbJXEGyXtHTvmQE+WiYbji7L/IqH1whA/PjvRZzdXmci4rHPVE8QegDgNFyQTnK4WzA71D4knTLYIPWundXNwaWkGtdrI6DcrEEdjzHpIT+Cmd6HnqNxs2zj8/q7pTkvn65YrFZSZJMH/5YQX9QkxyzA3gLpj/ugjWPVNNQHNtc6IudJ/9b/GOdMSWDZVb4OCroTD7fFWhs4uJa77Yh1vkpW4j4YmJwvGNGCpEJFocZuP/bljKylh5BaMFhNOD/bNCNeH0RL9WoR8xBbtzWtsPNOpRB3dL0yUFKgfHc8WFEFmt2at7NvCxM/C0+rHkPaXaZR3hKxZa+96iLHE/9EZ/KeMVo/3RIXC2XV/x+GgvpnxT9v1tLeTOOb3yeZ/m9Jbv5IYqV1IiJcnDOyIko3zfaWiLEKI2Jwo8ONXi8Ipnt2NCjZ/i/TrBA45IEosjdPvwcJmCGd9zP1DmGuQ4USwLQKQn5neyiDGchPa8pk1sePi0128ZMMbrGaaqQP6NOw1LRzLOB0hZsT+ACwroulaOMrkCnBze/4KJ7G7WDqeSwIzFsaFPQxb+NSUcyPGtJ/P4Q951CmcQzkweIp/tq+G1/ZGs2a+c5XWxBX/HoW6gmLM3SylgXp6Bfct1qjquhwFi7yI8Pn57z2DZALIZC9R2wuz4iLwsg/dmb5FzkaWu9SsS+tLhmT8BtEBag/EwE5YmjPDGoJDG+FwwjL+ByUBn+UlarN2m30sfxErf20je024+ZOT5usMnmZ/6jCsE9T4sKI4RmmTeJhVGZpgQtB8xSvn7pJ+S3laEEu1/PkZLwRQRNv9+PVYRPwB+ICjJpO7abs9NT7r3F/OU8sG/huA7tV93JF+74o/rDBFTS1vaBLQKdvw9/W/JR38XaRTXHvqYETP6Fe2YrKhfuTrB7+Dz/qsaJvYlLOKKoevnQnIjaRLJ6OuCbDoMnOG5wVEEyCU37IPVXoXSlkSgiWfkTxQAdwMJrVwssvIASv7ug0UBfNeg0E/zP11rs9xVYIa2ry/fIP4PkzWiirmYiNeNGGJ3cubsyAPgWloo+Y7kadoveMn1NiXMLCtdtPRVGBE5oom5kgK2bqNUGwpfagch3L8evq1V+CWkoMDbe5AvbLzaISbV6e1wummw19xW3wIZhr4H4C4LrA4l9f83Ol5p9acD/NuI9HHxcRNbmQXoxaCkkjNmHemu2NtksRrA+yZHy2Ckw1BojRWfMM0MAZg9LQF+UOzeDmZ7f4CALWZ7efmylnAeebRVJYUv0QS7rMoP8omrf9i2ra3q5pPAuq3sQtMEW8qG04N/l6KVr0fuQi6Df1HhLQsu9Jo4SixIKSPA5r9EESHvQHhXbAHDOSt7X9R/63yV6+oMXOl7fbKD/j+SLkwaV16Hc64igpg1NJ2qM/NrrKvTDio0WYjHPiInSs0BrULXI42le+0M44U1D8yxUXjZfWqt5T0Y2guSbIynv6s2G8PQLglfD7H1pg5MTyE2duZjwTxbx3SDilKJ6elIfbQZ9RJcE4kt/ev6ITEGhCSMVvFrh1YVeMciP2yCGzA2OiuGf4TyrPs10lim9UQkDZvdN3zXRvzkc6GrQkEk4DVND4BYOyQ957o//FvQ1kAOL+1Fx2U6Ss7bCeud5kmvdT7K2CRaHK1j3hYHYFXqxfCHN1NCTKkjQsnfcUasjG/qq+z+jsOfvTVbWUFDYuTdhgtjHNYnc31DYuzTxDrQdCm2YCoJMVRvva7TJvhYiE52zXg6vV+/q4gyaYYSvAkuN3/7TjbvImO8Jyyc2aafEMJt5/txfqa4eBryFDIB3Og4TnYrj4nQHggdgD+FCFEVsbIrIStVk32Aw6genW7lpNKSI700/obhsfjyKYVG+YaOJb5O518825nj1T8cETxMPxoZiZLwWeefC3UPoXn84L+4s7TSOTHE06WWa4YN72Bs36kcZyzR4FMExQcKc0cDmziJhljr134jpiR5yA05ZtnZE0P4tq7Ag/khrOPntGCihwKB5qUizAn3FWyrZfoo4l3AJYBVNfd5pMnuC625vDoHoTLIhjBCm4OmNrEJNB4tAvPaluaUvExtKnMrcohZW2ihf2xGLPPFbid/ff6TtvGVjWFKG1UZi8iuM1xu23b5Lj4TEV4vZCDl5zgzgBkrsOZKeHGC7yYQtBFyGRlB8xkHMijF+u5oUR3UGuZsfQ4w3mCD/O4+KtG5DDc6BKRJyp+nYFv9kBDrFlZ+k6qnKzXoUW4t59LplTCEeCYD57j5ZcNOVwbU5GxRnfatwB1H9maygd025hykFMgg6HmG4TjJVxFehlMlJ7rOXltYrnIleSDZhO62AfjB99GNXNtPzXDJZsIUg2fnJfwEQ9OaVtAQAukbXJMJY6vh539zTTiP7lyLVE6kFWCCyU6Vr+QyYKq9I2qRNipC4x4SIq6EOEvI/F9kNp5uXIoGb9AveONQjdkn7wKuYMwCHVx5Mej+dD/NXeiqhrUZKaCBXNaQGp1V6TE7KVAWsFoc2p+6E/BLTUuhxcJmxryRMMwm+dpN0agWrCWDzJGz/CiHfRpYqMNkSjjTknsCbKRFfO+1Wh9zBoH+jIDShZ2oweKIwgbif++CAQof37Adfytbh21Xq5TPLdl8bp0NwDrUIBMQ5yzoJ+ZS2e6/PcmQDGj8IBfI0CCwpTneCiCU2J5FjZOfnamPnKlabEBc4o3wbxehiCAiLEypNGgXffB8/usbgtqVZIjqpbJtNfLVf5M65ZThPvWxWQ3m/kHf3/LWKz6uJ3N6gsOo54kmmduEBZ3hfjglU1k4pJeUzFJIwfCKDc87Ed92KgGwjxinoyITdzf5EGz5x7AJkboLNoHeut7xtP/RfHqQYeUUBwPTCt6l7ojcSmMiMv6F124bHpMPjPbyCFfvLrCEcRCCENYl5J0D0q0eyz2mA1sJ2Sq+JLDj5mr66VbrRlKUg6esnFv9+PqOtZL8S6LME2ZfTd9o8t+0eVEmsL/lj6bUXO7iBUhRCNc/gMmoQ+h7p/36bvDWIM7jEdwVeJmo/AUWNeiYemVYNi7RDPKqLyMyRlfwml1ProPfkwnM4PoXF00rTNwy+DBQGiMTHPhsx/h32hOYoUF9PlR1D39aw2HdAQygG1l7eRixUvDjaQKX9bXpCQiOgQvz8jmr5jXkZlGN1DJRwG8r+8oMAptxsc61oqt0zcBBBvpSU1ITPQvICfNyTlzWkc9zPKpgFvlxYhxGL0HTCc6O74yDEiB9TGzXFDeJ0apdb6895Dl4c8NLdIygKoTTV9lbmdKXdsx/M++Aj2Gxvq0IpRqVz8vqnpNIRc8Bi+HG12HRXGRyX0Sf0KKwqWUNuBUxONBM2Kwnb0w4yIrsBUUjcEgIFtZoMaAUzKWdJUhO8eZPYAu3zrgnXceGFR1qJxw46Jq0zFpk5Qs43B+qRfVcPsXPEGqzOA2eqGiym9GYckNW0eVUhATTKK1USr5nAFqP5SnYmlYsH8HeG4PX11JYeWnM0FX+Goww6NOxmU8JQzJVxpjZeWPIgvYIuYsDszN9eYm5KLw7RWGVF/WGM4Dl/Rm0ziezY6oOl39PmR0ok562VsUH8LNwnH6bLI6/LbUFh2gAqdJXQypJZsag8LcYQxfbE4ajNPfn53HEH3ReRrYR/0yO0bxC6+6eI9a4G6VZUADsmQ6BzH17X9K8AIB/TbAg9pg8kk2EI3n+MC/SQUk796PkNJfpFF0Z6ZUVSIbTY9+IpnKL7mxGI7NKX3C4gO3tlRzhxkp3bH7uK2FyYjJAnG6bTv1bP3rRa48XlXgt9EJfov8PdyxNiPVHpBHdzBawY1p1mbwyKC7aZaUgH/KhizmAlqpXnuF1/qaMlbvf58XjE+SQAv69vTFWiFLA/GiZy4JBoB1mULwGI/qv4MRpR7Z2ibKQAGsK47IlEQWontQDuMWFuU6wSzthTPtz/ibBljtWi55dPbdBUXGsTS3XKhc+5wtfQcJxnSydJWI0SqBSrw+YKmQtfFIqf1n4PUOM9hb8Wp6v/pWP6lSjsGRYR5B9yPVTLyJh9TxWPT8ZBFetWoyx6C16tsg4cmQmc/ESbuxnUY7Qd7AJ6hyx9lkNX7Rwxq9aM+TVcTw54MdJCrR6gAF6FtquyfwBgg1FKNWOf9BlnLMDp/nqrclRtd8DFsdbvT+vy5rBNBmwSFvv8Er3MlEXeM3zt0WjF1HHRdoHVMNjC4WKggcaFPq4e25TjrpsaTAz6y/flMqlf0owxHxrXP4DE+6JSmNL4WKqgupCz/meLq4vg6CpzwylYvD5IijPvZEh0PTB3T3nojrTnAzaoBMbWC/yzd2Q6RcTdfwmROFXpvGD1l5ngkqek5kjUZrfygkMh8xmM9ooSlqayb+jCVqRYanc8KTtEY8KGCpoYLlZmxmip6a4sYQ3zAyEfmvE87QvfvH0eVJwXSr3zCigIg18Gi4NT4UWPoZoxq4q2OIG07KrVWFuuFx+bjmllhYDfz5aFs5oDeVARF2gKPxSQ7P6mxadhFSd1iYVRMD2+cjM6ToqmQmtIU6W7l/tizvFuA3sBQ/pQv41gpfmtyL1P4AlIhAEn2wXAptqDLegc/CIMBHoDz/ckRn2Ev3j7LoSbeRaxGxdKZOKabbg2AjR/um8hYHIi7Iv5m0y8NiNFDO3W3Mh5VlEEW0g6/26KVarHurNo8/hRv6ZL0JHOGS56wr4jg8bmBtuxEUDbPdRee0OamoODBcjxXASLpnMhYetR5wlSFseDWP+xulkVWqNdnpF4HfH9sxMMcQe3eX3cMcciU2JdJK963XIRSKeJ8Nzg95dEaQxw4Ow+R//jqqLC905JMclCgUgaZ6UpugIctl3JMHSVeT/y3GDNjILFKj5c3oRkRyZerjQaYR2QZDEDbvjkA7eqPWoDqJju5gBlOBwu37k0HD4/YuMaguTNfXKdxAZBpSEhdORcrfuQXluPH7zANH+8IsHHJwpDXNTES09xeX/9Vk+ZCYLFtvVeazTZRV3bkb0PzvQiR9+NKsaCnUIaB758QnPXV+gNRgwsmHKwhfjytpnXMXf/7ihNrKRYx0wDtuE7KRiTEb6za+U/RNM0MuPqGoEVltnUHWuB73ySGbLjKgTsbosyvtK1PfroLTdpxFg+xRulaLu8O3ZUO/hD+jfcpZnUtR69CnNZS3fTeIKu21Heyzcxg2iq+gU/hKFr/2NR9KU1s7C+hJLR+hhpq6vlpyRDykF6W1cXG+qb8M44y9Qd/CFP8DilVQ0/IywnowwJQxYjAHxdfa2pga0aqSrfvPz1vNYgaibmfGCa59DruNF7zZdm6RV4r6YQMhUdgL/VC9dqP1VHd3ZGmuioY6cKbxLbIW9kQ+mN3BJvfpoNcEsRp+zsrp2f6DxHK0bWYnjBl14nksGDbRejobOW1r3wYvIAgO/T6QR4wY+tvuG5uB+Pgzqr0jZBy5iRuKU7BixsSdTGVx5EO6r5wDJ//g2ugiblCckzeyeKHis2ZyA4O3ISmg1QcbSiX8gQn1FcQzhi5uomhPeUei8rmkPmVw1wUQokM6HmS4Hkk3a1aJRe3ZI0PIK29HaziyFtAlMZCNlw7mC3SJnY1Lx6NffpT3EhjONtVHQOBBhbkMwyLXdB5TJg+EsVMXWYMMATQNVaRX5w/do3jcIK8v2w9l8smgKBSsdw18+0gwHQHjXD49mNB++gaenl1TNklL+ORUS4RoADS44T3EoxsndRcuMJk2wERG/4WsAruKjmWHSwKgTPJ9maWGZXhqhWT3T2/V4M523Ox4wssIiNHoVJBRm3P+x6nMakIqf/gXs2suHelCvIFy2MUesvZvbZVbnvXb1Mg8S3BgD9z6p4UPAbqR/gwI6iORelq5fBxaa1cHWYcRi0/Jsto33Ox4reSBDjgPRG+DpXsCuQq1qTDW6NuM8or7L1tDj8PBSZppe34HXaY708hweuWogA878l6b2hkDrZnPgqZgL9/aZyMJYcUOCIyIQ+DZSeRS2uD0MhudmIlc5GZKrynZyH6GNnik6yxSdQ5A6960VlUG0EkmxuwGTIe/i84XjPEBryemQvYhtjwA0X3sdonbbQs7RseuWcH0QEvxKLHpOnLShCjVQ8Z75sjP0xI3h0Na+ixDUFDAtr5bSuumNcN5Ks1JC9txHe/h/MYtRn14Rw12ACL5Yx2dC0oeiFBFLwPtFiIECuHx9AY9ebLInfmr6FrjZslvDhccVYXvHn66LVjiqPuFQjc/dyPUx392LWVfUIR9XGJ/gduhdUfY4f4LTWmIj/X51kTxYDBIGrfZKRAs5MTWQy0yqDp5OE8otsFljxogXir57FOEeQaHKo1B5MnaF1nGVFf1AO3FWjAyLnmSXKAnlhwN15jIoULw3uuE1WOaiIoumt/XzZbNC3Ec4DrhziZcRPfhy27ZygKHh21iqMtvp9Gb46Neu4h8J9VemDXkcAZcHvYoKs1ZiloDGqmg4Wcsy6nfmsXvL51nqnRnEV3y+JHKZZVIGs4YwTWKh0GK/XeSQD5io+n2Exb/QmKygJwOjo+Zv9eWI+BeynaxZt4Pi8b34OcaIz6FshZAhVcjYGtshJdu4iuRM4i2Orn8NAFp2E6CdcnztpGO8UJ/Vqw7qaDyUdyeydxl0L1YVqXptOUuAoGKrg7ZnVDIc1WKhwHWJHRL+IiXPOiJA2SCwAStr8G2qMYbLRAd1HTLz25p0S97WZi/JRxAg4n+G13sf/cRCSzwWL97q1AKujkX0IlJOU35Qigg8hvJQAvzkhVwpSRcXY2Klo8Z2SlhzZYavH5V0A/6Iu39rPaIcUchBJfSsV/nToZU30AhBqEjCx96E3E3jTl0olRSFqABa2qn8lQWVzCB6lo3E2ae5Mj59E5mOvJdbjB+CBRZqj8cMPeHZsDeeYyOPSfEC5HTN0wnR9IWQWxKhgdrPmMmoCbv9iI99bGklda5z15lTZjX0sMhnngDymnjfHA6ui5NOYd2+5BymkA365Qdjatq6gI118V/0Rz7c+NE4kopJlPCM3+wuLQ/j1WKNXma2QjP68yscEJtpuY72hViJ92J7eTDjM8/7CKZSoZC6weeU3I7pFqxREQ9fU8le8vv70VKPe2OZlDkBAMsROW1Ls0ezjrH/bPFt86f+FWEEUxqAeNxqHpAhw2Zav7eQmqU++UMjRZdcfF6cMeaDEC/bBHH3J7pL5hSpvgLmrb+WflIHo7oYYLlzttDzHYE1YHwsGZ46NCQSNrYBXW5hxmRJ6e9Un2drmYjjtfmaD7IlgNpAe8w5ONkVlzY7bwwPvIXCSZzTjL5fG/bYcqvwTuV0kDW2Cgufy6pjxdUGJlDNSWUAv16grqTYWUbdXLjaue8BaWi4OalI5EtY1h9loyi5vf3Oh5c/RihuLEVeyjp8pTJV+tthGRTsJ1ZuCkONUw/EnmX1yZP8jhBBMWrmoOQNetScTpuRPFt9qW3mvA16DEkctCCZOd4DclOSzJaRBZy410I9KT7weCaxSpApcDQsg3l8WcUuDwE2qXxyrnAS8PKIPuq9lJKCnKQ/TSEfLo5EwECFn5fxi+FpbvUqxmYptjd5D+WkCJ0TKl+r4U4WXaBi4QN8qrXKML5dgvjYhDz3qHvdcIO0YBvx4EJJ5hC9fx2AQeXaP9TFZrihXQHLJ7Y8hnC/b9mHUPCwH9D8ymcIM47v28EdaHYi15W0Oxzm/CCi4k1aLXat5cx6pFwmi3Cnk8Ak1asjP2wq5mbDTo+m+pa9CnLz5+CUon7s4aZINL7IY+5bgHXkUam/9NlpW/G87KXZWste2vTutedq13fQGrxjxhMtcB92Yf5D7i7NB8j5ANrMn7DXipFzRNzBr/N83V9LGWe4MO9WLpEYROnYpmJ5L137bcLsHEah/87PmxhNbKbnqj0mf144Vevqaw4JxyrzZUyH0ZCaERld/oONfkySlNMYdMCijQLGq1y0bx39ECcYY+NvcJq/glNStzeWme0YDAN61SwJS/BP3EqyN/QgI8EWSGLTiQL0rl/PE9ZmpbEJ+Z9pQfHISCbcSkR5PCzdjdQl+yCCQkJRosvfJOZ/6MuzIwDnlt5UUyr9Ugqsz3q9kKoK4sCpDBRpsmj8jm/oB02BbTcLnrT/8ArDSfHAjq6IxMNBSTMVTz1bAacwB5Ay7tauLOVUtTJnL1scjjxFC19MwMWlrJ4+gMMXJ9EWzaDvGpgbJ1n2fi29rbG24yJgRNQfaMrYufpzqV4aXSA5XKVuKeFioK6ADIulOgugBEgaCdHFiUF8iUQUI9oXOuij38aX6SOPS2tHmL2pawxCzr9s34GyU8I23SU6EerfJvXxMXR2/J+DKL8G2+HqpWglcJgeGEAhSoeI5OyoeBc2QKaKxPoM8ZpvLysfMsRKijW2L4kFC2iNRUnsqcJ8CHcAGeqrShYBDPYbpkZunKWrfB0TApkWQbjW1JkP1u64iSPD0rXZoVlIxNRrMTFIX5/r0UfWEhNPQ6SbvFDfcLqbMqiQlurpAdNQRXhg1Q6Hn+BzAn07Yb0OLwMrXUaSTxwWrpOHmpZbKklEYiFwGMWxD7vcvoJSroCeQvmna5KyE1U2E/AbrmpGhHrkXAjW0JvDyJtso4Y8ma/F5oid87euD2hD48SHz527jUcN4JsmURP6A81TOqAaWYv1bjubnENH/+4xGFRwUvoCYoYBOHM8OqiA3i0P65HWx7zHQidEDQLK7kKRqDzKpRsDz2SybT1xedD3DPhiE//FfURMzWSBPyZQ0YxtA+vOuV7W87Jca6aOw35uFMgC2iv78dZPpJFMlfm0dHBkKBc6DeDOLPI1B0LShJQSlsQmX5hVW5xILO7hdpzM4wxRlvMxDf394eBMrEcuM/wtBkqhX0kvFcVryfNt9+kNbFHiUrBSs18RP9Y9BvKNVTS62FYCRx7DOHNbj7UddPRWXSDiIhmUYCfgeMNOTJf1HCqgpIAYnakK37gv9CTs/7YUvPKybo+52Sme0pq0NrQIQPV4hutcWJmS4kVgpyLHCbKv4LSdX49qIoWVG4ThI102OpSXrZQlp4KGNsNH/tduNjP0VPYoFVxs0ZLXBUzNjwrwfebXxSNhF70q+nY4y48pIO709+qGbcuDQSrmJ9EY/PeoKMf7AnDfikBNsr7XyeI7Sw2208TeJWqLqGgabRH4/Vx/tnR6Jw7dVNQvcpQO23v7LE3uazz3ckM9ciOzk5ubFU8ogmGt3Z1uE92CK+x3mrcgcQzpIn+ACLPjove73IQLwasRkeE3HjYJ82nV9pQS4LQV1zewvlCUBx2Re8JNz3hC4pgazY1cqtpDsif/64CkOOCB7ijkxlMIujFyPVioTNA6xCyByhwSiWboeFJjiqEzIajhnmDPih7PXhu1qhNehGM/QZ41TRIfPvCdSfH2ldQsxYXTbuBtP5IkGhinQdlq9iO+Q8DTL/sOiAfYGwSzswHt7SeplEIwHRwu8XAjYaMtj1jWkv8cqm7C0y6tI66rWs3Dg5xkOOy0APYoMKnSxqf6z1W/yrmUURzfsf3VAK4qaHp6dkYsRkMmohJs9Oa11NtZtTQfQLZRC9mpdc3xTdqeAfXJPC2LiKXstfS1jmZAgr1363+6RuFZg7SN4SJAe5AjeTT3WPA7mJWHtQSk32Av3VizOOocMTG1A/Z8syPq25tWbU6/VHZCoZ0C8q3XnbdHDbLvAlW8LZq5r/7Tkb51TAdv6m6+9JV7lDKBbRp1LO0Wt+QmepjRDbOW2NCEn06TjJUNC/jfY0KTW7JeSYG+64c6Z2gNv3bJU/Uj7YN1OdNUv9OqufVYR1XbQWYpGYPpp2Ca6ZRN1u6sVvsTWn8WCuFcJr1fkoDNuP2HpRKKKG4WW1FtO1okbYiscKnS1UYVyGV/92BQovVGHwM39otpKEZD9nargMRqlCGlCmQQtqa7/UZSNRj/KETCSb74ozmgsF7FqCvmRvAhPDRBLSHyIW7EKo07hPNzFoe8fDoQnD3A9a717n9/72VycoEzDOPd7RGZeQGt0lqXg0rOhf22IBitZIbXyu0N7QD+kL2OCcVOoZwsN5hIUW9wBIF//fmYLN9olwmxURDoxPUEzt7F4pweNsIYkzlyjJiaYhVJbaaMFqXdcM0OkmG8G/C5iy7qktsNPvtCool1T/BIuCxNjsYg3z4HV2uL38qNfWCCRlWvT0+ZHXvSxHsiGgsdOWcqCXzTlAdF1GtQkjxLjU+9bbqEs7JMFfiEdbPrBqRzOcphu9E9i/DAL10VcBQkfikr7Ibf3y9SuZ4LIGsGGcBy9hE+qEPwJ52zPlxxzqc02hfEv87Oss9e8jBoJh0mJvnuI6ZeAuEaZpeyWcL1h3MCjy0tj31EPOiSAfUhPk+MB2Bl1lRErZR8QK2AI8MF52jTf2KM5o/zetOqGM1XFm/ogxeOWVw3cy5yEwlMbXD1ziyNWhAS+y2tq46C2cWQUnXTMWSVc9l3e0uMzzOHdLCrTYFtsTzWrFzu6luXrelLcvHbvmfOxSgDfUR41hZ3Y2kAzzK+5JsCYTF439I5yOFtVITLs05EQQCPaecDtd5RBdr+cehVZhp2ZHL00Ck2LX/lDAeGcYpTWcWBLndr1G2nBqnn4QlGy6rTWllXrHUmWmRDWyZq06sWX88M/SnL8Bsaczz+Uj+YC/a5VpE5n/wN2tXxThI5sqsAap8syN9/pKbUhlI+Uo+znMt7ai1y/8+qsdQTmS4E7ri2ZljZPAG1oiHVD/dxN8LI6Yta3HfXset3hShx/V3SqvRixUT/ggGEzsU0mH9mA3pEIC0JLCPzrvv3ZNrPpyA3KqxIA2wUvMPi3bDn39MWgbJ0IgFbtXsVr/t/988gRgdSEE1132IBCoBgq7pZyrueXgvb3FGqcTmCf/wJVUNTjRNnHbE4RYX9wg9pYtOOBgJhnOHiJnCU/JMfH8ruZNBtn9+7hwaiR0bdn3onQKh7c+mhEwsiSL5Us6UDyKDzd+1DEb68KSBNUEJzV6/NLbJ/RX1TN0Y/Hwze5vs5Tf0Qd3GVqAwr7zsgNVdA60kQEdAge63wqQr94vEHgqFXFSykJvuIDbRsUHn8QxbxAMaAy9CwluDYstNxooExdoJJYlAY1jScVV8bBE0Mftf4pZnN7SciphTncOustnOh9gUHRVmy3+flnDhxMtbqFm2x/jTLWU/nWlThDK4EHgVPSP/xh1lvIRb04QTe0wprBgEYcio0yqKQRG1A8IE6bJ4B7rZVgNK1MagjdbkhFEqE+EMlBhiv7Oin/I0ixkUs2ieqexeK9AkQsLK87DfvgIn4mZ3VUb3pjF8ym21DW4IFJvz/qF4z5B5HAMu2jRuwsnWRlNGxDftyWGtXDCYFYPqICdWOTEtdFgzkSWZ5ZG72WmCae/SvB2AuTjs4QTc6OO9qBbN7ivXnLsUHbvKvOvOEjFwu+sRxMh3ioEZcV3u9Izu/DYp5IqOQqPnJknzszUBo24DkdmkCeCJTulsQ/OUOYJ2mJ/W/7cz2YbrQXaK0L2reTeC1NikWE83A2sjGSbbdcCHVcHafVbsZdMyY9aaaFVxlXqtsTjeZN2pPKY10CZPq2rzlmU91xdCKq5JOrwiPoP+9hLy8fBeU8Al8G9deUWD9ZcsJJUX/njv6NU9XIHJnEdsMDIxXQfLHyRfxt3xjtd3OVkKcrFVLLskxgdPbu0+kf2l6Mq3qCK6B6KXzr8qkggmCLKNegKCX5Fz4jG9n9Mkp2xMy5fOy5RAJYQbLhcsM5nRTiZG3koYbZE8X5REl+lTk/jpwSTJSS64nrqLQ8X0jF6Cp51cUk90YqyrZfxREa/Vbhk5f2V/9Zup1jDueZRqg9FaGTkTcY2Wav+QSSeyxCWBBZdkRLpH3kvafhKzPcq21gTSdLw1w4dUrbluEyZDVN12nUPUjFV1A765xMGgW7JNO5NnQre4e8v84YmJL8jmmPd/rL6rJzSHATDdS1Ux+8IrWgd5WLX3yDBVK+MOnEZwXQysrxvEw5DHM6o1A4ATv6LTabYVk5BQ7VzJfRd/p/EO2ocndkBTTJX3J+oV5pQlOLPy09hlLAdHnHQBZksqQXcJefMiEvd173IMbOECG/GP42gKiaSTQltppjODl2ws8xq9v7PKZWG2+F3pQdeeKtzIoXSt8RFw5rS8521ojkBCiCo7fHHinhUpoBZyuRmi7UraXfyBlrdPDjWdXsSYK+xzxsyhm+S+QtjuVnEAGGwEvpds6jgsZU+N23ZfU8B2mA0oaheBBoDhf5UtfqVz7hh0RawOmn2dI49x3J9Dy9uFWExj73vLciopfzhvAAi0b5S/Ocy0UfsmlcCKPIqpTiMOg0P14MR6ipdImONgmSb5EtkYrILZA0xyu+jH57p6gFu8x8JlbBVwNn4zrSCD2mMLjZ4xGpqJVpRr7wKcL1BLYCWZp4qGmcH2QVunsbiL05Qb3V8jWoJilhomJ52ZMNaZPIRfcPmxK2vilJWFjZ/2CafgJPZQZ01WZAUSdnbdNAJKvthg7sQKDp9A5AtGeheM90EV5xGcudgV0oglV/LeKn2ikKgDfLxljJJBfst2lb91TLjrlEryPvFo+ugXpv1mc1/5v5wq91xKegkFHy4qggKrP0SuLIufcEzUX8CHyrTaSJw3v1OzWPXjLea54E0lvsptRdygc+RsghyZOSk8nww0WLPJRO7hSQkmfrorEUQh694jy2c7DdsKyRYWupJhAZ2KdWnXZcGGhtSzkLf9jSul7gMp9Z0ESDpj1+X8mcp2/RvTTTkczz81yAhKheXaH6aKC6t5rWEEvTROH4PWIFaeov3NfTSFmwKPkwnrZRh2o4dsOfp+mYkgTluB/vvD5E71/QEXpwsSPR5zSqJUs582vwQ7OQ9xRv68Ln5sotWFu03bjlfUe0gz+aqXmNsDDskOqlt+kbhOUQFC4pzQiK+zBcbvUZaJAkUsQpMiua/qEvM6heoTs5Yz1QMw8YDObH9YnIiiIYtRdZcOytydQLTd9lcIyB4IPIYRQDrPs/5qrrq5k+NSgpmFQcezuZTnLqY60fv0fp4zsmIjEnqfd5DjtiOuOY16rdxImr7d6eqoXF+8dWbeQQ7qsy/JHl6lPCLxhWRfSuMH2hz0QlgZHi3xOpdBcTq5y1exeStdnCAiFMvSrkNWzFsrWKWTk5+IZ9HWKw7gQZRGBDtoreTa1mKIi4CjajtbbFoBYoCiBQDQ4c5yfzVaUC9uSWrh+Q3o5xPI5qbWgMVO1C9zpphEj+iuZ62Kgq6kt8fvNHBOPcYv7euZr/3YgmgA6ZeFX0l7J1D74fzp2ns57j8/r4sYS+1dqQpjdJ+hWPvj6EqXaEF+YwEeCTs7RL1IP5sQeCG4EQX9ebk6WjPGcC43W7kRL3HPIlloXj8TLc0+v+stF1YMWBXHvNOXiaVNDfPlJC5w1goVYQydNDYpWQoDqkwdZerqTs18mMBaBFw01xjYHYyLBMssmIz/czNpNCRM5YJSu4RRGYF+6PsniVAXkH3qNylYGVgBggqsU1benimshVizk7J1SFi/WK2nZrR3F3zu0fsGl8Q2i7hn/NIdsPpxnA4YH+AHcEn12wtaO4kpPo02Jf8+Hq5ORQrbXBnLbl5TtX1sTLePJzbBIwTw4WSHljwoyhBjUbQdbaxPThcmIiRHn/kkPY8y3wmRy2tgXr3HU8CiwtMCcQpzd/oCtbeWFCVfiEWo6jYrLkdcaJBYYQVLoLytQrwcY9RBDP9FrgJjtzHSlT+WEMQCL29LI1l0UyDlXXHkPVd9A9XE3f+FksdaK9YJ+sneDt156oTsuHHNmcJQ1pNJf+LYcWq4n4js31ByZ51bRxaU8GkKBJ2ywxnwOJardcYBfz5AuRlkHgh9anyJsKtet+DM7n3pp7z7NiLBElCi9GZ+IygllLWYdrbYz1821JZi4OBJ5fv0xajPgNUNz/jPXugl+76tAqrpnHXNh2WI69GDS0P+uojqykb9S+kt7msGDzGiqu7YdU+dC3s+6SG8cezSihBCFmYmS5CsTQQX0gX1fHWk/we1Rzl/CBFShDcLq4cYViKsEpweDyzMsFo1EpmEJps36YOhfcDXw7At0ZGQJlvMdrZlpnXYGJtVMq2Cpemvw+g3Rjnl6BbHT2aoMzsMOd0HpzRgNxfKz3kuLP+RGAIHEtutEDa6cO6VSD0qJOSWRNNgviQniKMeIp+JfdSPAV3vWmDh1nub9HMj5LHHC4AUSoqxleb5ahRIgP0dV2oS3KtOULD4F0oDoYZlx4/h6X19QF57B18nKTqc9Ipw6Dko+JpQBNB+wd7Q0zKa84lpJm9s9EcatrS1wIImlasmG3hx5y1rHnPyRTdy6nAK/kmnbBT9nJ2IYXwpwyQAjHXSRs+yewycErTgP6Jw+nahHLllXcl+Ev8LAw8KGOamQg46Edbt6YkKlZuMwvJ34Hcjq4n5voMV7fgsDI/MVR1Z0q9gsS2UrvBVJ4sV5OWWAvDuqO8hcgrY6hY625tGpQFPSl3kCIAKoBNiOb+pLU2dBISRWNfjetTLFgk/q8Q3hKaKNN8zQCuxHl6IN9WzG/raYZDy+7ZWWT+OXv/R6iYRHU9WyfvzXWMsRjOAoD4PZdzsB2oyC1/A4QTTS0XQFmnlrLk+0z2OPlW//dTkkSyPoKVjFNnVxfVbT+eDYKFRuIzpZ7iIplgOXhnqkW1ybyNYhF0Dh68WOWnxDYfterHCERt03SNv64MqH4gJyA941af0Ro3WTAgW+9OVxoRz/AHyGZrdttDzAWOWt5avrD2Q8hXueS+QANiReBHF+BNScYAHZu0rHV6hRxk9YoIfVCI2FnSZd1tG+XfwOMvqqIynyT0KpDewBrzGaG7BDUXVuoNxbbaS4oI/sGizuepWBlcUdR6ertsgoiAvvSiJopmHIvPHL/plxQjrWZEhC2D1K7N5DcxTBVoBDP7X1nSmHH7nRd9SRs+FXSnYXgXu3ijYGBRQwhtlOK9RaR2O4ZCrOzRiljw1s8EvvabH+oVFx9LDeV2aahJ6HXYhGMoOUfuC4AyiLdcDv0gPcMQ4FujGFP5hpsi8nxM/lnsD4wWnbhHh64tKpknMhry0XF0XyAHylmWfQ20Q/nQbw68buQT+UlV1/gwLgA1WWBO4qmvMb1FJnCUgohD8Z0VMWOG9hyGfRYgM0wkBmvtUxSHVk8SVfjHxbKRC6TKiAnIXAntR4MSDzvAMbKIM7mkNYQ5LBMEw2mqDcYI2iZD9ZKJ/H4zsxzOsCXSJYZP8/4/1ZE0zQpvJXIsBiZkd2Ad8KdqaLCondU8XpQw2fxhXsVx96mNURUi9EwxcgXv0atbO1Ng3ZdbbAz2rSA7Nv770o6kLlS59MO1OGnDFLioJacQNR+KHk/odTPXhOHr3WkY4UfyMvsNGWfmBPbQmwg1WhYNe2GYL5wO0khsC0B7apO+gaNdUGCR7N1xI+MPCjaNFI6Xop86l03VmFeYcQppB9AGakus28rWASi6VuhKdzQVrKqqxqHI7LIVmdDE5BrxNFLl9Lu+XhS88x4sTXdm24+EDtdD4g+JvKcvh6x0Mo3pe5hzXJFgq5A4+BCf8LtlVM0O9KgxxV1uXsq9mAUe0Wdffn8Vq5s5HX+JHMTyCwl8G77yN53Kf6vO+ey5jvc7Oj1fCfq31V9bctF7hCodoNNxZxA2mdQTsC2oD2sWoK+uVQfZtY/2cYBH65J8gFcyMevOW2KDGtkBHqYJqlJ6uUMk+l28AjNm8QZIx8o6A67NwvFIw3dzg6+3+eOVnMjY/o6zP1/a2T/uI+5tK59Fhx1RC0XSCkFrSBHDwu+zZ7wDhOYyJli9Ubesybs7eUCVtnS6r8oX/1dIx3KRKn4P5HLLqJaVffQJKtqx+ksbxm7GoJC+wXE9a4pJWaqSITbve4Hqp/A/zSktoxKqWqYkP4HgruZypTrpoIDgbZOuB90zc6FKQdr5zjotZgZHZ6z3B+lKDUrNopMFVRw9CSUvup9t94HfaMz29iGhmIEjJrZk6Vm+DbJDVaKSxX5ATU5t7j/19/zRhwi7LAGOTI+3YuPq5unIKLq2+hMnVs1i1fxfAt2QEqrMIS27HEqojIGKDM/TVZ88opHlvpQPxu0gQrO0wNIa6Dh0xCkL8T4d2yo6+lCNFpi4POgRx6eDsTQdK54fa2REjEQwLHM4uK+0y1OHHhAmcpXumyUK1FST6JUxxd4MjnFTicuFnhTd9nA3fwe4B8fjCiYOwQ4yNVqhf9poBry68uIWVdwCnfiLyTsD4yHDXuYlcR5fFzym21J2iQrfTHpWYFSrE6oSYQMWs/P2vwRaw+OZSBtLlSuT4GfaLfHV87qiolhok33gpTjVo33DptTbB9l7itfhb9NCxI1TmEEnnKXL24669KRVETTNz1pGco090aLgc9yRk31naJqSQFAyqmMCtAUndLCvyxaPDWENeO0Hvt5Oof26FqHFHJT4ySZiVkn/C3Nsyn+9aSMifaHkScxHog32UQqZy0XTPu13t3bqPAGz3P+tajd3NqaX/cR+VgeKq9C+O9KS/bPiFj13VjlsdlDP5OYpfpFFSRi2uTGXGstpvFrZBG6ZXjU1AziniV9R9/Q79MmLjJb1GDR3u7KHunc4JzNkQ3iZyetNgpbBFFsBGdrp/UsolXECCiGSNsotm5ns3Zw482kkDKHJ4E5rJydjQOA03RKQATPY143dlLvMHvpUMV/J0opJkp1YSOtD3lUQEess2NnEuSpyayaKS6/vZRVNAFUbHT8uFSFL9D+bn0AgW08zlkP1k0oPHBCqeaP+k7qM/2H7i941PG17DeasLiGuCfKzTt8395ZWtEfKLTcTq86uhkgDB7ZvJ6tdhhWd6TjfKNcHUGTdswBS1YcIm4R04PAc9Va4ZNTJ/eFvsMgx28TNdR6kdmfDETzyu4YtOi+g7A1xMVK5KmqC0Tck8O8AlYTx5Dl146Wb2ZnnUcS1z/RnhwXz/WFjYkYx1WL0cviE/XDSzMoEB6wk+urDJ/m52rjRedwvIBbUYnATcGb6H+d4+nmM4ibHtuUbSAQrExXguNrSaNuU4123aVZKCilVOUSWy059dp16nlsHF9uJBPAcarayZhllXjPdTFyg803IbzF+hNFaqHAZptUj60a75oJKL3qdnTt82G2mKXe/wQ62xrEo6IFAblhac6DizdPyCWSefedL00JxjW2bVqojxuMCi9qRXeScERJp9OHiJx9UPwGEaXuEEzSUFUsKhw5DIonwtK2OzPJ3uTmX6kfRu5cDhgjYZt1aafuo7gN+/MixNSRM2AreH9EoE8HkowlHARP9t/m9rKD2f1CSnt03yr6bHqBy6MiKPBbiKmse9b8hGMN3aLCfkk7wCWuNpb+4GP9ISso72LXEPAZyXSX7FDcowsCZFQUekd6EJY7HQlIdfNEO09fo17taqJx1PZxFKQraG/lgyEVh7zcfQBmYS4gMBp3x0ToiGYcHyVnBB80GlMOs+FNQ+XnoH18LvC0VBV4PNbxdVsA1QbPoMgXxKknX8TFuLv4mM0meZGpzdJJkS2vxkkJxEsbMN2H88nWwVIf5hvuz+OiigEEVrDxSW9Sx+lMNmAdDB6ysnS79KsIaUhIcRzp5QyOG6Vq9Ov0KEmRJrnWOUZgu1Q69SOUrJNF18HUUD5hykpM44LAZorVxc99FkxOJexclWMZyrwCPMOsEoAhgEdXlIFfHzj7onk683tPWZae4K6ISs6rI3ZT6GknsXGPzIThSI36A0iNZzsEJDA/4782zMM0EyFy7rbrvLHkuKnmTBqCdS6P40AM0oL5e0nqh7JSC8Jpizu61xaYA/Y8mNU9pLL6G8Rg5kjPV62lKdgvjMQ6pp/IXmOuVxt6p0RfKti0CiOwksBwAny6rUuhuPaS21a1hlrSNF0PJlgfAGcHnYNIicflt16j8T4jrZv3lEMDU5lKoJc9H/EHnQMNZBdwQbWzoyLDcV/1PnSQ1fuP5i5R6uG/oJBmTxWoWc0rfbQcSsReHB+IncFkp4oEgzBwaKsngceNsaHnQdvbe6iJyJF5fAeVwg9r/za/HBqtxc75S6fMz0FhjUGQ69RyYzAjEXGA7woN8nVLMz8VqgBhk19bD22qqoc010cscJPCSwp2HUrjNipvLiYXaMT0wEYVw60UcEGB/BbYnj2cxoFi274Es4X5W8GRDvU/lMqcm5cwsrkd92+rB9ZShqAID4L/5cvyGPJl1YG6iwP2uP5s1iPIe8rF3Pbx6burUTw5acoSp5aQdFY7FwOyKhpHBaR2NYBAVTrbyohJKM9m1rSYHgHfj9T++SGIs/QU86lvDbFEAvRew7OrYO5pjfG6RZDd2ACmGwNLhRR4Wj5P590eiYaS0cRHQegQdvAC6+H3wc2Rbg4edc2TDzFwb2qJN3MY7u01o41n36+jg6Tf6fuEhijVtahc9jkU7RC/SKy0lx/ltijdyc3h2hfhL/Dcbt0wUZOWVNknc2lG3++xWpko9Y2c3lcqMUglp140R1TtrFEha2pNjMk0ApdHrtpasrR3gABKRQnG1NXFOTHbhTzmzJsJTUDr7ZXL0BwogY0qzuzt7RTF+B86SlaEuj9k/NoEDWo33I8ENydH5wo6fFwXskjHq6TPFJ9RX7CPWwxcHgK1c2YO0FTUkaWralnRp2L7TzM8JF8S9r0tRVBh4WKLTIS688dNuqAPJ+KfMdwHJzHCvBoOmp8dJ6qmtJz7d6ghQYa2pH2UrrJTX2DqRSWzUOeI0RTlOL787mFuPnq5f5F8McfYxyQfmLnfr8KrQ6yvUg5XJGwmhoPr4rlU3ELpNtIVew1ifbqRVopfn4OEuOX8uyTPzYr+g5KeLRRoUcP6FC7OXandxEJHVn3b4b8FhB8Eo/vXPfcg8h55R0fNUlfVsKaPVITkeYFWBpY6pjO5+OI1FXKi8lGkp4urexU+LBm61eWweKoMWW4WpLINhdklK+9JRMwnAhgxLe2r8LNm7f1iKS1Od/5my/sFZ1Rif6LEvn+/N3t20EUglgbVdJHb9N/VbjcBqas7YYaal4QzAGyeSAXAJCb2spQL3f7jptSxMzl8HztIVKykiuo46DoQxbgWQ9S3LcCPFaoJtf5OHRWrexxqHYwY+yvWPN8qXaMip2wv/hLb7uucUskvaxoetOrZ1Ria6kWlnid7M2MIGdRiWBrncCg5a0tZFRY4osGiSqpYCY2mNvi+y+k+xSEdRpQDWguDVMs6cvO6GdgoO2v65glG8McvNlYaP9MYk34HYfT2DZKfYSPjmxohMy9ZRFU+b9OzTW0d9hkHb4tOVl/k1PwzGTtMzE1WwV0rJ9lpjld/GImE6DFB5Ztvgx77Ahtd3En1Tl4CdqDMQEFYh8rQ/kukbuv2SAYmAtZBZBhkEcCAmimQfy5Q5EMZWTbXM6PhOW5bUxi14xFmamfB4k9v3tPrrFYRH386L4hww5B45Hi/XcjzzNz7rwQtqU2yPEu4J2ft2df5l5lGunCwRrH9N/p1lzLXCrPjH+IurOVVcwXR3xeG/VL3LILVZAUub1EJFdIsk8iZEPUWSMoHctgo9dXdYd7TAITFjZUSUVNt8Fq5ZnPN/70ESrv0U2peD3ED4wqm6qgaRdCIGDJ7LLDkXEnVuHYQGX9nmjvJqnaVqtJ1Kz2zztmGHMUm5hBhvIxp1Gs8AO/QM6wSdy3l5OOsHV1qRmloX/Y3XboTNWrI7JuQIN7tE2Z1bpfg/D2ucE381uCJTuFvn5fgjdS6fYcqkVcoxhRTLzVqU0XQwAfwX9Gv+HxuTqzbH2bJxdekcL6xRV2SB+4ZnJvjdQFF8sgLZppBWh7N8Z7Z6yqXbdJgH9VfCPwGW+T5bKSPMlJ1IG5Y1xCy+fABgr54Ak6QUy5RM71+o4m3zefbSmfKrbRbmRhj8Xl25qBJV4tnlDSV3e4TyjYNNMXzw/W/4+mhjtNh3gznCwa6KVGo37TBCxwHtNLioPKqCdOLcMBpZK2HnjBB1A4MbW1uahCC0mx0a8pUr1xQ9HkKxPQmtcW+bvV9FbtOfyarTeyQeCalvB6mlPltTFUYhUxjsHWBBTX7FuIqtnY6XkAQ8vQ2YHCJnJ0P3imFxewj2wBa4xeOS37Ow55EZDy3bXMDmvQT/hdecFn9LMTUGRCMFaU6XWnKoc3i1crpCds+aZ70Zeg3tWvXboCnjAk0GmyYBYKbQrqgulqb9moitsMcyWAIdeaUOv58VrxngqXVJ1VZYo9DYys+6ggXk/XLX8abue2inzD4Vr2nuE4HwYn5mCnShO0JZZrOV82vczoXWDKBp3/dws/cWl3cUe8/XGrvNHv7ICVY1rGmQA3zLpUHDAjyupJ6s1M9lsDKX6bgcNp3XSJSVMR7J9Q4BeKATVWO1DT4/VEstYfyKG6RNOgVuVCwVV03qjDifnMmeVYS07V6rFacK2X2RxzUg3M6IrJK2rdjoSk8LOgfsB3SY3qoepcWtgiDBfeI0YyuVslN0VCt/O5D9tvKCjtrQzaoCF0RWsiby8jm9k7UvJ2ZFD9xNNMK2eG7wBVdpXyUSWKdNgqzIkdSZFmy9Q7Cp/I2vfq9kcH6IC4LodFN71oSobjqz2tRKN62nERmc/5el2ndeLj3JYhDSg3VPWPmQf/1587/6+DxJdoDtv7h6yEyBe3mmISpHcLI+YGwmCFq5SvY3uKW1vMJvB1O/lx6VJlL1fBLNirAx1+A8VdwJ/lYvfidEhWN2ALU6+b9wulaJMnAS3NQvBGcpPKO7PR5AGAwemVIpVynmFrqC2BI82zKfZCoaAiycnMf+PIwml+BwQts9MwpZRYhi4JtBHVQg6FqKe2r+38r3T4WH9KGCU/t5WaUTTVz0NS8qGlNENjwJzXOP9Fr8xFgyZOxnzFmjSyDoFOtlOrxRyDQggpd/bxpn4+9JvNa5CDwdgkRdHxdzj+kRDsA995/BIUf9UqXZninXo17t1Dl8Fb7N9/AuWBom+T+2Kk93gavQZI+V8iXZIFZxhNxWdEITxg5v7OstiUEXoP0RvdBIk3yGx/Ld0oQtmIFV2UCkC7iqDEnGALOiMZYGq4QbB6TDRt6ZiUJQonOZgaoYfPSNN4CW2MhKMGM0NTe4xzky1tuDrGxjJHeexfjdq8uXCPfTYVHmUlqeuqC+ur/CZ+Z4kh5L/l7ipVoSpgYj/RN991mooR39U48tqmfBC+XHDV2UulvQo8jPjYKtRHhgv6wQG1eqz56zgiKr7aKk0G+znsry8UhGeHWcxwnHoZKHgyKE1re20uEpFkX/r5aGDyzvbvcNHc4Vx/1MZziQiJaXP+eTuz3y6A43lJOzhbvXYjBybV/6fRnQsFhu4zfrCnl9wVuKvVploykKANR4UE1YU8mRwjsthMrJwxq0t+iRtM8aBDvS9EsuYgAlxT7trB6mGv0PnvGqojNike37FYWOvALztyMmE0IrQbGU7P514C9pkgRlGADeGktHfK3pN/2XUsbDFuFTTAvS2ZDebn4ogtVQCWP1jn1ZQ8AgmNGBUi5FlCNrJxNHCMm4yM/WCu6FzaIazlJDivKeosJHj1pF4OdBTxDauJHq38WMMddybCOwWyd5MWZBjjvtRRnRDoy+queDlGokdtFxuz8yADQA931kRSKtQWA4yZ7zSCiVRR3Ayyasn48t7k2W4Wa9BDP//PRPZz8JvfjBqHb/JPB7vfX3Awnd6dvdhRGjXsn2YWdMwh/oCmaBHRe3DDZ2w635ZZjaRtsa1C57nPz86Xe+FR+B79euelQv5Zk9IjjtZDvPzUXa48Zzg3VVw//JTYMFMpgOevNKjSqeZZaTezl+0tQYyrcPiMjHioIQCnXoTkpw8SNrcgrh0eeqESTr9WStsUcPUebrvhvnfNqkM8Yhx80LzHvGocsUxaEZHWRTku94OV0kBcsGGZflwjZdofwNl/8Za+S26Kp7DQR+wmcLMs9Cpkh6aUgXWCs8tXhVGIIg6MKkGS3fgDAs2NdhAKbQU+g7pxaKQ5zKoSf6exd5ruO8UWo6QF1yOSQ+q1O59WsL+T3kHzpZKycBJRHfmZVFcJislBIFjx7Se5+VGi9gCoxwJ7vde9bHy1qd6x59E9yQWKWMAjfo9QXbxPdMY3+BUFsHSvzU9SdTZJhAvqbENUVUy31pkSXEaY1rsjcwhMRww6XKZ5Q8KpNaHA/eDrQU/a29wWddYmNHh7jN2ICn9yTXhsHBGg2MyFAv5Al8VtOxgSDWxbUUu7BwlccJ27HDAbMNXa5C1TMHamOSUWHwn3oQ2IZSzeRrzeTBedHSyWiHB6SEaIPU43lajKtJSIU6FAq1D5Jpk/8uRpdOy9vysz0A+bbaJgkhSN/8fEksZDnaz8ndcbT+K82smC3CWLMIjTBx9EJ18dA6N+upFI2l+bOIGqY48IbkNAPzRcELc7NLloOwl0ePpBHayS6GHZxubbQioy9UGyR6j3tkbYFA79azuck6j1QippssJIpP5QtFBiwPKoFMpKNoirdRpm4FVpmC7pzK1m75Ie7MVscLMZ6SzJ7lKBEZni6rE4fFfMacRcEBmYmD52X/wWJVU3Uh49AH1Ug1TgjbP2Wi8kvm09uRUpR+vXTk8Vhb0q1YxDeILHkdUbQWrPaNlZVe1vcBp+KdZMmKYoXjf84aQIo5QWHcMABrL4qaXWNIjBSIzGzjY0tN3nTpj5AL3W5kvv3uTgADqViAKK9d9FXxVMsUkBBi/KjuTQNltz0ylWXNLhEdBLRcwxTv5argj4bRUgwgPkt0tzNO6U9ZSO/xb3HwBPlEEeUmJjcRdB6urwW9tcYhz3ljKYFDi93vSt4DLALNjd4yGuk1aPw6OjV3Xo8P5raNorQQfYlQTAwGKCgYPYOAE+HtThaio/ku4FFNP1tok8Fw95TVIIIB1vCPFaV11ZBWjxUGfBaPTBjm/15R1zapGZ9eCBSWVQ6OGFpGls0XvXQmy488ZhR7fPENUvmC7wvMd8znDEVp4HsD7xBFJUBzSsIpj/aKh0VAlWJEf/7y8IGboTQ8z8b7+MES72WRhvJprjc6ZEzLMgp0efinIp05U+Kl9JbEI9k6sMyy2/Zewyzkujpogl+MOUHLwOjZNbgIWkbzNoOUjbiGhWvW3InvsiQZGIOrrq781OS7jV4seog7QEPbm24HPSPKSnpPY1s2RF6AjuFVjMCrxQ0bu4kEO6f90gTc1RxeNWnCQAy3N91KsA3nXeLPHqiV52cm195NZjgYSvaAYM66vHt+FSKuNpaBw8ont2CU1PLzxGgoyOEJTPQOvIcBR8xtIkrPWUWgFZOV+Kjq73H0snt5HlDaM3CX9fM+uGRVJCpZLrmZumGPCl6zk5vuGlQ321uuRhPYj/U3nklOGADLNN0PvLeYEUO949XSoxlnc6ndDaz3IXOVMatRO6YxeBztobfaXpCHFrKxQen7LsUa9ge92Jw5l2sPGRlxOLD8BkucGGSXXdgOYgMtCp/XHd0pKSY28T+XmFoIHotszELEbpJuZ1IXo8V54ObP7ZyE18FLCwAVhwuoGbHM0pSaBm4VfBFvCHPW26OfMIKzID9SQfRngFLoOE4b8qdwy3y0sB/75zMKhx2mR6zyeo06d+xZxGtOS1MoqXTqZA0JHtwMXrrqeBnqp92nUPZgCTYVuCtQ0iW9gm5oTjB0N1hJvQ2WVjW5OGAeCU0l/RW83u+PiFUyMfZVL+t55I7PJMvnDPMv3+FhFOl8xFsA0tR7hx9Oq97+qUVkPryY4KZJI7oZ84dBM9VcU2NerV6rZO6ySMrb4GfSzBeBJPgpoxnBlOrseSYWWjDULGXkSGoWqtVwz06NDyyBCFsymo08WQ/OpKVvs4jsbgfthM69KBY67DdKqmlKqxTtlN+dkma2TdP9lq8fnbC2pJMO9GjNjCTllFpLL4UKMMJxL6cRNSS6IYVgSO1/0a7AqNVLbvI5HjMjTeGUhFTcwoBIBDHGHACb/sB6QgB2TXcB1lfNFce+ZrJfhnsL9w0pdQmpM31iK+7tux3HoO9jiOC27vzPDN9G6skwrrX3qKWQbZelcCa2tedZzNL3YbxqjG4OWZEvtIhxrpc3u8+5B8qUZNMIzShjNjFyr/FzZ0DvvrB2RPrYZm6PrNxK9leL3WBA5GlWgxwEjhxnZ1k4toHxfkcfrTt/+FRzQDPy9SIkabVB47Eq1EIrdkG9XjWsQW63LLoG0NeqWukQugOU9n+ekFuohzYbBBO1CxQoiGjWorRJ6UGR+gxxzjEC1h6nqNoLA7S8GuXDi3eYa9DlZ87hUi8EyYfOokGHg9d09PHApWJuqljXV2d11AL2LXkxzg2X4K58UzNgpQRr3lONoiwZGwou1x0LTkCLSQZXoslUoASav/g1nSkvdu6rKOpfX46/vrpjrvhI/Fcs8qggtia1Uhz6bxshfGoXU6rd+lTO9pCgnjqymTGATc0z5ksFSRY7oXd5OR40SCChTk0qT2VfD/qItGr0o218kMupne+gJvLnYed7Si/m7vMe/G6D6XGjtElNe2l97YF6ba73d2A4wMJh41VDFgNH4MdjGL4FbD6W0qmrjyQpK3hEPFfy9BwlISD9QQuK5ML8vUVsApX1XoQzxpwWXhYJtC1Y/xKJ6HQnMIZutjOAwVNxFO/PU2iMRrOvaB23PXQ6dJMqELDOBeZT8qLmQo/fE3ho1A1uybi6ihtF3bwLKRtUSa8g6Uir1LkgV0UeZNAAtonIMoyzzoHg8KaAbT/ZJcEI3sZP245vIg6UAyv2ClELeDBcUDwd8Rlm74Nahvgl7bvMZrXGAsfqyOpZzM2USVwi3V+YEM1ctb32heZPCJVSu+vCyxNayDLYnrRhE/3Ry9w86MiWM+6n+b1deOW2EvMBBaTfvrz+70QyG1rydNcV1WkC75y1kP94ksMG5LLbhlsEug3gT1sy294x5wYmBMn1i2++G9eA2LOQo3Afl0oY83rlejGW9Yl4Fdge2RavtbLPj8KLmz4POvVm1DFq5t00oFu94AMN09UrwJDH79LoSQs/k1DvMJ1S8WWe0wJA8eGQX5N+bAFkFlp1pYhAFP/Narzr9/lARnwLIqPPur2m35iBIwr/gUZiQYBei60hxp97Igb2bCrU181hyhbibFX8R4vO3fFjXtNpR8HatKk+b50wuwT+1LryoHJ3QJlEV2UsZ9jF8WKBCCWZb6aOVW3DoXJGJz8BBlJb7M1YcfstMQSaFO0H5W+iFY4K9mQYVkQtGg01rHgLJPz8sv66oq2NTJ34SQw92rxd4jDcmi7O+VhP2DsEc+hu8kWGTP+1hkr+ngZXHNBk2FybQcAvuCI/JgVURH5NcmI5KcNiFZWBfQtNDCXFgXOETU8FwCDh69V4sN9+AYCSiHl1dBqV6XGV0nuvJCN91zn2iNMa96SBBWpqdD2KKO9uxVkLpCx81BD/o9hZiIlxun/gDT/jC3YnHK3QNpcwCp2eCTLD9i/5yrQv/544FkzKmmkWKMqugbFGI9oxXZC/ittcONExiG/P8wex0NZx56VprZaytwyxdCWmt5QCPZp1VX2rj66XCper4Chr+oeBHHh6mQQn7U4D0jALa7C5k8/lzZQztSS3Id/Gv7GiKEX4gPuQBr3S1XW/fuS3jYetyFkSfUdbpcPVdg3MHXVoEfES1PmbegjRP393zzfP8hsU80Wd5V3+J4jlaENQE0RHDtG8fUFNFY5tl+Jsj/qTMjKJhnTp7Th0TbA5RnC+ETjZRW/PYa8MIOEaV2ZdWPaBm3YSZBLqLeAMI09VNxm6q0JvwFd0TZoLlFV5zB07drx2wC3hcQLmOPTlHCMmw051JYh0V9KWsPFcUnwlT4s15iF62NS9S5uewmWEjYA951KJGl4R3zxygTQ+WaKG6gqf0sOgwb4A6pMJuE/CfqzlzRBGzSJ+4H5VuemfesHPtrn1z58j6huQkiw5zK+EbSyuRFlwacX1APywZukLQPPPccZ5eZ6kzzreCnRp2UQrWKdnkL9oSYqh7xBiDYpuRYf/WXzXikFWBi9QV2ntGTyRBbWi8/ToN2S/VIX60Kmf+oYM9MZqqU5xte4fKYw1e0+gFGigvKGStnXGN409tZ+VmDpHGNq6BN0azfy1shFup+B9MQUrC6WArupE8TEQdqJZ4oUY3UOaJuYHet+APkW7WkKpi4+C6/cTQ2eLkMHzU/vjFgSx0VMhgZ5Cvgbip8MkVsSlky0uqnVSLfm2iUVwN2q20izXYdG4ZFiGbEpWGwjb3qlEJHeNlE+kSpwQFdrf4RshR5ZDmHxrBEPz0oXVVs9Hi4HLw8B3yOQwnRaUhssa7lWWDO1NivH0pn1KpfchagF3F7UA+OhQSHyC09fgEX7uoSR8q3rEP/C92POgesgbn+OCAubfFG9GBQ8zYXQ9+YvhBsP1Xfe71FWQcXcWI6jgRbM1Rnks2KsQeQU2zlGSdzVm9M0G7KJQIxDJxNjdKUFTEH5vV9Q1qF4V49ozhrGa8UsGl+4NGWpbfyJpNHX26g5JZ0uSWoVHfANeA01i7GUZQDYI35WHuIqUE0khMsDECDGKvkCjCjXstOCJUzPvGBiO+oo4W+I6+a/PvygOglaFsWjOdGiNJLQr/dWwUT5JyKW+xsMwu9w/Vp6Q/IpYFJ6SIwyVj2oufMQvLtDVv/9naW1uFHVHuCFC/zhcni3aBnd79/NQNoRLB67T3+Z/rnokpOE6wOWAu0tVn9+mH7IpChX84bfF+d0thAX1ahQxWGqlA0hc4LdoDMnJaFFK6owsA0KODldl+u6pD4OgobYWQH0G/4+wOzkw0bpF3f1iNE0uNoZAS3cxvoM9zypJZjNMugHWw0QZUh8dOimgYXw8er85HAnjAqP+9/ZyXda8KgLHyLctPdVbq3NG2VF3OMjctSWEydl2CFHWGWWurqHzJf+KsEJ7VDMdRehNrsDIeiktYlXTbUM5RVWI8eeoyO3vAOoWMQcYI94QWteRCC1aOklI3L8eLAEjCiTwvuW7FqCJUBRXVbeFILp3Vv+SGETeflUUPJyja/1oMfTid3s9OdAYJn3vsKiPrm6hgUpSrEYBfnn9okaXHOp2/+uLnF1UyLf+49ky1dhZQmYzLkvug1TgrCZ0FHBpSa2KvRuCo+RzyOCKWKKORLEoyxS99WAPXuCqPXixh3ZKGwoRMQsRiGwbxFUBYq4nWHAx9YjEzjiRrwX2P6gFMKO8o/33AjrsVCaFCZl7pwe2r9FKYpyntUgoNhxRqe41BPSz+3W1MIcEiW4yAr/H0V1W+tBiyLzEI45wgD9fkS/IitNLGgLwmdqib/IS6W3SHgH01fkfZBjy62TqYm4+P7zpXC9+TOubcGB1mdFT+gs9RR1zHXLfAfj2ZzyRFKslGQE+f84nTLa7Vr9PNp5xaY7iWmGJJmoZ/dKOGJJzI+fnwVP1Q12DQ3ab1vpyct0ya0JVTZFTXW+FIgrRyKZB+hE5F+WofgFQ9rBcEf1brvZCSEczXKyqkNz9cjZloSdAaOOMfSdplytxJDyCUCsaE0pW3yJdl7qD264iF6Erxce151L7lRx/lM7ezpOvwYAT8nQFshBHM8Kzn/P3kg3nxKVdxL164iYtLKkzxA/4lzA1OfE/LZOryRPH6vntl1EVEudhdG/c6rHk2lPT3tDO+uii4OW0z9psIuRZAH/gsrk9JNxKD/wCgO+gXRwNW+acWuJqdl4BI4BXrWJ3NtpRzgHZy9dM0uarRXgfLUexwaeC+6FC4P6HQvSQxOl64FBXwFZfBn42qL4CFj5QaWh/eYd29IT7XUetbCI+i1zXe5j+Wv9sRH65U/jtGQhCq4n8dSaMqUtNYzzGCGzgiv2IvQGcq3C4uZM5ay8HgR4B4fg2SDKZwR0CiqSmxIMQtEtnEoD5LRE/WOqorYwqHKjBJ5eH8hUjEepe0cacnSCGRGvnDLIDN31yGSlkmTZt1Pp5Tf47/UFrUgRcY8rfncR7gBU7fGixmalvQUqMpfExXv47QLvCeYwY8lEWkqlCHlvzMD3nZjOtJZdPBBKIcaQEq0sM5S9to/M95jhpBEmYM2gtwyEsYECDNUSWyPTKqvcavHHnTGhqi/dUA8aIN/AXcxl7OPy/zYQ+4pm9VhfVsiuR6WSKloO+EACIUqnzsdFjXomRyIOakf8+DphTh+LqYw6k1RzLowfo6mb03jMEc2PB+NwHJONZM7hgymOyROgFH3PeUyFCtELkvCESW/mmrdElKMRexnu9WJXnL9XMf8ktxRvIl77l/21nSZHLjve7pC6BumZpaOlRNe+MTp3l6z8HnDQ89EXdMAzYeK20LVFBHSE0Rdl/CercPYNDSUzYRFo+ONH9w4CIvdazHGzBzKt+Vz39oVz+YJr3UE7enhENxi4+KfGG0p/iipOWS+QK0Hpff4qSY2nuorHxxsWO3IzwE8zAenVFPSEzrLJ/pOaIH/i0xZh3psfKvMHK2RBavPO1XUNWrxrEsMKA1or7Y9m778mf2LofeB4MSFCxJL+2zBLBvvtgGhM7W7Z/f/vmvrpqmQA/GtmSWs1A1Y2J/TwSGkUw6J2ySCL8BLC+j6m/euwrW3MAxDaPpCqDI6jrM1imAwEPKz0cu3qm6c5pvxsYm60OidQqnwbk/9NZKVx8Wr3LvQuS4jVDypIJtL2Yy732bP4nb76hY2Pa2cjKH4UeNMmTkRjc/0h5rvdIWaXbpWgpPLgmKh3hxX3AeThYhTPgMaZRV0pA2bFrHUtvWuI9xFijK8JtzZWvyEfGL1lwYERCq2ZE5K9k+TOyXdlFFKa+h1oBOwx4WnBAv48v4FkTwqFaaP+0kjjV4caYf0IF1+ztIQdai6UsuPyWZQdOwEv0W3rc3R9fE+laVh6asnoLdRevJu1ySO24VEbSPvCefyQZ8H21nd8o90iPQHkJNCUkf7+U0HPIRp4nr70gt64xbGtwh40T4RiL5YSDD/KRWpxT6xPjQAlVUhXtwyMRZKJ1DsXObjoUwlcR2zSYz5qQ3jNUJGViggPPz1oBUNz8HfnLJvVkMcc0tuTZI47XUuZ14KA9rQWwj/2j70r5rRMOtgtZBL5nV1Yk6c0vl6y3wfdm+5sSbc2dZ8BCzrW/mFStr68Op+HVrdqeW9oVSJ35rbHiKi6ePJzOlURDwL4XWTSlTAMXC5F0OUTD/v+TheZoEk0qy095QHeHJj8ljt2nJulGfk5nL3sjBadCOgEOqWXPpBrgw487hp7kXDOxOsQNGzPGg71Mz3fnK8zWQprVJAqLuIQx9c8jFF8D3SfPCCXDYJIH0+LraNJjxh93bKULUWb3JuV0orMq3VMiUh1OiNsdWgJ02EEF+m1mkse6xtMUSoKmubDWVgYCWN0+8FOG1X+1ywJPyJY1GjM7Z2DIuWfbkVPxsGM1cA7aeeiAt4PXeN8Q8Rbzj//N+qbG0+U5EZqTkbSfCq/XcVY2thH/gATfLIyzK0WUvsE5xsaQZ44CXycJcevGkKi6+D8fnRWCYRYQT9NxLOcvhIt1V0trxVyHtDPGF4kZ2M1L2c6+d1MuaUETFB9unwd9eUCZfzgFKNwS9X0En6GCcHpW13jSIWxfLXKT2WZKx0lmYRmQvOIzXrLGZdpYwsb77ghgUJ+KCSEjsDTCwK2cXO3mSiWT7CZKP1J88SJmg1/b/EF441HxSrS4SXdKvrlq6hR9UdCOs/yRD96h4JCeh6z9V9A3vFguLSpReS5v/PL9+U10Xmk4SSFOnRQkb3VdFmc65UlRw8Ej19PYXYozELmeDEw0IyrZb5XccegwUnbd2nqDkFyQIaOX6URFG8vq/FgefA8EfXh3MzZTokxgUTcjPthredEkVr3RVUo0oHftSTHWZEKirvew/uQoGeBJPvdhLGUCJztIUu2bRO3YUKrGhHO/ofGJ0NQQIyKnSQvIu4/JHP4tzhPDFI3FFDKpg2G/0LpjheeS9UxIkUopoAJbB+gLbnLawbJVisscH2Ow8BFRhwCPx0UgmeYqqEdP8gLLT6C6F2FOzpOsrqctuo4ZD34Ps1EU+wgBM7pN11YwZ0iaD+l48Gs9o94m96uBdza16y5bvmnVS+qLHSuw5hAGNlEi9YskOpf5RotV4DrHda2whyumLTe8+Vgtz0/55pD0vTU5AF8Tb0w/vowzpgNjdcR9zkxxZOiJ1rS/fht3HINoq17HqBFxB1c3L5+cIg6Bj5uxhnCYv1BUJBK2UwLwoSId1qABnu14MjoZT7z/f7OBkAnme5JzPV75KEknQq7oUO8pzt6ZFINFP96LjkjR23V9ZxXFe1IWayMWjCFSx87PHLtSNrzXXxYwtM6hVNGHmMRpaxddu6tpUQ4+bKtAVNfZ8/g21D2TgdPz7ZebjW44SA1uc9uq4QqvSjD5ympQ4DZMBfmubP+cQpEjLo4Hga70xrvsiSN3g0bF9omn4ia0jI0fWfG1/WHyJuaC1TVDtlXIQyVsgewIxxpue7SaLn5g0U6tORNThCs5+0Uiz0Tqgp2dA7zmyakGJF97ACnKizSfXDWqXcdwtBC42bT1VJ5UPE6peCZicFfF5sH/CDPP86FWr1qFwcY8ppgN5DkJSssv9bqyzLV2NJahRAZ7Qkb2Bl8fkVuJzfH4vXcB2c6wui06PGFMTfNbih/Qt85bkdjjDLkY0JYe5+pCiRbmKZJ8MfGwC00IhaVH5tFKCRJRmXAv3hHJ7oU+b2AUkIFvrlqbas3uUYmQvF21O0C1taw24gJ28JmZwB1HJ0S6XOk/9+Q2/WYo5kCpHmjSHeHt7V8zcBG4FnEYuzB0vg+L/f2bn7/jKCWWZNJBHawBFlw3QqouLbjgEvUrougE9umBB28OcRxhI2ER25c2PwueAClJ1yfo0L03CJ4JHI+9q79R+anQ42xAhVxKW+f2nHC6qJrvbPyeQ9TsqA2ih1zLu9/Plu6SyDW6b3WniETUx+7Yse6TlUA5OVeXuFYffNLEFS2qzUUsZjvWONBzifRscp1aXCG15vxW/E/7bn+TJKE4SZVq69ouskmB8bufWRoFqSEuKWP00kqGjOeQc+gskP0YJU7aCDmkQ00QFJVxOM7Cl9wIkp7hv4FBKeY5qKg2onOuUKeAX2WCAbeLWMX983g/2s72FPunr/KB4+Lb4bfXoOYZxagB7BItx9h8HXsU4ypVY8lp0bUi+YNeh0JoutMaLGzXb6/8XEqTpX0eI5fCCQpNjcIQU44PkV514jJf5I9O/KjR7RDVMDbF//uAKLCaPI7SxcgrJDzf1BAfygYmk1LYFbHJ2YH5b+ShrKVbleUDgilipLImTm084m1q6/yUTKmCpCvjbnzaYqvjOpHo+htrGYC5vTf7+CtmAJ7t1SHFp7lYbSzPRH05mtVTcgCtnBp+frty2g2fG2XXMUgG3VAttdHe4HFlydMjgartxVCAuKVMuCGM+nph6Vr9GH+XVESyh+P2RmaCLI16jib1u3K3w0GXi4c/x6XlWX1p2Br8RnW7Hk9WpzVzKr1kfg7o3CFozJ19Epoi05KpwZXkk5U0JQ9JDELdxg4EAmZUeI5kFbLIsH4aMFMfiOZWEr60hSkscooMcT7G6SQrUsfk8CR9TdqsoqJnUXK3qUP1yEWX25/60t7ADsRkvGyG7damELjmTHwD+Mx5RoBVXBK6AurPgK0PVno89kYv3SW7NvI/FjA4JPRUaGjeq5IGtQ8RjAoLO3r6bL7Wa5JXr08K7mDhC0Z5BN9perMan/DHDPMAFe6Z0wS6YyHrPSvJXsBcZjrd+jYXGSovUAbcfq1Xi9UA71EH+dEB7RAO0FhSpWhdEsV4WcgWSID/2pKUUkpJpm9nFLrWOAX3rQ79yIjl6Np31259G44o2SFPnC02T1gdy82O9O2UtoAhorLKf/acXsCyPER9hRjMZPssJ9J03fh79hd7CZIO6yi5zLaZXBZWfilXYCkK+GgFfjX0GewPVWHcS4OT67fVLLpENX8gm+wj6aP3931Hs394vw6eqLVvVedxxRSr2CdWGwbxGlIhDN2jh+PcquLm/3b+lAFChdjAvmWkRUpByi/HnfYuh0qU33LlHZvaGc5oXzrV5LNKcLsoUA0Xvw89Bq2nNIDEtDkbR2GILauaAgp1haLzv+zE87XViwZW130zxwsmjIAfmu/Izdyo1DPF58ro3k8Ul022HTMj/Q63/2kcEXxpd5FznPWV5ONychHP5ebegKfx3H9mEtExB4RPfAlMTBtB6PxGyUeJ/roPESNdd0j4/yNPw4NY3J9Na34S9uQeSPJaYXP1tiZf23eII+FCMCHCuGiq0+0H/BflMGgoJj/1peUuSYaBlUkkXliYJMZCjNpjc49GkPee4RpJ5cIr7eMWFbK5Xh3InfkGhMAldBAi5lMvUfWqBNSs9ANL+8ENNmltXmd+r4PIzl97cogMUJnOVgYzDgt4zOHe/xiU2UeQTuzFCYVPUsMLXAtFy91i/+FnNX8h3/b8hwfg2HPJmVODN55BsfZle3JG8NnoJpqMbZ/nzBthH7zF2s2tl2NJSaXBjT10Ov18r3pqkpSwfpMYJ8zi/pm/TujjfAQfjLUZDYZU28a9DMJEqATfC+YGBJHmKcVHmzL1cYatVsEEbjzNLvz4OArkid5tBoVvuJnLXTZhHutMdZcVKu5ArGgLFTYJA8ge4hUoOcOno7CLuMH983q8jBihg79ubELSDE4hJr12kitkDnuCh8Q2xpYL4sa5GYmpBtzG6cPUke/M0pbZyvSnGUZhPCIA9u6f3IP6c7rjp+g2Uh5g9HHzVssPz9+rEudTwx6pIM5NIgmcc5T+iw/PyIFAkWXQMBE/4JjPu0nItj/7dOVRBz6HfW7F1H0d4AAgqRWGDMbTnsUUhzJ0EvKAxBj9d7yuP72uQYXHXdXRLyXamwq47DUajhdVY8HGBvmKyEwgJKQ9Susd6clwF4Uf9jxqFdHD55Y39h3H5bax7zkSTzbQpRwr81pn7Al5pd3BSxh0/me2fspiTKi6w/g82OTznfvpmgxCSDVTKHDtbn0L7XgwSVn1ERPP5S7h2ucJzndn78AeFMjOvWVC43IV2SsyBtYyxNgxnSc1rJVgcnVAg3qV8hHhscj8QQdKjB09tSXiaodZzLvrmha4hXyJiBB/ZvimSOr3dDp8i5bGsnMbHeSV02k3jhdSIpSuPbO2seXWSlmeCoDHCY2QgAnuSPMwy6dE4psHw8Jabuvwmr8NBM+Ul89pi8pOe6Swhe9qQDYibiyR7RZFjBFRz8/Daknps5VMBCszGCPpvjenWdqHR7kDnNX4muJAW64TvyfWa/t1tXxI0vtneEAd2k0BM5VwPhG2QmrLUThCGcrJgF+7/CjzDMp4DW6ipIliQpR5h9fjlrAXDV18XFNcq1t5dUx1as0/g1oCK9UJbDkYqhqzxqCHYikPFTdX5vJe4sIeCm3ErBv0lqWiLa3b/UeDGtzTp/tVU5khj4aQFl2x3Exj5iFV8p6w+6OMdpyKuDFyzB0kOM9jafbvG2fB6CfZASh459ES8h9jDIe/sYl6CEcH3J2mxsbJFQT58806siLhLnzrb2WgdRf7dcF6wewO+IOGkNHquVsozf09P/QvMMGKt4eIsBmqJ4oom1ask3oeLlT6VhXgsEgoS7xXadHHyrg1N/8Zn0FtiRngxKGwWHmd0iGWhzZScu1ZpYjH2HtqXE0aXqUatMjwTvxjRZoCJM87FKrnZLBZiGi+GO8uaRCc8fpVbHMkM/qAJ33CdPXod/UvOXLVikHhruIho7mbvFp3R5+wc1hhIxPDSmCqqhHVfImJx0ITmFbluFgszC8wFa476STGR01XiddNO5+RP3ii3+kwPpT/7qstnLbOTuU3ZFxJK7CLxA78dAe3E1BafnaRmnc2P77thrPkOuco+6hbZdCQQc+O7XISPgEeVYgkB/tN76EtZmTdr217qR9vGGpTewwhfdnrXVzWLZRAIMtYQwMh7rFih7y1EPIgbqtI1Q0sljxJdiv46+eoWMPtYZkCCSDLJV0djrxyfI63DACBWdG/rJoPGngwTd8lv/Pjtx+loaROngM2QvkkiiUqHCzLoiIXQdam+B4Djkc7FOByMljE9NdLQr2H1m7d0EBZHoAqF/HLnyTS+/TDEUD36H8XIDMP0q7f7gk0Vf2zW4FwNbbIbSAZL0tFvYY0+Ldt2D5rCS578a/2sRLQIg+SMdDiwewmPjj5l4z58q3nXMuzhCxR8tYPC+VcKVC9zJQtX76W8934WVKrpWgp4J8IGh39S5XQ8si6ecgKWfiW0+peueCNYqz1+M0DkiC2Jbp+EvhsGufgyiI8/TVmzrrKMe3oydjHnTL5gVs/pIK7oe4D1+UOphZu7pm9kr4BhGIty1UB4Kw4Z0sXKRNCRaLj82d1xA3knj755/UY9oFT/J7Pqp3yWUWdOoG7tdpMTuJRtSezoQ/YlHZj4gZrekbapK7KxxFTWmgSqmbB0qE+VTT/TFgiWDA35DfokkEAAAVWfEaMgC+Hj8toui6BYW+YBV7WFFR3oN6fneiG/U9QEycpd3y/YafDxaj8xzVgteTo40XunxOpNu3uExbHeN9ZW8xwFTz7zcrYtnbCFotNX4R5vLryWD8i1NrWaIZvMVrYT1Wwljzq2r8h6Zm6St+C7kmr5veb8R1wsZs7MOhhT80WyxlqROIT17i3uT887rTAI0wioh5YSmBRpbkPMXnsPB4FFvk3a9yU0MytNqHEpvUgi23OhiiTw2FfjzYL2bQSBt4/s2Tc2vBwN+hAiMMHkdUlWEkEBBkywlOon3zX2fuDFcwR3eHIwc5u2y3FMkHh0NIrCmE1Cfz8axo9F79pnMXadFwKpDpan5g7zrWQVOp/ljM9RqCqJUJWCB3Vtgs3qAiZgv9kJIRs0Dn8pR9PxNDxmc80zYHlYCw3JLdUMp8A2XNgkQyXmw6DCO1C68jwLLIdmtNVEejwREk5K3cBlwc4bkeZf7i7/AAp5x3tWRbZqiSTd0Doyb8/aIjuux6h5KHkAHhibfDaXwvogjm+mfT46eOKc36kA55itcy9cPBIs0jTqtQXQrV96h1GDc6H/Wv5fIy8mMqDJaLL8NK0U0gw5rdPlR/T9KjFhrKzTcDSVLvHd17xCNvBXKdRE1taaa3Aq4Ki/BAiScDLqHqy0bRKlEs5xlgjj36gBdXzmKTjWGApcHG13PmsnFv/sgaBpImgwAVYeeQHxEHPPPEDVEFk7M8dKdAPX72n2yF16tqkJmQzcbEKFNi8AkhFsVKVxnVoFh+Swl8ecA+1wgaZZxMR0AwMWbr1MgLAx0qn/iVMq9ePAU3UKunQ5mRWZRJHD6tsDTGBwA70VnhzJY+D1UuVYiNPDesREhHF5F+nLDkS/eW/EKsDNihOMc07lv3bWrphceSM5QwuG4skTM+p16MUEmtfDX4ZOAwQfk1t1nSn6FXOIZfxZfDbZp5Oy4VJKxSsp49C6iLyE+IXm8cP2H9nXkorF7SBpti26LBvCXhrYjrnYY8Yzdm7zTh5egi12xi+EW5OFsJ68qG+NXOE7QM2jYKt9PyjO5h/kDzfSEYHaX2DBzwKYp5xP2dv8sFm5sBpsUWljVwpNfgy0c53gkJMVr3GcldcpxFH929ixj6IeYJS+m3R0UMZjgW7UIXVZoM19Nzop26NFLiI6cuuFauT5V/aMxXIScSGNCaFLhHHBOqdVnZr4wJCC8JIgSkodrkdijsj6QgnATOa0QK6n3WfDpZcqBoEMb+zxMsf6LF3apT/STDld9BLwrvtW+Il+0IUCCRFOCIUvctCG773RXnyqfqzD/UgKcuPoamRF2FaqV+fHGNUlH8B6OCsXxQDHg5tZ1cgVNa4j3c20YuGmbUxbQm/WiNkn3Ezi/89iZToAgEhkPEAJ16Rk2H5th/FbxXcrx0Z2jn7fd7Z/b+gNOZptrx7FmxS/qHpi5uPK4GBvGL+xSz/RzWw5GbFjHctCIRfcXXGZxypwaO+qVeiepdnwh+pRblgN+i400dy3Eaf6X3fbwQPFTHIX3THv+8wXKAMRkqszLr7qjCUzXbn7gZJyh63XkR1hkNaBqxpx27iSXLnbOh5ngodhmmsPKRjh8uGsozs+KYZXCF9vN+6hknmded5Wi8rJJ8G5hxDAOw5+VzzOhBiyNWgdILvWa81qgpUx1nmOLhWoFr7EIn/Fi9eRPqksFwQ4+VHStVWE2BczeHMyeTpGEMdgEhjcac1NdZnLTsI8EbFhciQGHoGWNGN2Px2OlzOZ6MYGHsmoNfjj3Olxu5jQLdgcfvjemXQYfO4AGB/4MgBNBMSnQyQYSGWdds62OYsiqp1vN1kfeL61yTMN+0Ckm6pq/LQXcYv5jEccHROz58wKQGByjI8YkAGvhy+mb5meoIFkpF9ujlO+p+KvvWBVJZurax+5C0Na7XlLStH8zzbch9mjlMIi8/LONSnlcKuyMaesKlJp5taqzS9VN87TsSWuAL8Rwj4L0cDJky5E/xCDy+hbksElSa9zlSWsNlWWaf1A5EII/0WqYiro/dsk84JHylxBaupvu/DB7YAa9uZd0WMjwbtjkssXgGnVK3kl4GO557awljYdZC7NQwiDb67lP5c7nwgi5qLVLIM3aXV5xNU/5cRkOeSWGzhkjbeKQ4ZNZCE7iQsU6ypkGtSHBpF2UcT2xg9tFm4NwPTrWCXG481wRmgW1W9+LLlzLkxqc/yht/MHlGEU/oWSDK54x3GmcKFZcr2Kdu89Bh95OkrCLl9C8osTa/fpClab/JxYInPxTsO5PLjDGEHOfrypalxopyJhHav9o0HZR7aBWULnt/rjbKmwCVKZCxHxD8quQY504uheZi1VPsqOOzDyligUgGQ54t2Ki5uXtFrwkEWljRM0U8HyaoJj13amej18BroLK9sB+FBa+NMCWlS5+8MiHWdapqt8PNPzVm4Yy3lk19LYkTZ2JW0kjezj3J6pc1d5rNOPUQkt8p1b3zzcjsmeKSH4PxFUYuxw8PUVo5Ur8wHrQPwNma1OIFbNgRI9EjPyBXSpK/lONCy11q0TUUz1wLkdFQfxhNaekywKU10uM73pTaTfcFDIihqXiTkGarkgcpzXznKJZHusGn1B4EPw1DuBeX4+z5k5bXRI0UYFUKQmAL6DCQ/VTcjFzXdk7bZlxPOcriYEgnaoTwWkL2iJv3aT57n6/OhoKN3Wdn/PxwuzsJGs1hqJF7arD4IFrZZj6hhFpv7nEc6ih4IWFNFPYuf05D64EXqeNSTc+6+wAqjR8e4PMSzMCnc1frV3BboEhsknKDOyPNnMYTtbUdGGEx/O9q92CxUO7dS64tLTRJpdlHaFG7aUqeGw2CwN6NJBjsCQU9ZbNKPGPZG7X8QBleOJCqwYzweP32375nx4qqqM3PPx8YaFCizReXA/Jrr1ybod+Q5ridmsh0zz85JNVqJ5N1ZLrA62HFaW1MQCB/UxAaLpCqvvTdxtdlKd7Cvjl4DI8WloxZ7s9K8IyRdidyJQZtncJRHOqVT6NrP/8BYHSG2zIz+OqvDqyfrs31DYIfCC7YwObu+rNIaXz23qK8rLNRsrBJ0yKSwQdi8qqyaGcCSXQyHSq3jwp248P5C8TgLm4847OxqzMIEFcbdemT8XWkIEvU5ik3iOmdrbVJIVUJGeK7dnDZQ00sBYzKee4Tmdgtp7Lm5mC24OSFguiCnvQ60QRTe526CW2YezjL0DH1e6jpVjTw+LYUWSt11rrSvrD8NhmMMJgC7f8gcT3kVwVEZjAoTfmRszIi8C1RzHfx1vsohkJCnXPew46SyDHSMQ3Yg8fr5x7X5un9hkH+1vv0tVHw8TW8udCMCp1LPIeVDArGQLnDCEJsnY+LYqzUhMAQxpsseXEkXRp3HpMuVyqF9hy+sKeQuDV8+z9Oe2gaEUvzEVnxOyV1C7op43SVTI7Odt4GhhhQws0448dBuK73iDjUmqOrFI3Dt+ltoYUpaDUFqGHQN6AVKWQ08F5OI9dzCJqHFWhGgOv2UUSpxZdHz2Wb2IGlra3RNrptHVbrC+pkXvGOn6cQDVqYSi6q4CjlPiNNgw5fPITwI9usp2UZbmHoUgHwVQ96bFDDFPt15Euna2MjUWX+WeP2f6UJN9/2Q7b/HFzx03jCpshwd2EJwrjrOrPszEd2KDd2qQVEtz9aAbCBZaRPrUHur+zPI4lBnlDLnAfjXHANSPVZRmGPj4AadfBcAN+ahyeJI0388kJ24Le5P3pMBiLoDghU95wiAhruOLdK0GByoMG7IVkWpfx6YUSxfpAvxzBRjLQqhky2NtxiCMDbkIjqxayGt1Rn3wtM7XXbmg36csLrcNxI49wwOnP0s7/x++jnCjSuR4DpaJUfZusJ/o49LN3aAc/2+umO+GTIWFuhjkeL44NGnvGcj2GzBJcfzVI6FDPGk5tAhyat4ITTHN/aGNlLriyOaqu0bSdLA1AhJ5XAImnW5WkY9aQLZSeiROfl+SK/vInMYOzGR2crP2ilohfLMi5/AtSiVrfTdYOwVe3w8P/TMTN6Kjc3XVg8ZVMV+5Mb8NzPFl4ZloL0cV6mjbNzqqxL46JD3AMGS6GhcP9Bw9lM/XJUy1aapbyxKJ1817T1lFgt9gwW8OSKmz1FKshek3AXxce/uILMRcTnKEMgXacJF2op0YcKuBtWmOZLgn/DewoRAxj3bkxgX6rqKblXCwvXFZpm44PMPFvXjgeRONeJ3z/iTbsinmS8006z5DGh3lWpekuUbt2xpF3Am/vxPolJiy3usa/hGmuL/UHoT5uUNfA9837eOKP54dAxPtepqfOWPRjWSiTj07xgow6YbNVvQItGmswDAR5aipxw0dmLHdD0KvKIBw3fN3VwQEH5gxSEIAn0iBoHWuL4Fbsg/d7Mny4XTr+49hNgsEQMQOf55802Y2FuDYtOHniP6iC9kSJuS5tLgabczztrCqY/7f3rJq1x8KIgR8Kbow9HHFdUhcW99RVrUSgFDG0IDhKbZS50tWtS5OPOPWha7M9+pvEIqjz19jpoDgqxRejveDBgPQ+Gbgm9qR7wtb9iDI2ulKqDWDXVZQZtT71d7xH0+ONsofkiXw2XWUvUBnTMBcjvLuAmy5TbT7Ip6AwHEYixSrGw2RptxgFrJfR4Vm0u4rStOdyilH0P/q3/Hw9ZEflxlhekYUPVCFujW5H/Od9GPWOhxG9uNRS+OPl95OnrzBdYTRRcmRs5qJMtZH+3N/onNFJBf/kCXC6aw7jw26t603ueRwlrBVs1RicBaNxlWrXA7ojsQhILVxz4YQCY9VX/n1bBfe4f6nk7pq1jsJHKY9zrRfND7qAeKnEXKaW71SxkKuAuZvvZIo08zcTLZWpqjv+SltFWZVxRHdZlqgPK98UmO758J2vg0x4aKitzOgQgMtgc7rWlcAhALYvzpZp0hgVRcEIgKCvcATm6sqa+fjzuE1F+AdWJqn/eTzJVNlt13OIp3Jnxied/FOv3BJ2ZR4NqBXJIow9gWj4VY5+gIhJg/LuYmx+tbXcUU7eyAUTmo7Uy3zDAB0DqyFq4AMWuYP8jjNrptf5lB9hz5NqrigvzwyT9+TdvL+lNqWtcQhd6W6hg0vxdqRfnkWMKdwVEpPScQvAb+OW2hee8IAtGr4W2G3yqezhvttkmmDFrn6FhVk4E0RY/0B/onTCNzo+yV1vUzTDObDiDZ7AZqAgXyvIvR86hdESOhw87Mw+0wrcJhV0GsJRZ3xZttmMqvwOHFsHiqCxrLNNt9jj/DcTAFWFKprrG033MNI4IoU4m+4cIdW/qBqFnXxg1Rz7yUmPXsbXtOtvRZkYIlT/ife0OODmxsD5adj/J1OZqymKLC1TSNuj5GSxjMXbwa+n153CXoBPv7Azp46G/5iiPX1bRTomQW2/e4CICBAysSiaSNQ+VsmqDoQ20enweVd/f8P3cYuDT82YXY9zI8xaGRHpC6MdXGeNK592OEA10wyGMk6u20a/DLs937tO2QUfpOtjIzmF0DWA4bi4/Q2eCoIY4cSNOtWtseGig2vYClCZxAWCwVZRYc4h3Q8emSppDk7Q2jq15BSfb7GP9hRovRSmftI9q9x7AFIOUJpMm4CedrNIM9X0NesFXxz/Psn1PO4Ix6X40hYCeJA3hfateo43DbCo9Fwgnulpt79ENdIznmOnBjBgFo02QdQ4/NgA6RqbPWWrZb58tm49QCfA+2CW0eo3Nx4w6BrP0Tw9AVnukudySmkUK6wkd5peST67xlnl1Sm8FAE5lo29ra8aH0pw8XtFGTDm62bjudgm2ohNS75SgoXqark3lUtENvZf+iEX/PYDVqZvTMgS2LcaqcbLvsqwfiYN3vfZykOZrCoas5LwNiRVR8i0/xYDR7qQfU3/z51RsrXEXLLj1zgQjzksoUZIFtk5KfcoHSiPU+g4/pMSAagpLGLSpEGNHPnTtLm2ftzBYi+0vwfKM0Kbk8jGIwri7sIq6jBnO3eFkTP4ChI7C5GbGLSjrnUJ6+ToMQRs8x58aD1zsg4WV9eMRQK0CXhbDydGxZ0lTnTg6tASvgz0tAI9ZiU6b8iYX99DtZ6+KECpm2T9oH/LvrmnyH3bA4srQ0guyXwbSzgpjF+m9dh5bsM8Kd1BUmStjdnSAi/NVoqb//2YaCNYK4okDk217TNbXuD16j3zgo8kgeD2D96y0EboTeZF8LhxIiruYM2IYfWQ771N/XXTrrtbOyRfeX9a2If+DuG3EukIpYXDDrt7jWgS6NNElUDi03tpZSwlPWRUBpdk5GGmieCzXY4kS7oVu8e/9Vdk64/9qMGnAxjJD8WgMVVMe0OJxO1vtbp8wbSnS+dmlx0Xomz4nrnsIrCyc02Vj99n0PGM0m4zRWXgUbe6+d7TFoz0Z5RCfjDtDDnwWRMa3aaa8TV0Wdj/K3HYgiuA/pQr7zIU0UGEGHTtvuMprTdfhHjGJwZpsV15CzumuJDrE8c4nMN+QkOxpwdeOzStMQgD4ZXfI55u2PYMIyl5HrIBUJ0qTKKHaUTOCyY0Dp8X2+Z8vJ/7dUvtqpQaRfFv+nenWnpnLziLUKb6ly4eaJKZR2UZbUTD/Wh0hABfCvxA35/d8TYmWhmghr3ET8WTn38NAH/ie1SMJ6id5bi56IWYNxglUD16AaeutLbhw4wVSzDlVqRhArWyjuUKwZYsKJQNAUuvmLh8kXXInpid+8S6VEmDcDaXfRskh2PkWHb+0Nx42FpBhUsgiNIM+MCxtB4cz0lfZ5OubWGvUPx6r9GiQaRbpCDHmoB14VGOWYF5m7DwY9mEbPIpO2sVymMtiOvvzJp6aXv+yjHOkQquttlpMSerShDPzaHan9wmlDVE8bgnfEMChnnGaSnZx38x3Ej1yac14ctJzNau+yISZL+NUNmLDMbVE7QNRct6vlankOdGeVFGEILmMI6WpZIo0wbkkSLIzomPSc2XLeTj1KxrsqmPnTdaLCUzVh5dG96hXMqCxicBX+LmjPQ18f+Qu8/t9Tu0A1QgQ/oW7IgVr/P+7rQJgYy0Nc55r9HqRri2+g0WwwI+uW9rQUC8vEvOCTIvdf7AypfCmoK4HJ6mF+7Z1RPIYooWVwbyJxa8NzkaoEkeqZblvNGJhfngV6rSjzZF3hBf93XqxNcijVQJ0Hb/5fjEQqzdrtbVLSh0yxkeUxBKxclYEHbF/iIBNnRibdgiSdbIAWU5Dy8Zd2IgQ6rzxzEtCWJzTgpe5iz4EQI9H2/uSBVY8TUxH7ZrYwtIypVp1fLciArKOIGMAfqJ8hBh4xLXiO9FE4NMgNki9j+ys5UB08intqr+7wNqMYj+VD4r+Dn+O1PogrigQO992NO0clD3Yw4p7yCw5T9YH75AFBfmXB9P79tZM65OnehG/qALNbSQ9MdPzAYzhC2C8smghLNQ425xeEWKq3owEbZ/9PVQw5L92zFGqr7XU3KW/h4Oj13pPOm2K1kq4xN5x/CTFNMiIgv9OiQ7TQfW2dCIDwma4yYGZTh0ogWQgIBeSzvGmUWLJxbN5gf9fojylLjdELUmLaeZUwrCNMq67aLIfos1x7TBJDZX0l/rpsWjpXr390MjINQ3cASFqfjTD+SjS2U6N49+9IAS9AuzXSx1NWvyR6Mha9U4zxR2FeP3F3spl3O2ONsIREWEhcpMLVTVwR6aoxZlNUOWfuHtgmMiQ4EbKJ0lRo8kyAzQsEQ09TVJM0190dnzmfi6Zr/0KczwPOPNnF2Z6IyMD2+/enN5WUx67/3WjIK1g4cWR58uGz0umAQyCXNEIigQG/f0jBCArUPE2S2vdBtzxE1jeqFpBPybiqrK0aSN3gkfh1f+0If5Ju0Yd8r81JX1nQJUuEGms0PjznzmNIECoQ3/vl/9OCdsNvA0DIoiEcgy/chHaBDippd6gAUDdU94hgJ0+4v+vffC6H0qwGBOCr0OEbIFAOB0lttv3eNT5QdbYZieic3ZUc7Se3SngQ2Zjl9yOG/IBxi4JWvVfcfQjTvSeaPySgLANah7mWy8DQIZqj14L3aZWaSL/xY1nY+VZV4QUHXBsssBozjvoo6HKYFzKE23lWVySIfy72RrMmmP66a1AGBpNm47Joab0CYH7Z9IPkTiWQRLFC7oL4hV9U/dNF3vaH9z6iIOvFZdMtpSWBexycHo0FiMdOpg8Je2kNaUVu+AfO1yzR4cyifUlHMOqBDjUI8JoN1dyKdGp6Rl0jLD8LHp3MVquWoILiz7wt/ZfZE/NhzdMFVzTrivWx0i3LV3WTGy8z4B8Z9aj3yz39SXraigyNxIKAn46nHnaUG0DJmSGnstLadcpAHk0rMBE8Wpa3lnQSxSp62aIojjOVXXX95226GmW4tudoL+aB3gBgIE9hRLco8cyi/onQhn7DJ2rBASTywItZPvPV1tdRJCZzA3RHO4n6nq7mVb7Gcdn+n5xE1Yr2dd8GDPA5Ek51LVy2lhk2fq+gS/ZcM88fG9XXkKE2M2TYuCLtgzyEtGOf71bZADq1K7850ev/VFe7tGKLECcyKuRcnJa2D6BwzAozvakx7bFC52PAtEb5LIKyu6KAGDvxXeoqCOtbzz9G4qvABUqNlyqmISQjZxcNRknx6ooUUW6umEDYenhiGYUCJ5zk4Plb4pKsUrgRaYOvbTAp1sm2n1E8PuNlhwMfOEby0IxLFESzSg9p9MMT2dqmOpke1aJmPN+bp02lkHQFMuyXWsuTLyUNRwM3pqYbtvOs84mZ+3AT0zEmgttqOpbEMn4tOHZR/iOFqFwR/wTcmzqBBpSgIUzbWjCSBitSoMPq75L4JaSMj7+KleDGgXBkV/GEiBLVTH+qZCDvFs7VvTCWu9JKsfm3SoiwOwZS4W/2rg0Jokpbzx8HHtV12Cb6l9ER3Ox4WkM+bdWhl9tggdV38+fRTqFyV2oWVbXBzRYBRDdukEoOpMosbZt6F7cyXebI/ztrpCSQk1cr/vAKa6cyFUsh9GWhVMz/sj0ICHLq5lfAkYGqH1tYgORl0oKLlvHDYxC7K82AZV5i8f23EG7oPvw7IAVgqOaBbRCy3dSCcfbj+0cgu6sjpjNzMSBBoMtyl6EuW/hOZitaKDyh39Ir031SDmali9bJlLGYDSq/cC9b5q0M+eDhLvrODvnP1A/KVE+tUE04AUS4SEFyAhfTOA0tJCAttlFhQUzhZZakCzzDDP616dYOMZS94Clib5pA6VKpJRooG0LBLVZzmskOPMmUZUp89V7tR+HroWHBNRWJYOJOsohOPTCPGpWIoXneLTqN2JMOpkb/ocbzyIADomTucSwL6USvrnLD20N9ZtiKVHpK7+gGspXQA+QMNO0yscXfYv9sors8HonGcKk5qTxapxep8txjy3Snp3BcTUdKyMZrdkb9sGQ6Z3jIvxCB2tvIikij8e9FxQShVHoRKaGrVAOT2kVfi/6pzZVhxuJcXtyD7qGQK5IbO6LHTDW/Bp74G38/uMbFo+kWWaTwJ3RmTmJJIkSpD216BYLbIeWLIxsYSDk5WZ+Gz3f+MRdQI1qbAc32S8jPU0dpnYnx9jQsX72lHRRTzru3ETZstiQtyEw2qfjr0Js08EE/WXwPqULCeBzNuYfeQ7MIZRXCf9lMAS7GZC7yYqbQbm0neycbQf5UeEH0ZKO5MB6sWQZzki69uBO9vy0+FoQUXrjOq1NcI2smui7MAZR5PByAeHuYJjshGc7638NS4sOkoPjsteFlSJAS992QJguy2sxbYvOw7ySTNhBxbCDOWwZXtRNBgt/1WeEnDgxcM/JQw1OKmOJUjbC14rrW/0zK3CpYnejCG6hP41M6BbAWTxrzkMIa3++d7PuGXQ1nYvIMCPTOQWrtuWJkR52mYZOWQdQAq9hAmRrPgH25GMbIOOED2wqjsTCWV3/6j5CMh5UWPGNk0yX0jpDuZHXQ89HocVFqOfIt8PqWtrE6cpA2i1z2RWKsFx6/SbgMvIJowYW8zfNvg1Yk53ddOH8xEY8PZwl8unwvbFYE9VxQeVlBfmp+vCXbF+Fnka7Mnumpe75rk6ZxPu+/1s7zqqT+Ej7eqE4MvCUg/7VRt4z6P6JuUCR4rhuyVirgOzan+kJPZUXmaBtsQLgGS/NdX51nWZNBqR4QyBuOSscRSYwTqAmH65VyVwYJ/DagvHblPODmCc/7wdNFxGbDtnSwqzPQPkUyOmMFKV/ooR8gz4YzU9nnGPmF+pFa9V6z2GEXhQcq/QjC4nJ3itx/b4N9vQuM5/OTi/+Q8BzdEtEIu1jDAaX0qnaMKc8rAuUpppRfnT3lxIpZqvoLbWmGxzowqiY4XwFiGx8WclVzHCWpU/lVdRXiOmPDb5WIn/iCl1gCVUB2ljC2aGC/6qG6zmVtplSVF3nIfDRZcMOVZmZglzsEPYPrGclQ9kduVO1ZfnEYX6lzlYP7rYXW1JUiQYQfNDZNA/g6LXKdz9nWhvC2Ysicdv5F2HYrFbVK0rZVKdw9PTCrwSsEKooqgKQZzrQS8yrj+fbuonjt5SKMlcKpaVqG6FAJPh2DXONdXT4/KKXwYTLmgBbS/qsk6APnmN4DtvEhNRZe4l0q414/Z0lIpTZbwut5SoiWmmDblBOXLHvan9st/LumLr7UPouY9NyVeWnk2bMxtdzP5RzkCvRvZGRpDqcHJPxTvwyyYbZwVm6e40/z4Z+1vJaUOfmf0R8loBjQmOHSAZ4xa56Ol/h6PBK5oFKU4w+v45fnyn19eRn+xAZ9zNkFwya0YLefmWLax6O0DUcoZWueBDd+6JfdCmoiYONHASqG0Z/SV/WJaHf9F/MPObgwYiQygplp5s/mm52DLc1iBuIRTBXQ0+rbXAjneMvGXPpi1xVVZBsmznD6TX96Mc1eISAo7rVUUA9O1/3hazYnkb2whl5QCI1mrHaWQ+O51CUyP8lUWxDQjWVONdteWErs1mjKo3iad3XdBJ5DYhkuEq2FzLpq52hUmreOf0FYFXzlO1S9CW/QPsi9F68fGzNT5OX6HeVuGrTiqJwQuGWBl06LGKoQXDw3xeSv/aOKZSmoDq3CjS7yRsjYWm6VxcNyMU0NChFqxvEnm2ZhZDiUSCW7K1AU6pief8XGUv+rvJYO5nyn3SHyh4doN1lXc/MRlZWhHWoxBxwqhUS06lOaEoLEkhSni8c6UADCocWaMTmQ3x5onluQU5kLYfwF7j737rPclN3t69xz7UxNnEr4rGismhm6F0Y8e2+nYw3VwpshL4usRK1mBC5YEUm/EOScRduZxwMSXLMScaCZ6DzG7ZkV6BryFBw31x/FXT/61XZeUmFli75G4wiKPZCnWM5KT/ctrIRJJstTje+YGjI2XJuySmW52mGqddgUHHOaAQqAbUJAzSE+HhDMJkbD0trhtsuf83EM3ltECsy4CfyqTM/3JC/oOCHqWlHjFyKvZQNBtb51CKzEPl2m5J6TwzmKX8eptFXPsDCBK06v9Dd89+x8WjhSd3udX5650djEYm5EzuY+gYGb5Amz3uv0xQAab4b18XgQYeYrGgEstk7/2/dwY5eFDECdNUt8IpIz4tYYBG5jOE+Lruz6MQQxNwl6aAi/S2xPGakERS4j3D8rwwF14MRizSMS8Rdzia88uXW35qe6qywzSIGFWvyI/2UWoldq57gEHbKJksL/yZe4pv5mI/ghbRXrWry4k1FovcpBCJb6kaqorV7uX4PqRBUN0OFhBpjBsm0dbu6cQH3a2O2M4fRopqh77AAuaOAnibGDYrRMa3zAoErqSZNzVk0GtAc/WI8Q+qiGxfnz12QsYX/dVW4ANkNGK9Q1zL9kW0O5ssb28U+bzdpEaqrH39p22M5gPnIHaCORNtSA5vR3UfmAwUltDFRJ+7OCFhSH0MqHSFr95FivmAm0nsOQaHrfkmEVBytLtm6uD1pBK4KbtrtTo9LS6D1vhOME3M2OCb26R0BrSgJAmVJQLgIcQSamuAHo6p+hlGAZSvK3CPR9JIA+M/Kk9AMZcvRmTOqMWbkoM60FnpX1YbTP37WqAs6Zv2yE0wAfs+MIxadjxftBLGyetcTISOUncXtODbDZefChSUdDGavATP/3frFPX1LUz7KZV3c25iON/Ztu9EaSNpl3pc+P+MH8h96/Pkl+C1gNntWeUIbq76xRTOG/7KKmX+pV407xawoWXqEWAX5PIWkvdf2Uv6MObL6HBD+5Iae4+7kVhJLEZWRYyhlYLU5mq3gszv5Oam+uUQ4zUSX+pM5SWiCKqs7xUJbt3EeB3ISo5soAIEulXo0oLgNZ1f5jRoOCP22VWkhhFe412BmUOszwZt84T8KpFMqEjOBgOFM/TCxviw1WF8j8HlHq8dAmWoWg3JAluNR9Kntv0Vabc3OMxa3y7EU7EUkdhIXbkxkg53X4jXuL60hhuvgSY99DQad2IbUyc8+KPMJOCHwelTNc7xLZJOzV5ShzFDmuj4V/Dlh5upKOQ5oQuZZcu6/JKNXpwvWCGL8zFhQXq6z6cnayuHeAr8Qk4L0FaIFywKy5nkeBb2mT6dqvV0u6vBGcqILCa0j9fxbgjP5GNa+6MGGL8DFqyULbbfZ8bd5ZINInXO+K5E/a6ac+5oVAv5RIw1RmwnXMpNHP66NniVZ1QtDnWRuNJndCBQrKiWlxQ7zm/OdxjpG+RiBXRIYePwXAouMTaFeIpWLgSbQ952JlAuQ+VhkJ14K2oOKJKau5Vd9ciIhx4ySaU6Lcq+gnG0z4IbAzvRZ8JYZ9+SIqS3eZyE8m/u99KG+roj/yACYdaoWYGxrSyJt6ZVs4TIzYiM+0Lqf24cBIp7YCPb0wVaiD0whktPrHfT1abxDjgmUQKXJ+0bpvxefL7YrPPRfVmrkGgZ1i8+uK/2YlaK5czplAfe64qyj9zfBMbRnmv67uBbIOWX/RfQmA1ducMsbBiabIK5yhQkfYvKr2bgY+cfNFvNIUfL8t296/lp5WOjkXAE4m0FX1C319QWGiY8yPgdA0Gprxa4R89sMq1qAAeSIdqH+cg3NcjMhWg38/9Js2o5YtvFuWSDSQkQ5d5+TXOeJ7qzuVLnsf9xIsgQ5sOHazQciVqiPnZ4uDNgNqDTTH+eBXwURNdMjBhXqdFhx3X3sfdiz/D0rfRr+QwCY85jALQxYeJ6D/j+eznuAEYFWBiCEC1fWleBJ3W9bNRAIls7atoNmm0k/pSU1/d/mgSQTVGrlhPPL0XV9Uk1hWjPeK3hxqhSZRt7gaUhB9zim0kRNPcAmznmXa7ginx0SAHUyY7gjb097IIHCs1tw7T5tgjAGN3OSOuuzDwTjzAHyTfqO9cr0Qmu8fieNasQYdDOvYa+TkRDVW6N6sOoWbjA7129ieR0j46Aq2HZQMviCVVfaQvp5GucATeY+5Sfd/+dCTzS/KSlqJZOFhi7pQcgO41SL3s0wOTI3MoqTF0bFLctklG/kTJgxQqB8GtLuR9rMeWgpuKax6XxUe/R/3+qy4ypjcQXA8JaRj8tQCsM1IZ4gX25461gwZA6dMEWtjvQqdUPFQYdyTOQ1jwzCckNWtGjtsJrh7V5WcyPq7xc556ofFBAbzUD4xhgW+abpO7PhdGW5ptUcPhU9xBLhnrmS/zSWDUVMwbmYzVnH1c2HmYjER8B2KYNUCdYZLTDqeY6zbCO48ihSS5zr9MSXSGX4hWhpMEPYvOs6Z4sEi5En7+4h4UiFH6NufwL2RlXOLG0Z1saJ79ISanIM3LmXKlYro7kd4FL+zwhoLPaO/3aTnVnVGVIfEO5ac+joX1hl5hutMdzZGboVlEBiZ7E6b/NEjKZup2zwKGcFxmsY85QALO8ga3qWpxd5udvA7xsCbaoRxREwdNmkdYn2o77l3/0f89UcQQAiaIklzxx82MAONaRICH0LiSPtGzDBqUNYCawDxSh0rEWCPfVr4iXTCiYq33TkX/+kW6+mr+nEh5bR/RzoLI700nFGUjpwgTxpwYxQtNCQzLykltGtA9bjg4hu9BCZkCv+/tA3LPkrVMHcR2r3JI3a6c+kgLxVfFvdf03cvQW2zOjEmpYPmRFWTO605sJ+ZM6PQY3pRmV3ZjgRl7PBTWmMCv8B+nepApdfvsVhibBBzH+h8Rv5gaqalixvfYLcTkEhqLwHmg7kPWR9RLIQr5Zlt5JzJMYeawVw5su8gIhnJev46yR0aVoc3+e4A3UfQlN/a84D0iYdjMf0RXKHwSXG44BSr0pn7EOcPAwwwki+XyhkhI7te2Dp8AhaOEfDmmA4NDZskOptXJT9cb/Be6ZrWN86irnrGf7LfZFTBQCN7zBRtX85n7vUAHY4fee9T2NGyPsTix2YlHYHvWyhbFDLGN0AulGIN81JlxToV/HtzyVjy2XPZCrhw6xdICvjNObBJihp9hBqh2v86+v9cdymVWrg1E1oRuKPD4U/PjcRJ2H6EvrkJ3F9AG0owOpt+2QYz86W+/2jt4DkDQuHcqsDp5Z8wwXcFIdermskmHATSJgn5S+XbpNLll4TxF2o/RsA5LK7FeYR9mBWJevjAEg0X8sPVbNyakW/kv4Gw3OTT/wmQh0MzGOTZaQRFNsOWZqAjnkBzU35+DcpeL8VHuLugYnalfdyRzztPGg0wfJ/55tNCmbJQD2xd60xPt5lBaWCE101RqNyLIC9Y8jOOroWBq//u9Cj+C395tMtvB1eVNBlMlXBRzsDHQ/ysG0QfjYxD8VWbqrbqyzKQiOHUMcJBQcsijzYwu4BS2cp98NA/EP/nDETSxM06ZPZvZ5Sn+4m7osICfvVY4S+lHHFACEi8N18Xjzly6l80C5oOVX1m7o5opZxRnp4xlmaBb5HQ0wVgXknOpewHLDr8U8nzkO1upJkN2r9WwgxDIZyC5Exgz99zrREyz3Y1H6MBtOaLA7nDay3InPdfOdnZmVEu/uQsZ/cxMiu/tswuRTOHdBAOc7uuhVGJc3AEYH6ZrvYgOPYzyOhlIehrBTiuDSKMuz95HdGpO5ZOJ5HiKZ79C09vIamWWBvSaOuelfMKYJNlk7s/Lmkx6QecAZBUBv/8PRh1MMUB3JwzvVS/+y1lULEP2C5RHmXCDEc8tXqnrSFjJIzak0pZm8l9qtX2kx0lQ+0cz90P9FG8mQNZ3ThR5nyYKbkhxKr5qbaJkZNh4ydEPcvqXW9a6IkySyvFAbGIkc2sNAvamcVCtjRmqOFdKCO1Bn/Fj9WdKsPnrwEC+XGa5S9z03nFJK/chKvhvNO6XqvIqKazY5fe/YpxI2Bt9Flk42HY7RU9G12uwInrdX4eIwUp32i6kxeB/tUhyIBYtaIavO/k6aMx2VdIZ6Em8ZyYFSknU5fWJ7C2mLUkB1mer2yuFvUiWnbTmvnZEyzsbXvd0mzVH0syzJXFp1D0gbzi8Ne7W7Atd+ELALfPuyGMpjYseIomVUUuBt+/BGkMgU8oMc3Ekf3tB4awPF4mUQWQq0wdLkkAUgbQQOe09wBV9ffhgnzgqJY/fGMsyCuXuccwOVj6H0a2jG01kYLGaPsp7jI4jHbSrXjL76V8qvZnkRMPfr64I9/avWC8Pjg9JihYCyG+Q8cHSBQ74cDYCQiu9mSDKLRWAoGDH1Y++jDTnF99u/lNDRE7LpDbLQH1VN4Vth5X0nzheCpTkb/42cIadXs8CtRzhD+LlvqhaQRTDl833p+lIDVBRsDbkCT5tkw0fjiw8e8ZA+18ZgANsVHovIeK2/WDz6GpOH4wFi7aNYa/lMfe7vin3yYl+OSZkv0IPjzjBQT8OffE5Eor6K+iQaa4WUMpAfs2eCMW0gFMIy4iuxqf9hRhHsM++TrEkkI+bGzP9opZAKPmqCSDHXX5O4e+CeK5VGs66rdwRva+DRZpgRUHcoEn021aPO5iIrzHYUgoNIcBtB4P27EOD0PkX2lAj9UB2Gd1jtgZe2qyGQe9VNHCCIsaGV22vRItU5M/cgYTn/nR5yHHdClk6UOOwSX3CuQzogaRQPGOhZR0IbvJKps51ewDM5POK7TWJIieL4YEfiiWo2mtCuypnnm/1UD+Nj0lX8G1HDPcTmQkBVaURwoHE35w2ygVdVBE/sE9Vy2SN76Y+hw1Jc2Tq5IjgfX+9gdoorXb8NJ/UpSuWQQWz1w/hWExfMC0sGIlNs92yeMn0HTYKfu78OTaQQqmEUR7LB3DUIX4aL3kGFugNTRbl6wAlQZDm2MLsl4VRO3o8+Lcx5aaK5oadxNxZgBNhZ0pUrGR/iK/PDbZwRA2tt0OJtx61D/POpZCSSSQRrZeK4VT/lsSsaKk2z4RkU8m6Aaga8abvTwNXDqpfiWsmouM5NU2SZyhNAsK+pZ07asGcFd1zWvkX/tHvz4rT3glUMkzwtZ6jJAIcCAE6DrDpoUJ0NsCz8fgmD+2SC5wX9NmnBl5zz+PaGUA9f2vnNo0JPDK/2cWeH5odgJAqCGWgO+jM5seDEpDQRlyhKKN6Qd2IEPWQ9MOOFqRy3UHW7pFxBnjR/mA3Q0sf8poKgM0FCcA0O01xdFbghb3ak5MC5Nj3pwwL1kaR+WToGgogvdc1PA+WNsxTVx/ePoPIlMz4rWGY6xORu05MtCnT8fLEe6d+s1P9xMkEaPI6GQH3eFXxlpS89sBTK8JYQ7Oz1yHqVi7aNXqg06uyDlt/nwUrrDEg3qwp6Bsyppl2rurTfnnlhazhBG5LOHuIQPwQ39bjTclxkPEv3mAP+iPKb6vnBN1R4/oqxcFBhwdXWliRl/QHnnzhupWXCALYpfNcyOPVxLiuf5L/V5lhnsfMbZbCLY7Ze953buNLod0uPpX49IK2SJFaohzkZzVZYMXkR2PAIqpiCJ6pi7YWIjUiapDF9eUig3R+oUmSxD1GZ7dmwrBi+kYkpWu3K8RKl8D0gN7BTSKOQ5rxoNue0nisqX1tbaxfWIeQdME2o4LCqI3hZfUCPpqv59+UXG/KQ4c2/u5dYHIN4i3ehMXs9V6IUU86W4pBB3qzCBQ1cV++WpwESHZKU7yNi2x8vj/2OyOtJuh6/SLKixHeCQpUDF8KFJuvwzChwpI7KwFnSBF4mzsjFzAUGEEs0rDapE/pEo/VjMA17qZF1BbZogMYnMLdnPtPLHQ7XtlRyURjXhOhVQPiqcEfLIUMLufjwStQNThwoCuxj6xR4BQYxybC2S+1FCYBocRi+dL8qCaiFCDb5d3YgUmJnaVFaHAMLGjNGi2PSTsf5wEcbe/jGgoyljyLs/9VzazsCxJ1Q5rRUpRtaEpa0zrsMLbeJpRBWD9dvddQG6obx3D92MkIHnXhcajnw1RZQY6MBuD/KEG2QRs3TmPprnioQX5EuELc8AhUVDvQPmb8SACt13+KNqmJGjyBv040u2IZUkk/NtWR5B9gk1MwNPeCq3ZnFL2UrFmu5U55SzS80rXTa9kHYWV9UD3zveclckP99qJVngcN9Nlvf1+iLChu4oPLKxeF8dbxAqknaqT6wuXEc4wfZPeRJfM4UQ1IBs97GNa/Btz0Z5Bj8e2C4dAqHwgKJwHkdUGJQxAKbC5Q9ZlwJkqVDwuKzAgSCjNhkEc9KDXdbNqFMXQsbJwRPmWI3+mztgOu4c9RtkidrwnIv+J05vr1E9G+4BOzbx8Ed2TyrV/nlZpAeFX4+tYhgw/7FvSCLYoX42oQ4mndUacWhCi6XZwmIw32fsQDk1g0GSbdsm8WA+F0D6IUIugsR6uibC3N4y81j/c4xnHcKdQ8n0h7hb48N+era+2xo0YMZfN7hCZmeCBxz32Nai0Cx7VhArKviF8pOrnnAWiU+9oWhxzB0ws7cEGytE0OYDe2u8QR5tMxvIetfnqnRRlGD7DkO2t+gWemLazhxi6IWVeJsfSfbLTQV4z6iFRG9fzN32Mcq1goWvsA6HMCPKVvQf92YU/J5S/lBGzxzgysbl2v4itnK7OXYd4S2qcNB45OJTZnzdQD7XtHIXjA9BH/C89MWp/+GTlcJnO+ZHtgw65u610scHs5k8iPZXcX/8WLU9XJiymgOLR5wmgA1UC2xlR0+EUdQZuEQHbCSkECqXyDp4lzuUg3JWDEKXCcbFITf4hlLNL+9g+/iBSAG8Ys97/trsIK+o/inc5WWBIadleK+v7U3eVVSH7uDe3u9F7YvMwhNLrrYCyNB+YxXmlhC0A1Zwf3sHrkPSiT3yLTsGpVvyMrcr2wCUuJIlG/THt7PZb99c4omsse7aIXL864KrI7oS5vhE3tkxCKCsimIrFCZBPmCr11SjVCk+bJXFxY+aTUGtpmD5jezSsWhweiKFxdNa6UoOnHe3RbEZk/aYIEMqUi+b2RmaFbsl1d1CsFLVaRl6vixhJZzxXyHINJBnVD7WBKM1wdRvNUwIwp/A0/P/gAOvpOGB8tAvWBLckFZFFC+/HLk2MlPpamF7q/jL5XOAdvESEy8vWcYjTyzQg0PMYzJBx+0SmcUX6SR3Mbs4tRmKLwS701fD0buLy5Gf0Ai03vwpFuxomOYXJVKQ3aV2C6HuXXoxo/Un3udSvv+FTiCHwvcpPpYy2l9pZJTkbh8sH93cTpvWbkCiwo6sk/M/yDvIYqB3HoNsjhX/PJ/leooCCuqHx1xVg0I8nBPWGAnSRvR+VQ9f9jJYWP5hbC3AZDC+nBahiLOUFJ/vFojV6SLWgt8LnCVRFh7Hhr68bHmDU3FpYhWcFcZWhY++XiKEVoeCniYLSB/byuMn03iOBiU5GQPkJ05+5Pd2jpcTCqIO5UzmSWVCNtDjfDrGtBUHpTM2xa1Ljf1eJxcywXKoSUWoD+whBwi2N/jm6rfBAJV88bSZXuG7QV8czNU/g2GeyXNPvOgO11Ze+sdN9hRxZfOqYbSRsEi3kRIgQpl4hrf+15FImwXx+fZqTlhQWXYC1/yOQZV/9ryar13EeJQj6TfTcwSaTSrNfe+CxLPuZToiEYFHgl1HWhcNCPwx1LC5VF+3xaW/0BkDy5QiR8TaHkUy/0QXdBMC5XyI/YnvlPGFSg/wzECnaZXzkrKtAbYYfUsaATrgs9iP8FyDPV6hT/V44IVWMwGclatWUQVJ/HfTH7fkrmOaoKaJFZ/2TAAqoHCdjTp+uFNLPCt9jVpml+uAAyo0aK493iUHKmQjaO0/jNS8+gVoUQf2w/JJ9BhN6OFlu1DF0E1VzPOpLZGbFSsK3fgWYMNxdmNwRhABydrKkNBDRhUAvQd7ByYMtGeJJQW2lLeqt79Eiknr+kR+vM/r2XAt+2GaFzDKuN2jbns2lv8fJZgV+PgI6CeTr7OufkxbTe9RPtW9DSx8GdSqyP6Cp7/yLAPb5d3y4/jGE0PXgmYwGm5e2wb98liaKItht40O83PsKz7GPMrRHq0At3gi63Ka1AlwfuT2aQjKhi+6tkYwRf7PthSt7/frIuvxpiI7LD3N7Gzz/VKGrC3Gp/+2bV8wnP5CGEyvSMjEdlEDyECOwwuKQeC305thnov+uXaSH9MArF4wvWr48R9EQmxxCeg8v1cH8QzXzIxoxUHTY5QHinQU9T3WPcIrKik6l0JACiaL1G3RoDhzC+tEGHfdJSrDmkETJvn+IIOZ2U2xwvOXE0JqwE4koy56ieATFZQith5Ju3OiQ4UsV4oNCE6UJNB61tC+vkFt6pwrnQNLv536QLz+mkdPrq3Chrmq8fXgSVhrgZc2HPEvcG2TdBxph2619WwA4uwqTTIX6MwVgwZY3Jm03Dyb1ahSD0IukhKkVjLKCbyvq3eloB3eAheJXDMIyaH3AlyNU4kp+sgnf9JEjzu2ElvDTONRVnl4ebeNbP5y6YWld+SfEw//VvQUFzy7zrZcPu7Sdu9KlwrK9DRau/DdeMbwBpiHaXfmWmEipC+gv1XiNFBBZr0BzKQdWcsySj5G6ExiMJu/PQ7k091h/DkZ7ogpL5XggCwHYnBecbu7PDOIsPlsFDhJdSmStivl8NLN++Q7cULZ0CiUvdMQi9gTl3cNKDbslkEkKEmuUPHIngCIl2bqfE5QQCjNji1dhjjMCW3sd3SWfTicBeGLtOP1WnUORhyxqz5BYjQGbBl4Ulq+B4TwZuYn7yiEiH1/nphbpu7bNqpSp3ZX9XlbebTkzrqf/ubCtgAYeMVQVoAx2SFm5R0GoGKzr9o9EEiD+isSBOvde+u5zoSND02qTDeFhxccgOAo/bsJiI8wizVeXjxKFfCjAUmnuPqw/q+rycEZjQhjc3FcW0tFYf05SCaJWT9ah2SdnKFKrodE5PqjOW5iop10OKmICxhUQQiHRngqOWFlKOptGGGFFbofSqRJNB8LLIa29/BNBtDOao/iRIj4j+PMRT1B1uPRFGoFqYb4XJ3WMKdUWarLF41qk23VPPdJGlA/PsP0PM6mMpMIxExhBp74nGTVuDYSpmDuj9osl8uG7FbCXG/jdGqKCUvtrWT9EHD0vfULVF09I5cbQdHwsTjPecwUvVVxM+D2ZImWC2V6bXpfS1Y+mT8uag5/2g5n8SoDq2Oh7C3FKzEJf5jlPVzeMTcwBO3uCs/o0c6iniaC5IbZs6CLQFfqv2y9BYCbYWguFBAOvKjK5cTcAPv2kQDJm73JypeBjqfXC9oRL9Xz9MtCiv5Rser7dIEAtrWQHmNAO8c1mYvqFg6AtAxUrWz81Nqua2IvvFEmMyELwy6JJ70Nnj1pR4Pdaam3TRBbgZDcpc4Hy9k6V3g/h0HKeAFKTcsN52N76Yn5gVNc9dW4uxOkVBOCX+kYJnh10iMQbK2R8x8vkALf69yFK35I8JI7tLcmfMKdxpJNzcGffAlCuSzquoqVsoja7hkU2BLQnEznQLD3x57gd1l8pb97DBU4eOPwGfTkE50P1HSZCywIBOBXUghEzxPNz5WvLZBdSDA+6BwjHcxtgNzEwlnAh1ApFVrrwIDVqsmScLypGbe5ZC7Z7KEFL03Nof1WxsU6HVy3UaEELTd/Ka5lMESTZlZyguWLopSGUa5m5bDfk+sSmj2f2VT0MBwdRXMHtpapBNrlGuBg88/1LyM++MnHL3Yaj4Jv13BaF5qEdTbTYb9IQEbqd8cMgttgEabEZltbsoAK1Ej8sgVjnV6o5UPg86MujklZzgEjMr04j4M84iLVgilIGYALIxeEoTPLaA1xbPjrgUd9OEcaaN7HmWDGktC10QV5CqU4MBm4Y9MqxPjBHcKojgaYT8uLqxaKqTF3/aRahqyJrylqNTqtsmRolpn4girIykyv02VdAM7Xai65hU0Gxzp+7DX555Z8xbI/cHnAgMhgaDuYv6iHBjQKkyK0dxlUo1ENPaS6AuZ+EVuZr4SLbxqJCmrVPgK+FwyuOeANkz3DxcjG79faenDIinNL2l+jp2lAKmMJikXUU1Mao9WDuwr8dntz/jqaUvBLNyPjXQoarKN6fwKGb1jHxnuIGY6Nh4NQ1Aqu6tp1N3WLYsjEpiFF2+dZogI/RV3Jk0qdOv3usljgemnzOpVAjhieM73C8hrtQBboblKrlZDon6j/V8uhxo98rxnWtZzjGdMB/ZuQtdhalocVksRU1hyR1CoAEAyeubfNNIXv1Z3dMq7sI9OMIAX0ij3GrOYoHvBcNhXX6DV7tOJH0NFnkOLfMk5euB6JPVocvKp9/sifLOBfWKLEMzafCqh/sSY3tAdYfGJWbkwJ52PVxsWYSHKZrk55R59TohgpebH7G/f0GceE+4DJyjmduRtJr2Zq3Hh7GUN+UPDaMsg6seZlmEMj5TZAejBEyc4W3oSzKq7LKKiYnW1F0HX9xbPdsibqYCtuEEeeXB4p7VorID94FddLEw/u2RmWX5fy4T2OE4s2U3ohaFrFJ9eAzbCkwPTQimYrsxECFyY2Gt6nrdrDkbzB3EHwSbsyhB90BHSQGsFfHNXG9YuONpjYZnO6iLRwF9zlZWTvHpAMsDAGk3mdb9pPeKAkUDpz6T2Ks6/aN+U/UnBRuMbpipFm8R0Upa7ah54sf9gZQOYQMiCC+MZ2rK9bKnMkcALm37u7AeHdxPSRGWrAdcphz6H/vgBuxsbYtUvpKXVKompgFUT57xyh0lhW+qO9nwJAu0X+g2FoPZtspYUKYjVTiBsQ4BFisGL2Bczf+wiKhfq5O5th2PAKoyWNYGryAOErK9wz8u2hKU6/BtO1NX8Tk5vIw0UR42YHo9X5hk2TuAqWrzEDr2/JgAfXK+4mEUzwq2CqgHmpi39sTqawUrAOhf8SZuBWYIKEtNvudKynlXHLyh5xx6YAERtxNHpdhBfsDqTaYTaitIYkALkAbjG+gFwMtogvg9guA995iXrsZTfBCIYm4RccaNf0Htsyb+hnjiAHipkMnCJ+SEgY3ahySIOaug+ZZroR/kDcawa5vVmiFq8q81pDXatdpmSKKOySWlA4KND8CsDTSBD3pl84bHqE/lblfsYporFszn5mpuNaUwXcnQRUbDGnlypmrQova6jlyRpDiqJUZcMgmFQBOqTbfn3g1ze7eNFEJcKb/5GvHCGhqVxbNfO2QwVNOQNk2bgMMhoQgNUfr/3KS7zhSylwokGl2EwszuUHexCFViDvlWGcHJbfurlOCsV7SNaNJW5MEj7RkO9t+TaBX2U+n7gupOkbDt7LmYGmYia+5MmA94IvV1F/kETPQJkJXOd727+cfs8u78AI/KvxZJQ41gtOA0BHy/vl4SbmeMagbimLZUxJsupwDHTGvVJMlXyTa4LuOWetKTkhXEczWEOFeGeED3qhIzMuJy9qI94V7R/d03wJokqfUIrecPs6vOi4B/osrYsRmeCMAQYKgmO6uJkifvGlWmk009YVaf++mnEVaLJsu0S6pcu7AfmakUxzL+mSPYtUWwIaD1ivDdFCk46x2H9/VXtK03nuNMHv0d63rHYCsZFA0p/oMQgKyqcBs18CY9mj76RJvLJd+nc0FhuyjUaYr+2iv7Ob7prsJCcf/DocUi/gl6pf2nFffvCJW8O46p9rJLQlO7EudRcHxDqwnlgCWuSzVFwbl8X4g1VzknWTK9lKPitTLWpVeiy6OonFPclxuyTy9pfGTqeQzQI/5C9Qt76756qrMQPpTlKZCyNZfJtnTUsAyM6xjIiS3jMH9rG2fHjGARI1G12v3fVLgav9mYcEY+2S7V5+9WHUTbTxi1taql2revqkbxHyWV/Z4x0cdT5yvace8a9ksGKpHYgf7iHzZu4SwfXefLLmPZNBVr5g7wKm9T7/UpdQpp1W1RjetxRGuWRwI22rqS+ypphPUfNbRvM4GmxzwlrC9XaZLFa+GCBF0LaUZtBhfEHlo+e/4ZTcvjutoLXHhsPlmbFouk6BLGbsWBzKh2Gl7ZQMuP6++lGbpGF5eCGnY0ovYgmOdsIb/kYsjUnfREb3AJyeC1A6+0BXTl4tEOPuTd4vwklVWe+I2zCVBt81Gevjj1ICzWplwazegOp0GttDMRwYcEdw9V/hxlcRg16WBPnBuJujFhS//sYokSkEgchlUamA8lmZXI4i6w0asnPe5PRV7wIbdScvnnJz/v9Mj82bn20zySD6jaYDytTCoiSlVHDgNg5PFZGo0/OAmki5u7WHbnCwKlFqINOai0VybmFoE0Kr+GYi4GLCmFBAVjxmJPnub+68biDSmdKVuzcykxPTZdDf0+D4608pxiwM30ZUpaWFgUjgigt6pJgF6ptHJ+LPEUz8f0AbCOm0lST2Be6HhDu9qJxM7Dk5QxZuBmIIybuaxja+OMm/13BeTAsldBD/JPik9z7rWpHQuGxTTBSW8YRqbCWHjl+iCh9+x/Kdn2orFeRobyh8GxLwzKovBOkxqQtsijrpVhlr8RBs3eWZk7Yd43YpRKefCaOaQ5S8Nq6l99HkQ7nN4OtbhcJ4Y0s4SnKz9MM23USDPT8aHWJJXH2bnjqHqOPPIvngWsO5oNkmR1MW7/phaQnhueSlRxCjA5aFTbsdbOlWA7MW5QSicgr2z1EvkE0L2jQBW9jKxFjgIAafwj7AZ5wQvcwPsQMXzlWWTJJooUXoIthuGtczYM1k3kHE3lAR0rWPA1GzsHuDs6RWo5Jpjhr/1fpxkzy/6OsEgEP+Hq8R3WNY3bk/e06LKxOgXkTQHoJsxUgiBPl6BQXQn0x65qOBhCWfhKB0DVLKpso5/2KyPgl8liilJAgxtyaIP9vGADpRRFKgJSDrADLnRhQNsZg0dfBKT+BTYTAa1memQwgv6X/BM31lUg+WEz30dtOaIZwpqfIVRJHH5uUxOVhw4MHK0Mzm1w6IDte61ST1hLDUhMEHqGfBgyUxVy5UAzLpHDAFX5FywKTeQkxZFwbxFbF8s/SPTEIV3wKWflhysslr4hFFDDX0bQVvf4np2644W+GsAa2expfKRUXW04XxmtMFFhmpREXR4Lr6yrrKVUFcNGata5qvpEFZNFjkJc7j/I0v9pX+ZCfZSj+Aw8h4MIcEtq6HOQZQfoukpEY8XF6IDtqShxTl7h2kfNqM0rorIQO4Fsho3wKHxdwXtmuq5drbv7U9S9V2fxZ4H4KAJB6byqQ4EiAas3hvDYCNQD0U3k/BL49Ecptjgv+0et5Jh78Ci7O0w5CULouV497AgCkwPcSJmglNHAQMVfkV2tdVy8ERci+hoBoxiMRHJGvIAGZQPKJBClmxX/fO4GmPym16rHfChohMhTmFWm6lOX1I1oNxJo76KR+a0xacDToUwC4UGxLwG40Z0j8C4OOqD6DSxV6mMG/gnSfsDmFfdW+ZQeQIp8DuLAKPBdS89ADTY8QcpGRNjSwHjAjntvSztvrF14RFXgTNX9lL0MaditnYfwP5k2bnekk6CaKxQwRAj3dxSAMConZoGIgEqBgdOYz6rgQk0gT7G0hTGhqmTdS6bgXAUAY7gxRAj3h2rnzriJEW/lMbQcePiY47TTjR45FlFKrQtgMHvP9H5q17k3/TCz3I8VSunmaexMxviE3H5sHFY47mr94X3JvNhd52ElkYrTKNNVS1NUbX5Oi6eBloBA2we2qmewZjgiOzaS0H65wXaWmvOxg5hGXwxfHvCjOtCR9tZpDPTU9MeIe67bEiXCH3stS4VutyA0S1D2BVcHy/CFUf6wGH4hKMBeFhOB60MHTyPH9U/+aJPQJe6h3baZ921IhoqtTK8ehGYSjw+N6BCJjiRPo3QnmvN07Jh1iQ1338OdGYD+twSZKocGrfsF928H0D3vCKIW2XgVayV3KyxxuuMmHEZFKLS5WmtjUbGOgA2cC1eW5Wgs88lr5I6oH5SdZkPWWtTogn1A5SpZnqNHu7ghkqHfUaLe5puZJ9JpCDoYpQwQRqrX1nHDe4KcTxuKtbdLgwMyci9BS6swG/OPA7gO6lLas+LtwEWtMfNEyjfaoGGKLQHhdwXnX4WMTtErj48FTWILdf6/w2t7c0PqAx8blastcOQSmK/MQpmM62XnDYhjHzq9UC9f2wUySze53yhF6mGrFc6q1lnvV2awBYQfgIGp8IFphGsC2tKdH3qw6arhzr4/lFxWwKQ+RVQXDc8V0HcMgrPZgjgvVx72FtGGuDZ67HocFNf7JCq5wuZzNzMHc6zhct9f1wkWqnCwDW4DwZmz54zSbTHhuSwwscUbplPnRkFnAkQ8Jn+YGrN9qEGIZE9EJMunSUTT4spzOjP702LpZBnbzPynU69fub7gjePT1KT0S5jxYC4ztw6hDctzbIvFfpHIxlxwEu/brN5IXqSkzqdTtA7H6DIOXPk47vnD+rJntta/ygyBPilkCtDrRo6B6Qej0tx0mRN8vY3gO/ZhrSgqHs4z8ku/1a33FRiOmgMUsvqj5lG1jK8J7N8Kt+ICD5CDhK3fH3VKGVV7e+9geyic2ikLFo7X2DgZPysQDoPYLdd35LvJEXIBx1/hrH/PUD8+uwbRmduFiBZ6pR36ZnqXmCBOjNed/HbLEAA0FRoQ0ySOCo+w/h2L/w+7hz5V3ZtBaDze3RxkMYWkkvm5EsR5CCiwCw7PHdDFH47kB9Ke8Xw7JRNhW+rSFU8uJGur5k1XShj65QVtasWI7xJT62qLe22uCWqysEME77ZJk/ds5IAZvRJv1aS2k21Tru9JluhojTTCTsKEphGAnDVqwEXkaxHbbjfmkyaPypl0IEZIumGkwM3JQp97u2T3Nb4HgqIS/YauVzySP1wEKs9J81K2RN6X+VhrmcSV39GYu8lpZpX9rZZixnPNBCg4ynyl7BO6GIHpXBUYrsUePQr2Y9sTFL8wD6p8/NRJ5wPcyYI8t7GZHK4eJwdZM7boo+OQNNU1TyQc43mlcG3q9w6XPQs3x9y4Ah/b0UNHzBOIYzTkZFcA6oSjg3iUk6fqQeBWPWknX+ZYGtTer7ym7dYgaVPbosTQcTLHnLPFdtvw4sdH92MG8Z4aaEGYajQvyuvnlBGtUTW4DCQV+mnKSRm5RrTvotB8WLr+9SpczIrpcHCwKaxup5Xgx/YvN6niGEcwE0Os25nZ8BW7c1u2DXOwWs4mCtB+FP6lqxXI48NSPmIv4noXMn6X+j9fz/2P8BwnrhvtxbuZYF9S/f10YdE+BM5xT2k65At8mIowZLAuN/Efw88GoINT5BEv80ldd/aXPFUBukXN/3FGfZsg35ZjOgngGPaR7cv0dFE/L+B4tWVfmx6wRA5rPliF6INQA9Xv+Ydp0YVExZ7gWJRrIcou7i37wSl9AIcdKEdh7XvK6LxLavEFf/qixaF4Ya+8lrVEXNPAxbr3xSqDwRIdtN+60TrU6N65G50FugVnFF4+dYPW0gwKeqbiFyeStL2eEodwcjSiuZ+L4HF4foBIm/tuxSwTv4czIjW1CHC++YVm6S/RdFk5M9MpxRsORHyrfapb3pJOdXsGv7M4RTBQhaCjw5N7xzIb7OZLnAIHcC+Uy5zUkcig42xRnp6TUlCVOLJ0m08IG5/M8q+/DUbFWdhciWLsc41XetA/C7ehsPyTvu0eoKkj/4AQSrVlRmI94cLmQ2SCbHaGeLf6G2nnvMC3Y5a1tuvuJi/kNac9j0iGd/04oKFhdZwHIn939Cah6H9dsjpeP4XGkeGElOG9w6HZm+4sHh7L5iYFu18l34UcZlOwwaYfct7jzEz1v+f4/Ilo5Y5O8LD0Le+Bp9aFkdqvkx2b140n+vuRb2VRAO4POsSqzPCG2v5mfHJ46hr3V+ylcTCXg3Ma0OfnM/tnAB8FxcxvFHGmvRhdg8JtuD7ihP5uYtF1aeT3Ttth2fUKKxl7IkFwLH6h+fIythAk0ArM3ibmqqu2QNvKlgdTw3gvuX05+PPHMM7t8IsOGy7Vle1nOCbH2WVdHHF+5KbehlINIovO//PiRGKOm3LQ4/whUa8aMSN3dgvmL1L+pXg15Dli3CRiXYatWWMJBBfuWQsY0Cjml9F0DwPuerJ4BrK/cJZPeFT5l7M4jwNhToqwLnfdmiIFKnb6j1cRqbF4yI8nm4i7YUIougoylelugwB1M0/XDWV4uJ6gmPpvNIyl3/LLxwt2ixhMGNVesl+4VE9CHZ8pZR5uBihm2GzYz7vRFpydHSyJMCXyZdx0h/61azrGvD/JUXou7hIdDlUROsyMmFLfqIHCmeyr0vLyYeRGnmjnno906C7Lb3Bq4ZDlqF2Xli7mmEO84P+my7zyB1Lv8F2/XL1zbEMKnYRyvtd35yRiLrZxKmxc2UTrIMKnco8Nk4hP/4L17ymHG+a1Y8ANcbl14D7hB8t+44KFwdKywRx1KVDADs2cvpkvwgOiU+kbGO6FmxGNMunPJET4r5yHZ7oCdHBrID7DkL72F1CQqgL3oCDNq929zb1yvO1lLFxGNjXJaBQS4RqvM58UKEZBmUFNK1pSXsdH/jg9R4HL5y9VENlDIBqIex5CPqA7CTIAW7Mc/4fyZWbhxNZoYutKQQWzWw7QyM6xYICh+G9RcognuTehzy9frb9UjN3YFAIIg8iS7HVwHZS5kWHs/uyqA9eLKAWsVAJ5NIldOFRkdKXFrFTVgLO1qhyzWlmFEKQGkIq5060mA9klZe2ucC6wA7OtLmnfygQm3HBs7kSxoXuDqU8GEs0yuqJciysRS65UhXIg+qupBMCXVQVQBh1kBtTXVPHj/16YCA03yNYqtuQ+hgzCUzf/EH/ArHjFDteKXVweLXTzOJeSkK7wyW+2NmckcWhuLnlei2sdd/nAJdix8YHV8sQ9mTh0Cgosw5eUUHJUw+gudkmTpkU09C28imqkWi0eLJaqHIE1PkzZ3uVVEJi8wk9SxpNTcDU28f26kkuEl8mGRab5ZRM+Kyf/UTkPJHdWGsy4gndJ1smZptCXXrMV5ZPvYuRNjLyMuuPYC8CgLE+8PY8ZlQ4RQB860A6IYo06HmoMC1pf4S5VxQ3+vnE9HR4QdNVZYwqxK7wnUM58EODYIAidbHSMWCRjBss46x9JOvDA6h8xto3GLu6eBJnD6Q5w6M98vUjPzGnRMryIXVWcJmz/eQhb10DN4QbDfpDrT+fqXP/yLmUkIMT480Y9ZFs52vZCb+eyrd4yXv15iNscp9RCbhL2H7D61nru+PtKgd1ErP7uA1ymIik9ghyrOZBMzcWSFZoT61Aw1kmR1PVmmdYBokgR45L8A0YrylSf9fqKut6fiGspEkQztF+6VlHq+cWtjvP3IjWqdRCeoiOB+cc5YbILaLZx+RKxL+MaYS/tOcSthTpxAmD2gh8hd+WvQMirr4zZcZRf5BsSymjXIL2Z2t1AKoIyJdbwPb1udYKdzAoKmi7ppXCyuYYc2+2SUq901+YtTem712Fh8Fm+Qo6Lif+eP/43v2DMf6V7+r1tBbmtrXZ2xe9CdbZOGIMSwZRF8qOHzDtvNRD1V2C2SheJV8i4prlmXAARpqaTTkg1bPVHNVhZ2qz2sdd4r5lZqmmEJEajPYwhOo+iiH9gKDftDXLs5bY0gO5qLuZ2BXlKOufg7oc5nfVe4/ZBM3d7yRY/NZtJXJbAtLXr60JiK/djjsqggHpUjjCO+TkbotXRwaWh9nM6yHi3LyXgnjrOP4OKgRr6vsye3EZAVhBKY6F9FJ6E9fvDk6eVuUc31Py1UmD5i8+wIQijhWKiukGT0T+xY3/XC7B70T5otLQrYS8KFpxDbQjW8yEQozw4ELiBimNbqGEpS8sxtJxo4Lup2EdaukER8sAlv6U/Whi6ine8TQzef45AoQ+UM7L4ASuM3ILwpxl2gTcDUI6vPrQs5SckUXgt88Jwc2ovqohuVVXp7j6CqPX8snD8X9JxzXPqszk2Xd07mNCk7QUJCu/1fzl08j2DIg3ktuQXv2LKCviscT1YX5YSc6VReeK8869j/0tGg6r/tmojtN6bJijOoFAFCBYsKvmMrQLemRqvx/oA5Jh1WkBpmud+gUGOaRVsn/1PbWzrtfrgjObriLyKR2WOoN56uL7TcaFwyTR0IhaZ911XHScVdo+Yl+ISyNm4H6KsOSa+OJIaI4CpotF8KRDpYfIQwe0RXf4L3RziOowk+BZki8TLHBhfusc51a/Khznxwy1IYHTSRV3vIWEYKobMiHQH28XUgWD3NmCUESJBrvDGcp/vdEl3BZgJZGXMqu+oWkCrHDAo3XjRLZ38p6h0zny2uAHcYyqke96GIrJGwCN6FHdqbp4p92BTTSvULxzEs4ZmVXgT0lzWj62mluEeOqt9pqiOuP0avRlePJQERmrjnbdPSlTy93tTbqzhMSy4akNNFpxl0sCubDNrrbXnb63GJktKnLyUx/GiYO7Nnn10lVpsRcj8ySdd/8/f8P/ViqrRo0+Q3ErogzVkEyiY589aVk19H9wgt6uXxvGHH1GoqykV90+i1HN2/l5NxRAfA3/PfSxGtE8bikfdbqseSQQug9zoW4q22vmOPDbk2XUJu3y7mCXOT84TZuBzRqp7iOpexE6f1l95Ks+ueobAY+r3s+Koej6yo40RavcZquVRhLhV0cfy0Js6/HJcmcJExrpflhn1r3s3Q47mOEa+kBlPttIwdiZERUEbxp05DvCP30tNU3FRJltpnHBerUIHLwiGPE6UD1v+KAlDMY8JolFS+lFSWbZ0xZMNCUZMhOkKrSCIYpHp/4s7wn2teFcsLWz9b4e4R+iPSl73xeTr9E5QGnx2xTMHbciWAgyHobUJAX/0h18cZrUi+YrWJNzCN4xx6HQrr9NYqpnkBLaR5toqjplz9Aj03uQ0ozranX/SenOc01SpSt1KkhG5l9NlPmS9ftXikm+bESjbyMiYqI2siY7xbO7EK1V5ssd1wBYxUiBiG4+d26H0S1YkYRliYJ9ZJqlCsA6OVw+3PUqGhxWs7P4odFE+5lXt8PvnFxOYOM3UHF4hXPss4hRvMS71CjQltqK6HctXn1cCXnrzY5Fy6PIMJ9/fnyQE/KXYu3RuA3EkAG1SgYtSvACntaq3LRA4Cnpn1vGRJ7wsJgiVd/4SSLSa1ChRxrisSYoiSHuvZB8Msjrl5+e/iuw9CRoOdr/2aKTqRjul8RzgP+FpMGBLcj2hzdEirt9Hn5jUsAp3ZPuBmd5t5qL8S3IkYRa0ySLuPJ9sKxW9T4CNUc2mUxXxsvjnfDz+WrQD5QMY0r57K8SOVsrIZ6vjSoojLFLgcbWMHaaEZ9hFv12ejxBLx3ZnZrpiF5/xCa4+XuubnBPDiqjSEnzvNIymFMwiMqaXUCLC4UpKQDxzxMzcDwhEXwuk44cVsKTsE+gs6zfMSsRZWyaDuMB3USaRGyIOpgkpIF6qf7u0BsAvdtI80nEiz1QwAUIkyfBw2YxVKxbEmafAG3oFnonwBY2pyWuUoSGHCtmuf/jgFuQlvTpPvcTfWJQ54yE+hYdibGKeLJ9bNR1DJyUE3J7LtVW3tzC+uMiGIb4iAxNg0PWiFW/+Omx/lxsGPRstqpgW/u+wQVHr9ZzN1RE64sjLhyCrVwrhtZJoaX9NB9NJHTJXYkYl3YoZqZUfJzv1fr1QanKwFM36DIami155RWO7JYQdjTcYfkqCvA6tOCj/mmkCzsv1MuUvhoDS2AbrScXlTjCGxfwouL9EPa7oQ15RGzm1WvbnwJjPedmHcZb3pPcsVi7n7O818C1FvSi60/TomWDXfL5J6WI2peLxzkzIgkU7pDjC8j8X7g7In+emHDT+RZTSsw1/Bp0466S7xzn3TDIG0nIJMZsOTpzCjXRxgdTbDIvYEUnxeflc5iQ/CQSpoFVpMS7TFfQWEbZhI3hsIYH1tY+JxlxIJLf9dyrtuZ5KxdNEWQwPRns1G8Sz9J/5X4+yeAxuUfTyVamcQjsvp9rEg694Hi+uHeWH9kBJ+VrmKaEXpeRjgfP5As1roDP505r6DW6F3SEE7jxJy1p8DPVKX3VIEcLzfObEH6O0S3rGlIeYtDlhqLaGWd2eCtDOUDvM8XtOPkt7Id9mYFNVDeFkt2wVdIUZk97q33UU9m287yLiAx8F+ge3dmPBr/5TKemKKvBC2/A3RLNSRS063KM8h7YvXGCUCnIxmq9yobnyl37d+0xMOBQ1Lpwslzmq0L7qQdsyfPolemj4IZdt9xZWXsIE5pdAbKZ3qb0vNKQvYh9bDxJo0JUEnY3Ey4ScA/QELFigADJ/wi+uvOYOCz+3ueLZlkAaEme9ty6MpWJLG7OcxcnRr42OsyJmJLMVB8xGxwoDi8FgEhMugD68F9CBeNQai9we9iVVLplYK/tQDyqRxfMZmff/P7o64Vtyshwp9+NJC+4QZhe8U/ppx4CNBq6YPRIkkgOKpC4XD90ZYXP8pNuFJ/Jh8fsj9GJhy7EenUrjzFnspOEzqcqMX6zjZBIIL5wECBBAxI4s7zfFqxUXx87i+JHguL+tkV8jmBUaDnBn1afj0zh0LHJ4JkZx4x3DE5hnO1qmzqbIKoBFJgv0kZ2LoDXGUWapNlNlCCUkwrBa5IjO0bBabD0IO+IZ5KN2fo0tg2ZZSarjlRzWGYy9P5Qdz/Tbv1GBCHtSqaqS7pOLn4nbZGh/D73aHA/wptftZWHkFjCOScDBBdRmJo+RfOjQTs3LIheB79DWQoxe4W8b7nTePhNogW9+xDemHGzQvEeZuccB5ukNw0yuE3bNQ26TEixv79qjKaSFG+QhKZhR84t97jdEPNu88pjsriYF2vQOAwE74epD7XVRR50sKgI982ZFdecWVBzGGNQmBzEMKoGvdPlaKnYH/cNROCSQtgBFJlWlNMVh1P4pnhafjaD5QA/987Vgbl7w6/LYKS/WQHHlw3oueVM71+CGebJ9y62LFb/MI0VeJC8VpeFHxn95tQEW/CPGTa7E8xPVi/b617rHZxp3hmdbERwoLMJdFdUmcz7MdpUaCoACXmaqBg3MWiaoFi3USLPONKUeV2xlPOJN9JlmZeyEgaDWOSvV6GwdRX7najzhEBfUb0mJac1DhwLhZ2rrVca2wMLr6uFI2MqbdDttbg+T9MmJ9ioDmnoOEhahSmLSUnSNGc0rdUcRqHI582MQTbU42sIDCdjdw6mNfxN3uMs2d1Na4mIozulGoIosucUPpcc+HPmHiTgn/kdyDZHclCEQv/KMeRQaPB8zLdEmu6s4mtfQ9FaRLsCBM5atH+ThZUZdP/8+lWwN4m70BAtyw+lI4LhL3LY8Q3hXXNoKAemCI+LN8Fe889Gclmn79H0jZquoR/paG/tEDeqWCdwcQ69szMmmQNA5s39fZG7gOw5ZZPc4H8KryxyJDrYm6y9y9V8SfN0oQtoKzY/OlkWGPiGqG4eNRYMcoOztWMqmrUsm1iRo9Pd8UIKjhnPaTAY2eoLBBLKw0yIpgahKiYYgyqsbAh1F3BX/M4LcqP3/8G6Vfo7jNUo2iyKuy2u2Z70bsFurMtwnFJ8goZ1wgHexfifbSbUS5mU3HzPuIUk6CiyoEmFFPJNHuaKjiFIksRIUmKie9WlwbFYXHxCydhDTrqOMw7amEO+CtEO1UFDAFjtOHWKxdQfLo6+UNarNSVQKeIMiiQJV34L5ju+U+jpmJwYSc1uY6X+932jg3+PmV2x55TGzuhmjdExEn7I7CeUnM7lrQO0xLOAeOeYAwmamFMhUjUTuCltuP6rrycUgfkDyMaQ7dISS22tx1ADrza0jDuUxDyO9/UzFkMS5RyJK+eT30KCk+JATNk4iliPKuAVz1X1+d85Ou6vZEa/1XDLbID2Dw0wNoqx+hhiwNkBNJU+ANtmIyJClAih0YqUzczhYH5172Z+xKCBlb5Pmf0CF6xA7zUTm0iQHwwpnumi/9+Dnrs01eHTFe2S95E4xhDxUXFB46Zf69I6TgKM0UkZXZg42fEwttI0Lo83WfEAgqfGcFApAT/Oj9QkCKSxLiVCQ+ubly5+uqSeQjbTf81Umb5WcZtut2yfA+gWbVJZPm8XcG+h77m94dfXqYLvPKMehhLlYfhJ/eV5zfM1RKK2T+EbSpwdO8gCiwEvB40bXCzMNz6hsAFmFtBIsoQhCwjoIfFechCOUssrUJrAqE+/n6yEcMGFloVfCyS1C8xdr5ZZ5plQWMTgcrC0LVjsVduzhS7/BTr5vD1JHXB7MaxI4yMGJ9AsThZcBeH58XtZH6yU+lRTJrQRdH1Loy/cFulS6QKoKbKASrrLlES7g/hxlNSqKZYLGqJ0qwqJE68NXwBsUNnNP9ykmcjkczsiVeASeQ6sbBB+yOan7fi/GU2Y++u691sDvesmiwJrfy8jPokf7zvFlW+CmENy48dHbymhK/iEVuIGV18T5DHqxpo2aRFWcGQIt7sN7SZwGnn1oo2BLvcUhq9ZRf0ZYckZYdFNs+tXxcXPdDGImh3ns+7b1JhNWMb8NMm/hDlcQ6QcUY+ISt7PMRRqe+B2MveD2UwHJS8B8CDotqledDKdUgA9oDZk61MMJwDbFrmhZZUPW97lAumWwsclgsWjUrEMdtRUgK7PwsNb1NW7oNoeAqSm4c3oBAQuM9TyHToc1E6FVinyXjkDnjt2ysUMBZENrgdhGLo4aDdUpcV6YS5HUqwAgqJzXzuyhcSmEYHJbKGKQWdXe7MrEpngy+x1dP305LOo3SX6DbMQPogYvdXceDzQMaIlKJte1gvcJ5dVa9l6SFP4CCcR1K3WgcID/JfCEcJax1DFQMQhUMOOMmxrbPToYf6enlLWD1+R2HxkrkjYvNBnqMlU3ipbPsCzINC74aEbOr/Tku9n3YAmPqeipFD4ZoGwSPeW03yCpZlkDlIdWzZfOgV8g9x25TvxBfT86/C+soyrsHbKohtIaegpfPuzgvUArxI71ZavnJRiWjiuyXFm9uBL6vDCpxO02VD3k/ULfsf/Q51N99eVv1rmRdomVwdUV7k34bmZmvW8GGO3S0AZ1+isUiBglswu5BtSrKd+AWU4VO6NFT2LW9lXmZOKCi7TYBloz2ezNIHKBZ6b/PPIFozFoToS71YI0HrxDo/IC0XGXDInveD016yRtmm79k9HJHRy2Vdl4yKH15jAnjnpoE9Zzg7ph+7Ovb/wNLIyp/DQgi0lATUEaIDHXw/x1UtxMinhdfKjv+GIoOzTJ8wF5lM1bXsQSRaQNoayLmbyrbc6uAMDEnumbmGwt4HjPwjlGU2bqr+IjlvJqXwhqNCD8b59ERdFEHYKVMMjgntErs/NInG0kWKd812uEZ9Q+5lDTHqO2Gd+I5niaSP1TxiyA8CZhYTxscKFOLwesLCgBA1J33W1i86CYhlTEBCeVU6LoeKyGmRtaTAwY7bFVNiKlAZqnsqBK30Q8obG2bJdZmBiaUoKmeGdUhYUu7BjciXqolAFolmvkfn+bS9YBJq/a3ymRoqJtHII4+TJqA/xPueRwml0u80m6w24I9da+LcWsWucHKt69/eN0hU4PFPTxy+7bO4GWnQLGb75NV5DE23HvET0p3wpg8mUM1a9YE0K1QckH0KPD8N7cRmdD18ZHpF1WqITQKaMuy4WVrQmb0U9yrHUc6oxpZeYehHJZfsriUAiwgmoFkeDHiE87AhPS0LtVTkCpjLqPvtid6kp6SALHPjtM9TTvGs9sUjE5XJ5sB7bM20C/VM0Gj7//P0H99cJt2nFGs71so4fGn7sfeyoTAxv/V19Q1A220H9bQHKe1zNvoDsDWRac30LCKc6zO4M+DdcGTN5KMEGfmII+qR0GFPmcvDbg9ls5YNRRUKTa4i1+CgMtY7tLiv3Vl21d/GS09VVTLOtRcofa9hECqvp5ulWeMnWsmxuid2/IMt71DdTAhzltDydCUSA37egqMGU6TTj+GaugBlL3k6VbK9i8GlQcv3GYSnfHpc3Pe+DbmM9zPchhEj+kRZgAtcL8cg3dKFmWSNxVw3iHTv1YtckPYzuGM77vPHZq0t+bbeXMqVu8Dadr+XDw4Hp2wbE/dgQuyz61yijRuOgMzhuSzNC6QK9bRKTZnaBrzwE7lIE8K//BhSPdyfd0FXoekTEIrpYxvlooB/lQbNpHJZ6kiyb+GOLrwh6SvlXcO0A3/0o6x+Lp3M3j81PCQl4WYbDQpxMuJjo2F7TIEj+yTaTUlm/iFnpfp19yrk+GPczB636x8MolKHhktBYOejsCEF/+DQK3Ttb0+78DWaNbF1x0e8NVrtkEqSPk6lWjNPh064Bg7WrcRlC0kR9KabX138CcdoqMtOfz6BMNFbdhIkMUdlGfn0qIJvDMcbZ/kxbAvXptLQ5kZlmNXanWplCEHVIdAfyoUYwfDgaGUhqI+LlhyuoF15PMX4pMMBoreBrxfypzeoS9MGJvPdLIYeh1yhUwkh6lu4zq4OJhtrFN0RJ0H4UstUklxchcb2lc4IEnirHRjno1E4fJWR8Fn5+HpviumR3PNCc2U8gyuLGg2xKd1p0QWrtSlaF6pLVcOSm+nDdW8g/zF80NhWCf+rzJ6elA8BGNz6tTfi02GHF9oDmlUwnZxGM5iQE/zvxz/X4PXsCukj93Kx/pnfV7/I35LB6gQZuLTMamiBwTgWjkgDoRuhd4Y6aS0uAapmsimXKIX0jaJ2xdPu/ZKIrNEkS0e4nytaprAedI0cuxYoOmlC2Ag81+pK7yTQ3LAGC6SjZDduLIamEWwKuaK42CtW1kK7gBD13KQPxssj5s1Z6C1kHCYUkKYJN8lEwFo2GwaBRqIgpiTs5dNmZE7z3h7XeLLkBFB46idfYI5h46xD7y5F3By6+c5kgV50vuSev6WDh6+XHrZyrwdzgjFfxCOti5wI5WkhOfe0zlMG/aVnZa1e9UF0aKt1KD7Z1GTCJSDn6tm0PZmGMr2OzSsqAQwoi34u+2/LsdaRNr2FZXF9rRZdUsJ7obQ4AFGZ57CRHA7HLavX+XAHgrEDOKsj6qrHtiKHZsbTsXLC4ETrnP7DyQJeamgEZMIUdOY8uUuTyswRQ6pJ3cR0GqTk0mF1HA7uGwBsV8nn4JrHpvEXQauUvQ09tysF/BpPRILVHHwj+916O2dbCnDYF9SRckz/fajejDsAI2ODV4g+VVt/mb03eVE93J7jy3ZsSoPq824lErMpwPGIEaqonYfrV03UNgD+yjYqGeMRtEBOW9dRHL8Z0dSTD7ILxYrSbZsg0nMT5JXjk6LPEvfdXl4feS+0Y79EbQdKYzTeYTmosV+DT7WgNJzpNYEDUiBvMEAiE0lG+PYYMF2YtftHI/OHzWLRRfTNllnLd0rejG2fnIqfpv4dQLwR/pLzf+K0z0CqHO+/lJgA3hgX4dHyrDP2Q3p1zKOQzquvRKpajnaKjSE+ZDLjLBWSFqPMTNtK/3BMjUewUYeUE216nizfNyZr/xcYmzF1mPcaqxqTCt6SDEmybdmS/vJy2F233YizxTIrLh2xl5xOiLpzHlU9u+0Xe7DVBoEb3m+PwdzHWzBBC5ZWnPXV06/Bk64AxJU67pqvcVQYzJj6ceopkGsCi+neOR4JnsYz5AL5JllELKT8ggGmm8mLumCpoHoVggb+hSFB5/9r93OvN0+NDy8lfM2vw1GsSY4J/idKhWwq6eJ9o0WfG7abRV/rNq/B7alWavRibx2S3a6A6JGMJwU8wtU/LR+wk9Vx7Lzda1w0+HBqdQ/sjDKHnzq2lqfrjNG7BNLmLP6wy9FRdRk+0fAUi9pzYx+ASPhOvbdF4E+oiukmU9WOXrxqBR4usKKwaSVkQ2F0OiWraL485YCcBWYuxrKjSRWpvs/yDV1MEd/N/KXbOttX0aeLUszcaDJI5+zu20dkybXcT8sgvMZV2h58hLLwb15KOCAdrB/JveCgUH1RMOlbArxP/ARYe1hvCctLL94uZzlmiEtYSkDz8DQyoXhkk89IHt/sCyszc/fPBlUYYh5dE+9imCTv132Bw7yHVjUQYTvG5BV9ARMErx3T3aVg2zc9q6d5l8Tddy+wFKR5JmsonoRLekJxh5PYHbWELjAvPv6qlwT8tjGZ2LCX+T5k2AGIIb0RzWuq9rrLVTba9vVqkCmxA1wPLGH4FmW4c1wGJ20XxZHDNcbC7DmsJ2GO1TrAChIyqGFdXWzLkJy1/WRHQhybrhwlLf/j4pR4Y8dacNbODZys/YQo3iafl75eSz7Sw5Zd3/a1oT0VlkdqYQtv7E2rOIIA9+ZBPEvdwBR3jrB+qA/l5rNM5URZs1CMUcKEPRPMoHPtJlahzN3RIdax7lMx/iroKFD7FXvD7NYEGAeHXVCF/q3cqtRP5KwbrnRDleOsD5jSPGeqiQpvANgvPO5PWpxETImj0/iMiuooEf1gQc70hM2g4kmp3uOr3uSVg0LXVdI/viVUOCZMFhMTOC4k6bGDHkdaf2iCnMmTlrvx4v/zxNEkhu48nbCMsb6zLQ3V7/aKawnlMuv4P61INbWCMxvUXkBDl6TL9mIeu8C7NshXKDvoqH6legmRpNlmD6Qb5afVFH07yb/qbQLL6N5sEuDk5TIwTFX3LTaIeZkyaqXWZDJ+IyBaqPqQ1VSA0lC5h2mJH5ad/ChkGR3m5gvBmw/ZpSipR/giYZ/tIfF2wUDAbfU8z9wmtiSF/RzRwjpjvnnDOlqG58qHNBqknDAzXvIsiz5yVomlW2WyzLfOkbQu7g/XekYBfEA6AFX3JcSwrDAEFb2Idt+lqNYdlue0p/9+BB4uYWVcKVFhriveWKEUH8g+3mu39jLh3TGoHRu1vrH8aD90KohbCooQ95wQ0Zn87itH1daS/gwOedXriOzt04S4VH9KV0UziI4tO8W5qYNqqTFPR6OWZAl44jFyl2ZRknmjVveLZReWDLBR5O39mapd4Fd2OGr21xGi/TzCIJlHWwaLMJsTxCFUk9roFow3OJi7B4tS0HaOce4Xh1m8znS+PYKhOH3s/sG+JlROxcfwfhuw/ea7Mp3rzHVg5cgccNSiw2C7OiGRD1NRk2AiWvaxce2zK4Tidt96QOLr0GeeeCk9ZbjGX8mu3BiuNNQoFKKIlYaBFb6AnpRUOXY6HPUELWFa2EPL9kf5w6wYnN+eK6Dlg16Jnm7Aw3IjfOVOK3aUE7EjuA16l5TG5qpG/fIJm95ztWnkVgT4uEtb8Nhh6v7tIFaZBIOjA9PH9aQ8WAENNVRzxPpY3DESl22WY05n/sjiRWk4yoLFK7MzIOfJ0LH7TH7fbMqpI+tTMXPOaFQA9+9liqdJyX/FwuB36jekLME7tmF+mReGthP62+f7Pt6veFJ8Z8eRLYFTgSbAz7PvLbxfU36EV2X8MiGe01O81nyuWoEMbm4x2Gxqtcj7js5vWFpG1DO3GLpTOTqz07snbURXCIs+YZFv3LQK6p6oUfDvv6cajZMhaAzNr0G6R79EIO55ci4uDTEhy/D4N+/n/p1WDfDiIo6TjAylqclCBGLoKpzm2Hh5ymu7VAW/SV5y89bg3/yxIjZDc7AxG3UDIMpb/1t+lF5KMjF/hod6ouMaWo4CInAMCSZEJt99i3k5bE3UasT5QKzFrXK9srvaXviyU7MmLmykAxk/6BsDOyxW9j122Sola1PhXWUad4b2vyDg6X892SJ4vBzDUnKPYM9pguO2GnE4OBKtd+IJO9e3cOK++nLoNYF/FqBqauPl+BXWb03y4Y8F3IxK8tk5ZO5U8b3BBq5GqktTi8fjRwqg1tMUaQ3DR4kdUcvjoPZdTSA7X7kyLyXVaFZYm0qUBOrvbWIAMxrFNO3m+NQox7aYnJM6ZCRtbMnqPz1njSFvu03Km2Pam7Q+3Pu3xBIZP21cz9B8oULqmtVO1t7CtSVPDaJ6aaTNHBvmQk281tygT4Pt/wcd2OLsihnfSKPmRJv8qFbm1eXRLoTKNeM+uNRUDNOQvrpBEp3Z5De683iZqe3R6HWwTRAMY+NjYto+X/e2djXNp5ymZ2EMOrAHQYrZC2O7+BKIxJN4lfnbbw1y9OOfOqsA8bIdeIt0sAJP0LmQRyJ9806JdpOmBg/gRStMQE+UTgCF0ozyD9+xnUbp2xdiw1fyEmKG+ZsKhZ6WF9foi18hVHxhhDrtxdCOVcNJthnqisbXg2K+vrpm1dPvreKO/7+TahfEz/jSxG7Y6r91Ll1veO9o807HkX3a2AWE+eEjdpERP0aSI2uRN56cWcFNB6w3GLxpCzPjIpHnKAIvnzGyJnUKMCZKJU9aQtYS+ljmQy7rdBfIRBykVQvJILWsCxxW/p2yo/yoKyhJ3ZPawR0J20vCLvdZm+2RpalSFBn2ZbHq082mqpptteG0/z4X6KPNFly42sG4Y+l91Yeok5Ag3CmwrKxDWmVkLh7H+tpGFGGR0OaMdCbr6Cx1QsTOqs6u3Zo2eP+JN37V8qGkpVamogYyfkJTdpNF4N/jWX/NF1OCQ+vvj56NJnvydY0zRWME4hMCmF60wYfVtNUbqLQYmwfnaRgekXR9FBWwQ3+aNiLFGVxqv0/kb8iVwuKD2S1xC6wuqwrNM+NWD7QRWC0XSKbwUix2sVhouXTVC8TrqvgHzkyg522EPEl7JG29ONc38CygrR48+i4GN9ahaPu1UqZABC/sDilrOhNET2pDbdasvYwHQAzszXVjznPNLmXMkIAX+wkllHtjOXtpgjwCp8kOUFokndM9y0wsj7ve9kjH3ojwIKVFyf13/XdcROO9MBQ12KG7lvVvmB5TxiR8iLU+6NkadWSjXi2HLZkgVBANkWJkdtm/+Jf831vrynqAWdUIIreKq8ZhgQxVm4kRkXm3he36eE/XI5zDJ4+P8OS7npQHr11NhlZ9ZpLzqmBSACD1o3+Nz0rlTL5qg4iBEqvip3ZDRJoXiO/KK36boXhbUH0XmlWWJBOGX2XkWzMoHyFDuwuDU/u7X0GauAE6ZS+ROVZ238BGeEshBjevSmgO4LBV0M464HeFXJ61p4Lu9Sih4s0nJQwmrx2bgIM0QLagU2csAbl4r2ZoiWgUaztADB8T70TXK7aiOF/CyIFDF7HxGwz9R0GCKeAnzjruovi42ZQOmR40ucapf/3spwZ/XLXntwkgk68mpUiLLIYMVDXkFQivUMLBfVFCkYnMtpYiOswL7XN+pP3AlP6d2OOUMD4v2NKDpGY5APF6GYdFiPuiGKb96OKeSnSerMYLvMzh1c/mb1M/BZ0mWvj1LPBBmBqLozGH5OhyeYAhgkVkK/qnP9+QRshhOiyb3JtDPy2rNN/btoFoq3nQEYKAYni4t/gC8wzYicsbKdYUW9gIo0UUlMCPx8uHoFElHkZjdNENh8wM5nLgm1pz677jjgTrhY6D3MuuOlv1lOYTf99DTirRrE0z68b8Av88lf9d/SRvVR3Zv1bHfLYy301FOdNQlKUNP2k1vC21J3+4by8ZMSuwqEWLxPEwneNHz224Jx/dKR9n/n6t3Wi4unmDbxZcXwrV7HPXHBlul60Q9dS44pYijyXBP8uI0utiZM8PwUDCigoRq4DaE43aj6ObGK2Vsu5nd5KfNR4GF83iu5TbxlBQFNAA3EqU0nwCs5TuRnZDBcOTv2mSvT0l5emV+Y+RasfDR/rxZXvUb+41weg31bGJhdcLtosrsaaX3xvzIzTBGZO2sxgCz96n9ITpI6aDw2oNgJv/vjz2EF1OJSvZcBAEs2Om6Ls4ijpdHY4Gk0mzHvMsu1o1Djx90ChZCcjOEVgHjH0OOGrzc8LhZ94Jn4CKrMkICUUlEtBHWvfe08CVI5l3SyfYaBDfqNGkggQmhfdCt68Ygm5zBNgf2cTocFHRmtizfmSNG0W8LmaHrb4qUC+YUh+7BrBefyRCasEQnTSxAtroixsQ5hwWeiJ1Knk3EX/CaWTHApMlm1/ycVGuumK6Ipc2hbZSOa+vQxpnpGyWrjkA8FfcUVK2nnW2Fqe36DS06qX9n1cpjkc2zx2IKIF20MJRpWIHokEKE/gyYfk70RQ3RGGYaAsUoNs2RmiB6kPn5Z9QJcOPUkaSrJX1gKpqSWlQa/sGFTmou1NCoZKXRuHIVCBJ3chm7VTbSpAZnsq99rMnjiBl0xdilg1+BIrPiKBG1e+e18nAOGL3dWwnxOK4/ptvqJmyk39IJDFTWuiW4Qml/AOpf1UPvZ/HUO1ezaUQm15C6uANqkeVGokEnbZwgwH262Kht37KMlSfiFJ54ceRSI4fFWhbFTjhg/RT52O5rcNpUt/5NHVP9Ic4Orjps8C0IEUa3Pn3yszOCwrXbgSqQ0r38lIcD5GhulYCqY67X91VUB7DRbuatjaVPQyZ+BrU5eBloYREFb0KTMapgj01CSjao0SH7JbPt4ppfPCFyPHrngfckqqKYGIjkpc8ACW1jDMsTIX5plIkgxmoWNW1edePhPY9NYZ39GlzTl3tERGlCIZJyH1AH00o/uaDEXwOqWtAfUlNSFLt5+Cd3vi8oZOnARsB2t+yb0GFdBFy7uTj84QuIpyg4os/waDXRBEuWVhUWavnSn8lE8XOSkS1fuYQQHFCChlmHP4140mJM4OgMnCm7bWu/x6bu0yjgRGYAmfc0PjDZnZ3UUCw7YqFUAvMyLOxpEmRi+wanumPFqcv1aWuE5SwJnohcVDjNscASs+VjM2aYUFTxER/S5fULaZ2Hv38tfEyfYxYw30E7R+SrSGd6w0T9P2XLE8TrWsKrjxuF0UPxVuRFU9Bl2adBbcNZ5y8kpjLs2xoiRHfs6u2zLK7o8gxcHPQBLJzboHNqtkyLsHH2NlVHzMaLC33d04UIyuHXIK9xV5/q/jBaOODLPZHHIs4/3sx6863v3+vVgh+WQqiLh+jpSk3vdqU+5ERclJpB0fGnkze55zH8EjNt11hpKwTVbNWOVGahFWrURT6N8LM09PAW7CrBZjjjgDCN7+1t08APkWQiA3nNvC4ViXaTIhYLzIjK0FLUCP7d3fPlnwHU53KO853WLC+jHpV/AiREibk6BBdLSFocPjRl+sRUKhM3XcJd00bS/hBvnuqsP/guAsQFkWIdRBSPfFyA0CWbG1jbPzI4ubbixGPxN0//odwpN8zdwJ9cegM2Ed331w9nhlE1oGqxle3w1v7d6Kt8RxsFdg2QF63CZdR8d7KBklFCW0TdZw3DbWugQOPtLn4ZuxR6J6W9Of4UDh0xDSTwsLXnbNbSuz24jRdOQUgjO+plbHGGhlBM2l3zgO72xZKa24ClUccVv0Nu/uUwF/XPK5HACCqaamPpSAHfvJCX5umw+Xe3GFouDVK0+nVTRsL4bfYyGR2Zbp5+M8GgIv/AAKlhS1Hae2uNDqtrnnI2a4UDY/Dvsd9iq2boskvuD42Qief08M2DLUjshF9tN1I3c60wIty6xnRXVfoQ/WKu90Jjv+k0EUJkhaGnSMg+BW05tDiM19h6cZ/ap4DDyOWku0DS8K1+BIFUTnMBev6ZikSDWgYaCSbeLyiFT9C0Rdbv/HpnBXi4Amn2bpJdJUQWJP2g58cbcmZlwSATP7UIpuv7XG6MnpVcNMLtw8LeBklRJxCIalz2nsj+Pcu9pMyXh0cMFpkkxNJW9s7el1MQA8xnpJ0RGZd5pG/TkQU0iesPV0Y4Y6Esj/Nn72pelq2j5ZEQxqCwaYa7iRbNwgZtE4g+4rQ1bB10UMg0iMkli/ly5k4ajg+gZ9ILNR4oHezEMDhp16LfL2s8zOC8S0nYgUnhWfCxyjlC6yZPdlD0abrTdOPDeAOdU6xHU26isEfkihhamgKpFIcy2shLYHNrtUcsBdJJIjJAR/sM8qNLsKramZEONw3dM1KgAg5cbH+wWXoZ8yqER3rEhEizb8hPG64wVuXTIh9V0Sd9xklApyZKbtIjPE2oc/GZUVIEfqE7ndIZWfqr9xspF1wfPTazzlmravjWeNIif6kQnOTrIPnVzBDOpz5rYt4V17ayhoM/dAKF3nOsv9Jqm5zuf8bK3olypqvftqA3RPQ2S587/Zj7UmBfNDw10RNmSvn4vuzgkEXgkF+D5w5RzEERhsyPnXRw3C82cEytEBy4d0obkfoyjlLff0OqZfUjiP+tJixzClkE7x68Gh4427+2lvrWY0OUX6eAmwQyLHmlA55Uk6ypEWtSZ5j1KsrLPxKpZ9kGD+2kOKv6sVKw37n2yPK951WXnIg/bCMmpO0lcqCwUs6d9Ocq2+INApHyp3Eim/pu1awXYYfcF5vxEWHk2rHDaICDBM7VutU2/X3dYO3gZV6jjBSN1CxDhP7dJ27qos5kN1JBiRPD3vapzuvbXT8JMHCU6995CeRQa8YLSrlX46LnfhV92k1dyWs9Dqa41VOiJkumoRqreOYC48Y5MGtIHY1978GYAMAa31Fcmn4x7W7/xel7n4zU/RF4GAWA8DOtvR0WkQsPBrErVOTYsx8+4w7mrX62AGrqQZ+wU7XR+LoLefj4jYL36IPZBUpdDHSA7xfq+hr8KNQGYE/RtvkmUy95eWumwFssT2TlHKlHksl1MttyKJe9UegX1sPnJojwX42Cm1Nk0Ig1sV15vWpbN/bOzYSR/NwraVEV3PAwMZ0tn8oziPHfs8UBWuvEmuVAvZ8aho8UEdeh3zTEb6/bkcYXBYKeaeZ8A6dV6/VFLddmDE+TuZSI8g/Pk25xAYUu5f2AFNXaZWu3H0nzZvDgPcKY65p6K5xmsozz0LyehRaeOBCFtcRMJGVkw90qDm1vTCFjEP7KfXbKIeUSXmr4DewOBDcZAL1qhH8X/UCbz21Xuhlc9vQctZYoYqRqExu8abeSb5mmKGXr2QRUIGt+Hf+rOStYZN/0UaEUgBvDNYJgpXQ2/xnJSFh+IRPr7OUT9U/xT8AoFb3Zk/F7w/A2rhO9LTsoOx4bGv/iDWEAB3B2dpeEiWdfQ51xrpPdOj87vjLO5baC/7t9SZywArwjwagkQyB2yhl0PBRJuWXu99EpqgFjiH9tG9KsM8oZp2ZkZ9nB6V9FVbbQmoOAGAlNsvKUSt/TwMvwFoZLaW+14kBa4AeWqezpuyhNu/L33vGffTq8NUVDvj0HzsFGtT7bHBkOelzPnPvVRsI3EW0A2WLVeqINQBqYjpPc8XkSlVhcfn96cvuUxI/87w1IofWjEs+zmaiElUrRB3UKkdM6oC8Puiw/M+dZs1gUT6kLhgGF29AHUiPV0rl4E4KLLpYeL78H0njW1Wg1kVLevzU6+hGOQazY7eNhTvCMl1bijgTmw1iyBTNqUOHBOO1e56sfQljkNhEaNZJl7Mx+TOSbVF2Ja6JIDbM55HludnCQLAEvIb9bYycvoSbwwFxRJi3XLLefQXRkG1za2H65TQmprsvAVBellx4U32rEnXaaDf9Qr5Np22tga6aQEX5G7fsAZNPYORK+n0eYNfB9YktENoKZWm+URhZ+TVf63FfBKUTCf/8VHpjjHsSVmLOA+HUVkcMW3tXXNbslCVy/3hxbCMsQ7yGPtO4zW/7EjBlLfJBlNLpFQVqKF4UGnksDIYBJsxTK2KETN6HBP8P5jptd7JlTStMRWhvnZ1v7f4SnRlp5PBwM6xAnvx3TW//3jLv7p0vYENmXXvh8f7qepmGo7bpiWvszpEccVqkJsK10eHh15VJr/G2PCLIO4Egj3j+DulXbQy/SR017wKKhbJHZYIfwwb7CwybzOVOidO9uktE+g4sglKFSoq78IvIQCkff/gPZWA3Hg0stirOKzkyY7n/taSE3XeGHUoTbXfWz3L1gfgrzViY4sEApr2AbIbMMs42NN2vPc0uL+lnef4XcMMZ/YhaduzoJoz9pBzjDaMmK19m7CHMlwBfUXMWOLaHop74xKkciqJLzS3BTz0o5fdOwnctQTxgw07lLetaQsYhjUjjoyH5ksIk09LiD7Z9hD7nua72QRQgbZYScei/afsLnOiC8xEiL4CErZbTvsZRlzBdc+qj28g+HNS2vokc6hSTV25K8AjzRLOC47Nw7N5GVb/DP+7s+ujDoQTkaYi85MHTX9wThIGNP4k17+V2t0u1C7L7ULaE0uVXWTQivuJ8J3VJKvHjnr1wWdvLp3Fzu+ysFLgobGhqvIRdW1MOxBsNWfKArFu4NQONjveggMOS3VLOxY96fc+thbQ2ciqTs3rgIqN/hCajcRHTSUUaHYwL6Vy6nspXrR4muT+nUd/qFqfpJb43tcI8jkTDUqmpj6RQQQysAV4yxw6YVtzCz3qZhlbJhhXodfnv8GnwauGF7VLK0B98Kl7twvWA+jQHH8jcBCUGqeTmdb4op0QEq/DWAkMGVRT5Aj/GPZ97WMo8AVG31U6xFeV6rBdG/aNIxLlCwLgoxJYDEUVYncBtAailUUb9uvti0fxQFX3nVJeiwa5ZgzOmbcwZeZ9ilvobcMjQqQTjU5C7vJxreGmk02xmxiSoN6HNKzL1jJQKML7aldUALaZfOlfU7o3/LEBSpFWOwfQYWExbEx/3x6r+CieqAYvCotNfCoRrCL2g/CoAZDk7L7rklX6dlnl3ZLPAlIHrzTNxmAcnmwkRCRxvZ9k+0cHs7w//UiKHRbsTQmTnrVK+gEzCbhKPiIVgR3HFK0hU3DB3yUn0x8hUmST8lZB/nu4VJJqY/jE/hvRo7HBBQ1ZXHvOcMP9YD0N+QZIaftWHljS7/pnWP8hNfpULFO9oi3DyIlFeZsz4nzNQ+H6RBjfqP/bpj6jWG6DQqjNsZapxbmBTWqB6Wyd03OeQWGTS9QK33/0Uux9OdvCvyVq2t0d/9DSQB6UC0NQV/IWBE0ylNW7KWiKeF2EHUioPIMaMrtMNnWhfjPqJaKGyfdO2ZIko+/HobU2WYU79/QRl1NbaQM3cVs2JOLA1I8oh9Ip3JPg9R/dlVEfslqmu2lfxgCr/cn4VrojpF4sOcmea8X8lYU2qV6E/iF9vyfvdzaUR38/Dy3BcbqsaBpjpbKM0shKjCm/bs0fWkThxCkO+9YMzoAPlYT/e2HzI91n7BuTfoPJPJ9bfoytbIzLcUwXueiHlNkb+q7kavqge+xB7JFo0pqRA6pNlcEm+HzeesxoHxbsygBbMil4kxLMeUCbJD8CUCwpGC5a1EpZ51HFs8il/rAH7L6aBJ0WpuHx0qz7r/9agwEkuQ2XhuvCvvqMKn28vgVKJ93Xd5YTb7HVFP5eRuF1VplwbvPdCLW64pr1wS++q0jMMJcLsKiIGMC04VtkwZtRvRs1Yg/SyQvKpMI5+oBnkcapLEGcR40Wtgzj4/s/dtzTLeAIlgR2loKK/F7qDczRVMJa/JGQucpVZUo1tBnHL7mQrG10VINRDU3XiO+KrGqbQQTHpFaEjqqGX4C6g6xfg3Mxc6+80UkW7jIyfpDyCYo1qN2XFbm7yuYpQEkHcyMjPv7y686iGXM7bdpc8g89V/F0IqrVaQ7AJ48o8sksNw7Yjr6ALVz2ZGsAHHcpnp519ZNOXXaUxXXD6Os8imrFHrguRRvM1jaxGG4iGGf/kgjKXjXISiWJJIeBFJ/fryqlVqPdsGeW+sBZobFOMT1Bhuh/B6TxdPgab8rlcLYdatJA9jOZKQEIYoGaP09tPH1y1AiOhP91dPWkTeyVN1n/DPCVx+v3f68WiturwSXEgYm/Q3x1fYBs53OOJV0ypOZFfytWL3PMkfeBfOkVSoCoIDDPCzf2yvC3qKCP5ZPduaQ0oFWizC9DvdCbFvodq7WqwwoYdZ+afsRwOZyrXilaMBV04P/wLayidWib/eqHvLH5TaNfkRYRQ5gLWuBxuOVme+uCyt7psxh+JIcDXpzm8SPIqFMZ0xxer+fScjtbK38zE6ZsjaZ5l/Bho2Igeb6iiLCNrgop4/pOpWgFZ5778QKyZ6hYKKtt0aYNZkzCkz/+PvvCeMFHLvOkyn0lx6xgscfxxXlajsDx8Oo3HcbkWEg+bchoHmq3V9dd/fPcdT/FLBaDzUbrX4JLYKxj33IcBDeC7nbwOdcYUZt9JK90IfJJ/kFaCaysRq/EbR/QItW9s1ERHtyIquGvag4tYgY5rCALauCgy6BlA6JN0Rco4aolNLX4ZijCRTS7qg5U3EYugYavtoXlTuVXrumpWsjOYY0EM2tl/0mMIN+f5p8rrx1f1S1P6OoRLjCQLsamD51RmUjOoGawkaLtr4Q79f5vaz+WLtTPCUqpdpUFV2k4JMxDJbY0I76uYYZyz/vUudq/WSDKb8mYx94c+8sMk4dzbsiTs21nTkkfc2uDAWSafilJ7NbuRr4q11ZJeHOXg9MP/ICz546KRZs1X2a1Vv60NZLNkKQDKNJMHdqITQvSUGiZXepr8/OW0Ai6DKPl5tW4qGgtLRofWxH9WtKpldKuc65eZgm+PgWNpxnMohVVwnaat2a/de+8p74WH5SxHXu3jM58+LRBvx9shTWXNUgY59MzL2RPrDVVqc9tzODJKnKCfAdxawhj0WVf/vhvKwKhkADlfwkREFiOn0VqgYF9843UqZjvfCKkikp5zGax8S5J0KEG9FqUo+S5IZmxLZ6k9HQ4EZ/cJXmn+xURm1m/B2brKW1qsCZrXos/qs44NKw1DbVIVH1rVi7Q0s9e/fhd0fT4sOCtQri+Q2ECiTmdv6SP1Z9RZgQsgqCV/BKedLJELaepzPGfEcfy1cqMxXwNrvC7ph2swMVli9kuGe2yRLtnGDxUMRxljc/2vBkD5iWiWikGqJMTgILBcOgDZs6ML/3FY4Qx3LOtga0ezGJOMOLNx1NQnsWhaq1rWhCqW0U+9Naa84X8tfQN7YMqVlQrp1NDgCHNQJkGUFw4AfQDtvzwoJgJ3fLknwD6VQI5agD2F/aptjgw18evffj9VhSkgncCXLSO7/plCs2AxVmcV9C3gjWV0nO4odQaWNSlEcQaaOB7d1uYSseZw87sKcHBoSwKjP++sua7U4S5+731gPV/OkgCH2oI/ubocr7YzoHLixNubDfdoycR8/AE+PDIWk7vfp6AoMJQji/NyyU4rI27iwxMEBuaMG6sJ9z4NOuR19zP34r5+tv5wmtrv9mZQ50i3kz2Rz4/hU29aHDWuU0UCTEEC8w+7+k6exjbsSpSibJ/+WiiqXA/WH88PjcO0uiTWP4ZBBXNsYDZsYmjJLKwJvtnVl/op9WcwUrLzrnH2V6nvtvtKnDpqn5piuh9DmKAzgTbfQqHhUj5pQGAtfaGCfHL2tY6V9OBupoU+DXgpk0FH7P70R+7pB6yu2X/XuTkrjeHMdvpkeEp1VL+TERNnieYOBb+CpEs3dh+dxYtDS/qUaSd8WV1QsHKN1YdXvSarvDcvdMJKQbFCWc6GshJlJy246HFJkwwK0Xf3UcXyfwJIVuWwtJPa+4yQEcLuvoO3v3SEZZ63atFtcbbVIjBSq2+r70vz8klwVRjk/jf4thkrzzO8iBUnR13GI4dBvDvIFSX5lsEmIFHDI+R7DKaZp8Vav95phnCHbuV+9lg8lBSKE1+RoAm+YPwwlAbeJViZYNjUmrnskU9WC6aVFU8jwvC5xXdhQT3ElIPggirVZtv5gTrJ43rZKyA8frGHInirwVd3Dz7thjPPtu/en4fPAkCkbONGoNpTxU3w+jgXv/mA/wSdhbJYPu3msJ8GoErD+yT4LAfGdN9qgmOLZMzhvJnNpBnCygMhCEhGHS1klJRYwbI2GSHRxEzcEf+q/vL4c0iKmcwLVL92jy+Qoy8Wp09qA3fGK+X6yTCoMtQKTE4dwr76io+or1M5W66/MsLFjI84ysFG+iCpfg11QAOU4YvwltQtdOTe9zOOQ+cYdgR8OI7hi8/qVxIvFhqAPkoA9JwkU7tQLXg2iisl1BwB6BvzgY+jFbUhdAUKJnBoYBNYSFGN2/1VtA5nZGWTJnT8zMCRy+eUWDAENyYDF7yJDXvjTjEXiUaXarzlW0Tx6FnjNXw1Waq8nRrjpyzCpWR+Qbxl9hIWBdEt3snUlHuNzUvWG2ier6Uh/PoUZh9au8svmy10vYzBVdSJKNeQZ7ayklJmebglvhYYub/Jz0G8Brj3LEZ0qchQUe37jUJ6P6x/DHj0QAEodXLqaR2GScxWgsHuLhR1ZGlx/gT/CkFPTJaONA6GC3Pe6Q+alXiIVu1BEWiOZKfnfeTSLb/yQbqs9DFBwvWX5WoT04+UJ3g3rNdh8pZuXD07a/KWP4KQvYk7lBjRxwOriM5JRnhsKZYKQdM3lTZmOA9/wI9dXzp3SUkGiWvjbfLCKlev61VKPmg5R5DI0vbVO/uUjVCO/LFIeJbJ9UqN71Ucw4oomW8Nl3BOqdwJajwjdqZ9W7K08gvN4Vr+0HilshmZ0BpPTRyv8FXlIh5uu5PiJQDHP9n2FLqKRlJYXvVLRXtpYCxbv6D9MojS9SEghi9Vn7v4vfFMY/pFgww9tQGttaeAbhf5qPVZyt+3tRgWZNQiIQVlBYJBeHjOUgmoB+tupR0WRVlDIfGqSHia+h8HiZSAr4jHEnVHhHx8Mh4B58Lt2GmSXtP0D7B16UwZ+X+m2OtXhyD5octojaUUs9j7xf3jTey8HOyci2tNPxJRIexuA9SR8sLEBXEsVvqLuYofrRiKc9r9Ba2yNfWkNOPEPYspPWlWUeEY5SPqJjg2T0iX3Dw8dd9k6DgH7uYsUWah6JzpozHdwAkeLCvUB7Gvd01q+O6ssM/+TVwUmjoLTZ9rJXClZcD7HEmHXMQgzk+MHbIwdoETnzrlqSuTIVjry98X3pU15b0tcv/LKSVCibJbE01whGhCLWQExbQy5un3gWLJvllOfuBJm2RXW9xE48XGMrAOcIA1Is3I2JTSLBtNGJ3g5jFcnZk63ZyN9g3nbuezss1PhbjXdKoAtJl4qr3146W0jd9oEaEZKWdH6Zsg15D5iMeKV24INcxL3M4gjQo/1+M4okCXtUKv4zbC9YGO/CWrQEbYt0lJH8j1VjRX1BP94rjZDtE/jEXqAwNGchjNs5oPTctbbkhUIV9Zb911ZftRYSVRAgIhnS7+MwJ1MCRn90qr1Xci6xPKvOg5M3wFbg2BKWiSr3YauoAMMBdVrIE1RWozQYognuhxH0Tq2XV/tc3xUHmlAl8S9ldCdszsLz3eRttWZ8QylG74X/aWMts1X1nd12IGHzf4P/J99jjLFJ7G2X3XicV8m6+DDvGYH1kGfKbFsaqfIX03Ic1egcuz+egPz2Ha01yccodoW7A/2deW2sTnV04ir8ezGHDShrcxsOtx0S11pxBfcrfEtLuZb0ac8tW2pF9CwUh5eLGcWBrPPmjgslDBjGldCEbOSWFcH8I2C6OrbtoMO6dIlcGzZhfGLVPOHHxN22qNTWURanPbE//bFB1lSH097/5iYFc0rMBYhlLdmqdF6SWUVuea66KtnsAj1LeOXzqjHkRrxRd28B+H4t0qwXw4N/AVMcwi/Yai7HxPvP/gj6Fy+I88KMZ0s9Kh39vUAgsUpRTZpzbNcx67KDJJAslaIfyxjlyCSSoXrq+slQEmzBQZFpialk6TCYdx/HpvQamRDQ3BtMcWMvVP/HWP11X9xmIj2JKoS4X/vg/pNuextAyTfaBlxho16MZYLcS/GFheLu+ihyxtfayOHfgY4Rphb/xp/iykU+MXf0UWpkMPkmNr0Lv8Pv72mJ9UeTxNcoTJqK4IQliToiZT15xXS6tf8QnRzvObi4GViEC5/CT6WLsU7vXb/myR9vKqkgMkq9hx4B07IdexBYoxtk1PM11i5Wq8fawOzWAAX5iHfdOQ+LCbD+wA9zy7KDCA0JyD+jsqkROgfprVRRYeqVKYYHGOD4Cc7+0Fa18/Gu1xvZ7FfqU6YSc+gmLpPTVz1Xeqzpseg2DPpWkVgfrGRYFnG1NShdY01hP7aVO2jorMtzdiTKQXhHaw4+IcGpRAgSOxKCZumO4hPuQfLiFrRLcYSx9NVzx7RoFfvwLMzNxlYaHT4ADhuu61WFenSGRtYAR5y8ZxoGKE2VkD1E1irt2DJCmvL6diKmSRr5fc0XmN/n3mbHFEIV4IPwgUnZnzOqJNXhkN/65L6KsVDCUKPgh4NMzrscfzHdFAnx1+0IxeiNK+DupkO5U4d4DNUfIblhE/j5NItliRpUhLFZYL/uZ1CsJequ0nl856aZ74QrHm8SfjBHeKgyEyBy+m6xHIAQm+DQTDlIRjZh1ShSemEVNKUlkVti/HAphenTAU0k1x/6rvhnAHrdmucDjiwKaTjVaATVo/izBbxKZod6tDxg4sf4KNxieUBAe4o8P6uVaEHR5uzC9AqSPrHRVT2a4w6yYgwZ6/NZr3URLEp+kCShJ1eeC/mWQZTELajwk8qozx4aXSsvBwfcmMRlO5gBsvX9xmva3I/QiE9X4iMYK8dRZcgP19SnTo34bwag1LEGlk59hcDQDgomCZ69jTmYoOXF+2HQeXaQWJyfBygf7E1Zwq3DnrtCihzPbSZAKcHf3KgmwZuhk2nN6Vl0UFnySHsKZIeN52NTPLtHI6IdSdqFf1cXd7A6leBhFINzJKV19G9npQGQUEP7E9/v2ET+fFanBdgKEUjUj0zPtEmEswzZgeP6yDV2Voq8AzgeIs0x237gSacMNWh07tx/d2iwhj6jZO8rFfVtGidJ1XsrxcD04BZyQs5LYo6S9iXXWyapzE5MNwTKMuKUULY4/RWJA9wpmGFjUBKQu9bDXZ/cvSCqehoXEMggmXDmbCgwAgf4xg/RyYQmg70xBw2ke9bmY8xZdLI30kNah1oUuvMsU846OrSWBBWL0msOTNgdm48XT3Qf/B+2Ec+loVNIAiz0dKhTK4x3b6pqD1dRl5cy7A/OpG1BY9WutmpIvP+A9Nllf1j4qAf9BfaxWVGUzwa7M2MioM3c1mZlati45VzAj9bYoXqzcyWfGHzrdNsI4mzVxDcMqTdIvOm2XryrKbJWmKQ/YjNxTpgM5/dOTah/5nEF/k0IPh/cHWBnnN+zhnIJSC0Ov8SzTpbConaORq0AdVZUCF17/A4tl6EZbaXdHNBl9Q4nThhXb5d2zFhNsPYrFiwoSKkfSl74saAzGQeDIM9Bscdd6mK6MFMG7dUPuAZiQurkZUVq2yMzERQwwtFnL7VNw7s4077xQD5+3f4nooVyySw67DwuW/08QMKnT479EYfQPOqhwu2y4P59oY/QB6OOhbuhHGVx74knZmOFKQ/tqmkZahdRAQYbG5gpLGaUqPeDrOr3XrcZZpZAzxrkwHE0BDgqtWy8Z6Pd1+j+6/1LsmmA7JvyMzv0QsH3XN5E7yenAd5ovPTr2JpyjKjxuUYSTZGS7d9HBT0IzIYCZwHk3/6gjftDI84Ld7ZtGq3z0L8rV2Ik+pVItNHnVEh5eC7QbJPGW3xKKVhRgo8CQc0neJsgO3mDZdWuyut5YWQZIcu7TmZXpDR7Ml5mWS8+60lEg6qKzTHnYBdqRD/vwK97Q5Medte4fbbv38pnAq5w3vFkUTt6/bR90n39L70Wn0yeXMWwKkBcWAj4IeQqFdAp6dEtffAs2lv6qp+PSgSfwyFhZsWuTAK13jcHyOzWARtHvMfn9tS30Jt3Y5Y6QNoeZtda0VYlLbIvpW3qnCYSVO5RhfouIuoEIv1MOsfjUYm95NWzYQnomyj8mhTo6QZp0mvbB6aFl3Jqitnq28AkLpdo1er07tg3Y5T5qk8zEyGj2f1rLlTHJ/6fncRzt0Jd2Ddyb8gaoLG4C4mQGXciBLI/KtWxSYpxKf2aq0+i3pv5NHtZ0GBVeNt08BiiZEwdn3/KmgKqVXANazbyYavkvBcbnzNwb5a5K++b3rLrR9fVDnunYkK8se8cBkiiZF6vAyu00EV4SkoYxUrfpE4Qp6b8pzpi1qO9k6sr1wSGe+R3Kt0brS3ZtraZ+DouYO7F8v3VBaMQaovrLJc66PsH3OKdf2BLC3+SiM/kL2ptrs3sGHF3PNX/PycIe14WvWP9a3lOgZQO/IHMlh1Rhoy88BSKfag1GbikJ64pi0LzyoxflnLa9SKHeeC0YSdE9UmhtXJ4BVxGUyQSZj5E6UZirQ3mAQtkg36gyNUG7XR82hBik6iHo9rUWcoubX/p8PJfDdU+0dSqe0HGvalfunrfjts6+QIGsPT0l1K/0IS3ccUDBfhvrVGErPZbTuI/1UmypN0139wDRAwkQLjXrUWL0Fe1D5VAb6SLi2Uj3DT9ah9eGjuz2bULowE7Drl/VRwHU3cZ0LTbzgYFjxGRB4sgxnt0fT9HiolElbMbzkifgOuFM1KPzxbglvTkGODOXgc06JkE9LHXIEVtpuWH6eazz/6hf6xrsKhy6DQNUN5d3+HOdP+LvSnb+Zuxe7vSpZfkIzJ8khAzmZVk/bXFPnWUk8gM6m7s+LE3vwHvBOKPiVRcDgNgdHYT50CxrK/yh6zpkGKkE0hRbh22dX48Y6/pSMQpWIx+5/GOlbB+YCJVrdTejf/kdupsvvTXP9DDV3GTdVFXFoT3nPgGg2H+QJ9f4GwtQ99QkIz+25d2ShCmM5nHGrEbF8LHdXNjuP+0EcUhL+jOT1X0RWto87DNOmyDB7K8mSGQiMCMEnCUruZVWjGOBHE9Gj2rrzmwREXiTTmWqgyCgHjo227woPAhZfS0gAQCTLlHdsyjPiHgMqdQ836hw3cKrw26dfOvTdUohR1MMahF3GmvFgmdEEHzER+2PVsUd17oWr+TLqXk1zw8nKFq6UD3ZDnkNOf0k2QGNvTbOyysLHztIoNzTcsSQaQjffw/M2sulmI4x0PVs0oglcib8++6Gw8YTM9Fea0+gRn1rDL2gEu1EC4soznmHQio7SeAs06UVI6ZyDYW3ZYw9R6hYOdCQM/hf0ojJAr0GSUiorasckHDWyc24FHQOTON4KTuaFeOoY8HLuaI0rXCv1m/M1WXSxIztS56B/9nVlW2CeF2vQ6qAj+TcQKJzF9CtUCCidyloDccqcCtWPTHGGJ6VbXTSPCYUVMXQulLp0nf0Kuu4Gq2jmNd1FWK1d5Zyp1Y32qo/10/jGqrIRnlM2s2Zvhw7cGy/zoPOfS6KBm73B5ZFFeoBp02as3aYbi5C5Y3pl1T+HMAFKscrjyof3MVd1jmbFhmZwvQAsDQpoj2tpgyArpgH4TKxUs8g5+99Wtd9H8U9fJggNHc4cNN+8qvdbMM/kcAY0Fh7G9plGIA8bmCvUg6MLiNYhC83LRVpkT0JClLBFcUWRrm/Aa/VOzMRDRqE5OmOuCBv3fVlyFnYkMVvMkIsGD2nlVs1xzMkP+3preVvYbkYD0Mch4QfMcTKv/rVlMJtPhYRopnqlq6AS2RA1V37gY73Uz1DZT1dsNMQWptIa2RcxkU0VZHS4kx4QBcJnVFjRs6mWjd9oosMqGOHeWlVVRSNfquocg1JwJtj1nU60wkXotEtzAmbYiToYPHAzjuwWX/iU9DbYbq8vGO/8OAbERsR+gufB3sZpw2zqd+eNVXBVWx/TbUwtGENrZvuadCJn6xNw0/LFoJqGiSvYu5deV0iDrI38GFDApyqwiwjgtjOrkQHiQkn1w4NIGxBKnbVXUk/EdkWNScxqAILwfTq6cdRcXaNpcOIteqyvj9H6bVk6jdMvlqsStoWKIiZvuE+TQpzu3QQwKdAGN1Fg0YDKiOHGpejtTbcy2gWujyMacbxsX3MGeztKuMQCfj+qd3qP/18f2XdXv0xPzss+Wd476ANpMCsCzF0IXRb/TJm/e3V2QsvcXcKNjQ4biwIjx/i8tAkV1kel6UD+ycMT7+0VEGQyE6YwsKUedcUVIDA4oWqcJgOR+T6mkSD7nMnAnStXmIst3+Zc8ZYJM+WwR3ZqsXCBfsY5lj3MufHCujYD5Oc+MSzHRuFt6mNRr7ww0iG7bRU79mDYXvfh0PPmtfqAJTc0Zn8av7tRSJEnBnMiNjwAXKKDTeCc5Dq+JIuFH917qZ8r73wYmCLaX10mVOczZggTZpPFG07p0kIZI5KI1gzzqgqe9sru8mfGOIXTyXZjv7t++MUm+C8Cu58Jzxsq4MP9veVIaVrRJfDF3Bi/zu5pKAI+uJD57k73JhyPqvbtwB576jp+sJuRUT09mKgJG1YFXzCkpr5MvC9S81r93PJtY39aWVveRoofjSLQt7zFTyC8yxFwRM160hx52iGmn2IGoV9sNrOVZVP5JtKj1/KF1e+pqNRJU+/2SNAs6QvVTgCc4Jb2HNR/kiioqVdnCpBTbvsuZ0edGqdxPSFxi53Uh3P/Mkg6hfomLwTORurrPKHWNDSp09GWCBxEYafhPiclix27dE7eY+q2tuGp+lYFOzptw4Tyem3ai8LuZ1Fm2CghAsKG4VSHdw2zaSLQYbpwbDVsGa7MgblGKO7H6CMIaa/0NROuTXY0Lo5cwaO0Tmj1yNe7cZeZn4XA1zJLYNU0/Recc6JBtI0PwzwnPiFlldb7Ei3hOkeTkhZlmqWPDgXPHv5oudQbRxzcoNQ+SY1/Bwe6/RiNei1PRGIQprd8WJMHbk6eM6bdQNF97WE9NEr5uzI8f2sbfZxzl2RlCt5UKnHXy+oHbUvmucP9EWNTekvRzw/kncYlIEVCFdnWeKLH+wWE/owqSGrYSBXJpFNzgLwDw6stYkbj4TIcQ36acMpNpttZ4GRE0Ic81D4FAgfJL/YatlYlsPTixfj13R+mKG9iXirdByEZOnNtDNRNoVtkY+oXRZj3/kcbKjFEGLBiS8kLq/l9PbOBu5H76JivUNQ/l95M87aUF3vjKrSErgWhfWlw17pmv+gVrlXXWbKDfVhyPaXmV5Jp50lpV+8T8FmbcIQ9g2LGNY1X+7raEDI9LZISdWQPWodg55LS8nIxqekqSipaskbGVClnfR6fh5APAZgpMJWCs8WXn8y4g61TJGAoiKuZRE27Y/u5rFz2DAsbPZNtDi5Cm71Y/QG48/5XQM2hYjE8xLw6QwhtGmvsTrRgVTsECTm6CL1n40Lc8cWtNiV8qpRIo2ZPRLC87aO+UfHrv3gHg8fq+BC01dwZJM0LVGrYF0O9AlbJ/92qNupvO5dzqjN2kSrKgLO30YnVkwd1Ur4JER4ld5K0zEMCYsaaMKlNr5srZ7icjmjp1zNSY8SjbAhyE30rQrmWA3HcWfV3HKjaVzw1IF15t8XqGJHZVQxvP5VTD6tltH/prhcGRbffWQx4QeHOROS2KkuqT6Imdc+QXLlQS80Y+Jlum0PDhfBmQied62qRGnjswP753gaMYto43GkHSGmtQPIBsQ1UHPXU0+HOiq7BGqKO6QP1UHQToDEdFBAckXKQx2v67zX7CK1pSAdzo6HSpSWzgqauiMjN25a3XYtHya4cYVLBG6IrXLBrLwWwAAsejuLU2zPx1BB5zJtv8tyAQJ9Z4DLU7yqE//xoAuZbscmrf/dcNrzPTrQYHjYvdt5d6iEi2X/6A9zE/aycPWT5kDCQ1GWc1t2giy0Kog0KBpKz+kqldbENsVTpUOm2wuIzVydoPsZuiyah72dplYLN4JStNMazI90asQGIKdlQQ+xr6kteLRfdnEzZiqsLJ4sYaVle/EcGgL3sVODAIFWl2StHXD62UBvEwTFeWzLHARaeweFmd2NitBJw6JqXcdSSvbTn7xCFaFmH53u8+Qo0yJImhrTpPhKfsx8+rNOSKU455EtqOSes1Rw67QH9N8QuY8lq/dVGB58VOx7risTXz4vaP2qB5ISeJL6UV8SJr2rLWknFDao+iucBYsYwtmxbpelUrN0gXqP4AiMmVZx90etuqXyw4NmbRAXxwHQsNJjIdhN+jf5VFk7ix2HSLHuae4BNbW2iFwyVHTx6uKG/di55T2kALnBV8f1wd66gaMGarZNCIJHbGZTHqZm5ZWr5Sx36kYTgc+Li1MtnpaiTNPs65UJyvyBHP8DtQisGUJH+o6ce8JPPQrmHUwlor/MdAF/AONEcFao36PohzaJd4JfHggsBy+9xdeYB8kIwFv6zE0yUhAHzuAkZGl/rgyUR5ZhlkbSm9c7Lq7t3y2VEGCGKCDLsWkx2pL/7zzmewaiZSHOyY+z7xEZ3RzxgD8zAt+rK0w6n64jY+YRgA46ElHYrNnapuh0w1gH/dhzGOj1XoiTRwGCC+WOVQohdV50YNirlJRNcGqW5D8cX/3zv/nc2B5HZepWnAAK6Z7wmNjNYdJfLJZ4z28NnLOlRiFibnpywQQkWdgfrZtnkoO49p+pVCKjqeJ8nombAfUABarUSFX8Pz4jaSYqNhl19DGUD7RPxVQQkMn1iuelskfuQ/WTrxHG+2fE1QnBREe69iIQMiRCkH8KDhZ7STTyc1MskVhAXtSPqB1bJsaUS21vqcbywU51GKL5/AXHgzlzVE2YewRDJG+3ITcHV7WKW0AZcMVmDmEsh+tj+fEsmZTNMcJdFikQm47da+ilfauu8NQ9xquMjcVgeMC0ZM2uka1k19Go9pzSFj50Vhh80L/d1ZgY5PwzoYhJpOPE5qitaxWXh857SwkfQEcIKXvVSmdZp9XL94mD0SjqqNDcLZnebjagPO5G1v7BM7hbTiMwFNHt2Tlucl2C0qLFA3erU4lWEeqMYQ7ws0OoxhR9ZmnSYjJPcc2BwQfv65ibIjcGjy1yhubAhGKCpy9iaBFu3JUyehbMeq9GlSV9Hg5ietL6Qv6aBgxopHgXS+GwQzhtGb5u4c39HrhzgNz6q80/3Mc74i0FlNWk3ZLtnxvtICSBmytm1afcF3ppCvtnAakjeNmOUnwj4Ec8GQhvDodo/ViWp7Rw56gQ1WQToIGPbLosZXKT9ySbKR8xf+eRHeOuGF1VHd9ynSJkQpo0CH3eIC8cmJENuHe1tnWd9wF2loXRTYsh3ma2bFv0QLiQiNnUHYjTMv5bF3QTEpzHW1BgczFtR6c8mf5lx2HbySpvQ99j79HyMM+3XZ8wvwR3/cC/QFs1i+9zeuxBeRqsC8ZtxICcMf1qFZuYrfluefEzRKm5t4/OhPbCYUzkXtLfZkO7oCU4NU2mcAc0EQBE3rdwtfZBNYyWkh0bOw2zcurtZrMMBJRQrozVyX3ZpvsXvthoK7Jtz4mTp6TJSQv4LVmXw5P/TMWbezQ2RW/V75V5CyhmYAydksh0+TGgsly62iQ09U19Fyld97Ff3bOFtj2B36aAFD9ZPntl0i4GsPXXlksccrB2ZLU8GoPj+h2EdtRpX+kj5imWBqNz4oYTr94wKV+egw7E0nJo1ELWCCN+g9AlRSpJrShsKL0YcRNudaguDbx3j1WrQLGZPNp2zt/052xyWBYDFa84N7O6d1XEyW8B58O0wiENuqPHU1uLghiKfXrsLrIbs+PUHpjw9VX2vYcSRV5BB66O/mdwfyROpMOaiCQFm9DDNViX/cxBNemYTUrodtX/EKuTex0S+7GZnMMOufl5NurSmqrYgORb2Us2/LBcCdw2qVIFJuf3ZaYa5YBbgxKSL26SA3vM1E9OIQZ53VjGgEiF+BI/hXotXVz2tiPaHV6hP3R7ejRJMNOmsuJ0jAdpscg40WcQeezpsTs8zbPvY0f+n3QnDXni869vQKSfFp21jNNfoiM/PzGiQijzjhB+nvCLoHuHQGTAfMMe32JXWs9oWpTZ0NsEcVOp5QUqt7O9L+Ab0Z64cjTJk+ormup1zGROKw9lpoN0LRgOOLur5NDCOsa3R4s8i6u9ToRl6g4IlXt8mj6oUqDlTphXAnw6WOVaNhBmSNRFz2NspKDBCzYqlXOUsBcXVtvlHpnwwjHUFrEntdUMm/xLyT1T+oCU+caaz1nh1IAgDdd47DiAUgq2WhlaaJTJv+L6uoGF91gyVQS71xAWAV4/EH8w9c/BKgL24FoLFxKgUEBj+Ad9eiFKhGJpSzbU0NtAlqZOW6UQRF9Np29FwDQh4BSJgatVzIaGBaRYGqASBUjyp5U8GWgpItM5rt2QJ6/2n5Yc9hfyRpb2/uM3oPqp+I/BdFsfDXJIk2Yv4RLLZJubAL6TWY7pyvvLye3SSwC5N7sBdRrEcNNZKTbXQTGDQ8mwTKlq2D3wCUFy2cMlFdy+H6B//Skz58FklLp6rO8GMhBLuTcg9Em/tS/xc/oaC8JBAI2YM/ZkLdC6Q1tq/QlHPFfoht7coo+Jd8T04WOWGsfqOXX6CygO9HgltacbRkBDBc/rhSsgskCKtCfkECE/bCWHTV2hM+3LS0SUpljcHqFMvOOOGIik9Py4zb/45YCLOIbaxVF5XETFppsDUa0QN7BbG4Jg/0VHg044BQwtgAr27nJ3tGp/rv8AbOSdWsspvQE9zHYQodUtQxHYsVlihRhihUPvqeB3hiRmSnC9ha+hXlYfINjKuPvsfLDINTgu659vSWuglEytfzI+zeF/NzaH03KQ/Z0YPnbL9GR7TycE/MCqgn3rISpk3CzXbTtpwUeNbYk3avmYdv2ZL+o1WufHoe5YQdW76EkI8npi9R6/wkWL29ZEBXfSUaSWh3V/V94MX3vZj5xuA3zR03ic/9UDFqyWYqNPc9fP0FCTNDbs9OkJmC+OvIy1/8IttuLh0Q5i28tvpsnGSmaEjHGdiP3GsMr98B0WncVc4/VM1zi595AWTW2zYFtGqXkdYH7r5YnM4qhtnScYNTDYR0T3NkJIdzDIrxvnmGBPqUFMf5GuKV00WkoaZRNL8Jn5yppv26AB3wpvfcKfr4dvVsydxKcWB/ae8mYqmonLkq4yo0F6JsvZcx3YMJ53/AdIbbspTM82ym9P9D9GUbq5rkXtdjxwrtUMgjMdFhvK2Td3uQ1K6ndqog89rTr0wPVGtMsfY1iCaR0BzZAl/OvCdyaIlMbMHc0zluvRGQTHXLQ/wy/nozmhvXrBQPj9FpF7Mu0RtEbRpzaTFS9LLljO8kiC2aR1wHLKhJsFUBWe+QXFTqKB9d4y1HfS7JReoeffcyh1uOuCs2Di4qnnqTKEhp3IhSXyz/WwtgZ1XxyPuI4rIeQXV0y7jZrtpT5ndVSluPoVXbHI6ebytU5G3naiqprxqi2wN+9bGD6o8HGkTMVuxGBYJPDWJ36DYkO0bbvY1uH4p5P/51n0uSprTiNAvlGHkzkajZpov+CR7BJ6I8HwbCZoa/9rty1TRFzUxvdJfnp6MpNiIUDFpikYCoIMRoWfWU2Hbeuf49ohlnt/1Rtsi+vP6tQJ1PBNTTyiB8Ey+bAWn3S1LLT3xVxH2374MJnNW4TIGL+OZu6hV9HzWcFxuCB0CLY3rCx7KBUzoCC6cO0qxP5UgCIilJumtdG8TzqTtND+pNxZjOVvWzMoGve1pgnA4MqcvkRVNPTn/MMLqQjNQW3gHmPd35hUzulwWxSORFC/gnSukTwqfETq81t0BowRV8zJhQhtoV74Yxkt7iKhGmO8nE+d/9TYOAytQrAVyZNcWViKT4yxhl5tY3Ga6IYntihY3rLBYqv8JTxjS4+7qPRKTUboKYLdH1uBUOp5H5FwfyLy9t8iRb0BR1ManUpWvrUC+tLFiamugF3EpipTYmKXjjpHy+RPR0BV/tXHkFGIR1TGfjZBjSolJwPviy4+YpH7Cwa6MQBw+httSdpPs0DN7HDcLHo2W+Q2ehzBRxU2yp33R09FAGTsH69XEfF5la00CPu7PJO2RufmPXhrRCeRYzQc2zFXbD5tlb5x7iGKJOtUtomnHxj1yxnQXF5Iuu/lg0j/2jSg+QV/EO+QlNn60/wu8ulaBdCjxf9hC1cfSccDFHBToQDT8sZMSp/qqN5YvoKnsW/BnMPgDJM2o2yGvP7z/4jzVf6WQhXhYMCEL0BnFc5I40SIOd3rZdNrRhy/mwGwMN2X0QaI3mW5mk7fVeTyqNdSA/DD8AQ7w74EHvObcnYL+WvEmMve3kfGm2f8jnugxM0xfs4RAASgt64wD9oO0CkpRddvfDC3kK66mqzQUingGd23XbLRcO22feXvQDDE2cUZsttFpePdreGNebqPcaVIA2bNKD7/AOLAk1jrdEfzCAv020rxb2VL9okq1HSquW9xDcAzO0lKDBoAl3dEiVIUhHAAtWSrQlicCiJlgNS0t1AeeslWbZkk+gjmETTF4n/l1N0Xm2m7mAoYvBTaqKZQo2Z70s1CoxvJL6QARi5ec2XOW4l7hiV0qU2kP6ClLyVqzS1FKevnZqeN8RHnmBz3Zhn9tx4iX4CiTCFQ8YqEbWftEBUW0Gc9fWXO/nRrhP92Jb03BQcE8j1QZj5V55J/HXuc3Po6bH4TKWqxFMCMbff/ObN5W+DMznWvopko2EN6ZdsV9F+4d3m+8TJmmBld2IYQvgCEJngsvCo/VB4PRMZdpkx9Rl/cyEr768EzBmFnpkoMYP6myaaQVjMf6QYqUew9htdcy2OfJF1ErtoA8OKNK3d4OTQGokhz2teRmxsn6Fl5ibgLvtA3lJbkeK9kAmAV1erTDXYH4rR8r6d13qibBxeWDYAYrb/yE4x6Q+fqTAOL94GM1Y0Aasd/D3Ikfn3+VzQh4Dvfo1Se+ykb4ljbyq1Czn2qFZz+utprleQt71YAqUrxOWwX+LhnRnq7bqX7rQGdazJZnUedQV0oJQi8eyvfC1OOC1OiNkJn6NB4Hn4EjWq2V91okeC+zxeOHOiaX3IinBAF8CN5qtAsUm18YADqYthMKKcpz56pA/NzHvVDjVRp5APnrg69mx8pSMDhpAolpgOqIU2m3rhry/bRtqOEEHEEIrUIEM6NLtSCCS4J6lBA65CnB45l5Ex5qdhEnocR1F9TgOiUYfbK6+BT1c2HptBMATUzOFWufUjuEG1IknJ3e7c4FnK+2nNEiWQQV9NgoR8IkAeBbCz57Hrg+7ClM5KCLR15mUlObTkyFdTlHkiVLnWA9/+h7kLwxUl/hv0wOzoatIu+Uq1DZgc/Mlz/dzPdRlfX35Bj3R7jKfYTqIXydxXteQJPU9HOfPoqmsX4hRsNGtyrIAykh1TBal64wL8MbrTGzMs+5Kh0mGI6br/2ZHtWGSho3sKskGcztA11fW/Ql/+3ptywh0hFdyEceDVyH5LqsbTeI8xmXZcJlBy1kOvrr1LjaWWtF/TYKaafo+QW96wgWwjsyr/4kLUiQm3MzZeZXKqT4I5lombfluUifvamUpSX3R+2+b8RG2kh425WKtXnIgigdpxJM56My1Lkrqh/aqE1+1X2QLCtgW8z+Y4TGikF0IPi+1aqXd+odq8l1Os5rLwAPykDnPB0hyOhhH25NevPIgoPq7KSQjJI76mlu8RZSiSN+aFPjnKzoBoForE8yxgtbj4rNDxeWe6cnfDU9WfjviMUxaq45H1GyKEjqQ5WQRs2Xw3qYfr+AkADYGkAnWG7V8IjY2NLQSedQqeD3VNhY7rIetEWBDICzITpRQeXb+nGOiA4/yEjibSYHk3vIsCtaur2G1Ldb17Mm0G5Mwp/HGDm9AWaITgJr5LiSNjI4OkrwpXEXn+nCaKZAvi/DYbe+Gdr+VLyOWPRKndzp4nQzZ0p1HVTtcPmLfLuE0Re/FiyX8uKn7zaIcupIpuLcYAgrPHRxNuSHZCRg7YTfIDmL5XrJ2m0PG7JPRIaPQjPr59lONWB/6v6kKuYyljhHKUvQCujeQjEmEOJrCtGl+2jpUBZOLwkDSESEm03n3ZtHzwn2dsT4XFvxkUXg30R+LWuVxvoV0VgrUSyQtwogu2tA6dmTE2/cBLwXUdEt+soBWrJHVTFdNf5qsXT1cusdOXiZdboVi3K0IEftGSEx8xEwHVQhWkdOutdOgQtqyXM3H0xLBtREBB0FBKJZ2URgInNcfpmQAuHy62i2/ZlQeh7NU67Y1mwwJ5FkyMTe+IaEobfShQxAtxZQ9ZMNtCBQCthyunklR2PWxfBwhczisVVVPmo164EPdgqodA5uS/C5Szb7lwDpQFG1Y2QxjzqzYNiEc/POEv8uuWIlo8MhkP5GphKOMLyYLv9UUJt22ciGPGdIjq3/QTVlo7aPt9zGfZaPxpsucVGTbHCvr8IkmzFTpcjCB21c2VpFZGBNj2YaUNvk1lsHWsSkLRmynz/zqk7b5QZdtwYQLJzMJ9a0Ma+Jj3zK+o4NxvDo5eo+CyK/adB0c7xPin0wgG7InwvJRmtSPdzhNifXl7elhXC7Xl6QCk7QYnxbHHtIJlF1kWM7/i5XxMqE8XLAenM2hVKR3pr+utYW9YYPzOjZLq8n95O0vjXfSo5+PSEgiM9qFFwoVQ5mXfKZPIA2Q+XDKy/M5P2BI4ZFHjXMVPoDO/3Hgjbpn3SnBHAkXu3O4jEXS82OFdYq+siLjWpGiHS3mYS1u2qP2ZroAQHjIBkqi/45qn1jcWIJkmsJlYvj2Q3JUr8AVwI8pF1oZE2i8DKpuox7jJ0vTxEDrT0qMVD9NezdnT3WP3N/cz1Kmyjxqyy21A/fXcuHt7Ypb0/v6dhYTG9JUgECb6wXKgTk2EJVVlZR0kf0knyfNHJPlsgcvVjoWWP5FeXeu8vt/RBtGSBsCbj1lTw8IZroYqkv4XRs9YNFgEAbBXuruBHUFW+j9U8WyOgvEEWTTS1nQsTflxOSXktwutYI+XDrIc80ib+z9CW070+6hPLlPmAT4KwgkSWzgthSE9r3jm3DRk4POoLCtyKgdmgNZp9lVlu5TvwDcjY6XWuFkXbqjTzGq6bv7EHmkXR/9d4Ffluc8lJubvjTY+/xijP3f4VzRLsMOqz7YPIVOO5YfnFhltVhHuumCZeYcWvcO7SLWh2CLexLfQgOu5HyVSQ2W095KaSIjx/JCxIksGNYHin4p/K8cHeecSCoTdImRwpzcN11hq6AmWWjRQ2Fpo5y3z96hwdN+IsGmSLV4CG+MyvNHKRf7T6RaaVCRxRruyIUGGQY82glqijTqTUVYX1+z6uq2TtpVbamt3CaCZsj2WJmQwKAcDYYutuNHtLarJfEXSomi4rpsjkvWsmMOP/wN932ACVJ7bvS3M1xO0ytHmSaPin0aTgsipDeSgOVB4lXbBRRpvDB/Q+JubMidct6cRceMlDkgMpDp5RcmixJzRNsyxcM0QD2Y0yD4m8sWZGB6e26OYEcSBPXMo3FdhN8vc08WRUYhE5KO6crw7x6aHmoA1a6Yj9j1c91HQPpMHkYdhsK6ShHtgJx6LjH3X5cx8p35zu2gVVvtsPYVaTK57E9cW3em0sronyffEhJY2bqFTNRnZwFw0CEX46faEYCNaRvRHAArogBuZQkls+z2dFHerSW48yG5BKGAomRqxNROz98Bzk91/y63nCewo1kBeUPXHEwveh8BV7T91LQpRgII9y+S7jmJxClV2dCP4MPKNDu+UfrSnxwjYzr1kq3T5eOfUrGw1URQ9PqbRWNVgS3NdD8qQb4foDwstGcEX371914spe7xTXcrkCz+1b0wTpqJ73YbztZX1tk8v0+TRGMpFnRZZ+YHXfwFaZbbj8UNF9h2Wk5mnMRLWkPHHJbz3HFMXziUM4UV99ZqbMaL7tDj4Rm/BAK/pS0hzf0ZkFh+77XUtiHuktnYEmkUWnIjpUQYkGZZu9JO95De28htlNv4Z90wHK+GFf4ldixQQ/jSLWptdAn1xY6Y6WoUeBWo24O9zTTBqRoizFgAAotfN7Zo3IuvnweXLeXRSVEckl+AiEzys8PUXnwShWJU8KqABiOQU57EolpE7E1sOWBoObUSqzgb40jXMLxHvoID8zhtFewaWSjTgMS2r7YKmWLLT4t/TTtdoDB98TSKaZhxjs/Vp7CyiW147k6Q4t8Y+p8fgsYuPvYeZwIXxsUIZv3BDY/KDIM65nzRcZvzUgfz99tNrThxctg7wANu/Y59IeQg7oAJRAoB6Q9bkfPL98rrE7MzK0X2k76M1tLK7UcfVJ1p3mxEw94bGdlPYCRuw+64vbFww621G6eI/DuFY6e/qyT0gv+x/LMG7BhvenDvzkZ6vX27Z9hupYSqwRdnjEWjNTCEuZa6vrS914QSNc3rwawOINDxJxs+38M3iasb74s//RY3DVaWB5689N3JDuKUklktue9MCByEXZ4xstPIR8+LeW0lw83hG9a0pLzUlCx2X/+av54bJJMDgYfmkv69FHtwav4OnFtM1s7T1XTgInQKy0nesdDgo/PuzmD2lr6z3KZ67OWOIQHMBoeK7cMGYS2WxKDUxHm7ujmxi+B4M5mxiXmleMJyXs3uNd5sl8cAEWhBVb3CfBFbVgloo3ZXQBmeV5YnewCXqpvxlwB3W1o5TLBZfXoz4WTV/hdymeGcRo3WCYOpUs5CPr6Y2RlnYmSY8itNxsl7uw+Vei1OCder7GTyrC/nFuOjDR+YtehR0BBdwDwfyfiFsGL9WRzFUGTMDJ0qvDuCuI35ToTGYYu3UYBt+pS5lBxXpVm1j9QWgz1z35lkiaKyoNA0Dfo8GQS1WFqDr4Ol8gXSDrnjDdPD+bIRwB9w9ZGFLTk7+ppmg6Nk1KKtIwLSf5aAb31U6cIg/aNDE9QhcoQIxRNBn+cpXuSwWFibC8beZqSpD4y+LCujLkowg7Em5/A65N3KxPkZneAsGLhhYE/nRlQkN34l4dtoqzpK1irMvFcot7bhGKso2Zg1p1SbYjPx8RdaVc/xR1y3g6riqjzCgFtuX1VzdyLxn1hM9vL2RQaK/jdgs5+zX5TvUn6+589ov4zdTktjO7QbLeg9CpvMescpF2eAbp2S1gyXRm0qjterEWd1IWVprKAmiARWTarPYuxhfdn1gqbGBL0t7WFNl2rzF8BpLzoRGUXHuAe7ENhBozEf3d44bnWjIwScvKNOupVraDIRY2CCpoBSwLurG2rdKWESzwoslpEuq4ZgZXW2NacdB1qRLCqXR2uUJgx4x+6KQTeAO+HtfONQaX3tcreKSm9QOnKgNJjZqHil4iY6pyJX5XLYaBAssbeU0hEv5pAhbAAk9IFKSMFiGlDSHehMfFLywQVsL9BXLHD3AiZyKUP6o2bQ+UQdYWJ7Iaiv/qgE4KmdgJwVN1B4IzpAEjNGpDM+snokekNETPdSooI6fj46cc3fTnul0t2zEUCE/4OLBhWhinenjYxbHyUhIck/ap+n875OP00f+PYw8f7iRSvFLbVM7tk9Bhlw7X3N4F9OmBEGT4h2c2eAYVhxvV00muTE+yj+8IxCspxn0ctt7P/yWmb9haCp+Y2dO9bjM7a7VMdNPDuBWWAbeBdFuYq06rMN2ECIo/7dwWQUKaBPdBy8nVlH/puiyqvsG+v5N7Uuqp0B7p4rBwBG+3UXycQnbE6gwX25wJ7iAL6N5icQgkCK5r9Aw/Cd+dzmpqftPbIbznu3nRuj6FBPJ41TBVIHvUkFafQ6ickmqI7UiP7dVYK9HuKjRwFyB3I3JYcZeMrd7DYKNf9Z/bXZt4ecJ9sWOCoLfKLx7RL4kGR8FCoBkHfdwiuMQ/2EtlpGa6kW+gdAsi/Sbg4rE7Jqwf69l6z9HuTmOotE/00QDt+u8uxba094Wl33d4C9dyZtdnQXKzY+velN+B53aJt7gHOD1eWspFlaDvdaV81oRS3QETGHSulr/s/Qh9MYuPiQT8X1Ug6d0s3O/OXaYszD8eSEDeaqZ1G1oueL8+7xhZNE1W+ZzndztFCGGeg1TEnunAOLMac6f0LGD+nZF0ofPOcUA7XUnyXh9tNJbIArUVk0HGiRBc6IuN1XsI6H49z5GIIYTG18hPpPdBintZVO0zJwWePIkAyR6Ixu+Vb0XZqRVIpxEHwNjG0hLWnCgjZu+sTqEFN4cBZBppUXgc2O63jjx3eeNfAv0As0RO7vxh8vmMH16nfMt5KwoAvyID5TC7pOYFAQGnpL/LL63xU/vWBoDwjt02nu8PMnpv0xPm+NDF1CfoqbW3cqzxwoAzps2RDIb8tH31iObbuEuc9h9Z89yaZNI8u8YjjESCGIVnXvY/yh3pZJqNsw/wzJFLBMhv3zKBfpgQe6hj4zUUbsMpaSI8nmaVnuFkhhysmCP8VktPDp5WOgQL8eJQA25S3DfXup6As9CHSipTfLo8nzKMlHNjLJ+48iQVHgYOMsgTqW5MruJWnsD76tJRoCjtWhrmhpn/cvLduFS6Z/eDEyfG/UWTJYlOsfMVio5yosaz6mB/aQT9PXb524s3Y+Vt3gkQZ4pC39eEKCp+rxtISEnov55Zg2/h5JL+ryhC/XxYf/cGBaPBImeZA6zbRTWaUYXgKXbaEResKBKG79NrAnUCDdNvDM3We5uYnCEgE77hG9y7EWnNqzf0Zfy4gXRLzXae0sQ4RPa7bbqrmjoUlM7LQLaOxbt3u9RuXJHIY1iv3JWgOob8OvZfTi96BQKiAYxlO22ZZnUhiJfqiFlCuw7ZT9obWplRL2dsFzWabszUCOm2C2MaNvd6bzmEooNppsdgvU0snxQThZTx/0tH1TL++HP+VyEQc/nXPxB46814Q7kNM858aRQoU9YOFwJd6AmB4PKdHd7Coy18t+xnmzjvBSO+UurrMhms1b6Ga7k02DNCCAFAIBJ3Xcri8y7CsBudTy0uBBNJEwJmz5llxMElEioanIg7KYZAzLvmdu9pICrfSz4mMEcNk2yiF1LbJZUVoSeTaEOQENkqklV+F13NybgJ1vSNw91l0Jz16/38gqo6YYI0epDrxHgONElo3sdtHVK4qsyeXxV1bvUl5Ro4QeVjWA15MY3XRwuKHLZOttdN83s5io21raBMu79aDDi/CVZsyWzg8V0jxBUOb8vBggM1wLg7vOZFzxDzE8zljIk/TY6EmvRI7DjO24jf75jKbkKUyu3f4+P54gY1z6Q3dDiQ1GX5dQPu3+4ddqvDyyXnPVWpP51/S52aou7KOdq7o98mFkmDAoMpwGc8caAG14ohsJ/qdXpTKlsY2CkgnfL5y4ScHRxBf45r0gTQSZ8anJQAlu4qZ4gJBCGZfzH3L2j6ZVMjklQYoI/WlIA+hIOGX+hIG/MRPnnP1bbfKXqlZIu9FyQ76huJn6m1dsoJLz7P8m7KmpFXmCTgaQUg1bhcEfIWDovqjUsgPFWt6Nt76qFsyPes64bQBUkFvIUMQQ+5cDX1gW6NsxM4FgssFvFbLEMYHtjSUuekyfAWVoYqWX4/UzApm0Ak7ki8q7466bL4OyDtpwJLmTpFbp/076aBjuR7ey1/nRWUIaN3f6+r+nsqYUtJPbUzO2SZxt7zB4414/6HKUJTO3utM09n44sJKR9X8kT6tAF9FP63N6UqjX2Q14KkvJsJa8xKssZltIcRzfrJjvLvZDTzPbmY8hBJaxQK6Prp5tomi+AyxH/vfOzCW/jths/C6pr02oJkKiXr/pRTKBtDVEYcGUYgVJimsZeA4stPpUR2h76Knt6F5ZQHzg10wcwolb9AFC76y7DnmPmKaniOD3cb8Z49pzF1fO8MJtkOZstlWglnTI0YIszroMvZaaDYkpG06stH0/ofn8xZioJ+4V3WN2bYs5+aO72lp8ipyZWtkaSWAwccgOQMvIqQElLmM0mvL437SX61DcWQrEJfefU+Q6Lb1c/redhwFNLPxqYqpUHHbibyc80Zr1P/irz5XXZPrPfO5Ptto8wrBEReOkiwOC/AFWdOgUvTzjYgZDvXr59NzmfNFqRjX5e2mD1jFvYBou0M2oDrEL8lhsVOMU/vM7BYbUQbjLzTM5N0tDt6lXNSZMWUdhcLiw0sXNDPX7jHEJJDUruG5tbQz22sQstsiSMAllldgU39HmDxeNiV3OY0udbNsZockeoEsT4jEJQk+seyd+Z+aTAgy8o+RNvVVTTBBlvf0YmfV8e3dnuMq10O//jS+/ylqru1fyPcVOiFbvxlTWOGip6ZwKVJuufqmMFIKnk08fK5Dv9EF7Vik1/f1jhvB8ar2iPZT65wPLPCuXYQ5CJEuvw5hucynrwxrL+Dc5btcQ3oPJ3fkX5UWwZVt8gbyRwqNnD6LiYDCX/e4FJxtwKpJNV/rXv6umEpy4rWloH0p0HsCxnYgsYmjSwqHFyHJnz0EVqKStcpQCrGtzTWmCL99brGkF2nyjwuheb6zkaILPkTOVwQNPzrDpgHHlS2G76BV4mCzhbkWP46iZhl624/q74T9ufDHyj0OnB8XEMVPwPtqdKCcNfTnpPlprCFF1ZgLTJvwyT7DfaEpjHKh1pBTnUj+bim5iILzOo8S50qfT1kPu8jhBV0Zt4n72QPvg5nlTKuSQWvgJPT0B980+BWbjdgO4sEdQDLHP/kRbVl90rPDKq5PcwWvYa59LUVwXqoHlmXkN+IM5ThctpOWafpSanapOqJZUEItq09exu+nNxqBpXr29/7okebyQsPo+X6a/yetPC2O8s41pQzwbJX8D+yzWY/79D9HMXUFFEIayDRcFahat96NRYGXFXSWjCLjHWXHbtVTF5pmwXFWw3TbJvD2uNPMl4oWeva4aQWjuPVoU+1Amn5Og8KJTMOMBCUzlSG8tu7GcLv7r8c6pkvWfM0lddA30trnZHURt0uHN4Tfp0A03MN6QFu+mgpD0QCfdeY0Lb6Eu5JOArVfwAt9uDjPgj9Y4HYjTmKQ1ykiJCu1xxq/jWJDUmjwe7wtFPd3Yf3IcwkuyEht8QA3LYoyRllvTfOVZ4JQr9+J3Awspj4D3SXP5Occ0/s3xYYw72ce7pnnDrhzSysgZk/8kMTBhSjp+3BMqfp4cxSEo1pf9FxDx5VgtfBLY6atpnPU0wuvKTdN9LkJ1MzRKdL/PE3aBKzqm9P/bVvv2qcukDq4sK5qaY7Mv6E9hejbVUdUpS8yRwznN3d9qJlHP/KSibGuk13IXUHOqKG0HxW9WY8TDDxRw+0c3QBfPfkuNaBiRoqdUSYy+IijLfwLDfleQvLcwLbnyC4UYCYy/YAC42fdZ2EINJ1yd9wNpgeQgtphurqXCY1YtYcl9LOBfQtQWtszcRIq5DocA25f7f+j2uI7CNj9u38R+UwtbMJ+LWd7NaIMiJCMAJlFxkIw13nCVDpzcAq7sLDFraWLezsei3yQjnURrMIyEUDU0COZATYUZwYSlQ3j+YNO14CO7Rbe1Dp+My0IzoIizE9INYwqtIc1QJgEaNvBV1ygInwkf+IMNegp1kIwkgLRpmGDpx8Jm5Br9tKEWyMlqbk68ht3cvf2/yYbLWT2iiMKyI6IkbWEgqLHjAYszWqaVpbVxGs72HjS81oyrsSQu7C6Ikzw66+oJxmV70ReB2aGMdDJTLKnJVFOrtseJMSzwTHZfFgxs6tNHp17//+u0jgJvSr3Mv42jVUG90Dtui3jtsB9y+OADh4WaKSCcknqimVlLRrdrlbwetks27QyKw/ehfHDO1iVMfZsj7WSohB0sS8IeJGQi6+kAIp2Y6+dFCqMwCYEUkOrbDHL/QOFFq63fi6t6AYtuHsoq6GVGZabDhET7TQdEcDSyN8vSl/4ZiQlY6X/3KStIdTJjr1I/eK/2dAhZxlaZ1kp1SM+kZravwuY8/yPUjGQkESPaBLh9aGT6q0t3uMGGqOvKLH+9t3LFB3CTxthJeiT58rjv5673mESIYBTGb+IfERVzd6KUElfRZMlyfg6lbaDgKmVivs7Feo5Mbf9Hy0ucuGFqQ9+WfbZ+25q+PXCPWhMKLS3RuyKXx+MceAXBaJCokmsUPZ5DafXc0YLhCCrikFwMnUpPG/Q+CPcPqFTwYeR1p/d1nwqk81VonYnaixHFVyyr8WA633scTH6bM7WvzrEiq8HlR787ltAy/vr95NG7wv53v28j4QIgSkyvrBUJtxzGcK8iXFkAM1xwI7SizPdM8CBUO6YhQV0T4NsLu1n5fBoxynHDzAiCnAEqfbIY1y0pr8zh1pML/kT4woKz5spzF1IxGbwdBL2UYXKCg7efi9xV+FdO6xbDIUGkh7Vpvp7J9kD1kuJLKrQRX4B6A0kATGlvWvfyG/598Zm2tL5C/fTZGM+anjOXUknPcQQDy5aOSMETw1PSOw6Qnh9g9gX/JZqIU6K0L2BpYENnIBi5k+K71PPQcB2FM1Mpxfoy57N0DZYBQooyA7lMvMO3nYyRzfzIf79yKarEomDPOVFmtjp/4kQdx2XRSvj/1JK9BXCy+1x+grVFlIMmXEwpfMIBHzVgUbng4DcNKDb2dDnmjzDgJB07QvyHk4sOTkbvPJdasEAHJbZ8kuuLB6NyyzcFT3z9BRxfxfMcAWHb4YYwWC4gf0aCGLLUR1RlhLVkPL3CvJAORBOl7N4o/a3FFTIsX0t9VJNGxTcTSdD84j7Zs69lX5QquG9QPyADeWmo8phDMhPfldR3IeoG8igPTy5/I647rSzkI8CJl6+m6EZgCXcsAU7juDQYmPY7xuds0J+ZjPh37mU3Xay93RC3QZQLUrX9Qmum6k8Tev8I5qPtTZigGjuzwut+rA0tOvSp/3jWAT3h+8JZfHbSAfYv8ZGa1YMrj+dgasJ9xdvAloED0cifKeE0m7mkTAJh4/E+IQtgeSnzjaDUxD1SrHnrv6AuNFOFKiydV+R0WH175hyKBIt4l1T2tJgw+ArhgM3oKxgzYDx+TeW4JEST1+f56yY5sV9XJDp8YtHXbkDF42n50BbbFelFGE9nHXjmLIzEhUVICcHCpkQO/SbRNg7KDThoLXfSWjlByyVQzgyDADP64IaLKoMgQ9jsXDsG69VhIvdlQOBQ7E9NQW9U1GnRGh8cTwQXpcOBhrs+Ss4Cpl9i4/JQFyT+1A2QNA7L2FgXV21Xn7q63Idjm36SKAHlrcVK5kwYZ9ONMh+PQvN2dhhztOn6fHEKM3zFC4S/A7XQeaLIByYNS3NAzISZq/7SfGDaZUB8/ao9mYCAF2wfhbHIiud0UdtDF1CyyWb/r9AApECmqQgyoFnIc6amlaYIScA336BH0kFktTttdgv780lfyU7Bnl9plhjY0ZhJce7Pg2PusnuoKwHsBJvlktEGYHvXM8ccHhulm3YzGCoIk1XHekHVaMDPFDDTO4c2AwI8M6nmNygZRMS+WzRH9YrDNR0z/O2TiFgNwUVdaEpgVncH+ufgTao6gLHwslJx6YvitYDOrI7QIQMwWJ21DvX+KuhLWGL5W09dBwEEy5/QPqq5a0DJ0yf0xqOo7LkDRcDpf71EI3uq3E/CwnTOiH35siERIC0Y/xrJc17dX0ZshNKtbdVcYj8rIAS95jqA7ARdrB/RJvpepw2oXDeg8Rp07x03Ribor+xQ6k5XBh2QlrrIGy8IMkvK3YyhKysJwjOejBH/RNOgCFwi6WeGh6371Azz73zfnT8cwGASwPvGimvrwz0hMJJkeO1Hdj7pG/jRJvrWAXBxhj4siqxWNuems8ixWvXuEMyq1NRTc6D5KtPkgufR5ZyxF0OG01E1ghc+oFnshQvdt0M0EqFu6trZEmvHK+0jr4ZYxXiC71hEpcFwJ76b6eRd59Y+3qnY//bQQXhVhb+TOxcuWl/SeHCMER9syi3mRm51HciiqqBsEsvhCDw0xoUdn+sbbUp9mhFOwCccGxrpZ2MLM5yLPLgu+EcfD4NPIKs4ojhUQgZamBtPgFKxURUwfaWGT13uidiluxNb0IiD3Oen3D7mBBV++ZMdbk0Xcw/pcn8P4dJTcWvvVtgndy6dWED3gCgmn9IfTLDL119bYgCFOKMio9pI0pLW24xDcbVzuhnozyrbwlzbAxzPrkvBBX0JodAdt0dKfqSRRgQq3aBMQ0sk27mOxAoei6nr4O6I1to1tKzc1VCi0+TaM+MGYRAzVGfrxgP+UGUH2PhqSh6DydRz4zClYvZproPetIHN7MQCxZnxgRgHWuarV6L82XK33Szoec+BzHlWBkBr+Fg9WcwoeBHBttuCxSYzz3sYTE+1J8yWEdRWG/h6hVgpWvj9M+Lv/Nli4WbalbWA6XzrdQDeVcY5oMun0EJfS2VXiWWAmZTx5HofVpqYmmBFkdu1OdSNd5l9Wpc5l1GMSiQIjnYf6LGvM9znLMed5xUbh21+0m8Ys4w1OQNO4jLsWjr8wkZokDveB4GQ5gd86WZATH2Q90dj3ljKpLQB14HimkP7PLFmn6l/+q6DypHOaizRt3EqvVrhgSjW5fkDudQpEBw7Zwwy8Uop8+Pwfa46PqSAYAg8JlKD+WVHYUtgIVGKZ7Un1s++05zgMJF9YYYuBUZxj8Yoqqxx/ZaCHjWXR+R2nj6NEMPGH87kJbHqGulqkej+ZXsogwLUVTkeMx+sKlyAL21JU+8rjqBPfrxZG+pUSEPxOlMXR4maLMDt8f2RASW08Y2yDt5TAq7sGK+pnXsFO8J20kUXqkx/MK4E4jb9taoLnva9DVgzSK15ySUmDSOGSMNQJ1IIB1LpTaKG7Gm92HFmHBvkNCPq6qzPSy63Ep0cHYVd8C7GmUjWwIkLRHo3DH5wdNk05v/EHhQ2+xwn7NAzpoXGqmU+auGnOJbmcgltob2Ct8Cn/222+HjOJsZyW5DZL0jfeE48w6fpSUKBi1lK9DAJRmoQnPxGFXUETxmhdO697q9UrZYV+cdnYAoZapIAO9xK3eI+j9U03FhecQqFDIHwx0W4MxBEjYcmBxbWJBxDxWt3Tcm5QkgiAJ8EgCvBzkxRXTDZNp7f8i3qhp2NvyM2aqkDf8TUvQIGsmgq20bt9rz/oDcxQ1hSvJhPWKn1KmHor5bTVWb911N3HeBZuh08dg7xgejt1S9r3WzK1Cz77VVDCydYuVZpMGpAnk6hcdg7DodIjvmpwCyofdsOL2/Rg5AszJKNheUDUzN4U4QBnhEtiMg1ctsc+UdfvGC+SU+PJFVghNFla3rIrDmff9xw5yHag2iSkv0m7vy3X6WC/PUVASUN/RlfKk5eOLzyt7iwgd5brQgZHl7aCnEZl9rs1ie3WMVWVFW2gmQ++rcj5rmWOS9Dvd3WEFWy6gEqfkEdmDJp5UY16xEMpMhBETm2R1HGQ95V92mdP7OolMV1D/Pw8pjw+tXxnqNX9MqZxy++pxDE91WfnDyVogLChLP2aiS8fa4PZEYSyHz7u9EogzP1ydZvqkAQN4w1bPMYEFiG/cu7T8B4RXkf7tKcrF8QPfkTBc1/6OIUNz5GTS+OXh+YpeYJgskoF6cmHOhDAvSDfNY7wWmahs0Feq/iRthxf2izV6p71ZVncXYVucavNVFyxRZU9L9nDYgA4sl43xapxNxFWvPv+0JrzRegjKsdimGO1MStkTEjHwocPvpjoMjeGXw23YOKMqn1HRRwZwkncoaaYE4Hq5lTMmt5FHS5fW2EucxAbc7T0qGHWN+RrXS1aJJfZbF+9/mtry50cOeDhEta3rVz4kwZ6ycYYK5JN1mGCEPgWYj1Yil8Bc0dlCEUO5r2bM4S1aLzgoGUq28xcOmTH2IDd1KrUvmVUur9Z+CZThkexalrPXuLgooWLMaamMAhej1771QxVQjh89hmsOVyLjNv+3Dpjb61V8xLQZ9du49JFDztqGMfIFntVb9OyN7TU6WlJJRuxw3m7lMw3Vf2XaqOmWSWSlZaicgHp9RfYu/DYxdbjql5sq/53wXCFlss4z+RyVgp3yraDoJ+e6blL7xhpjAQevI/pOSivAVasiD0fqwokemxZ6DdyVT1ZjBAGlRXwYBJqrEhOOjAEOGbSYsaNqc3JREw0MzGgMvarGNwDkt/cgbvFj8pilBSzWp1igiv0ZZl+4hKyZ/LlacAb2ReFOveC52q9VdqZsg8AlVxWhHgIHYT9llp2ez4stp3m4mp6adcNYOwNoARUwAmD9Y+0qQhSMxKsfH46Pzy+G41NrKJlLNb9bL1BnM2a2klik8A++DR4i+0y6r245lCf5CoZ4TLmaxyA+bXTMpCpYsu71rc4XjDw1FzMmendcOsxqTnOVE0UUSFDE1PjvNFSsKXKJLwyr7KEomswc26D5B4tyPJeBdbAG3cO2a6xFD+UM5p/aKlgvROSck5BQ5jlhA2dkChkVd1OxLBzCDZf9KYSYs9zvonR0TVwjs8KAd79Abtbxx7NQmgU+zxcp5RoV/K1qNEudu65tg86qJzhpI/coFGx7+ds+6wivxCdKk9+oajaUWi59TZF+H8ad0/DR+9wfmwBaJKt67/14Hpi2CIvqXeloSLY7Pz5WSn5ddy2ArDXCTu70Kydo/6SIcAcO72urNEERNlub34XbdygYGeyByGK9tMvfrnijYtelDhViwt/J8+Uar62/+Oj/yas42Fr7u+D1lU2kQtZfjhHx/UJ+EDsxOfDzsMhXOIPtigcv0sK5Z3xxL/Dv4HilCvMhHrzMSv0uWbvEj9XZUOi7at03Cr+kEI0mpvJIgSOujnhIFbzBc4J08hxg+vLw/Gg7rQO955JBQlq4C12xMaucnCxyDJk11wQhsJCVzIyo4dgosIsU1YBvnMFXRmFuJPVBwjMBuvF8wHYGWYNsTp329l6ProyneYLIxez5AiQYEex0WICwkhF2dxQJNC1wGWw9OoqlWnYkuQjDSinigcsSdTKGPq504UIFbx45XE/wfncZTxZBCWRZnL3tMEr5FQo+90y+UsQhIEYBEp2QrM9J8LXqtywRvdhrANU7fVFOV3dsOl+JMjgCkw0avuxxBVFqo7y5hd+/oCC+YVYAwL/yfK8O6QDru69qlq0n3is7R9JTBSGZjYZ1ai3jFC5dkc7i61MuGwZO27SJGe+9khyfnhBBXi31pO1QERM2MlMRgr0tAtYDJDc0Dlv37umj9LeAeMiDUmSh2hUF+Ovzi0GqKlHDREDu16bPcIGF7mQghKrTNuTI7Bxu5n+PHLa17bvIcvQH6ndl/sLvlu2skXYaQTwBCBN2fdssQGBh2KITieNRlcK/WGemTY2bOVUzBsU2TV5rJkjWP1gTqycZAYf14NjtUkBPG3ZqZVbuzJj/Pq+cyW9vUsV7InzYHIYLIHaONtlG8EM6koDG0GztdCrbly/Y3+XlaM/rzfUJGI2B9YuFECWyyQQ7Y395jbEPxjc41H2C6us1rgxndT0AsrT9wUCiVSH2isrqdckoq+yk7dtGMH3zjhCPXdzTmiC0qLt31qORHt4Gry2qfxdu378qCbUgE9VlmnLfUGU1ZzhXJ+n98uJhZ2znCCEHtMScBkvSWeFr7G3UJ8R5cw6pmJKZdbQcgd2q+jWAZQZaYBg7pFFBgthD2GBXLzCNzf3taRuzeFdV1N2p3AHC648MkYxil4LZMMe1jSsM6kgtcoEnYlJ1zqSK1I1RZYv6NdJJ/Or14JwZc+vo86mEJw9zLNbUPgAYhTuayzKG99RCuFBWoq/p8Yl0XJDiCqhV1VxQo/1X0tuu61XhFdjFyQnxVNJWnUZXRkeWtnVfa4yJVE5hVi0eTWeBkrPjnjwfqKjNqoYL19Y4rLtPMfT18J8M0Z8Y3M4KXZ55l0J0QOsKlvRlpzZZUg8c0MA93Br0lGV80Z7qoVpkFJOEB8PAj3dOE7zu+GAoBGdUfwpVY8VVnO27oDgWaG8KU1vKFFXK+3HQ5XClcdill2Mb8lrM5oyGzXVbWwItOq7hqGC7NMZw4sQmmQMgk1lpFYcTHZSpJgJjnaCJRg8b7agaMXFV2fX07s3oufaoYu9Q7JE/XHanp7JHzDOooUBbQXlKIg6l2RC3m9QKArXJdS49AJK8f8P0GGqgssd519/UO7cneAKG7ZvnHEhlBbivk7VP6Qf6BV92JhCDE+jehIwWRz5WtDfLXbYKnJUwykPsYnf7uzEOkQ9snmDpS7LVt8CDpqb0SypJEUrvutG8oK6vE7MaIyqk66/VHZ5xiDGbxOkh8Hx9IGCb20HCsBCrdFFS3G1RHo6zin7jHMX+WWDQHOjq7xlkJ3EzF034TsrylYCh9DG4E4S83+35ObABUlbi/iwqE13GHbBs5qAT7JoBMv11C1E/eheTRXWFko1fVCwrvEsmBQ5UyKgspdPM4VdEY1aD2aBvy+MryzCeY40c1x8Ql8h6llVxyTAvZ42WnriqFBgJdL+LjkgWAPp1zXW1g30PPnMC7yEUBgBuOvJRkE/NqdxsmfsFnwzya+p6Sfy0nS1w6N9PAn4C5Z64w9FY/tgDiJs6cgMIhlDl2IE1EkVUv7ihP5HvUwDJq3QT9Z5FJvSB6ykQLWFaAKq4wFgNmaMOShpVZ0X0cMhVV93IAdHFbBXZQE/kR5dPOF+qH5/cSs8l9ZpOWnUngF7/3eEsRN3WSUjRpFAEiYyE8HG9pXyuhn8UvTnbvrXy4LfWLS8DUF0C5pm7FFz3uTHDtsWozFnWCRxozEWUoB0lOBLcVxYH0vLgYt2N4+j3jbxSvly81rL6Rpho0/kJFiV70bkid/d+9IuYsW4IqloN1QCH1RxsUhflYGj4ARkd0TakLdLeYor+wDLwYPLh2Th2kDIa9a3cqIUDnfod7s5hM6C1V16N2N1DEuBuAP4DGNT98F2MY9vRIRDSUMrZqLteKcG1RcHoYQdUEfOwC9w5Qd7WtplJQ471wiiEhFOVVyUckXZIPzejhWycZ5V8gSqBQCHiDSRNJ8pa0nDAPYgacFHeh850TkkjODny2fXoNCLtrW6BUJnV1BuiAOW5IyXzimcMWqaTEfiFPE8h8SNzNivhkBJ8788rbgsKuJgfnK840GWQEwZ+odJJNe4FhVnJsWbwfkvCRSbDtGUEfe/EMOwL4Jry24gPSFwllQBbCwa1UNeUAgTMRI7USOQW5d90xQ3tosA9DvwXUyHwL+ILDPSo3iZHcBiYBLUkMaAf6QNpSZ70WLPhK5slULcYuQT2J+Wt9odWDYYxrJLXtQIW4/6M6pcFgDfwm1nFMtoPClfQj4dJMIxQo8U4FbIBYywp7S743c5y96sH1SVKycIwoKVXXBS2yZo0kQFSjrXjDYIDLnwdEdxAJgQMTcnNoQ58BWDbPCcLB7mtg7BT6GmhAvyUTdBF4u1Wd6iAu744sMurpheAqGFt0pFWHq4Gfb6VJuAQaecDMz3BYq7w05470og0bSMoiqKH27jxc+HQWl8rNIzmKIpU8lgrBQVy8GmOzMi7NjmCe+9GUR+wfgzTAMPtlVX7MDuaG2KN17bRItWq6m+WdMV8g1jwrcIoQ1eKw8Bt+xDxC9bIkzSSI5AdnHDV4jORJb16iEA28bOE3OQ81/cxysSZ9Hf6ImlJwINKifh1vVl57ci9TfR9VGpe1pmL/lJzMjHPv9lpxHbUhmssuyO1xKvfGlnxeyR3kjbL9YcvJP+dp2PSyYLyDr0ym6p769MUvuYRTmgAGyB9uYdlzCPJAcmjtqZmrxE9ZWTLpsXdJejLgR/jXY8d3HVigL2wwFlS9ULyHqkaemEsvHx9dVte6y5w3iuwHycka1wj1FJ2HnLY4eV5oeoKs3z9d63VQ6bXsEJjB1vN7ZsLoqdrxGQJNPBUISyA7DYcZADpLlYHxpSPUUJGua5RRkkEO481WNt7YvNnmxO0Ph8vWlX4WB6ZCDHrjx9EaTnMEuwwDKwwgSaTunK8tT4Vd05d/kugPWWfh00871lh1rG3LxnIpcKcC5aJAUIO7iQ9M6EtBGeR0Pd+f3uqevf5c5yfy5kASwsmTyuYCpXFZeDMaCawIEoXxbFCGNlNp4xvoBcm5beVFV9pn3DYxJ/nMfH3uu/NxaKfeVQY9jor8luBtaecQa+zKE41FQKYpzlcNS6nBHBLVtSUgkNWTxaUSACHBy3H2t4WRfySTWjxpjF7nzMpqxHvHf9qeR6DGWVdiEhoYInvfJF9Fhjl4IsKfFG5UuyTPYctq8W+Zv7+Ne3bb0qGunVzKiOtaVpZqeLpSl7fJSPSwfsy6rfCdcV34FHjF/XvSCDx5UGKRkKlPLMPZAT8nW6opI3A4ThYRNSYfz+OgeCOSlGVCglb/hhs49FJbx/3qw5/9LHZmXfgaipNXUMmV/VjjKzvZZen20Sjiz9oKLpt6lur9ZpuDLkbOUYbEspsHNWimsLqtUXrcYQvXujrjtGPgNwUPTbOsftZ/OSmrabqMyZ34+5VjunwVw8giE3+tnLfykCSo5MohP4UBa8E4a05zUJ/GpevArS2KoeagNdyoUl/8XsCe5wuEmVGOpoVOCu33GwcX84WSP2VBCzQUju9iIZ7XmOCKuaVntb8hxel5vOk8tTPOO3u/4kjwVefRWJy9wougAC9a1FmtBmVf/WmeN1kqDu45L/Q9DmF4JHZu+CAKom7DgBqYv1A4wQRuCwNrZ9n5Sc1PMnmm8rlUX8YLu300oHcEsfswuPqSrdZfVWqp+O83Ri9PtWbrLXbl+bPdq/41CmFBCi9zKpZGC+3B+m5q5tbvsIowIodHv4PVsrQffeLeEYGr9/y1HN9mWkBpL2QENwVTquDG8Qc7BsW5GB7vmAD3NMVOkwi8HLLibaDDLSMlLXMUuW2+B/BIS1UakEHBO35NBwXk7bI3qdBCcH2z245Q/PK5jvQlQR9tIa+yxNmYtZsO0M3ixqUUE5LLnFisHJLFKbG+0Km6Rssa67BRn8Q1i9mRvIOjm0K9Hm9PkyGj4UbP2pxeZ3cgfrWQPKT5uLMLuot/9QarZB66rfbz1uXTdAuUbxGN8SBIEpvICU3F8NZGU+3V2+jdOsyBaSxW4e+pY4X3ybPA4GIs3mIHzyQrvRFubchUE6jObG/HRt2/D9JGyNgj7bJMbkNtEg0M40uhCFCPW864lFeFh+yH4InG+fpw3mk3XRpMOiqk18WU6Vz0pw7wbgrGqqkWaim9xdd/iBTsEKfizhZ7oPj/8egEzdSgdw/RuR/1AjHqAz6fgsxRyRmbrFOD68PBtKOEobZtLXMjR/8J74EMCJTOxxNGHLCZVX09hC5loyg0wUYB2UVluj9Oew1weMjPiXoZGXQe9eeT0HHG1Zr5yjDAgbvivolrQvyCScZzMY8+UImEI3do/jCptc9hJZHg9x0kfdMDMIuZ4iVdm8sCJ67+CcwsVxKBB1Xzurle/3so4zvrk/kAXlPlNDnnHy9WFnMQ10iUJ/27o0BvK3jHI8uf7EL34oNRrEIM+cSYuGCNH/gTcjvD1enZRrJnu0aoRlvfhNBJsTjIg8nWbDmC38MLLVjw30YSzc7daEd3jlqO/3bKf3r+Pc7n9jP2pz5jc1oYImda4JybMckpOGl4qYmCtQPM0nSihkX9cH4cNISPXKPKBoGQrgGqSGt836zLlgX1Qs8OPB0tPQrU/23PXrXyJShhfJz3BQGkBM+tN99lLZRibZg/nC90irl/aHpkK726Pj3qAD5jkS3opcGKfk4zy8nGs6l4DJGUOolIx2v4GFxmzaqxLHw6zXJmBBYDYn2CGl7JUlhxMLXEAXT07JUTRtTN2hn7RfWrV7ZAJokx9bIqKRcD8M6rs5SIYNayYASRNOW8lRyhS5XFTuWLEpyhFKyinw1/IAOQMe/5MlkwAM/SyeH7GcRxzElX8f0gSO9+BLpw/+t/BHPjj6N1Ojw/8yds1UbALmyiuycwk3Dd8gPUg4K3esS9AJIXXH886BU3x5eQbKXDZ55nb+OYSHVwjttkSg/DzTLndmiHJZCqYncSpfBIDtXQir5+CDNEqFwksRBVq2M704CgmqCQTeQpsno/AGBGYX87lQl1Xop2oEKAhfUUCT+YMBjOIlCWj2aJGLHK83pFN+mJmiyH3E7nGdx9xTdXE76sEJEiR/p7ZakUNhVMP2zk+/4Gjme6Txal3uU3GBPuyvSXDUL0vZYQLKpOwJTRTPUQvX63uV4Wqhfa3sOjxmtLFm67Nt3snkIbI5ic4P1nQiCVlvLvKrvLRLm8Te8/m++v98bjNqkaeJKtFnv2+U8axNPpzi27sZQL7PLVj1UZI4j+L1F6Lg04pT7tlLg+jun3c6JJaHdRyTxuvy+B3wu7TPfiujGFWvf427qQttcjgXWgrZNLrwRS3GgfXkLepYTeBujA38JAPkp6PpNqVK+6cUv4gbteyX+Cs2WIIyVU+y3m2yOfCU7OopxWTBi6gF7PxzaLgTuVtlcMzbehzjdiGz0vzqF3W/bKcRx+Jay9u26Mh0z25s6VKg88CenoN5iK7TnOSHsazeI5oV/DmoitRHlzJBO8eMSr/uzDAXd8M6HFznv7PxF7bSGmiZXOvh6xunv1mWTpH0LxhUKvZgr8mOLqtAv4wcxwCyZUc8wESG1LRNZWLvUNG4fLQ+RbCwE4k0ojK1Kr9cqqc8dM5gLbWK3J4OZFRDLZrJNRDwpigeW5YsdvBCyLucu2OVXwU+TKbxFBfSJAc8xxy00P07mLJxo1yF6GoTxZKEWOabwRvFWabGTg21Qr08DgfbLyeiVDnBesB/vCufeXmEQEky1PNFoYMIKKtgSQzfqUwkfz8bXXGg2O7mkVjZoc7L5pey/kjQwHA3lGjDU2ALoxR5lWAKZqRpTQ9DJLXPldUoUxTw/GfZZYnVBImr2mrc9jeLUpqA+MDNe+Sfg8GP+KXnvrXvm0IzTL7ib2flw0a48MGx6i8fTV0+sur75rudJ2/IYoCKecc5gHHUWGwc78pQuDaIYf09+1Y8g+J5HX5c59Uyh11VrMngsdKcvoayexQPEimYl5kb0+vI/pwQeozpZxoevQDBAaUhrcwjR9CZ9gkD69JUpw833fJ7gEshXb6UXLK2askvCJmXCA5RVWHFDOlYTS6/Ai7MhaNncyvQwiDTOtShDeVxHYdAENfMqMDXLq2AQCgImo6wfBJS5iv8HfXik/g2OoydwOOP5qX9BtUQsKwge96g2kxRkAYA+xLvDBhDZVUhTIGAPdu9HJCc+Y7t/cT235TlKqCOu1kxsP7oCZRHnRgMsG4HS3Wjx8mneIsvKogf4zSumLVprDabzfkOtlfEtq/lBXqw95FxxLigJgpP9fV41di+r8I2ZVBLRInIXwOQBOePXVCJh4mSgY9Uha0hrxOOAtEK11CDYT0ZTMSmn+p78Sj8riXekWnvlOKda5LD4BlK2HEJOKe3fgPf0S2ZxyEre2wCdkBnKB3SsuZTV7QaLgNUf8CHEC6PuYUtIeY8ufyO0az7h2ALCrPEivXxLgKWo+0Qx5xVIJxvQngScjPjN+WATA+4D46u9eZ+O49J4iiZjTtKwychpF/1X3ukx9U3TEQfBa6U+aB4+fqB3ZCckB2WDVvGyDDG2+Rejw8ZFxsdWlWG4GixzhhFDhj5aExD8y4OFYS1Os2ZEan8gQPgt14mA9LLXLrdDELm1hubgAJtO6ezaehuEsVIvmHWBfjPtiDzQct79Oxo47RzO1Opt1+S++l1cu8/IvMdZtk2vyRpDWWUspNNNvH2rmRhQYjxq0bHO8wHMclulYmJL1Z5WyYmWd96v8y4FmcWSKM71sk2rETKMPVB1p5iMoZn8CNM3Qet4h4j/T2vB+dJ35cTZC2L6VxuZTeRrfI7xeoK2l9O8UVXXgSdUx7ATDEyMQ08LMZKivbtF2YUxqw7ETOEmyr/8+STLDVCK5tGodOwQ922TBXKyD7Suuog4RleyFc8QTO/ectqBew3kU5nYOC5vwuijJ6PCGb1N/+eW8tuMRdlwRdDadghyhG0tnkcaC0V9Lqw1g/FKR+NFlGMhW7GZgeeNRLXEK4EI8bHcF6M+twQHMbJXoMjGO74zU4tgoyNA8X74E77BfV39aci/HUajLdr9pPigstLzSKhWKt1uBRJqpPZOax9EkG6BjhkM6CK8cQtQDvlA6DpgGsSbgdXEqPwWbdEfC4o9wnUzEBpYHZAw6Zdyo5UW2e5InIXTKWsglEGISpnSdeTLBkT9jBlgblyPemYddeqXaKWn9PH6nzNpmvqxI0/0InxtmhqmdaFNx5Gsgh/1M76UuRChx/7E9LJoRKPmIS0QtJIOwYfQYY9A7sqzg8HBfgZSrJq7djhaQno3DrUFQYX2uPAOTRy4Aj0edouCiyNsnHNq76m0rdq8L6LuOY1XP83hgY+ZVXs8N/7OPioha2jQvRx3p4UH885f6dq+ROHx+9m756lh/n+CsK4wVsOAHhSkhUlfRPA4Htnf4PMjtqNxOLq4cLhc2TBYtmUA+iRRVfq1W08KRHMrXCNtHF23/KdQ656bWjr4jXVZroJAObEU2zlF/BdNCwFdWzDm9lEEMb4np7IE5abC7cWwVoWcxbDWAXtmpxU3gJgX7+/stIk6oE9Pl7OP+Tjin0EeNu2qzFJTEuwqkOvlPNRJq1vWTxqM/gAMqbgXQtltLKDfZ0pqSonupvrwiAEHRSUdlWwctE4Nkc81m63vt7JufdUbth2wT2qntT8CKLzjM8Epl06G+fSKy5J3q+s1qAe3UBFDhZJTOqap8QPYBBzBzi/umH6SVgreHnYcKIXimGm9aWW7kN7bVi9Nb8dLDuQNjNok5nIz3ORhSptmp7Q/Wzjptk55IAaUQtvWY94oECx8mw7Kjiwc7Uim534bpDE/0cVXmaz+6czyMv+A6p3tgOc6GPzs0BR4Az8qSGDvr45/LUjELvUzWpoUS18MzAUWz4Rxbj5B64TB9XKk22sfVad7telorbaVxZs7oq6JzyRITlBBAhUKieLm7PVKdSyc1alivg+/1ETk+MPFalQuoefalRD+s1uuf9ZmMv588JEjufXHT+Ixp152LST5mZqr3mQQFNXrrMMUKeyIcRZv51JDJPfgblY6JRSL5FXSAIBm6QUJRkT7tb+sgSWmqItGwuu2bIKP24qFI4jLj7cARFviSY33eBQIpTxAj9dShyDR1ZuLLQsu54VL0iJFeM59bBoHJ3VYqEnG3E1dJAR6LU7jEyHoq5tc8djAcj+ZgBGC5kmwKviEEAyu81BnBVuaNJwvHZDqXPb/jUh5MUitGnwiXelsGp7CD6xCklXNGQRRyJzugGGiVBrXwkoN5OboeKLve+aNvnFX2JvtL9bzJXkk/FU2UIK0cUL0Mb7bgOprt5jrU9UTMdKVYXyd34qFPlId/8Z2etjpxgE9LfS80geO3o7Dv2+MZ44MtLIKQEsEP4FQB4nIZ/ZwH85qEWm+MwywqVxTZ7q3OKkVIQzsexKE0dbgYWdpx9Vx7TZnaQa+mKtJ/oUMwZm3Gbfqg2yULmgvklcrFStPAIdIgWwClaD1juZRmARxZ3rTfjJJv66qHSOlSv9nwGU/6A3Yd5DL+xUSI3HkG8tRJEaKNjqxm9z1qarxjt8NSlTW8Y83Npe3pvqQtHFZyib5Y2V83iRBmrg3o+d+zdb36bC1CvMX1J1WcodtEZypnLhoMD8+F5kBQUFGplojFxZkFKgksPIbcGLKg6RwqDVyzQJZ/+FDswGOps12o79kWMX15Y2BDEXLYJnWtvgAGfEZjubPDCAU0gM0okrV0iZ1XtKxWPE5CPRVnXNhNQQ6eQETXP2GacV6eAudLhkoNt1DZSawq5U1y2qMrv6XmxxZk6cUykBOFEynwNAg/nr4c4m/5uqx+QYFio0gzR5JKgLIew9O7snWdZ6ux6yuI+s7t/2ELvF7n3t0Ww89GfNjZFqWOux/Juns5oNl6MZ2s1ajop5sWdym+EhWtEeAFZC9fyWDvUhh/lRFcdTAx3TPfbJX0S3bULhROl9KC+HiNtyWTQcuMlw6DZKCbgl4jMy95KDzzxq8rHSuJxp+xHMFeboL40z/16hS/KRsP+HeDAGYffzV0TBm0jqRs7DxkLEl9N3hAo43zWIgAE+TDGLfxUa+8k6YIQUpTSvLQTe9yI7oNnABI2qNd80cdRdgFWbqK0YPq7ABuF2a1tsWVN6cMn0gqN/vyyOlhEq1AJ9eFuVRg7fR4lKb6Hf+s/7Ud3OQ5Why8F09+z9GedfMPmXQsDTVGDpLW/TYprNLzuwyrfB1K3Pm7lAma3RtXrdKa3Qr14d16VOoQZj9TbbNAZmAqIjT+pMCzea2D/82vOGUpm5pLobNVue9FtUj2QOiOi/07lIEO7l5TXRcFWuEPVim+uo5NQD0XQy54AprFPCUJhCY7Pkcohg2wlGN0uWksGeNho5UzTJoKrGsXDiFYVQcBrjcig0eQWBIUahvk4u18L17O1xwS+nPU17V8W/e6DT2P4TllZkM0Plk4XSt80hmezeRbP6L4t49z/uAGkQuzcyKUnwXQA0kc4HvEx0KAujQ8NZ8tgpuh1D2kqMt5S27yTRQxmvtyapDnR+Dr3kQCTmzf6oZ3lK5nZhpYw8YlM3io5OBopNg1ZIYTKgHBxHot7d1YMntQuP/dRavkBwhTeQCXe1SivUaUHf11twqfzUSUN5OFUY3zJav5cdFgFopU1WL48wycvtSw7pl4O5f8foTd612CRjBeCu4zzoarzZiWn71vThwANH0VXZrjFrX6E+UfQQEYVhrU8bfYdwec5WG5SjZRLxYJRyOpMLpB8pAj/gqfCnT0PWkbnk7oTnbKJXTf6XxDJGZKbrUzogNDIRDiwE5OOrZOOQ4zNenvV8szQKc2XKzro+pQG0nPrdJkET6tAvguQtrlEJjF8kdyFB2uVwuJ9UeNivLa8xrgl3yOHms1B+RYMZ/r5rX7Sx0x+X5dXYXhYKgQ/b5LW1I9AvsAbH7epBGwd9IIRmrsjP/XxLsgWG6eeZu8ACKLRsABx5ojOuCyEYgBdZJFrNJgUQGQPIOCBSo9qVA9TJ1RTqRQy6DVXlFqGVUC2UDnzETS7Euv009u1nyd5pJU/D+HtsVsud8AG4jY4CS5CRLYK5LLf+na36A7fpWFBv1mPMTJ+/HNQ5uUJ+D2DBqdU+bVGOHVFzfpSY8t7vvnKIFhlBJnmJbDxmIbKnR0czn63tVQ6JgvV3O/B+KIjD42M3AfJpva2mpnuopgyauxaREmb0au8caxwqVFHxHDHw2gERS0+KlFL3XnQjPAnZdhvY/NxzrgmJhpU4VoEkCpvdRysLWT5j8cIrnoW4uuTqH0FiJf/zU2XIgae4eHn1rUntOEhI5tGoii8OfiBq2NknsT42DTK84Cxzzc4tc10f2GgJ1tGrZwlcogkqGYw2sgChmnczd+bb+FQst+sh/6V0ud7waQOLF5juIbHz9DADbyG63Y6ujZT3dABBjlmoA4BWpHR1bGpiJfJhGjO9RIuaNkMd+VEj12NpZwkQIvYsW2PH54sV6bhMhHXPyTESuyFOZj5EYO8EAaXOrTyW2Nndc41P6ujVYLHpTVHmbWzNtEF43TUFj4gISGld/V0fuO1aDwhmvmDgXUCS86pqJbseE+F2+I3dApFnHNrysQTd0tVt5FHVikFkkaLic5SOaJzW7snmjPBxVVlRuKWefKlX+ZJSEyDXNa9anfes+jjr9M2VOH3RFZPWSHTFEhBdQndk11+GltWX1m10d8s9vVhAbYbIvHuAZvuASp8ArISUMW5N+rcD3w+YMdEhIT+SVfV4ANbUdqjT7DS6O5zIBNwOXgqqDUZs7aWEvFaTC8jmkCLe3mwF3Smtg63l4Q0WBWvFrhpi8H1tgxlxCOLJEBkh64Ms6636cjBHnSrNIInNNq7hN/QuVxsiZ0H33vhE/qJAqiRIDbg89yKq1f+sGk8P+e50bUQpoUncYdo9qILIPRxvrrz2R9vxre4sDZHQGjrPg76Q8kQJADy6ELkSu/fEqrlaa2YGyh9KoTjcVFdBeodjEoel0Aj/lUGxnV7h+zTntbRwzEDKu5xyCojVpcD8mh6uyj1Yz7yPxJ91q6SFB0LQnNtTB1wV8F2FJcpRwyfJEGn0SVnNVhX6PrjLcsRr+7LGwbVlyIre8/ddcfqRPJRG0kQRpD65gJK5O3h8qAANjP70NB3AhF2mIHTYB8EsmsHlkXISQtyZhUeWe9QFZwWkUspetFjwMHg99nbu7RJs7jrGLh/vuzflKZlfzC1xR55Evvj0V4Zp4eQbomGjSqE4cgNfBndusgqpMbtNyyt2y+Nb18k4bqWnwF9ECgth6gvGpikZCj7pBeOjurd6ZF4F1a3VJtUz8lsupivg2dn9ROOAmk5rSL2Vakax2T43131GaKsp3F4h31QLcEnzDjLAqjeJ/8t4grwrfeavO5098ZaEUasQG7B/uguK73ExU+DWxee9EWyF4lxxpVc7hvLyXuU41dSV/g6vmJF/zcevPk78xBQqF++Lwl97DFVoEMYORsvI9lAYP/18rKzLcrGHwNVMnBxGOvoG3ji6qCa+MOn9w/CPbB1K0sAOAu4jCG1CDhsdBD0HEsxHHd/gWkbLbHsfyHiy15kXoHjzwgIF3JXhSU0MJIj10kTAZzHsMLaNcDj0OYBHFDndFkWpfq08ryMwIeXcAzzec8yykp9O0PCVHESOUosj5zgPP0yDfdqULrlPT36mps8HycY/fSpV6NoUkf944zKrk6PZQwLPUmCXyTe1cUhdM0EFNBR7GuuCr+zAnuQ6tfoJR1gRlOUJc73RqNmDq0hRwEq7xqdKwUWIVvm/bAD+RbcyDzUnCxTZh03DVcADopNgEvwGfCnjsX/NYv1UiA9jZtEGgEyDalIuHk2PvsXYecpDm/jcuM3ftwsByq6PO6hUaZoD4Kzst7OAI6aStG5/qQUuOIATiPTOv2AFS2v+6IZ7QRtC4Csnlh6tCZzADqTLW7K3gN7yfg/YO6xJ4pQI2YThZLG/qDMNsNFUvFxH95XzXwMIJci9G7QjoAKVlUxzYR6dIrK+lV/ZvVtjjd8N/6N4qz6d+MTJMMa+cLsPxi7HCgyqTmR+3hiZWVdtkA/bCYydDPG7ZmtKKvXNY4bNx6wIQHg22YnhwSooQ3kKiISZVcq5YuI6mIWIyiS0PfEQzCB75CKrBlsmbBW97aPbGkIwjm+/gNjEHHLwwXNLiQ86fJU6ccsyEu7VjEz0M3PtxncR+FpZm/UTWGiT/npoCnChNuvtNvLo7WojphGxBixWC3FhDODuC6jlkCvpUyV5+PcPKUMT+jJ6rMiX5CMyHMsrkyK5J4JmydBERATUH8eM9fPc9VO5UhsqXepOc4GQ3sLFHRzfhMo04+T3N230nc6zWsgsxq5zcm77q4cIEDSEJ8sz+mcCea/j+3qRhaIzbgOJOVf6edC8J3YLkBuYcx6vStcwcjSBVc02FKfi+kcqEJq2PM+P8+arC6S9IEb+D/AzknlkvAucRgdJRQuunknlSeqUQKz89v525C3eGQSXKIx8oeYjd/6HLXJaBa5nEe1ITuUYfrwsXVHZ0Anx5e8NoNlLkIY5MCIy/vyMPO+uyAAKfwvmNpzNMbnpHYMdexygsniGsjUwFV5U5A0Pwsq9U9Ttj9gfSJHvFN2/bpSVdAQ/86DouwuwwEBQ2Qh+uumHb2/zobYsH1AeL+/vKdC7J1EWFQcFx/RDWpMiSc8iv+GUrn0D5AgRThJebV1dqk1hOvlBBvHbWmtnIet16i6voVfTr39pqCjl0x2loRjmewtRi5frli6nxIdNbR+pBM+uVumPV6R3Rh2Yfiy7A+cZZ+DZ1kHJOf9oLZbYkcDZge7xQ99jlCs/b87n/HlGloNn4fiphHGIMklJ6yCZRvy7FjjNqMszCsD6d0zJUGYEYhf87eadnXCAXmIgggWC/uKzexyFyUnOl/wIhKgre/PYIPXhcABoPkGvEdps4fFfOjz4L5WAWQRl0BTmOkvsBqa2ZDi/aEFwYXfULOk4X9DWnH0Yg9N0SH2M+NsMKUgdA+XvroeJoPB3/FSJcDllUab+vUzqittXCON6ZhC/npI8Pwv8onpZrX0WZuk1W7YQ40/1kj+F7IAyMjh4ilUq5DFjMo08ov4WzbnvccgAmnbFx27rqdhMidoo1jGCv1VlWYBsHHOAsJL7oC88QIAacvRD1/R1YY1SrgjP38tB14cYY/ESv7LHunCXWz5xrG7BAP9oPrEJKgsY8LSB2G9HJK3DBY84c1xvjPZ2isMWRt1c68tV+DlxykSoGm4eDontGd+iirm+5rpEHQC4haHqaFdvszmWbYTg+0kI7FxXQjkTEd+GFGP/Jf1j10XBRWIVQl/ytjYDklPi8lAvA35MAI0XoAmh8eUPZ9iVSoPImRE0t5EePBc4R49RMl69bASoy70Ma6Ng3NLjjs1y/ysNXSLiuwOAroDVlj8mfjLrOpc7FrSv12sa0w0YvYQjAAmyt6WrLZiQE6PPq8qWUo7MGawjipCawp7jwvmNhIi1eLxBIYrr4/PNVhcmFq61Y8mjpoDbhlIfPZPMODDPp0wsD8TfXUdHa1r1MCcxbZwrRdvYhgX4kMB7TOhnD/Ko5AUa9c37wUR+HRdQF/cIAmez+jGyB/FaCGeOvEk/Yj0Tz/tBusysSPw9r/sQ//TXAEGx4I5ijbmmYbNpx27BnkVk+kJPEPsGRk92UVNL4RHkee4oHMa4uAPg4IXDWBgkXQeoz2G4gOCIFjDfut+lPCQ1BEaWmL21upU1fdOo3+foo4Wnd5mzViAbeQ2CTV5H2J8W9p4kYKLwV77crMqiCo7eQXX9XKRzgkj7bl/Sb46bbYEmEQ6waeY3hnSuiaT9Ph0nygET5SWM4ilQDy9XcQu6jozA6xvaT7xTzOPs7oYK4qb2XOBec6MbzV/vVKrGCP206QcmA97MXaigBR1ll8/FBlXTs72nZwtbDz3vx/fTY2k8aXUIWZsN9lZgiEtuaF6DA8qQO09P0cO9zte4McCUMvh6HVunDlKFiOQnzJkVtUy+v4nkWBd/0zvYs3cSVi/WhmExpBA1zmuXHmSYgfbBFWIT8mXwQtx0divHbIuNA5Ws8yh7uqYb0gD7nICXwkzeU1RKseFXShsnzcE0K65cHdMWA2IFY+B/x45+jnCuPxtcVf0sK1Xg1xVbEr6DYaXECUHVU0aVCtgEIkdUdEiTnV7N+Dev839h57QzHX7IADVKawyKuqUWkeLjr8eLfOlzyUqtb1E+4/E7nOoEMKOtGB5eRi6zzIeqaI6r3RFCp1Srp7C5XesYBQxsmduwPiY7e+YQb8kJj4obmPUvmUnp0c3AwIhat9u00cnyY/vwn6X/rjRgkXY1ZUV05S0rpxVvnAfIMQZgtscP/8uMdnK80gMvpjD1ANbpQxb+JS/Qi3Ow1egZ5c/H53M+4kwCzjaZ+1Z3L0v90uVR2mMnatvNm8E7QVc7673ycoqUVZMDtTszHNCRX7KHxZYjybLCfZ9rl2bwt1Xc+8xAKHsDn8I58IGC4PVe2bxEnkTz0lfa5Vzggvp3+4Fib9w4riG+hXT3/aZPwkK8gzdewQZyM39IeYqRDT2DCW+6hC0zarKMbMA9GzvS+Dg2eA8YEVxng1DDrzfqhvA/V6p2xPw2vzv2g34dLBQBu76a7/+RkBS/jsr6shtxtFn5jiXj47d6hptz12xrFWrBlbjS++XkjY466DMSSjYwOpvbc1/kiWvDjFdEcwJWlYITwrrDMBLoA5PhenG8jZMqLPzVE3QXLx/Hul0P+AWh2LTLLkbUI1Bukf923cXiLvB4rzvvjUwD/CZg5YOkQr8ULQCyiFQZdc8a2+oZK+6/hhJ3uZmFezlEbELwQWRAlR/GH64v5gHfBikFl85HpISt5w2be/iagKkihlSAXQIaqerJGcHd7CPnw+cEHdOvlCucYIFLUI+A7HsHAVB2C6yfKlt2eq6rDSVa3U5CMKDVWYrPA5Z49MKgSUcqGFMfg+VXfJJ5eZ3Dg3w3eJLkqCJmlUkWT4BvBNCNVHhwj92SaNSQ6mza4bqIGHhPHKysd9eiI3d73eoYL4VMV7EU02gDiKv0P5F5GKA2yMQYzJY4hItVhlsNjldVz/H25nUO2xVL2aR5U+bnic6PpySCHE6OJGZUzOqNIew6Qx9RvZmQCA5bULlYkV5v7dtlmDfJucXz9YLedctulg+cGhMkg7uYIvE6t9q0bncGBrblkRmQhpkTQzEpnJExxUy18HPmrbRasb4P1IYOwjzrjxQupOG8PrFzGJRfF/LSmWhcOZma3SNe7Fa7bluxXsDFGq4hgSAA+Y/leNQLEF9MQeZKUw06+plQ1rG/x2p5Micv7vTDquv7MBEzBt+vdDrZ6s9xE8YbUo0HZdvsz8m+1jZw6GmkCBMk0VZcJOBAWU67Lynw3QOAhyZ0yI323Qft0ZqJaQ+IgUlayQ2NFxtUhtee6kYGNZNfby1v5QCvIgsqCt2bZoEDiqgufF3dm0qez5rEfDV1qUO60J1c9bsp8ZlzkmxnZjTJPZXNTmpMUYCn8f+2mulZZnSWhPGi7tJY8+z6ny8u94KChAdFENqh3F/vQH/6eZ68f37JEUygibTsCD1YmOd125Dm2/hhmJPY5H/+s153gnsJ5gEbblpoVl5FEnGQJwkNMAKUwil/c04fYb0XYEmvkrJArS1O2kvUqUaIs7y9mUOkPv1tE7fRrM2vBgCtDcXzjSrLkd1MmWQSmJPVlhqiyVOFbLKZBebe/ZDukAJVtjIrE3zLGRjPypgpnGce+Sd50VLv0HHppfiyAqmyQcrcKp1Nkm+5bJyQdNXd7qmPmsW6lHQbmbRedUqzeJ8CyCnJ6NtKDnJkUfCoNCFEJDSPgdu68nYfae7nMCi8M0G7U8BQQwCRKjtkiC+5sTXyjIWqDnjrYj8NF5uAkkwfBO2dzqGF2xvB2voL9sTB/u/1FBMoT/JxG1o5Jfb5GPzdOFsqWfjDuvShmI/U06Ro8TVxceXQhuEmemnwNyFne5xoXagCV4QzhnJR1rogMwGTNllneu5qZ+tu1Jis7W+EKIb7mHRHOYzKXybqFx4BtBqvKhC9A8fONCtr0QNFlbLW/TQ/we1H6TVCaftKz0FlhEmUTn+XmHL9II2Yf4WYCeK+VwNUciDd5oRIDbaHOoK1JdcFLpGPSVCb8hWMGK1Prd/eQFa0S2o3UKsWPw8W/ems0CtKg51lHCYzOKT8uQmlr85lA1q1KifB6UXqIgPJGd4IC1FmW8E83s9VMYXDcnCdxg3cwR5Y+R0eNX9DHsur6wdLisvNnp/N3v0LTEBp2wJeEpWiAY164OPjgCz2ND5NFKgL9RTaDyZAGv4zPrilLWft/njC+Jj4RbLMboo5i8HdACpY8FwX2mtIC01k/85/qzjEpG8pl2V3+sLu6vQL4OGT6rxLO4wjYDsoAth/Q0mN3JZqB8kGBfG0jdVsg2b8V8LZdEmvmf6i0cIUTNyJbXwk1m33QaBzRAlOmo4A+4LpLHi6Eb91hbRNYbL+ol4L86YGzDfHARdOFP66925D+57EO7gs/QTrIjnNMzPsmG6888DvTkk9/L5yRHibfQmBeVjU4lpOiiGZpsYhU/lbxYiKEwT7we8GLLZkGYIXdU7BH+ZsjgHX9+dCEJQ7lji5JM8SK1ZRwQhgsXRyNUBpMg2STdPCEJADvFypuslKwP+rgUmnuu0tHNs5A9o9dP0cUpQRDgC2WUtIHygdaN6RRUwfisUGWr1Wr3vV/jBtLC1+QMrLcxmLmudstLRAqXc9vxWONcw+XWpufkytyAfzwpefae9KvvNuVJEZ/wkYTHA1PS4MhNbf0k6jc2xHnbbhOyb8FPQzRD44XHNPzKQREhO/RNsjqq3cEOU4OhI6AN2W+Gwpjc7gU3rt0qVW18O3yqtqjNu6EckP6cIaJiopzNEaJamTs4gUTrWIb1li7ZvN4es3so4Rku/BIPXIz1mkvU1nmiDuT8jsYQfxruELROWvIvo9eFFggWOqZe3M9yNrzVUAzNI+bMVGWh+wxeqmkel6FGWfovjsdUOIpXd8MGseEWIlm7A5J8LbMue1ZKHUZQ7pVy1X3l46AuiQkcqF4kwxqP8ZHdNSUF2/Ui9SrhtxbMAFnOKj+5lHfAU4wfTnLx3fbIHnayHG92S54TjWS1Xw12FeKrvO5DP+SS4SDBAClDXyMiGhFC8uutWcxA+V6eY6PdSdYqyHnDKwboPOWnSXj+ROpwlIGmPyhqp2LOKtCN6OW/IkYFRjxdnBQ9WUuURVYrTmpa8PaaXpHKZm1AWF+MLey740RsT7x/mbemZioQ7vLlFs5LZ03/EcVsDLfjD6pM8vjUYXThuK0OY/PrX6zyl/QpQIn5+hGwVKwnUb1hp6Kw1OiCx9NlB9JNpQzXSOQHq1Du4xL+WLtM1BS+N1Fvl/zzEsOIYI4JZEQmW+/squNzfqxUYWXYnl5W9hjFBCb/doC8i8QUL/pq9mI3A/MF1PB/qpNi3GU9Bbbt7LnyE78KIlFXxdH6jGd66muGL/2cAdQFx41Vb181KQUPfbMiv5V0S/rC9yPDdWBU8U4cu2mgsXPQMVVcHJjg44bKTpAxFLZJQ7OggiuoCZaC7cHcAF7ewSDiXTn0O6FS0DiwGTC5ei3FXG1bVnDgVWb/UQWWDY+/rvbnIUffBJDrjPayaHLRqtxk4ZNN4VIBS4Y6adhms8pBmbwidg6dH2iwhONMbS4IVapL9XEABJNlC36gBabZ6njQiINYX1yMBVrYNm7kdbZktEOSbX1/esZR6g7rRDebYtK2dfT0WsScOLXspLjW0ZimWMESs0Vledc0CPQzI2SfJCrB/3FyF0pz/LAEKW5zwN6liyeSqFVz4+EBRpvHYox53SgfsBf0qdt7bzI+WBiCQSWBJts3Z0CvrsSU0wVFdYd5EF9c82YTafqRhdA6LWNaFQN+AhBCvjJV7tXfFP6/sRXmZ58KpAb8B7evGasK7bi/l7iuzTzNhE90KdktHV7mhA3vuOK8bGAyB9KiQnjk4yS52S6CzSGdulrKU1kT2oRxWedOfZKvq/BmS83RetLpLPJIokeSj2KgRmDki/3d704Zi+uF2tAlfXeHYUdIPefPL22PqHxp8Ow+A3bxXP+bnx//Ag2k/nv/n4H2MIG9TTKctb58UiQXrP8UJMLTGb+wpDJQ3aWforXuXwBlXM0hPUrE7v9WpnZBsTTzNDf1mHAQ3F3kTAMT+pHQJ5iZqfrD1zpVK1QdKiZ1J3ye9bV1Do+5kt5+SEwRInrdBTXnXxanIyNq4r0Z66gAMChuxRBNJDa67tKbCbIJndlA8wfnLit+K7hqFg6N8KERIKwOTNI7iwGEVsuFHSiR/N2xwfIcoc2yseSFrSDwVLFtEdDCy+hWD8a7veBPaTmIxs3lWZvUqeK33i4MLm+77VhTOUDRCG5v682HA2Ai0ueKuOJEAcmBf5Loc/Tsmsds10g06EfcC5biUDJZ81yF6jMB3sGXXsEP6YpDOr84WnYfBoaF107FYtLo2lOI5aWRDVsTKSIaekt+BiV5JHG9M+k8Mxgtv6HnK1G9EG0BG/LtDUmrFKV3njsyWu4+FLVMnZHwmU3T4JoxcLyE1Ct4AcSvBOv+Jzcpst7l383pYGHI8aEISXlfUIVFXvjDKQk0JNjJOFnxX6+21DJve9Mx16yoQrNJrkcoXMKvTBijC0Gy/9uiSnny2//K0+iAlI2514JzdUvPA7uxViv4jig0Q+ut6ryZQ2qqY6Dpg0pwuFvCAFDcerguPc4GzLfKVh3zb0xAS16WfOhHCwfs5XBzNOt6hfdAhQyrpRIeNd9MFDN64jgIeibYNRdicqtdkj44MRS112P4ijfCzLbGTL0SN2OHMNvcyttjPEo7P1qpjAzYQJcWaWxTVqJYsLLOn6sdDNLT+jZKqyPzQ/LYdRkUwOlwAePE2RekGsczy3P5VXiNYna2JLuALpNGdccwDiZDs99zcYMMDAUA1yJHQAwVDdheanhBcZYnM/phwww1CoNO6nSb+IaxSXEhzb4iWQFFGCd57WXfgSrwlr9k+0RfpemfhMmL/9duzxv2+PVuf15GUUt1v/PJddxS6Km1fwKdRNeh0hi1atShG6CBlTDfTKX/r7W+4zbqYLR+Lu0VNeOtnNIsoiLp33yTJgQLLkmtmuOZVxbltNUotG4b3kD8lF4S5EypWU/7Jbk5H3a9Ei/ybQFRhnJVAomOWsc+TeD52WuILuK1toBPD6M66BD0qHvHQKthC6HWPTRJIIZnquddaz/roMp+l0EStHcUj7qTEJus8g19bbEmnDSAP3YQKdgVZpFx+xd+JikmuF3vL6Np7QPfU+8nQz/O7cy8xXqlIhTB5qjB9C2vJN44pCYC3rRQ6RBqQXVNL8yThaKIPGH0yDENGbqDBAuxkjPiS9Yw6h4XsE4XPVFrx/nOS2VdwRPRQu0WqNM1z1twD5Av5YV8SQRctNQurK3Rn6W84Oz9++e7uQIqTC+v7MQdfjCVBr2dtwta3Mak39WAcoNoS6drKAEPzsXSq1zJj49mABJ/XPtsacUHf3McUqAQgnGvyPUyltBohGsmqLdjbd+rqLd1Ioa10BnDWIVz+GbH3W5wuv3sSRHWZjD+yc3nZWFDTIwDBSPhCF/F+QdkysoFLbRGIpy3PFhtijzGNPVXkYFIYkY4ZqU5UbES9c+VQ4sofYoAU5TntdIxtz85LPLIza1JJBxCFe1l/G0izQIPOJepmzUOfcbWnSX8yuWck4x68u9R+0C1PSzZw0O8pUc/mjGEGph9mpxwskIs3GjTzuqeJY+/VutYD9nzj2j4ANwikx+ucoPQltLJVcmR+NdzE3t3jJiXtBo1OK28dpgWf3zRQTBsfHSnBuvPpk6jVFLKyMTeC1wWbqR3bE79Dd08f2vWsnUb+EN8NYTUK4MpUybzTCqTui+w9Jb8bmQ3CMjZzFe863+fIYg+robYpV6minHtugyqEhR/JHVfNkIMmlBH2mMqpuK75GNZwg0cgFclo78m3KqFxPmGG93euN0HOQzW9TixfdP4I/VIK6MaudvQSrFNf2fwuD2t+BJaZaqRWPQ638fOE8H0h6+k4QiU/XFN+j4n/2GEsReJwXz1sQSgq3RD2C8dhTb+u6LiKXCcyTMdPzIDLF6idlODy8V2OLXKHZCJWSK+XNp2TNI0BYBXieMm8CJHEOVseAbntsYDLdZGOk9iRvtZrBv0EfFXnF2imUFROmJGIsL2PJevu6hVVGbhLmkIFPrmwhDrZCf5u/ggzUJm17ahVQmW8/qOD/i5LT32H2Z0f/3Sp5wWa3xmzn5VU1yneDDVyvACemetxGW8btkDQee33gEk6Ol7hrufXocuorJEgKJkGVyYAQP+PQvwJ1m4aw/qR45qvNa/VynN20No5AiJsGXmdgO7W1qebyiR2N5hfWCVegvMHz3lympEYOEsSJiCfaZ/ThMURIEHA7m0pdy/N0/lS3E1q+Rh7YjbGLboS1MGDWI/u9+77cuEWbs8OoCeIdeU1pgjkCIfyJNp32MntdcsGhMVLcgvOqI9qcq2byMjgpmRMHyfrA2jsRNEcE1aaPc7a7llUq91htHoR4nEeFjrgj9QThEQkf79VEO4CPwHLkmSXLRbFZLGCC3ioCwQDcTSe1JaSGHKfyt7drBsSHhuFWIrHmZurEdmD0ZoM1EAdPmdEmJBPX636sTQ49BX+DzPXWZ3Yl7Wdtt1t3FEWomfX95Lg4W4AQ7hQMY3I8nU83VrsZBpuud27g9Es2mYzWWef1L2NlDAaA4dgZDzsZXrB5OU8aGJTm3d2/D3dl0+TkdvnTdi8xdovxJuFklWoTiZXcxJK9RLCn4pWepcpeCrbsd0wieg2Y3GhX07z1oKV5kFmdIrW5UQ8VBLp0fl2B6zdsAFi8GI90bHWJ05BCHsAZpv3BTd++anyoae+tn7XYium3x08fd+CD02zcDN2IscIUxdSVtlCer90Exsi8HwjKiR+jRBgm+s+5mXtMdpn04KIfYpscl3231ksrEljUQGuEIonN8O8xJRRsQRZFBnG9gSuvyR1rwCk43BUJXW6pxWo6fJNlwdNdUy7teW/TUHMFQXwUNYiIWIc4yMRQdMc3Fre4G2UrKW9bSAMQ8aZd3VyWYZXsRpYm654ygIl3qj+lkrCRUOfokTthggMjozeqjw+J8OThqS61GCLzBIyJlLEFI3VCdFq+NovUEEiH0bBj+HakXwXp12ugR+hhfLuw0XB3JgQH90lmNymLW3JGD4bVFdGG+R2FI2n7hN4KKP2eC5uaPgCo5KKDH4mcs0FAK9EVN/rB46HWfT5ymHiUeHh11m7lbeQKg+puRZ2tSBUY4PN6sD8LrwwCwJb7wXLtY3b0/UPROBiFEUD6kJaVVVtXiK+j9MwRskg0EHjZGDOtdFfA+Jx8/MGw1rwncktvJrhLlrPwTv9eZjEgL3MtPcMUQ5A+81wBr36BLYNbJj0ScY36mm6NZHy6VJzoW7s5U1SMLMfb53u4ap+9UNsVGeqEY2kadnRD39O1K+PlrhwtwSP9wNyDseVE6dCM0n0JBcvDBjxQ1xiI0omHabFEkJ4i6z6dR5R/jDC1kCgGOQs/vRC+Zm0h4xZMuceR1vMjX6St0JUlbZcx/RVNizUX5d4gmIO91W6f39tp45uVsoOfSORf4nL4RCT0UTiUOwZJkHpLqnBFux88k0KNkmIU4A0av6i2Ys1SCRfseJnTfaSltNnnZ4SX7XtV8/zMkukU/dq7sm1sULTDngAd6KtOd0nVTqrMxldOK1eS2lBftyLUvuq/8vdOTWQEj2vsLpqLZKsZkUa5kK55qO8yvxMq2Aww/Jl3xcqQ443bW8tScN7vthGlJyqeo51XVlt1yxOo9+rVl6EGL0MXCOZ+RGwwXRi5EC+O6klvwDQb4QD2eIPyfWoSAq/i6RA6T2ggUF86NvauRMMa0VE69sp3PDF4FHeEPsuP5AYVkgbZzzy1RqVyJUmh59/EZYRkazu6f+3ndwbKWFNSwGtD2AQ8tOIsQ4xE4e5muBAUWkGp+G83ZyUdc0TIZGm2TnFocgxlQ+/FW89GAtbGdQIs95xQWa8ep2Wy0a/piBM7oSVU3/x0VZwBRylRV1YgaarV4jZnqrfCBfdX+rUsLNL8G6A4Rwx+w1tULRX329hVYe2vfnj9+6akGRUEG5p5mq3UAFc3NURzlkCfvz+C/TjPLg8fD/3H8tJcGidPKy+c6DJZf7HjJ3/OIE7mY8Br3o3COpjB/vLZ+TPQZhWHCvkCK1PsGDyYD1TXcd93wkmQNpaUvrTrPVkpIPI6PixoXUMaowUASqD9zGuQjHWvixn6qerGU8MachCSrtTH8YVFGwHu/C2ZuVSIKZf0QebM3UhFsud76UdVbM8C59qrofAS2VzbrWzYRsplX2+HDoXiSqOrsqOvDVLzdIJV8rCawc3ZQCS4HAYwM3QVXDmBFqdLppQJ0QSHkW5BSvFLbe35A5KU/7RIwSeaye/ZhXbSt3fEbWSjQbcvTUtA2Jc/mbOEo3FrnNAsVS+F+mws41WTgEilbuMuNg2R0dM6X6d5jl94lcvxbMutBad5mrA3NFv5eMgmHGiucBL9clqC/SNa5saqA==" title="Mekko Graphics Chart">
            <a:extLst>
              <a:ext uri="{FF2B5EF4-FFF2-40B4-BE49-F238E27FC236}">
                <a16:creationId xmlns:a16="http://schemas.microsoft.com/office/drawing/2014/main" id="{ADF9A08C-FD77-4FF3-9307-10D9D9652E8E}"/>
              </a:ext>
            </a:extLst>
          </p:cNvPr>
          <p:cNvSpPr>
            <a:spLocks noChangeAspect="1"/>
          </p:cNvSpPr>
          <p:nvPr>
            <p:custDataLst>
              <p:tags r:id="rId3"/>
            </p:custDataLst>
          </p:nvPr>
        </p:nvSpPr>
        <p:spPr bwMode="gray">
          <a:xfrm>
            <a:off x="403645" y="1202698"/>
            <a:ext cx="11524486" cy="5057923"/>
          </a:xfrm>
          <a:prstGeom prst="rect">
            <a:avLst/>
          </a:prstGeom>
          <a:blipFill>
            <a:blip r:embed="rId12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</a:t>
            </a:r>
          </a:p>
        </p:txBody>
      </p:sp>
      <p:grpSp>
        <p:nvGrpSpPr>
          <p:cNvPr id="43" name="btfpColumnIndicatorGroup2">
            <a:extLst>
              <a:ext uri="{FF2B5EF4-FFF2-40B4-BE49-F238E27FC236}">
                <a16:creationId xmlns:a16="http://schemas.microsoft.com/office/drawing/2014/main" id="{1E684987-FD41-4CE4-9655-BD1C7E4FF729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40" name="btfpColumnGapBlocker942773">
              <a:extLst>
                <a:ext uri="{FF2B5EF4-FFF2-40B4-BE49-F238E27FC236}">
                  <a16:creationId xmlns:a16="http://schemas.microsoft.com/office/drawing/2014/main" id="{07779027-31DB-4A7B-87DE-AFB775D41FD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38" name="btfpColumnGapBlocker648732">
              <a:extLst>
                <a:ext uri="{FF2B5EF4-FFF2-40B4-BE49-F238E27FC236}">
                  <a16:creationId xmlns:a16="http://schemas.microsoft.com/office/drawing/2014/main" id="{D17D13B3-729A-4E10-933D-64E784401C1C}"/>
                </a:ext>
              </a:extLst>
            </p:cNvPr>
            <p:cNvSpPr/>
            <p:nvPr/>
          </p:nvSpPr>
          <p:spPr bwMode="gray">
            <a:xfrm>
              <a:off x="7837752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1" name="btfpColumnIndicator913244">
              <a:extLst>
                <a:ext uri="{FF2B5EF4-FFF2-40B4-BE49-F238E27FC236}">
                  <a16:creationId xmlns:a16="http://schemas.microsoft.com/office/drawing/2014/main" id="{C0267C4C-2040-4D67-99FD-04C22F5A14C8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btfpColumnIndicator700844">
              <a:extLst>
                <a:ext uri="{FF2B5EF4-FFF2-40B4-BE49-F238E27FC236}">
                  <a16:creationId xmlns:a16="http://schemas.microsoft.com/office/drawing/2014/main" id="{990689FB-5D33-43EB-A1C6-7B303FCEC0D2}"/>
                </a:ext>
              </a:extLst>
            </p:cNvPr>
            <p:cNvCxnSpPr/>
            <p:nvPr/>
          </p:nvCxnSpPr>
          <p:spPr bwMode="gray">
            <a:xfrm flipV="1">
              <a:off x="8378296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btfpColumnGapBlocker148025">
              <a:extLst>
                <a:ext uri="{FF2B5EF4-FFF2-40B4-BE49-F238E27FC236}">
                  <a16:creationId xmlns:a16="http://schemas.microsoft.com/office/drawing/2014/main" id="{7215A000-5BAF-441F-8F94-F84154727208}"/>
                </a:ext>
              </a:extLst>
            </p:cNvPr>
            <p:cNvSpPr/>
            <p:nvPr/>
          </p:nvSpPr>
          <p:spPr bwMode="gray">
            <a:xfrm>
              <a:off x="3813704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4" name="btfpColumnIndicator943053">
              <a:extLst>
                <a:ext uri="{FF2B5EF4-FFF2-40B4-BE49-F238E27FC236}">
                  <a16:creationId xmlns:a16="http://schemas.microsoft.com/office/drawing/2014/main" id="{A618271D-E2CE-4734-AE89-2CECCBAFF6EB}"/>
                </a:ext>
              </a:extLst>
            </p:cNvPr>
            <p:cNvCxnSpPr/>
            <p:nvPr/>
          </p:nvCxnSpPr>
          <p:spPr bwMode="gray">
            <a:xfrm flipV="1">
              <a:off x="783775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btfpColumnIndicator725581">
              <a:extLst>
                <a:ext uri="{FF2B5EF4-FFF2-40B4-BE49-F238E27FC236}">
                  <a16:creationId xmlns:a16="http://schemas.microsoft.com/office/drawing/2014/main" id="{E65A491C-9342-417A-AB76-FCE644C6B7A2}"/>
                </a:ext>
              </a:extLst>
            </p:cNvPr>
            <p:cNvCxnSpPr/>
            <p:nvPr/>
          </p:nvCxnSpPr>
          <p:spPr bwMode="gray">
            <a:xfrm flipV="1">
              <a:off x="435424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btfpColumnGapBlocker789773">
              <a:extLst>
                <a:ext uri="{FF2B5EF4-FFF2-40B4-BE49-F238E27FC236}">
                  <a16:creationId xmlns:a16="http://schemas.microsoft.com/office/drawing/2014/main" id="{7D319600-C5F3-4516-A666-99EC07F575BB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8" name="btfpColumnIndicator175847">
              <a:extLst>
                <a:ext uri="{FF2B5EF4-FFF2-40B4-BE49-F238E27FC236}">
                  <a16:creationId xmlns:a16="http://schemas.microsoft.com/office/drawing/2014/main" id="{4A99A18B-4592-485A-BCD0-479561679136}"/>
                </a:ext>
              </a:extLst>
            </p:cNvPr>
            <p:cNvCxnSpPr/>
            <p:nvPr/>
          </p:nvCxnSpPr>
          <p:spPr bwMode="gray">
            <a:xfrm flipV="1">
              <a:off x="3813704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253055">
              <a:extLst>
                <a:ext uri="{FF2B5EF4-FFF2-40B4-BE49-F238E27FC236}">
                  <a16:creationId xmlns:a16="http://schemas.microsoft.com/office/drawing/2014/main" id="{E5F20E72-CED5-41BB-8625-42E4883D0D17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2" name="btfpColumnIndicatorGroup1">
            <a:extLst>
              <a:ext uri="{FF2B5EF4-FFF2-40B4-BE49-F238E27FC236}">
                <a16:creationId xmlns:a16="http://schemas.microsoft.com/office/drawing/2014/main" id="{D9A572FE-67A9-4E0B-B67C-5C82B156F5B6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39" name="btfpColumnGapBlocker299740">
              <a:extLst>
                <a:ext uri="{FF2B5EF4-FFF2-40B4-BE49-F238E27FC236}">
                  <a16:creationId xmlns:a16="http://schemas.microsoft.com/office/drawing/2014/main" id="{B21BF74B-6198-4EBF-9D0A-D9351472AC78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35" name="btfpColumnGapBlocker281797">
              <a:extLst>
                <a:ext uri="{FF2B5EF4-FFF2-40B4-BE49-F238E27FC236}">
                  <a16:creationId xmlns:a16="http://schemas.microsoft.com/office/drawing/2014/main" id="{E959CFBF-4C0D-4A4B-94C7-44AF5A760415}"/>
                </a:ext>
              </a:extLst>
            </p:cNvPr>
            <p:cNvSpPr/>
            <p:nvPr/>
          </p:nvSpPr>
          <p:spPr bwMode="gray">
            <a:xfrm>
              <a:off x="7837752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9" name="btfpColumnIndicator499124">
              <a:extLst>
                <a:ext uri="{FF2B5EF4-FFF2-40B4-BE49-F238E27FC236}">
                  <a16:creationId xmlns:a16="http://schemas.microsoft.com/office/drawing/2014/main" id="{3FFD4269-D08A-4944-A7C3-60C133D2F3FA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btfpColumnIndicator834502">
              <a:extLst>
                <a:ext uri="{FF2B5EF4-FFF2-40B4-BE49-F238E27FC236}">
                  <a16:creationId xmlns:a16="http://schemas.microsoft.com/office/drawing/2014/main" id="{2B9295D0-BFA4-4985-B1BD-437383117985}"/>
                </a:ext>
              </a:extLst>
            </p:cNvPr>
            <p:cNvCxnSpPr/>
            <p:nvPr/>
          </p:nvCxnSpPr>
          <p:spPr bwMode="gray">
            <a:xfrm flipV="1">
              <a:off x="8378296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btfpColumnGapBlocker725468">
              <a:extLst>
                <a:ext uri="{FF2B5EF4-FFF2-40B4-BE49-F238E27FC236}">
                  <a16:creationId xmlns:a16="http://schemas.microsoft.com/office/drawing/2014/main" id="{6406FC8A-9158-47BB-A3E4-309F5D1883FC}"/>
                </a:ext>
              </a:extLst>
            </p:cNvPr>
            <p:cNvSpPr/>
            <p:nvPr/>
          </p:nvSpPr>
          <p:spPr bwMode="gray">
            <a:xfrm>
              <a:off x="3813704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3" name="btfpColumnIndicator207414">
              <a:extLst>
                <a:ext uri="{FF2B5EF4-FFF2-40B4-BE49-F238E27FC236}">
                  <a16:creationId xmlns:a16="http://schemas.microsoft.com/office/drawing/2014/main" id="{66693C35-70BD-4952-82AF-0C19305D4133}"/>
                </a:ext>
              </a:extLst>
            </p:cNvPr>
            <p:cNvCxnSpPr/>
            <p:nvPr/>
          </p:nvCxnSpPr>
          <p:spPr bwMode="gray">
            <a:xfrm flipV="1">
              <a:off x="783775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btfpColumnIndicator891237">
              <a:extLst>
                <a:ext uri="{FF2B5EF4-FFF2-40B4-BE49-F238E27FC236}">
                  <a16:creationId xmlns:a16="http://schemas.microsoft.com/office/drawing/2014/main" id="{E22E6B23-E6F4-4EED-9429-040AA09ABC1E}"/>
                </a:ext>
              </a:extLst>
            </p:cNvPr>
            <p:cNvCxnSpPr/>
            <p:nvPr/>
          </p:nvCxnSpPr>
          <p:spPr bwMode="gray">
            <a:xfrm flipV="1">
              <a:off x="435424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btfpColumnGapBlocker568354">
              <a:extLst>
                <a:ext uri="{FF2B5EF4-FFF2-40B4-BE49-F238E27FC236}">
                  <a16:creationId xmlns:a16="http://schemas.microsoft.com/office/drawing/2014/main" id="{A0A72D13-0FA5-4F74-A821-727CCD2D3F71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5" name="btfpColumnIndicator252422">
              <a:extLst>
                <a:ext uri="{FF2B5EF4-FFF2-40B4-BE49-F238E27FC236}">
                  <a16:creationId xmlns:a16="http://schemas.microsoft.com/office/drawing/2014/main" id="{C1B7B5E9-DAFE-419A-BDD7-0ACD42EB3483}"/>
                </a:ext>
              </a:extLst>
            </p:cNvPr>
            <p:cNvCxnSpPr/>
            <p:nvPr/>
          </p:nvCxnSpPr>
          <p:spPr bwMode="gray">
            <a:xfrm flipV="1">
              <a:off x="3813704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" name="btfpColumnIndicator889916">
              <a:extLst>
                <a:ext uri="{FF2B5EF4-FFF2-40B4-BE49-F238E27FC236}">
                  <a16:creationId xmlns:a16="http://schemas.microsoft.com/office/drawing/2014/main" id="{720F5DD7-A17A-49CD-B49F-4B097E76E749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2" name="btfpRunningAgenda2Level228391">
            <a:extLst>
              <a:ext uri="{FF2B5EF4-FFF2-40B4-BE49-F238E27FC236}">
                <a16:creationId xmlns:a16="http://schemas.microsoft.com/office/drawing/2014/main" id="{3C3ED3CF-9695-4C80-ACD0-EF63C1245ECF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-1" y="944429"/>
            <a:ext cx="5182567" cy="257442"/>
            <a:chOff x="-1" y="876300"/>
            <a:chExt cx="5182567" cy="257442"/>
          </a:xfrm>
        </p:grpSpPr>
        <p:sp>
          <p:nvSpPr>
            <p:cNvPr id="33" name="btfpRunningAgenda2LevelBarLeft228391">
              <a:extLst>
                <a:ext uri="{FF2B5EF4-FFF2-40B4-BE49-F238E27FC236}">
                  <a16:creationId xmlns:a16="http://schemas.microsoft.com/office/drawing/2014/main" id="{28C9D338-C5AF-48A5-A47C-2AEBA4F1D927}"/>
                </a:ext>
              </a:extLst>
            </p:cNvPr>
            <p:cNvSpPr/>
            <p:nvPr/>
          </p:nvSpPr>
          <p:spPr bwMode="gray">
            <a:xfrm>
              <a:off x="-1" y="876300"/>
              <a:ext cx="2327781" cy="257442"/>
            </a:xfrm>
            <a:custGeom>
              <a:avLst/>
              <a:gdLst>
                <a:gd name="connsiteX0" fmla="*/ 986067 w 2696920"/>
                <a:gd name="connsiteY0" fmla="*/ 0 h 257442"/>
                <a:gd name="connsiteX1" fmla="*/ 2696920 w 2696920"/>
                <a:gd name="connsiteY1" fmla="*/ 0 h 257442"/>
                <a:gd name="connsiteX2" fmla="*/ 2642199 w 2696920"/>
                <a:gd name="connsiteY2" fmla="*/ 257442 h 257442"/>
                <a:gd name="connsiteX3" fmla="*/ 0 w 2696920"/>
                <a:gd name="connsiteY3" fmla="*/ 257442 h 257442"/>
                <a:gd name="connsiteX0" fmla="*/ 986067 w 2642199"/>
                <a:gd name="connsiteY0" fmla="*/ 0 h 257442"/>
                <a:gd name="connsiteX1" fmla="*/ 931346 w 2642199"/>
                <a:gd name="connsiteY1" fmla="*/ 257442 h 257442"/>
                <a:gd name="connsiteX2" fmla="*/ 2642199 w 2642199"/>
                <a:gd name="connsiteY2" fmla="*/ 257442 h 257442"/>
                <a:gd name="connsiteX3" fmla="*/ 0 w 2642199"/>
                <a:gd name="connsiteY3" fmla="*/ 257442 h 257442"/>
                <a:gd name="connsiteX0" fmla="*/ 986067 w 986067"/>
                <a:gd name="connsiteY0" fmla="*/ 0 h 257442"/>
                <a:gd name="connsiteX1" fmla="*/ 931346 w 986067"/>
                <a:gd name="connsiteY1" fmla="*/ 257442 h 257442"/>
                <a:gd name="connsiteX2" fmla="*/ 1 w 986067"/>
                <a:gd name="connsiteY2" fmla="*/ 257442 h 257442"/>
                <a:gd name="connsiteX3" fmla="*/ 0 w 986067"/>
                <a:gd name="connsiteY3" fmla="*/ 257442 h 257442"/>
                <a:gd name="connsiteX0" fmla="*/ 986066 w 986066"/>
                <a:gd name="connsiteY0" fmla="*/ 0 h 257442"/>
                <a:gd name="connsiteX1" fmla="*/ 931345 w 986066"/>
                <a:gd name="connsiteY1" fmla="*/ 257442 h 257442"/>
                <a:gd name="connsiteX2" fmla="*/ 0 w 986066"/>
                <a:gd name="connsiteY2" fmla="*/ 257442 h 257442"/>
                <a:gd name="connsiteX3" fmla="*/ 0 w 986066"/>
                <a:gd name="connsiteY3" fmla="*/ 0 h 257442"/>
                <a:gd name="connsiteX0" fmla="*/ 1163999 w 1163999"/>
                <a:gd name="connsiteY0" fmla="*/ 0 h 257442"/>
                <a:gd name="connsiteX1" fmla="*/ 931345 w 1163999"/>
                <a:gd name="connsiteY1" fmla="*/ 257442 h 257442"/>
                <a:gd name="connsiteX2" fmla="*/ 0 w 1163999"/>
                <a:gd name="connsiteY2" fmla="*/ 257442 h 257442"/>
                <a:gd name="connsiteX3" fmla="*/ 0 w 1163999"/>
                <a:gd name="connsiteY3" fmla="*/ 0 h 257442"/>
                <a:gd name="connsiteX0" fmla="*/ 1163999 w 1163999"/>
                <a:gd name="connsiteY0" fmla="*/ 0 h 257442"/>
                <a:gd name="connsiteX1" fmla="*/ 1109278 w 1163999"/>
                <a:gd name="connsiteY1" fmla="*/ 257442 h 257442"/>
                <a:gd name="connsiteX2" fmla="*/ 0 w 1163999"/>
                <a:gd name="connsiteY2" fmla="*/ 257442 h 257442"/>
                <a:gd name="connsiteX3" fmla="*/ 0 w 1163999"/>
                <a:gd name="connsiteY3" fmla="*/ 0 h 257442"/>
                <a:gd name="connsiteX0" fmla="*/ 1164000 w 1164000"/>
                <a:gd name="connsiteY0" fmla="*/ 0 h 257442"/>
                <a:gd name="connsiteX1" fmla="*/ 1109279 w 1164000"/>
                <a:gd name="connsiteY1" fmla="*/ 257442 h 257442"/>
                <a:gd name="connsiteX2" fmla="*/ 0 w 1164000"/>
                <a:gd name="connsiteY2" fmla="*/ 257442 h 257442"/>
                <a:gd name="connsiteX3" fmla="*/ 1 w 1164000"/>
                <a:gd name="connsiteY3" fmla="*/ 0 h 257442"/>
                <a:gd name="connsiteX0" fmla="*/ 1164000 w 1164000"/>
                <a:gd name="connsiteY0" fmla="*/ 0 h 257442"/>
                <a:gd name="connsiteX1" fmla="*/ 1109279 w 1164000"/>
                <a:gd name="connsiteY1" fmla="*/ 257442 h 257442"/>
                <a:gd name="connsiteX2" fmla="*/ 0 w 1164000"/>
                <a:gd name="connsiteY2" fmla="*/ 257442 h 257442"/>
                <a:gd name="connsiteX3" fmla="*/ 0 w 1164000"/>
                <a:gd name="connsiteY3" fmla="*/ 0 h 257442"/>
                <a:gd name="connsiteX0" fmla="*/ 1332316 w 1332316"/>
                <a:gd name="connsiteY0" fmla="*/ 0 h 257442"/>
                <a:gd name="connsiteX1" fmla="*/ 1109279 w 1332316"/>
                <a:gd name="connsiteY1" fmla="*/ 257442 h 257442"/>
                <a:gd name="connsiteX2" fmla="*/ 0 w 1332316"/>
                <a:gd name="connsiteY2" fmla="*/ 257442 h 257442"/>
                <a:gd name="connsiteX3" fmla="*/ 0 w 1332316"/>
                <a:gd name="connsiteY3" fmla="*/ 0 h 257442"/>
                <a:gd name="connsiteX0" fmla="*/ 1332316 w 1332316"/>
                <a:gd name="connsiteY0" fmla="*/ 0 h 257442"/>
                <a:gd name="connsiteX1" fmla="*/ 1277595 w 1332316"/>
                <a:gd name="connsiteY1" fmla="*/ 257442 h 257442"/>
                <a:gd name="connsiteX2" fmla="*/ 0 w 1332316"/>
                <a:gd name="connsiteY2" fmla="*/ 257442 h 257442"/>
                <a:gd name="connsiteX3" fmla="*/ 0 w 1332316"/>
                <a:gd name="connsiteY3" fmla="*/ 0 h 257442"/>
                <a:gd name="connsiteX0" fmla="*/ 1332316 w 1332316"/>
                <a:gd name="connsiteY0" fmla="*/ 0 h 257442"/>
                <a:gd name="connsiteX1" fmla="*/ 1277595 w 1332316"/>
                <a:gd name="connsiteY1" fmla="*/ 257442 h 257442"/>
                <a:gd name="connsiteX2" fmla="*/ 0 w 1332316"/>
                <a:gd name="connsiteY2" fmla="*/ 257442 h 257442"/>
                <a:gd name="connsiteX3" fmla="*/ 0 w 1332316"/>
                <a:gd name="connsiteY3" fmla="*/ 0 h 257442"/>
                <a:gd name="connsiteX0" fmla="*/ 1332316 w 1332316"/>
                <a:gd name="connsiteY0" fmla="*/ 0 h 257442"/>
                <a:gd name="connsiteX1" fmla="*/ 1277595 w 1332316"/>
                <a:gd name="connsiteY1" fmla="*/ 257442 h 257442"/>
                <a:gd name="connsiteX2" fmla="*/ 0 w 1332316"/>
                <a:gd name="connsiteY2" fmla="*/ 257442 h 257442"/>
                <a:gd name="connsiteX3" fmla="*/ 0 w 1332316"/>
                <a:gd name="connsiteY3" fmla="*/ 0 h 257442"/>
                <a:gd name="connsiteX0" fmla="*/ 1164000 w 1277595"/>
                <a:gd name="connsiteY0" fmla="*/ 0 h 257442"/>
                <a:gd name="connsiteX1" fmla="*/ 1277595 w 1277595"/>
                <a:gd name="connsiteY1" fmla="*/ 257442 h 257442"/>
                <a:gd name="connsiteX2" fmla="*/ 0 w 1277595"/>
                <a:gd name="connsiteY2" fmla="*/ 257442 h 257442"/>
                <a:gd name="connsiteX3" fmla="*/ 0 w 1277595"/>
                <a:gd name="connsiteY3" fmla="*/ 0 h 257442"/>
                <a:gd name="connsiteX0" fmla="*/ 1164000 w 1164000"/>
                <a:gd name="connsiteY0" fmla="*/ 0 h 257442"/>
                <a:gd name="connsiteX1" fmla="*/ 1109280 w 1164000"/>
                <a:gd name="connsiteY1" fmla="*/ 257442 h 257442"/>
                <a:gd name="connsiteX2" fmla="*/ 0 w 1164000"/>
                <a:gd name="connsiteY2" fmla="*/ 257442 h 257442"/>
                <a:gd name="connsiteX3" fmla="*/ 0 w 1164000"/>
                <a:gd name="connsiteY3" fmla="*/ 0 h 257442"/>
                <a:gd name="connsiteX0" fmla="*/ 1164000 w 1164000"/>
                <a:gd name="connsiteY0" fmla="*/ 0 h 257442"/>
                <a:gd name="connsiteX1" fmla="*/ 1109280 w 1164000"/>
                <a:gd name="connsiteY1" fmla="*/ 257442 h 257442"/>
                <a:gd name="connsiteX2" fmla="*/ 1 w 1164000"/>
                <a:gd name="connsiteY2" fmla="*/ 257442 h 257442"/>
                <a:gd name="connsiteX3" fmla="*/ 0 w 1164000"/>
                <a:gd name="connsiteY3" fmla="*/ 0 h 257442"/>
                <a:gd name="connsiteX0" fmla="*/ 1163999 w 1163999"/>
                <a:gd name="connsiteY0" fmla="*/ 0 h 257442"/>
                <a:gd name="connsiteX1" fmla="*/ 1109279 w 1163999"/>
                <a:gd name="connsiteY1" fmla="*/ 257442 h 257442"/>
                <a:gd name="connsiteX2" fmla="*/ 0 w 1163999"/>
                <a:gd name="connsiteY2" fmla="*/ 257442 h 257442"/>
                <a:gd name="connsiteX3" fmla="*/ 0 w 1163999"/>
                <a:gd name="connsiteY3" fmla="*/ 0 h 257442"/>
                <a:gd name="connsiteX0" fmla="*/ 986067 w 1109279"/>
                <a:gd name="connsiteY0" fmla="*/ 0 h 257442"/>
                <a:gd name="connsiteX1" fmla="*/ 1109279 w 1109279"/>
                <a:gd name="connsiteY1" fmla="*/ 257442 h 257442"/>
                <a:gd name="connsiteX2" fmla="*/ 0 w 1109279"/>
                <a:gd name="connsiteY2" fmla="*/ 257442 h 257442"/>
                <a:gd name="connsiteX3" fmla="*/ 0 w 1109279"/>
                <a:gd name="connsiteY3" fmla="*/ 0 h 257442"/>
                <a:gd name="connsiteX0" fmla="*/ 986067 w 986067"/>
                <a:gd name="connsiteY0" fmla="*/ 0 h 257442"/>
                <a:gd name="connsiteX1" fmla="*/ 931346 w 986067"/>
                <a:gd name="connsiteY1" fmla="*/ 257442 h 257442"/>
                <a:gd name="connsiteX2" fmla="*/ 0 w 986067"/>
                <a:gd name="connsiteY2" fmla="*/ 257442 h 257442"/>
                <a:gd name="connsiteX3" fmla="*/ 0 w 986067"/>
                <a:gd name="connsiteY3" fmla="*/ 0 h 257442"/>
                <a:gd name="connsiteX0" fmla="*/ 986067 w 986067"/>
                <a:gd name="connsiteY0" fmla="*/ 0 h 257442"/>
                <a:gd name="connsiteX1" fmla="*/ 931346 w 986067"/>
                <a:gd name="connsiteY1" fmla="*/ 257442 h 257442"/>
                <a:gd name="connsiteX2" fmla="*/ 0 w 986067"/>
                <a:gd name="connsiteY2" fmla="*/ 257442 h 257442"/>
                <a:gd name="connsiteX3" fmla="*/ 0 w 986067"/>
                <a:gd name="connsiteY3" fmla="*/ 0 h 257442"/>
                <a:gd name="connsiteX0" fmla="*/ 986067 w 986067"/>
                <a:gd name="connsiteY0" fmla="*/ 0 h 257442"/>
                <a:gd name="connsiteX1" fmla="*/ 931346 w 986067"/>
                <a:gd name="connsiteY1" fmla="*/ 257442 h 257442"/>
                <a:gd name="connsiteX2" fmla="*/ 0 w 986067"/>
                <a:gd name="connsiteY2" fmla="*/ 257442 h 257442"/>
                <a:gd name="connsiteX3" fmla="*/ 0 w 986067"/>
                <a:gd name="connsiteY3" fmla="*/ 0 h 257442"/>
                <a:gd name="connsiteX0" fmla="*/ 782550 w 931346"/>
                <a:gd name="connsiteY0" fmla="*/ 0 h 257442"/>
                <a:gd name="connsiteX1" fmla="*/ 931346 w 931346"/>
                <a:gd name="connsiteY1" fmla="*/ 257442 h 257442"/>
                <a:gd name="connsiteX2" fmla="*/ 0 w 931346"/>
                <a:gd name="connsiteY2" fmla="*/ 257442 h 257442"/>
                <a:gd name="connsiteX3" fmla="*/ 0 w 931346"/>
                <a:gd name="connsiteY3" fmla="*/ 0 h 257442"/>
                <a:gd name="connsiteX0" fmla="*/ 782550 w 782550"/>
                <a:gd name="connsiteY0" fmla="*/ 0 h 257442"/>
                <a:gd name="connsiteX1" fmla="*/ 727829 w 782550"/>
                <a:gd name="connsiteY1" fmla="*/ 257442 h 257442"/>
                <a:gd name="connsiteX2" fmla="*/ 0 w 782550"/>
                <a:gd name="connsiteY2" fmla="*/ 257442 h 257442"/>
                <a:gd name="connsiteX3" fmla="*/ 0 w 782550"/>
                <a:gd name="connsiteY3" fmla="*/ 0 h 257442"/>
                <a:gd name="connsiteX0" fmla="*/ 782550 w 782550"/>
                <a:gd name="connsiteY0" fmla="*/ 0 h 257442"/>
                <a:gd name="connsiteX1" fmla="*/ 727829 w 782550"/>
                <a:gd name="connsiteY1" fmla="*/ 257442 h 257442"/>
                <a:gd name="connsiteX2" fmla="*/ 0 w 782550"/>
                <a:gd name="connsiteY2" fmla="*/ 257442 h 257442"/>
                <a:gd name="connsiteX3" fmla="*/ 0 w 782550"/>
                <a:gd name="connsiteY3" fmla="*/ 0 h 257442"/>
                <a:gd name="connsiteX0" fmla="*/ 782550 w 782550"/>
                <a:gd name="connsiteY0" fmla="*/ 0 h 257442"/>
                <a:gd name="connsiteX1" fmla="*/ 727829 w 782550"/>
                <a:gd name="connsiteY1" fmla="*/ 257442 h 257442"/>
                <a:gd name="connsiteX2" fmla="*/ 0 w 782550"/>
                <a:gd name="connsiteY2" fmla="*/ 257442 h 257442"/>
                <a:gd name="connsiteX3" fmla="*/ 0 w 782550"/>
                <a:gd name="connsiteY3" fmla="*/ 0 h 257442"/>
                <a:gd name="connsiteX0" fmla="*/ 986067 w 986067"/>
                <a:gd name="connsiteY0" fmla="*/ 0 h 257442"/>
                <a:gd name="connsiteX1" fmla="*/ 727829 w 986067"/>
                <a:gd name="connsiteY1" fmla="*/ 257442 h 257442"/>
                <a:gd name="connsiteX2" fmla="*/ 0 w 986067"/>
                <a:gd name="connsiteY2" fmla="*/ 257442 h 257442"/>
                <a:gd name="connsiteX3" fmla="*/ 0 w 986067"/>
                <a:gd name="connsiteY3" fmla="*/ 0 h 257442"/>
                <a:gd name="connsiteX0" fmla="*/ 986067 w 986067"/>
                <a:gd name="connsiteY0" fmla="*/ 0 h 257442"/>
                <a:gd name="connsiteX1" fmla="*/ 931346 w 986067"/>
                <a:gd name="connsiteY1" fmla="*/ 257442 h 257442"/>
                <a:gd name="connsiteX2" fmla="*/ 0 w 986067"/>
                <a:gd name="connsiteY2" fmla="*/ 257442 h 257442"/>
                <a:gd name="connsiteX3" fmla="*/ 0 w 986067"/>
                <a:gd name="connsiteY3" fmla="*/ 0 h 257442"/>
                <a:gd name="connsiteX0" fmla="*/ 986067 w 986067"/>
                <a:gd name="connsiteY0" fmla="*/ 0 h 257442"/>
                <a:gd name="connsiteX1" fmla="*/ 931346 w 986067"/>
                <a:gd name="connsiteY1" fmla="*/ 257442 h 257442"/>
                <a:gd name="connsiteX2" fmla="*/ 0 w 986067"/>
                <a:gd name="connsiteY2" fmla="*/ 257442 h 257442"/>
                <a:gd name="connsiteX3" fmla="*/ 0 w 986067"/>
                <a:gd name="connsiteY3" fmla="*/ 0 h 257442"/>
                <a:gd name="connsiteX0" fmla="*/ 986067 w 986067"/>
                <a:gd name="connsiteY0" fmla="*/ 0 h 257442"/>
                <a:gd name="connsiteX1" fmla="*/ 931346 w 986067"/>
                <a:gd name="connsiteY1" fmla="*/ 257442 h 257442"/>
                <a:gd name="connsiteX2" fmla="*/ 0 w 986067"/>
                <a:gd name="connsiteY2" fmla="*/ 257442 h 257442"/>
                <a:gd name="connsiteX3" fmla="*/ 0 w 986067"/>
                <a:gd name="connsiteY3" fmla="*/ 0 h 257442"/>
                <a:gd name="connsiteX0" fmla="*/ 1164000 w 1164000"/>
                <a:gd name="connsiteY0" fmla="*/ 0 h 257442"/>
                <a:gd name="connsiteX1" fmla="*/ 931346 w 1164000"/>
                <a:gd name="connsiteY1" fmla="*/ 257442 h 257442"/>
                <a:gd name="connsiteX2" fmla="*/ 0 w 1164000"/>
                <a:gd name="connsiteY2" fmla="*/ 257442 h 257442"/>
                <a:gd name="connsiteX3" fmla="*/ 0 w 1164000"/>
                <a:gd name="connsiteY3" fmla="*/ 0 h 257442"/>
                <a:gd name="connsiteX0" fmla="*/ 1164000 w 1164000"/>
                <a:gd name="connsiteY0" fmla="*/ 0 h 257442"/>
                <a:gd name="connsiteX1" fmla="*/ 1109278 w 1164000"/>
                <a:gd name="connsiteY1" fmla="*/ 257442 h 257442"/>
                <a:gd name="connsiteX2" fmla="*/ 0 w 1164000"/>
                <a:gd name="connsiteY2" fmla="*/ 257442 h 257442"/>
                <a:gd name="connsiteX3" fmla="*/ 0 w 1164000"/>
                <a:gd name="connsiteY3" fmla="*/ 0 h 257442"/>
                <a:gd name="connsiteX0" fmla="*/ 1164001 w 1164001"/>
                <a:gd name="connsiteY0" fmla="*/ 0 h 257442"/>
                <a:gd name="connsiteX1" fmla="*/ 1109279 w 1164001"/>
                <a:gd name="connsiteY1" fmla="*/ 257442 h 257442"/>
                <a:gd name="connsiteX2" fmla="*/ 0 w 1164001"/>
                <a:gd name="connsiteY2" fmla="*/ 257442 h 257442"/>
                <a:gd name="connsiteX3" fmla="*/ 1 w 1164001"/>
                <a:gd name="connsiteY3" fmla="*/ 0 h 257442"/>
                <a:gd name="connsiteX0" fmla="*/ 1164001 w 1164001"/>
                <a:gd name="connsiteY0" fmla="*/ 0 h 257442"/>
                <a:gd name="connsiteX1" fmla="*/ 1109279 w 1164001"/>
                <a:gd name="connsiteY1" fmla="*/ 257442 h 257442"/>
                <a:gd name="connsiteX2" fmla="*/ 0 w 1164001"/>
                <a:gd name="connsiteY2" fmla="*/ 257442 h 257442"/>
                <a:gd name="connsiteX3" fmla="*/ 1 w 1164001"/>
                <a:gd name="connsiteY3" fmla="*/ 0 h 257442"/>
                <a:gd name="connsiteX0" fmla="*/ 1332317 w 1332317"/>
                <a:gd name="connsiteY0" fmla="*/ 0 h 257442"/>
                <a:gd name="connsiteX1" fmla="*/ 1109279 w 1332317"/>
                <a:gd name="connsiteY1" fmla="*/ 257442 h 257442"/>
                <a:gd name="connsiteX2" fmla="*/ 0 w 1332317"/>
                <a:gd name="connsiteY2" fmla="*/ 257442 h 257442"/>
                <a:gd name="connsiteX3" fmla="*/ 1 w 1332317"/>
                <a:gd name="connsiteY3" fmla="*/ 0 h 257442"/>
                <a:gd name="connsiteX0" fmla="*/ 1332317 w 1332317"/>
                <a:gd name="connsiteY0" fmla="*/ 0 h 257442"/>
                <a:gd name="connsiteX1" fmla="*/ 1277596 w 1332317"/>
                <a:gd name="connsiteY1" fmla="*/ 257442 h 257442"/>
                <a:gd name="connsiteX2" fmla="*/ 0 w 1332317"/>
                <a:gd name="connsiteY2" fmla="*/ 257442 h 257442"/>
                <a:gd name="connsiteX3" fmla="*/ 1 w 1332317"/>
                <a:gd name="connsiteY3" fmla="*/ 0 h 257442"/>
                <a:gd name="connsiteX0" fmla="*/ 1332316 w 1332316"/>
                <a:gd name="connsiteY0" fmla="*/ 0 h 257442"/>
                <a:gd name="connsiteX1" fmla="*/ 1277595 w 1332316"/>
                <a:gd name="connsiteY1" fmla="*/ 257442 h 257442"/>
                <a:gd name="connsiteX2" fmla="*/ 0 w 1332316"/>
                <a:gd name="connsiteY2" fmla="*/ 257442 h 257442"/>
                <a:gd name="connsiteX3" fmla="*/ 0 w 1332316"/>
                <a:gd name="connsiteY3" fmla="*/ 0 h 257442"/>
                <a:gd name="connsiteX0" fmla="*/ 1332317 w 1332317"/>
                <a:gd name="connsiteY0" fmla="*/ 0 h 257442"/>
                <a:gd name="connsiteX1" fmla="*/ 1277596 w 1332317"/>
                <a:gd name="connsiteY1" fmla="*/ 257442 h 257442"/>
                <a:gd name="connsiteX2" fmla="*/ 1 w 1332317"/>
                <a:gd name="connsiteY2" fmla="*/ 257442 h 257442"/>
                <a:gd name="connsiteX3" fmla="*/ 0 w 1332317"/>
                <a:gd name="connsiteY3" fmla="*/ 0 h 257442"/>
                <a:gd name="connsiteX0" fmla="*/ 1500632 w 1500632"/>
                <a:gd name="connsiteY0" fmla="*/ 0 h 257442"/>
                <a:gd name="connsiteX1" fmla="*/ 1277596 w 1500632"/>
                <a:gd name="connsiteY1" fmla="*/ 257442 h 257442"/>
                <a:gd name="connsiteX2" fmla="*/ 1 w 1500632"/>
                <a:gd name="connsiteY2" fmla="*/ 257442 h 257442"/>
                <a:gd name="connsiteX3" fmla="*/ 0 w 1500632"/>
                <a:gd name="connsiteY3" fmla="*/ 0 h 257442"/>
                <a:gd name="connsiteX0" fmla="*/ 1500632 w 1500632"/>
                <a:gd name="connsiteY0" fmla="*/ 0 h 257442"/>
                <a:gd name="connsiteX1" fmla="*/ 1445910 w 1500632"/>
                <a:gd name="connsiteY1" fmla="*/ 257442 h 257442"/>
                <a:gd name="connsiteX2" fmla="*/ 1 w 1500632"/>
                <a:gd name="connsiteY2" fmla="*/ 257442 h 257442"/>
                <a:gd name="connsiteX3" fmla="*/ 0 w 1500632"/>
                <a:gd name="connsiteY3" fmla="*/ 0 h 257442"/>
                <a:gd name="connsiteX0" fmla="*/ 1500632 w 1500632"/>
                <a:gd name="connsiteY0" fmla="*/ 0 h 257442"/>
                <a:gd name="connsiteX1" fmla="*/ 1445910 w 1500632"/>
                <a:gd name="connsiteY1" fmla="*/ 257442 h 257442"/>
                <a:gd name="connsiteX2" fmla="*/ 0 w 1500632"/>
                <a:gd name="connsiteY2" fmla="*/ 257442 h 257442"/>
                <a:gd name="connsiteX3" fmla="*/ 0 w 1500632"/>
                <a:gd name="connsiteY3" fmla="*/ 0 h 257442"/>
                <a:gd name="connsiteX0" fmla="*/ 1500632 w 1500632"/>
                <a:gd name="connsiteY0" fmla="*/ 0 h 257442"/>
                <a:gd name="connsiteX1" fmla="*/ 1445910 w 1500632"/>
                <a:gd name="connsiteY1" fmla="*/ 257442 h 257442"/>
                <a:gd name="connsiteX2" fmla="*/ 0 w 1500632"/>
                <a:gd name="connsiteY2" fmla="*/ 257442 h 257442"/>
                <a:gd name="connsiteX3" fmla="*/ 0 w 1500632"/>
                <a:gd name="connsiteY3" fmla="*/ 0 h 257442"/>
                <a:gd name="connsiteX0" fmla="*/ 1652916 w 1652916"/>
                <a:gd name="connsiteY0" fmla="*/ 0 h 257442"/>
                <a:gd name="connsiteX1" fmla="*/ 1445910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652916 w 1652916"/>
                <a:gd name="connsiteY0" fmla="*/ 0 h 257442"/>
                <a:gd name="connsiteX1" fmla="*/ 1598195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652916 w 1652916"/>
                <a:gd name="connsiteY0" fmla="*/ 0 h 257442"/>
                <a:gd name="connsiteX1" fmla="*/ 1598195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652916 w 1652916"/>
                <a:gd name="connsiteY0" fmla="*/ 0 h 257442"/>
                <a:gd name="connsiteX1" fmla="*/ 1598195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821231 w 1821231"/>
                <a:gd name="connsiteY0" fmla="*/ 0 h 257442"/>
                <a:gd name="connsiteX1" fmla="*/ 1598195 w 1821231"/>
                <a:gd name="connsiteY1" fmla="*/ 257442 h 257442"/>
                <a:gd name="connsiteX2" fmla="*/ 0 w 1821231"/>
                <a:gd name="connsiteY2" fmla="*/ 257442 h 257442"/>
                <a:gd name="connsiteX3" fmla="*/ 0 w 1821231"/>
                <a:gd name="connsiteY3" fmla="*/ 0 h 257442"/>
                <a:gd name="connsiteX0" fmla="*/ 1821231 w 1821231"/>
                <a:gd name="connsiteY0" fmla="*/ 0 h 257442"/>
                <a:gd name="connsiteX1" fmla="*/ 1766510 w 1821231"/>
                <a:gd name="connsiteY1" fmla="*/ 257442 h 257442"/>
                <a:gd name="connsiteX2" fmla="*/ 0 w 1821231"/>
                <a:gd name="connsiteY2" fmla="*/ 257442 h 257442"/>
                <a:gd name="connsiteX3" fmla="*/ 0 w 1821231"/>
                <a:gd name="connsiteY3" fmla="*/ 0 h 257442"/>
                <a:gd name="connsiteX0" fmla="*/ 1821231 w 1821231"/>
                <a:gd name="connsiteY0" fmla="*/ 0 h 257442"/>
                <a:gd name="connsiteX1" fmla="*/ 1766510 w 1821231"/>
                <a:gd name="connsiteY1" fmla="*/ 257442 h 257442"/>
                <a:gd name="connsiteX2" fmla="*/ 0 w 1821231"/>
                <a:gd name="connsiteY2" fmla="*/ 257442 h 257442"/>
                <a:gd name="connsiteX3" fmla="*/ 0 w 1821231"/>
                <a:gd name="connsiteY3" fmla="*/ 0 h 257442"/>
                <a:gd name="connsiteX0" fmla="*/ 1821231 w 1821231"/>
                <a:gd name="connsiteY0" fmla="*/ 0 h 257442"/>
                <a:gd name="connsiteX1" fmla="*/ 1766510 w 1821231"/>
                <a:gd name="connsiteY1" fmla="*/ 257442 h 257442"/>
                <a:gd name="connsiteX2" fmla="*/ 0 w 1821231"/>
                <a:gd name="connsiteY2" fmla="*/ 257442 h 257442"/>
                <a:gd name="connsiteX3" fmla="*/ 0 w 1821231"/>
                <a:gd name="connsiteY3" fmla="*/ 0 h 257442"/>
                <a:gd name="connsiteX0" fmla="*/ 1999165 w 1999165"/>
                <a:gd name="connsiteY0" fmla="*/ 0 h 257442"/>
                <a:gd name="connsiteX1" fmla="*/ 1766510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2167480 w 2167480"/>
                <a:gd name="connsiteY0" fmla="*/ 0 h 257442"/>
                <a:gd name="connsiteX1" fmla="*/ 1944444 w 2167480"/>
                <a:gd name="connsiteY1" fmla="*/ 257442 h 257442"/>
                <a:gd name="connsiteX2" fmla="*/ 0 w 2167480"/>
                <a:gd name="connsiteY2" fmla="*/ 257442 h 257442"/>
                <a:gd name="connsiteX3" fmla="*/ 0 w 2167480"/>
                <a:gd name="connsiteY3" fmla="*/ 0 h 257442"/>
                <a:gd name="connsiteX0" fmla="*/ 2167480 w 2167480"/>
                <a:gd name="connsiteY0" fmla="*/ 0 h 257442"/>
                <a:gd name="connsiteX1" fmla="*/ 2112758 w 2167480"/>
                <a:gd name="connsiteY1" fmla="*/ 257442 h 257442"/>
                <a:gd name="connsiteX2" fmla="*/ 0 w 2167480"/>
                <a:gd name="connsiteY2" fmla="*/ 257442 h 257442"/>
                <a:gd name="connsiteX3" fmla="*/ 0 w 2167480"/>
                <a:gd name="connsiteY3" fmla="*/ 0 h 257442"/>
                <a:gd name="connsiteX0" fmla="*/ 2167481 w 2167481"/>
                <a:gd name="connsiteY0" fmla="*/ 0 h 257442"/>
                <a:gd name="connsiteX1" fmla="*/ 2112759 w 2167481"/>
                <a:gd name="connsiteY1" fmla="*/ 257442 h 257442"/>
                <a:gd name="connsiteX2" fmla="*/ 0 w 2167481"/>
                <a:gd name="connsiteY2" fmla="*/ 257442 h 257442"/>
                <a:gd name="connsiteX3" fmla="*/ 1 w 2167481"/>
                <a:gd name="connsiteY3" fmla="*/ 0 h 257442"/>
                <a:gd name="connsiteX0" fmla="*/ 2167481 w 2167481"/>
                <a:gd name="connsiteY0" fmla="*/ 0 h 257442"/>
                <a:gd name="connsiteX1" fmla="*/ 2112759 w 2167481"/>
                <a:gd name="connsiteY1" fmla="*/ 257442 h 257442"/>
                <a:gd name="connsiteX2" fmla="*/ 0 w 2167481"/>
                <a:gd name="connsiteY2" fmla="*/ 257442 h 257442"/>
                <a:gd name="connsiteX3" fmla="*/ 1 w 2167481"/>
                <a:gd name="connsiteY3" fmla="*/ 0 h 257442"/>
                <a:gd name="connsiteX0" fmla="*/ 2327781 w 2327781"/>
                <a:gd name="connsiteY0" fmla="*/ 0 h 257442"/>
                <a:gd name="connsiteX1" fmla="*/ 2112759 w 2327781"/>
                <a:gd name="connsiteY1" fmla="*/ 257442 h 257442"/>
                <a:gd name="connsiteX2" fmla="*/ 0 w 2327781"/>
                <a:gd name="connsiteY2" fmla="*/ 257442 h 257442"/>
                <a:gd name="connsiteX3" fmla="*/ 1 w 2327781"/>
                <a:gd name="connsiteY3" fmla="*/ 0 h 257442"/>
                <a:gd name="connsiteX0" fmla="*/ 2327781 w 2327781"/>
                <a:gd name="connsiteY0" fmla="*/ 0 h 257442"/>
                <a:gd name="connsiteX1" fmla="*/ 2273060 w 2327781"/>
                <a:gd name="connsiteY1" fmla="*/ 257442 h 257442"/>
                <a:gd name="connsiteX2" fmla="*/ 0 w 2327781"/>
                <a:gd name="connsiteY2" fmla="*/ 257442 h 257442"/>
                <a:gd name="connsiteX3" fmla="*/ 1 w 2327781"/>
                <a:gd name="connsiteY3" fmla="*/ 0 h 257442"/>
                <a:gd name="connsiteX0" fmla="*/ 2327780 w 2327780"/>
                <a:gd name="connsiteY0" fmla="*/ 0 h 257442"/>
                <a:gd name="connsiteX1" fmla="*/ 2273059 w 2327780"/>
                <a:gd name="connsiteY1" fmla="*/ 257442 h 257442"/>
                <a:gd name="connsiteX2" fmla="*/ 0 w 2327780"/>
                <a:gd name="connsiteY2" fmla="*/ 257442 h 257442"/>
                <a:gd name="connsiteX3" fmla="*/ 0 w 2327780"/>
                <a:gd name="connsiteY3" fmla="*/ 0 h 257442"/>
                <a:gd name="connsiteX0" fmla="*/ 2327781 w 2327781"/>
                <a:gd name="connsiteY0" fmla="*/ 0 h 257442"/>
                <a:gd name="connsiteX1" fmla="*/ 2273060 w 2327781"/>
                <a:gd name="connsiteY1" fmla="*/ 257442 h 257442"/>
                <a:gd name="connsiteX2" fmla="*/ 1 w 2327781"/>
                <a:gd name="connsiteY2" fmla="*/ 257442 h 257442"/>
                <a:gd name="connsiteX3" fmla="*/ 0 w 2327781"/>
                <a:gd name="connsiteY3" fmla="*/ 0 h 257442"/>
                <a:gd name="connsiteX0" fmla="*/ 2167481 w 2273060"/>
                <a:gd name="connsiteY0" fmla="*/ 0 h 257442"/>
                <a:gd name="connsiteX1" fmla="*/ 2273060 w 2273060"/>
                <a:gd name="connsiteY1" fmla="*/ 257442 h 257442"/>
                <a:gd name="connsiteX2" fmla="*/ 1 w 2273060"/>
                <a:gd name="connsiteY2" fmla="*/ 257442 h 257442"/>
                <a:gd name="connsiteX3" fmla="*/ 0 w 2273060"/>
                <a:gd name="connsiteY3" fmla="*/ 0 h 257442"/>
                <a:gd name="connsiteX0" fmla="*/ 2167481 w 2167481"/>
                <a:gd name="connsiteY0" fmla="*/ 0 h 257442"/>
                <a:gd name="connsiteX1" fmla="*/ 2112760 w 2167481"/>
                <a:gd name="connsiteY1" fmla="*/ 257442 h 257442"/>
                <a:gd name="connsiteX2" fmla="*/ 1 w 2167481"/>
                <a:gd name="connsiteY2" fmla="*/ 257442 h 257442"/>
                <a:gd name="connsiteX3" fmla="*/ 0 w 2167481"/>
                <a:gd name="connsiteY3" fmla="*/ 0 h 257442"/>
                <a:gd name="connsiteX0" fmla="*/ 2167481 w 2167481"/>
                <a:gd name="connsiteY0" fmla="*/ 0 h 257442"/>
                <a:gd name="connsiteX1" fmla="*/ 2112760 w 2167481"/>
                <a:gd name="connsiteY1" fmla="*/ 257442 h 257442"/>
                <a:gd name="connsiteX2" fmla="*/ 2 w 2167481"/>
                <a:gd name="connsiteY2" fmla="*/ 257442 h 257442"/>
                <a:gd name="connsiteX3" fmla="*/ 0 w 2167481"/>
                <a:gd name="connsiteY3" fmla="*/ 0 h 257442"/>
                <a:gd name="connsiteX0" fmla="*/ 2167479 w 2167479"/>
                <a:gd name="connsiteY0" fmla="*/ 0 h 257442"/>
                <a:gd name="connsiteX1" fmla="*/ 2112758 w 2167479"/>
                <a:gd name="connsiteY1" fmla="*/ 257442 h 257442"/>
                <a:gd name="connsiteX2" fmla="*/ 0 w 2167479"/>
                <a:gd name="connsiteY2" fmla="*/ 257442 h 257442"/>
                <a:gd name="connsiteX3" fmla="*/ 0 w 2167479"/>
                <a:gd name="connsiteY3" fmla="*/ 0 h 257442"/>
                <a:gd name="connsiteX0" fmla="*/ 1999165 w 2112758"/>
                <a:gd name="connsiteY0" fmla="*/ 0 h 257442"/>
                <a:gd name="connsiteX1" fmla="*/ 2112758 w 2112758"/>
                <a:gd name="connsiteY1" fmla="*/ 257442 h 257442"/>
                <a:gd name="connsiteX2" fmla="*/ 0 w 2112758"/>
                <a:gd name="connsiteY2" fmla="*/ 257442 h 257442"/>
                <a:gd name="connsiteX3" fmla="*/ 0 w 2112758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1 w 1999165"/>
                <a:gd name="connsiteY2" fmla="*/ 257442 h 257442"/>
                <a:gd name="connsiteX3" fmla="*/ 0 w 1999165"/>
                <a:gd name="connsiteY3" fmla="*/ 0 h 257442"/>
                <a:gd name="connsiteX0" fmla="*/ 1999164 w 1999164"/>
                <a:gd name="connsiteY0" fmla="*/ 0 h 257442"/>
                <a:gd name="connsiteX1" fmla="*/ 1944443 w 1999164"/>
                <a:gd name="connsiteY1" fmla="*/ 257442 h 257442"/>
                <a:gd name="connsiteX2" fmla="*/ 0 w 1999164"/>
                <a:gd name="connsiteY2" fmla="*/ 257442 h 257442"/>
                <a:gd name="connsiteX3" fmla="*/ 0 w 1999164"/>
                <a:gd name="connsiteY3" fmla="*/ 0 h 257442"/>
                <a:gd name="connsiteX0" fmla="*/ 1821230 w 1944443"/>
                <a:gd name="connsiteY0" fmla="*/ 0 h 257442"/>
                <a:gd name="connsiteX1" fmla="*/ 1944443 w 1944443"/>
                <a:gd name="connsiteY1" fmla="*/ 257442 h 257442"/>
                <a:gd name="connsiteX2" fmla="*/ 0 w 1944443"/>
                <a:gd name="connsiteY2" fmla="*/ 257442 h 257442"/>
                <a:gd name="connsiteX3" fmla="*/ 0 w 1944443"/>
                <a:gd name="connsiteY3" fmla="*/ 0 h 257442"/>
                <a:gd name="connsiteX0" fmla="*/ 1821230 w 1821230"/>
                <a:gd name="connsiteY0" fmla="*/ 0 h 257442"/>
                <a:gd name="connsiteX1" fmla="*/ 1766510 w 1821230"/>
                <a:gd name="connsiteY1" fmla="*/ 257442 h 257442"/>
                <a:gd name="connsiteX2" fmla="*/ 0 w 1821230"/>
                <a:gd name="connsiteY2" fmla="*/ 257442 h 257442"/>
                <a:gd name="connsiteX3" fmla="*/ 0 w 1821230"/>
                <a:gd name="connsiteY3" fmla="*/ 0 h 257442"/>
                <a:gd name="connsiteX0" fmla="*/ 1821230 w 1821230"/>
                <a:gd name="connsiteY0" fmla="*/ 0 h 257442"/>
                <a:gd name="connsiteX1" fmla="*/ 1766510 w 1821230"/>
                <a:gd name="connsiteY1" fmla="*/ 257442 h 257442"/>
                <a:gd name="connsiteX2" fmla="*/ 0 w 1821230"/>
                <a:gd name="connsiteY2" fmla="*/ 257442 h 257442"/>
                <a:gd name="connsiteX3" fmla="*/ 0 w 1821230"/>
                <a:gd name="connsiteY3" fmla="*/ 0 h 257442"/>
                <a:gd name="connsiteX0" fmla="*/ 1821230 w 1821230"/>
                <a:gd name="connsiteY0" fmla="*/ 0 h 257442"/>
                <a:gd name="connsiteX1" fmla="*/ 1766510 w 1821230"/>
                <a:gd name="connsiteY1" fmla="*/ 257442 h 257442"/>
                <a:gd name="connsiteX2" fmla="*/ 0 w 1821230"/>
                <a:gd name="connsiteY2" fmla="*/ 257442 h 257442"/>
                <a:gd name="connsiteX3" fmla="*/ 0 w 1821230"/>
                <a:gd name="connsiteY3" fmla="*/ 0 h 257442"/>
                <a:gd name="connsiteX0" fmla="*/ 1652916 w 1766510"/>
                <a:gd name="connsiteY0" fmla="*/ 0 h 257442"/>
                <a:gd name="connsiteX1" fmla="*/ 1766510 w 1766510"/>
                <a:gd name="connsiteY1" fmla="*/ 257442 h 257442"/>
                <a:gd name="connsiteX2" fmla="*/ 0 w 1766510"/>
                <a:gd name="connsiteY2" fmla="*/ 257442 h 257442"/>
                <a:gd name="connsiteX3" fmla="*/ 0 w 1766510"/>
                <a:gd name="connsiteY3" fmla="*/ 0 h 257442"/>
                <a:gd name="connsiteX0" fmla="*/ 1652916 w 1652916"/>
                <a:gd name="connsiteY0" fmla="*/ 0 h 257442"/>
                <a:gd name="connsiteX1" fmla="*/ 1598195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652916 w 1652916"/>
                <a:gd name="connsiteY0" fmla="*/ 0 h 257442"/>
                <a:gd name="connsiteX1" fmla="*/ 1598195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652916 w 1652916"/>
                <a:gd name="connsiteY0" fmla="*/ 0 h 257442"/>
                <a:gd name="connsiteX1" fmla="*/ 1598195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830849 w 1830849"/>
                <a:gd name="connsiteY0" fmla="*/ 0 h 257442"/>
                <a:gd name="connsiteX1" fmla="*/ 1598195 w 1830849"/>
                <a:gd name="connsiteY1" fmla="*/ 257442 h 257442"/>
                <a:gd name="connsiteX2" fmla="*/ 0 w 1830849"/>
                <a:gd name="connsiteY2" fmla="*/ 257442 h 257442"/>
                <a:gd name="connsiteX3" fmla="*/ 0 w 1830849"/>
                <a:gd name="connsiteY3" fmla="*/ 0 h 257442"/>
                <a:gd name="connsiteX0" fmla="*/ 1830849 w 1830849"/>
                <a:gd name="connsiteY0" fmla="*/ 0 h 257442"/>
                <a:gd name="connsiteX1" fmla="*/ 1776128 w 1830849"/>
                <a:gd name="connsiteY1" fmla="*/ 257442 h 257442"/>
                <a:gd name="connsiteX2" fmla="*/ 0 w 1830849"/>
                <a:gd name="connsiteY2" fmla="*/ 257442 h 257442"/>
                <a:gd name="connsiteX3" fmla="*/ 0 w 1830849"/>
                <a:gd name="connsiteY3" fmla="*/ 0 h 257442"/>
                <a:gd name="connsiteX0" fmla="*/ 1830849 w 1830849"/>
                <a:gd name="connsiteY0" fmla="*/ 0 h 257442"/>
                <a:gd name="connsiteX1" fmla="*/ 1776128 w 1830849"/>
                <a:gd name="connsiteY1" fmla="*/ 257442 h 257442"/>
                <a:gd name="connsiteX2" fmla="*/ 0 w 1830849"/>
                <a:gd name="connsiteY2" fmla="*/ 257442 h 257442"/>
                <a:gd name="connsiteX3" fmla="*/ 0 w 1830849"/>
                <a:gd name="connsiteY3" fmla="*/ 0 h 257442"/>
                <a:gd name="connsiteX0" fmla="*/ 1830849 w 1830849"/>
                <a:gd name="connsiteY0" fmla="*/ 0 h 257442"/>
                <a:gd name="connsiteX1" fmla="*/ 1776128 w 1830849"/>
                <a:gd name="connsiteY1" fmla="*/ 257442 h 257442"/>
                <a:gd name="connsiteX2" fmla="*/ 0 w 1830849"/>
                <a:gd name="connsiteY2" fmla="*/ 257442 h 257442"/>
                <a:gd name="connsiteX3" fmla="*/ 0 w 1830849"/>
                <a:gd name="connsiteY3" fmla="*/ 0 h 257442"/>
                <a:gd name="connsiteX0" fmla="*/ 1999165 w 1999165"/>
                <a:gd name="connsiteY0" fmla="*/ 0 h 257442"/>
                <a:gd name="connsiteX1" fmla="*/ 1776128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2167480 w 2167480"/>
                <a:gd name="connsiteY0" fmla="*/ 0 h 257442"/>
                <a:gd name="connsiteX1" fmla="*/ 1944444 w 2167480"/>
                <a:gd name="connsiteY1" fmla="*/ 257442 h 257442"/>
                <a:gd name="connsiteX2" fmla="*/ 0 w 2167480"/>
                <a:gd name="connsiteY2" fmla="*/ 257442 h 257442"/>
                <a:gd name="connsiteX3" fmla="*/ 0 w 2167480"/>
                <a:gd name="connsiteY3" fmla="*/ 0 h 257442"/>
                <a:gd name="connsiteX0" fmla="*/ 2167480 w 2167480"/>
                <a:gd name="connsiteY0" fmla="*/ 0 h 257442"/>
                <a:gd name="connsiteX1" fmla="*/ 2112758 w 2167480"/>
                <a:gd name="connsiteY1" fmla="*/ 257442 h 257442"/>
                <a:gd name="connsiteX2" fmla="*/ 0 w 2167480"/>
                <a:gd name="connsiteY2" fmla="*/ 257442 h 257442"/>
                <a:gd name="connsiteX3" fmla="*/ 0 w 2167480"/>
                <a:gd name="connsiteY3" fmla="*/ 0 h 257442"/>
                <a:gd name="connsiteX0" fmla="*/ 2167481 w 2167481"/>
                <a:gd name="connsiteY0" fmla="*/ 0 h 257442"/>
                <a:gd name="connsiteX1" fmla="*/ 2112759 w 2167481"/>
                <a:gd name="connsiteY1" fmla="*/ 257442 h 257442"/>
                <a:gd name="connsiteX2" fmla="*/ 0 w 2167481"/>
                <a:gd name="connsiteY2" fmla="*/ 257442 h 257442"/>
                <a:gd name="connsiteX3" fmla="*/ 1 w 2167481"/>
                <a:gd name="connsiteY3" fmla="*/ 0 h 257442"/>
                <a:gd name="connsiteX0" fmla="*/ 2167481 w 2167481"/>
                <a:gd name="connsiteY0" fmla="*/ 0 h 257442"/>
                <a:gd name="connsiteX1" fmla="*/ 2112759 w 2167481"/>
                <a:gd name="connsiteY1" fmla="*/ 257442 h 257442"/>
                <a:gd name="connsiteX2" fmla="*/ 0 w 2167481"/>
                <a:gd name="connsiteY2" fmla="*/ 257442 h 257442"/>
                <a:gd name="connsiteX3" fmla="*/ 1 w 2167481"/>
                <a:gd name="connsiteY3" fmla="*/ 0 h 257442"/>
                <a:gd name="connsiteX0" fmla="*/ 2327781 w 2327781"/>
                <a:gd name="connsiteY0" fmla="*/ 0 h 257442"/>
                <a:gd name="connsiteX1" fmla="*/ 2112759 w 2327781"/>
                <a:gd name="connsiteY1" fmla="*/ 257442 h 257442"/>
                <a:gd name="connsiteX2" fmla="*/ 0 w 2327781"/>
                <a:gd name="connsiteY2" fmla="*/ 257442 h 257442"/>
                <a:gd name="connsiteX3" fmla="*/ 1 w 2327781"/>
                <a:gd name="connsiteY3" fmla="*/ 0 h 257442"/>
                <a:gd name="connsiteX0" fmla="*/ 2327781 w 2327781"/>
                <a:gd name="connsiteY0" fmla="*/ 0 h 257442"/>
                <a:gd name="connsiteX1" fmla="*/ 2273060 w 2327781"/>
                <a:gd name="connsiteY1" fmla="*/ 257442 h 257442"/>
                <a:gd name="connsiteX2" fmla="*/ 0 w 2327781"/>
                <a:gd name="connsiteY2" fmla="*/ 257442 h 257442"/>
                <a:gd name="connsiteX3" fmla="*/ 1 w 2327781"/>
                <a:gd name="connsiteY3" fmla="*/ 0 h 257442"/>
                <a:gd name="connsiteX0" fmla="*/ 2327780 w 2327780"/>
                <a:gd name="connsiteY0" fmla="*/ 0 h 257442"/>
                <a:gd name="connsiteX1" fmla="*/ 2273059 w 2327780"/>
                <a:gd name="connsiteY1" fmla="*/ 257442 h 257442"/>
                <a:gd name="connsiteX2" fmla="*/ 0 w 2327780"/>
                <a:gd name="connsiteY2" fmla="*/ 257442 h 257442"/>
                <a:gd name="connsiteX3" fmla="*/ 0 w 2327780"/>
                <a:gd name="connsiteY3" fmla="*/ 0 h 257442"/>
                <a:gd name="connsiteX0" fmla="*/ 2327781 w 2327781"/>
                <a:gd name="connsiteY0" fmla="*/ 0 h 257442"/>
                <a:gd name="connsiteX1" fmla="*/ 2273060 w 2327781"/>
                <a:gd name="connsiteY1" fmla="*/ 257442 h 257442"/>
                <a:gd name="connsiteX2" fmla="*/ 1 w 2327781"/>
                <a:gd name="connsiteY2" fmla="*/ 257442 h 257442"/>
                <a:gd name="connsiteX3" fmla="*/ 0 w 2327781"/>
                <a:gd name="connsiteY3" fmla="*/ 0 h 257442"/>
                <a:gd name="connsiteX0" fmla="*/ 960420 w 2273060"/>
                <a:gd name="connsiteY0" fmla="*/ 0 h 257442"/>
                <a:gd name="connsiteX1" fmla="*/ 2273060 w 2273060"/>
                <a:gd name="connsiteY1" fmla="*/ 257442 h 257442"/>
                <a:gd name="connsiteX2" fmla="*/ 1 w 2273060"/>
                <a:gd name="connsiteY2" fmla="*/ 257442 h 257442"/>
                <a:gd name="connsiteX3" fmla="*/ 0 w 2273060"/>
                <a:gd name="connsiteY3" fmla="*/ 0 h 257442"/>
                <a:gd name="connsiteX0" fmla="*/ 960420 w 960420"/>
                <a:gd name="connsiteY0" fmla="*/ 0 h 257442"/>
                <a:gd name="connsiteX1" fmla="*/ 905699 w 960420"/>
                <a:gd name="connsiteY1" fmla="*/ 257442 h 257442"/>
                <a:gd name="connsiteX2" fmla="*/ 1 w 960420"/>
                <a:gd name="connsiteY2" fmla="*/ 257442 h 257442"/>
                <a:gd name="connsiteX3" fmla="*/ 0 w 960420"/>
                <a:gd name="connsiteY3" fmla="*/ 0 h 257442"/>
                <a:gd name="connsiteX0" fmla="*/ 960420 w 960420"/>
                <a:gd name="connsiteY0" fmla="*/ 0 h 257442"/>
                <a:gd name="connsiteX1" fmla="*/ 905699 w 960420"/>
                <a:gd name="connsiteY1" fmla="*/ 257442 h 257442"/>
                <a:gd name="connsiteX2" fmla="*/ 1 w 960420"/>
                <a:gd name="connsiteY2" fmla="*/ 257442 h 257442"/>
                <a:gd name="connsiteX3" fmla="*/ 0 w 960420"/>
                <a:gd name="connsiteY3" fmla="*/ 0 h 257442"/>
                <a:gd name="connsiteX0" fmla="*/ 960419 w 960419"/>
                <a:gd name="connsiteY0" fmla="*/ 0 h 257442"/>
                <a:gd name="connsiteX1" fmla="*/ 905698 w 960419"/>
                <a:gd name="connsiteY1" fmla="*/ 257442 h 257442"/>
                <a:gd name="connsiteX2" fmla="*/ 0 w 960419"/>
                <a:gd name="connsiteY2" fmla="*/ 257442 h 257442"/>
                <a:gd name="connsiteX3" fmla="*/ 0 w 960419"/>
                <a:gd name="connsiteY3" fmla="*/ 0 h 257442"/>
                <a:gd name="connsiteX0" fmla="*/ 1128734 w 1128734"/>
                <a:gd name="connsiteY0" fmla="*/ 0 h 257442"/>
                <a:gd name="connsiteX1" fmla="*/ 905698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128734 w 1128734"/>
                <a:gd name="connsiteY0" fmla="*/ 0 h 257442"/>
                <a:gd name="connsiteX1" fmla="*/ 1074012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128735 w 1128735"/>
                <a:gd name="connsiteY0" fmla="*/ 0 h 257442"/>
                <a:gd name="connsiteX1" fmla="*/ 1074013 w 1128735"/>
                <a:gd name="connsiteY1" fmla="*/ 257442 h 257442"/>
                <a:gd name="connsiteX2" fmla="*/ 0 w 1128735"/>
                <a:gd name="connsiteY2" fmla="*/ 257442 h 257442"/>
                <a:gd name="connsiteX3" fmla="*/ 1 w 1128735"/>
                <a:gd name="connsiteY3" fmla="*/ 0 h 257442"/>
                <a:gd name="connsiteX0" fmla="*/ 1128735 w 1128735"/>
                <a:gd name="connsiteY0" fmla="*/ 0 h 257442"/>
                <a:gd name="connsiteX1" fmla="*/ 1074013 w 1128735"/>
                <a:gd name="connsiteY1" fmla="*/ 257442 h 257442"/>
                <a:gd name="connsiteX2" fmla="*/ 0 w 1128735"/>
                <a:gd name="connsiteY2" fmla="*/ 257442 h 257442"/>
                <a:gd name="connsiteX3" fmla="*/ 1 w 1128735"/>
                <a:gd name="connsiteY3" fmla="*/ 0 h 257442"/>
                <a:gd name="connsiteX0" fmla="*/ 1306669 w 1306669"/>
                <a:gd name="connsiteY0" fmla="*/ 0 h 257442"/>
                <a:gd name="connsiteX1" fmla="*/ 1074013 w 1306669"/>
                <a:gd name="connsiteY1" fmla="*/ 257442 h 257442"/>
                <a:gd name="connsiteX2" fmla="*/ 0 w 1306669"/>
                <a:gd name="connsiteY2" fmla="*/ 257442 h 257442"/>
                <a:gd name="connsiteX3" fmla="*/ 1 w 1306669"/>
                <a:gd name="connsiteY3" fmla="*/ 0 h 257442"/>
                <a:gd name="connsiteX0" fmla="*/ 1306669 w 1306669"/>
                <a:gd name="connsiteY0" fmla="*/ 0 h 257442"/>
                <a:gd name="connsiteX1" fmla="*/ 1251948 w 1306669"/>
                <a:gd name="connsiteY1" fmla="*/ 257442 h 257442"/>
                <a:gd name="connsiteX2" fmla="*/ 0 w 1306669"/>
                <a:gd name="connsiteY2" fmla="*/ 257442 h 257442"/>
                <a:gd name="connsiteX3" fmla="*/ 1 w 1306669"/>
                <a:gd name="connsiteY3" fmla="*/ 0 h 257442"/>
                <a:gd name="connsiteX0" fmla="*/ 1306668 w 1306668"/>
                <a:gd name="connsiteY0" fmla="*/ 0 h 257442"/>
                <a:gd name="connsiteX1" fmla="*/ 1251947 w 1306668"/>
                <a:gd name="connsiteY1" fmla="*/ 257442 h 257442"/>
                <a:gd name="connsiteX2" fmla="*/ 0 w 1306668"/>
                <a:gd name="connsiteY2" fmla="*/ 257442 h 257442"/>
                <a:gd name="connsiteX3" fmla="*/ 0 w 1306668"/>
                <a:gd name="connsiteY3" fmla="*/ 0 h 257442"/>
                <a:gd name="connsiteX0" fmla="*/ 1306669 w 1306669"/>
                <a:gd name="connsiteY0" fmla="*/ 0 h 257442"/>
                <a:gd name="connsiteX1" fmla="*/ 1251948 w 1306669"/>
                <a:gd name="connsiteY1" fmla="*/ 257442 h 257442"/>
                <a:gd name="connsiteX2" fmla="*/ 1 w 1306669"/>
                <a:gd name="connsiteY2" fmla="*/ 257442 h 257442"/>
                <a:gd name="connsiteX3" fmla="*/ 0 w 1306669"/>
                <a:gd name="connsiteY3" fmla="*/ 0 h 257442"/>
                <a:gd name="connsiteX0" fmla="*/ 1407657 w 1407657"/>
                <a:gd name="connsiteY0" fmla="*/ 0 h 257442"/>
                <a:gd name="connsiteX1" fmla="*/ 1251948 w 1407657"/>
                <a:gd name="connsiteY1" fmla="*/ 257442 h 257442"/>
                <a:gd name="connsiteX2" fmla="*/ 1 w 1407657"/>
                <a:gd name="connsiteY2" fmla="*/ 257442 h 257442"/>
                <a:gd name="connsiteX3" fmla="*/ 0 w 1407657"/>
                <a:gd name="connsiteY3" fmla="*/ 0 h 257442"/>
                <a:gd name="connsiteX0" fmla="*/ 1407657 w 1407657"/>
                <a:gd name="connsiteY0" fmla="*/ 0 h 257442"/>
                <a:gd name="connsiteX1" fmla="*/ 1352936 w 1407657"/>
                <a:gd name="connsiteY1" fmla="*/ 257442 h 257442"/>
                <a:gd name="connsiteX2" fmla="*/ 1 w 1407657"/>
                <a:gd name="connsiteY2" fmla="*/ 257442 h 257442"/>
                <a:gd name="connsiteX3" fmla="*/ 0 w 1407657"/>
                <a:gd name="connsiteY3" fmla="*/ 0 h 257442"/>
                <a:gd name="connsiteX0" fmla="*/ 1407657 w 1407657"/>
                <a:gd name="connsiteY0" fmla="*/ 0 h 257442"/>
                <a:gd name="connsiteX1" fmla="*/ 1352936 w 1407657"/>
                <a:gd name="connsiteY1" fmla="*/ 257442 h 257442"/>
                <a:gd name="connsiteX2" fmla="*/ 1 w 1407657"/>
                <a:gd name="connsiteY2" fmla="*/ 257442 h 257442"/>
                <a:gd name="connsiteX3" fmla="*/ 0 w 1407657"/>
                <a:gd name="connsiteY3" fmla="*/ 0 h 257442"/>
                <a:gd name="connsiteX0" fmla="*/ 1407656 w 1407656"/>
                <a:gd name="connsiteY0" fmla="*/ 0 h 257442"/>
                <a:gd name="connsiteX1" fmla="*/ 1352935 w 1407656"/>
                <a:gd name="connsiteY1" fmla="*/ 257442 h 257442"/>
                <a:gd name="connsiteX2" fmla="*/ 0 w 1407656"/>
                <a:gd name="connsiteY2" fmla="*/ 257442 h 257442"/>
                <a:gd name="connsiteX3" fmla="*/ 0 w 1407656"/>
                <a:gd name="connsiteY3" fmla="*/ 0 h 257442"/>
                <a:gd name="connsiteX0" fmla="*/ 1585589 w 1585589"/>
                <a:gd name="connsiteY0" fmla="*/ 0 h 257442"/>
                <a:gd name="connsiteX1" fmla="*/ 1352935 w 1585589"/>
                <a:gd name="connsiteY1" fmla="*/ 257442 h 257442"/>
                <a:gd name="connsiteX2" fmla="*/ 0 w 1585589"/>
                <a:gd name="connsiteY2" fmla="*/ 257442 h 257442"/>
                <a:gd name="connsiteX3" fmla="*/ 0 w 1585589"/>
                <a:gd name="connsiteY3" fmla="*/ 0 h 257442"/>
                <a:gd name="connsiteX0" fmla="*/ 1585589 w 1585589"/>
                <a:gd name="connsiteY0" fmla="*/ 0 h 257442"/>
                <a:gd name="connsiteX1" fmla="*/ 1530868 w 1585589"/>
                <a:gd name="connsiteY1" fmla="*/ 257442 h 257442"/>
                <a:gd name="connsiteX2" fmla="*/ 0 w 1585589"/>
                <a:gd name="connsiteY2" fmla="*/ 257442 h 257442"/>
                <a:gd name="connsiteX3" fmla="*/ 0 w 1585589"/>
                <a:gd name="connsiteY3" fmla="*/ 0 h 257442"/>
                <a:gd name="connsiteX0" fmla="*/ 1585590 w 1585590"/>
                <a:gd name="connsiteY0" fmla="*/ 0 h 257442"/>
                <a:gd name="connsiteX1" fmla="*/ 1530869 w 1585590"/>
                <a:gd name="connsiteY1" fmla="*/ 257442 h 257442"/>
                <a:gd name="connsiteX2" fmla="*/ 0 w 1585590"/>
                <a:gd name="connsiteY2" fmla="*/ 257442 h 257442"/>
                <a:gd name="connsiteX3" fmla="*/ 1 w 1585590"/>
                <a:gd name="connsiteY3" fmla="*/ 0 h 257442"/>
                <a:gd name="connsiteX0" fmla="*/ 1585590 w 1585590"/>
                <a:gd name="connsiteY0" fmla="*/ 0 h 257442"/>
                <a:gd name="connsiteX1" fmla="*/ 1530869 w 1585590"/>
                <a:gd name="connsiteY1" fmla="*/ 257442 h 257442"/>
                <a:gd name="connsiteX2" fmla="*/ 0 w 1585590"/>
                <a:gd name="connsiteY2" fmla="*/ 257442 h 257442"/>
                <a:gd name="connsiteX3" fmla="*/ 0 w 1585590"/>
                <a:gd name="connsiteY3" fmla="*/ 0 h 257442"/>
                <a:gd name="connsiteX0" fmla="*/ 1745891 w 1745891"/>
                <a:gd name="connsiteY0" fmla="*/ 0 h 257442"/>
                <a:gd name="connsiteX1" fmla="*/ 1530869 w 1745891"/>
                <a:gd name="connsiteY1" fmla="*/ 257442 h 257442"/>
                <a:gd name="connsiteX2" fmla="*/ 0 w 1745891"/>
                <a:gd name="connsiteY2" fmla="*/ 257442 h 257442"/>
                <a:gd name="connsiteX3" fmla="*/ 0 w 1745891"/>
                <a:gd name="connsiteY3" fmla="*/ 0 h 257442"/>
                <a:gd name="connsiteX0" fmla="*/ 1745891 w 1745891"/>
                <a:gd name="connsiteY0" fmla="*/ 0 h 257442"/>
                <a:gd name="connsiteX1" fmla="*/ 1691170 w 1745891"/>
                <a:gd name="connsiteY1" fmla="*/ 257442 h 257442"/>
                <a:gd name="connsiteX2" fmla="*/ 0 w 1745891"/>
                <a:gd name="connsiteY2" fmla="*/ 257442 h 257442"/>
                <a:gd name="connsiteX3" fmla="*/ 0 w 1745891"/>
                <a:gd name="connsiteY3" fmla="*/ 0 h 257442"/>
                <a:gd name="connsiteX0" fmla="*/ 1745891 w 1745891"/>
                <a:gd name="connsiteY0" fmla="*/ 0 h 257442"/>
                <a:gd name="connsiteX1" fmla="*/ 1691170 w 1745891"/>
                <a:gd name="connsiteY1" fmla="*/ 257442 h 257442"/>
                <a:gd name="connsiteX2" fmla="*/ 0 w 1745891"/>
                <a:gd name="connsiteY2" fmla="*/ 257442 h 257442"/>
                <a:gd name="connsiteX3" fmla="*/ 0 w 1745891"/>
                <a:gd name="connsiteY3" fmla="*/ 0 h 257442"/>
                <a:gd name="connsiteX0" fmla="*/ 1745891 w 1745891"/>
                <a:gd name="connsiteY0" fmla="*/ 0 h 257442"/>
                <a:gd name="connsiteX1" fmla="*/ 1691170 w 1745891"/>
                <a:gd name="connsiteY1" fmla="*/ 257442 h 257442"/>
                <a:gd name="connsiteX2" fmla="*/ 0 w 1745891"/>
                <a:gd name="connsiteY2" fmla="*/ 257442 h 257442"/>
                <a:gd name="connsiteX3" fmla="*/ 0 w 1745891"/>
                <a:gd name="connsiteY3" fmla="*/ 0 h 257442"/>
                <a:gd name="connsiteX0" fmla="*/ 1906191 w 1906191"/>
                <a:gd name="connsiteY0" fmla="*/ 0 h 257442"/>
                <a:gd name="connsiteX1" fmla="*/ 1691170 w 1906191"/>
                <a:gd name="connsiteY1" fmla="*/ 257442 h 257442"/>
                <a:gd name="connsiteX2" fmla="*/ 0 w 1906191"/>
                <a:gd name="connsiteY2" fmla="*/ 257442 h 257442"/>
                <a:gd name="connsiteX3" fmla="*/ 0 w 1906191"/>
                <a:gd name="connsiteY3" fmla="*/ 0 h 257442"/>
                <a:gd name="connsiteX0" fmla="*/ 1906191 w 1906191"/>
                <a:gd name="connsiteY0" fmla="*/ 0 h 257442"/>
                <a:gd name="connsiteX1" fmla="*/ 1851470 w 1906191"/>
                <a:gd name="connsiteY1" fmla="*/ 257442 h 257442"/>
                <a:gd name="connsiteX2" fmla="*/ 0 w 1906191"/>
                <a:gd name="connsiteY2" fmla="*/ 257442 h 257442"/>
                <a:gd name="connsiteX3" fmla="*/ 0 w 1906191"/>
                <a:gd name="connsiteY3" fmla="*/ 0 h 257442"/>
                <a:gd name="connsiteX0" fmla="*/ 1906191 w 1906191"/>
                <a:gd name="connsiteY0" fmla="*/ 0 h 257442"/>
                <a:gd name="connsiteX1" fmla="*/ 1851470 w 1906191"/>
                <a:gd name="connsiteY1" fmla="*/ 257442 h 257442"/>
                <a:gd name="connsiteX2" fmla="*/ 0 w 1906191"/>
                <a:gd name="connsiteY2" fmla="*/ 257442 h 257442"/>
                <a:gd name="connsiteX3" fmla="*/ 0 w 1906191"/>
                <a:gd name="connsiteY3" fmla="*/ 0 h 257442"/>
                <a:gd name="connsiteX0" fmla="*/ 1906191 w 1906191"/>
                <a:gd name="connsiteY0" fmla="*/ 0 h 257442"/>
                <a:gd name="connsiteX1" fmla="*/ 1851470 w 1906191"/>
                <a:gd name="connsiteY1" fmla="*/ 257442 h 257442"/>
                <a:gd name="connsiteX2" fmla="*/ 0 w 1906191"/>
                <a:gd name="connsiteY2" fmla="*/ 257442 h 257442"/>
                <a:gd name="connsiteX3" fmla="*/ 0 w 1906191"/>
                <a:gd name="connsiteY3" fmla="*/ 0 h 257442"/>
                <a:gd name="connsiteX0" fmla="*/ 2074506 w 2074506"/>
                <a:gd name="connsiteY0" fmla="*/ 0 h 257442"/>
                <a:gd name="connsiteX1" fmla="*/ 1851470 w 2074506"/>
                <a:gd name="connsiteY1" fmla="*/ 257442 h 257442"/>
                <a:gd name="connsiteX2" fmla="*/ 0 w 2074506"/>
                <a:gd name="connsiteY2" fmla="*/ 257442 h 257442"/>
                <a:gd name="connsiteX3" fmla="*/ 0 w 2074506"/>
                <a:gd name="connsiteY3" fmla="*/ 0 h 257442"/>
                <a:gd name="connsiteX0" fmla="*/ 2074506 w 2074506"/>
                <a:gd name="connsiteY0" fmla="*/ 0 h 257442"/>
                <a:gd name="connsiteX1" fmla="*/ 2019784 w 2074506"/>
                <a:gd name="connsiteY1" fmla="*/ 257442 h 257442"/>
                <a:gd name="connsiteX2" fmla="*/ 0 w 2074506"/>
                <a:gd name="connsiteY2" fmla="*/ 257442 h 257442"/>
                <a:gd name="connsiteX3" fmla="*/ 0 w 2074506"/>
                <a:gd name="connsiteY3" fmla="*/ 0 h 257442"/>
                <a:gd name="connsiteX0" fmla="*/ 2074507 w 2074507"/>
                <a:gd name="connsiteY0" fmla="*/ 0 h 257442"/>
                <a:gd name="connsiteX1" fmla="*/ 2019785 w 2074507"/>
                <a:gd name="connsiteY1" fmla="*/ 257442 h 257442"/>
                <a:gd name="connsiteX2" fmla="*/ 0 w 2074507"/>
                <a:gd name="connsiteY2" fmla="*/ 257442 h 257442"/>
                <a:gd name="connsiteX3" fmla="*/ 1 w 2074507"/>
                <a:gd name="connsiteY3" fmla="*/ 0 h 257442"/>
                <a:gd name="connsiteX0" fmla="*/ 2074507 w 2074507"/>
                <a:gd name="connsiteY0" fmla="*/ 0 h 257442"/>
                <a:gd name="connsiteX1" fmla="*/ 2019785 w 2074507"/>
                <a:gd name="connsiteY1" fmla="*/ 257442 h 257442"/>
                <a:gd name="connsiteX2" fmla="*/ 0 w 2074507"/>
                <a:gd name="connsiteY2" fmla="*/ 257442 h 257442"/>
                <a:gd name="connsiteX3" fmla="*/ 1 w 2074507"/>
                <a:gd name="connsiteY3" fmla="*/ 0 h 257442"/>
                <a:gd name="connsiteX0" fmla="*/ 2232050 w 2232050"/>
                <a:gd name="connsiteY0" fmla="*/ 0 h 257442"/>
                <a:gd name="connsiteX1" fmla="*/ 2019785 w 2232050"/>
                <a:gd name="connsiteY1" fmla="*/ 257442 h 257442"/>
                <a:gd name="connsiteX2" fmla="*/ 0 w 2232050"/>
                <a:gd name="connsiteY2" fmla="*/ 257442 h 257442"/>
                <a:gd name="connsiteX3" fmla="*/ 1 w 2232050"/>
                <a:gd name="connsiteY3" fmla="*/ 0 h 257442"/>
                <a:gd name="connsiteX0" fmla="*/ 2232050 w 2232050"/>
                <a:gd name="connsiteY0" fmla="*/ 0 h 257442"/>
                <a:gd name="connsiteX1" fmla="*/ 2177328 w 2232050"/>
                <a:gd name="connsiteY1" fmla="*/ 257442 h 257442"/>
                <a:gd name="connsiteX2" fmla="*/ 0 w 2232050"/>
                <a:gd name="connsiteY2" fmla="*/ 257442 h 257442"/>
                <a:gd name="connsiteX3" fmla="*/ 1 w 2232050"/>
                <a:gd name="connsiteY3" fmla="*/ 0 h 257442"/>
                <a:gd name="connsiteX0" fmla="*/ 2232050 w 2232050"/>
                <a:gd name="connsiteY0" fmla="*/ 0 h 257442"/>
                <a:gd name="connsiteX1" fmla="*/ 2177328 w 2232050"/>
                <a:gd name="connsiteY1" fmla="*/ 257442 h 257442"/>
                <a:gd name="connsiteX2" fmla="*/ 0 w 2232050"/>
                <a:gd name="connsiteY2" fmla="*/ 257442 h 257442"/>
                <a:gd name="connsiteX3" fmla="*/ 1 w 2232050"/>
                <a:gd name="connsiteY3" fmla="*/ 0 h 257442"/>
                <a:gd name="connsiteX0" fmla="*/ 2232050 w 2232050"/>
                <a:gd name="connsiteY0" fmla="*/ 0 h 257442"/>
                <a:gd name="connsiteX1" fmla="*/ 2177328 w 2232050"/>
                <a:gd name="connsiteY1" fmla="*/ 257442 h 257442"/>
                <a:gd name="connsiteX2" fmla="*/ 0 w 2232050"/>
                <a:gd name="connsiteY2" fmla="*/ 257442 h 257442"/>
                <a:gd name="connsiteX3" fmla="*/ 0 w 2232050"/>
                <a:gd name="connsiteY3" fmla="*/ 0 h 257442"/>
                <a:gd name="connsiteX0" fmla="*/ 2333038 w 2333038"/>
                <a:gd name="connsiteY0" fmla="*/ 0 h 257442"/>
                <a:gd name="connsiteX1" fmla="*/ 2177328 w 2333038"/>
                <a:gd name="connsiteY1" fmla="*/ 257442 h 257442"/>
                <a:gd name="connsiteX2" fmla="*/ 0 w 2333038"/>
                <a:gd name="connsiteY2" fmla="*/ 257442 h 257442"/>
                <a:gd name="connsiteX3" fmla="*/ 0 w 2333038"/>
                <a:gd name="connsiteY3" fmla="*/ 0 h 257442"/>
                <a:gd name="connsiteX0" fmla="*/ 2333038 w 2333038"/>
                <a:gd name="connsiteY0" fmla="*/ 0 h 257442"/>
                <a:gd name="connsiteX1" fmla="*/ 2278317 w 2333038"/>
                <a:gd name="connsiteY1" fmla="*/ 257442 h 257442"/>
                <a:gd name="connsiteX2" fmla="*/ 0 w 2333038"/>
                <a:gd name="connsiteY2" fmla="*/ 257442 h 257442"/>
                <a:gd name="connsiteX3" fmla="*/ 0 w 2333038"/>
                <a:gd name="connsiteY3" fmla="*/ 0 h 257442"/>
                <a:gd name="connsiteX0" fmla="*/ 2333038 w 2333038"/>
                <a:gd name="connsiteY0" fmla="*/ 0 h 257442"/>
                <a:gd name="connsiteX1" fmla="*/ 2278317 w 2333038"/>
                <a:gd name="connsiteY1" fmla="*/ 257442 h 257442"/>
                <a:gd name="connsiteX2" fmla="*/ 0 w 2333038"/>
                <a:gd name="connsiteY2" fmla="*/ 257442 h 257442"/>
                <a:gd name="connsiteX3" fmla="*/ 0 w 2333038"/>
                <a:gd name="connsiteY3" fmla="*/ 0 h 257442"/>
                <a:gd name="connsiteX0" fmla="*/ 2333038 w 2333038"/>
                <a:gd name="connsiteY0" fmla="*/ 0 h 257442"/>
                <a:gd name="connsiteX1" fmla="*/ 2278317 w 2333038"/>
                <a:gd name="connsiteY1" fmla="*/ 257442 h 257442"/>
                <a:gd name="connsiteX2" fmla="*/ 0 w 2333038"/>
                <a:gd name="connsiteY2" fmla="*/ 257442 h 257442"/>
                <a:gd name="connsiteX3" fmla="*/ 0 w 2333038"/>
                <a:gd name="connsiteY3" fmla="*/ 0 h 257442"/>
                <a:gd name="connsiteX0" fmla="*/ 2493338 w 2493338"/>
                <a:gd name="connsiteY0" fmla="*/ 0 h 257442"/>
                <a:gd name="connsiteX1" fmla="*/ 2278317 w 2493338"/>
                <a:gd name="connsiteY1" fmla="*/ 257442 h 257442"/>
                <a:gd name="connsiteX2" fmla="*/ 0 w 2493338"/>
                <a:gd name="connsiteY2" fmla="*/ 257442 h 257442"/>
                <a:gd name="connsiteX3" fmla="*/ 0 w 2493338"/>
                <a:gd name="connsiteY3" fmla="*/ 0 h 257442"/>
                <a:gd name="connsiteX0" fmla="*/ 2493338 w 2493338"/>
                <a:gd name="connsiteY0" fmla="*/ 0 h 257442"/>
                <a:gd name="connsiteX1" fmla="*/ 2438617 w 2493338"/>
                <a:gd name="connsiteY1" fmla="*/ 257442 h 257442"/>
                <a:gd name="connsiteX2" fmla="*/ 0 w 2493338"/>
                <a:gd name="connsiteY2" fmla="*/ 257442 h 257442"/>
                <a:gd name="connsiteX3" fmla="*/ 0 w 2493338"/>
                <a:gd name="connsiteY3" fmla="*/ 0 h 257442"/>
                <a:gd name="connsiteX0" fmla="*/ 2493338 w 2493338"/>
                <a:gd name="connsiteY0" fmla="*/ 0 h 257442"/>
                <a:gd name="connsiteX1" fmla="*/ 2438617 w 2493338"/>
                <a:gd name="connsiteY1" fmla="*/ 257442 h 257442"/>
                <a:gd name="connsiteX2" fmla="*/ 0 w 2493338"/>
                <a:gd name="connsiteY2" fmla="*/ 257442 h 257442"/>
                <a:gd name="connsiteX3" fmla="*/ 0 w 2493338"/>
                <a:gd name="connsiteY3" fmla="*/ 0 h 257442"/>
                <a:gd name="connsiteX0" fmla="*/ 2493338 w 2493338"/>
                <a:gd name="connsiteY0" fmla="*/ 0 h 257442"/>
                <a:gd name="connsiteX1" fmla="*/ 2438617 w 2493338"/>
                <a:gd name="connsiteY1" fmla="*/ 257442 h 257442"/>
                <a:gd name="connsiteX2" fmla="*/ 0 w 2493338"/>
                <a:gd name="connsiteY2" fmla="*/ 257442 h 257442"/>
                <a:gd name="connsiteX3" fmla="*/ 0 w 2493338"/>
                <a:gd name="connsiteY3" fmla="*/ 0 h 257442"/>
                <a:gd name="connsiteX0" fmla="*/ 2696920 w 2696920"/>
                <a:gd name="connsiteY0" fmla="*/ 0 h 257442"/>
                <a:gd name="connsiteX1" fmla="*/ 2438617 w 2696920"/>
                <a:gd name="connsiteY1" fmla="*/ 257442 h 257442"/>
                <a:gd name="connsiteX2" fmla="*/ 0 w 2696920"/>
                <a:gd name="connsiteY2" fmla="*/ 257442 h 257442"/>
                <a:gd name="connsiteX3" fmla="*/ 0 w 2696920"/>
                <a:gd name="connsiteY3" fmla="*/ 0 h 257442"/>
                <a:gd name="connsiteX0" fmla="*/ 2696920 w 2696920"/>
                <a:gd name="connsiteY0" fmla="*/ 0 h 257442"/>
                <a:gd name="connsiteX1" fmla="*/ 2642199 w 2696920"/>
                <a:gd name="connsiteY1" fmla="*/ 257442 h 257442"/>
                <a:gd name="connsiteX2" fmla="*/ 0 w 2696920"/>
                <a:gd name="connsiteY2" fmla="*/ 257442 h 257442"/>
                <a:gd name="connsiteX3" fmla="*/ 0 w 2696920"/>
                <a:gd name="connsiteY3" fmla="*/ 0 h 257442"/>
                <a:gd name="connsiteX0" fmla="*/ 2696920 w 2696920"/>
                <a:gd name="connsiteY0" fmla="*/ 0 h 257442"/>
                <a:gd name="connsiteX1" fmla="*/ 2642199 w 2696920"/>
                <a:gd name="connsiteY1" fmla="*/ 257442 h 257442"/>
                <a:gd name="connsiteX2" fmla="*/ 0 w 2696920"/>
                <a:gd name="connsiteY2" fmla="*/ 257442 h 257442"/>
                <a:gd name="connsiteX3" fmla="*/ 0 w 2696920"/>
                <a:gd name="connsiteY3" fmla="*/ 0 h 257442"/>
                <a:gd name="connsiteX0" fmla="*/ 2696920 w 2696920"/>
                <a:gd name="connsiteY0" fmla="*/ 0 h 257442"/>
                <a:gd name="connsiteX1" fmla="*/ 2642199 w 2696920"/>
                <a:gd name="connsiteY1" fmla="*/ 257442 h 257442"/>
                <a:gd name="connsiteX2" fmla="*/ 0 w 2696920"/>
                <a:gd name="connsiteY2" fmla="*/ 257442 h 257442"/>
                <a:gd name="connsiteX3" fmla="*/ 0 w 2696920"/>
                <a:gd name="connsiteY3" fmla="*/ 0 h 257442"/>
                <a:gd name="connsiteX0" fmla="*/ 986067 w 2642199"/>
                <a:gd name="connsiteY0" fmla="*/ 0 h 257442"/>
                <a:gd name="connsiteX1" fmla="*/ 2642199 w 2642199"/>
                <a:gd name="connsiteY1" fmla="*/ 257442 h 257442"/>
                <a:gd name="connsiteX2" fmla="*/ 0 w 2642199"/>
                <a:gd name="connsiteY2" fmla="*/ 257442 h 257442"/>
                <a:gd name="connsiteX3" fmla="*/ 0 w 2642199"/>
                <a:gd name="connsiteY3" fmla="*/ 0 h 257442"/>
                <a:gd name="connsiteX0" fmla="*/ 986067 w 986067"/>
                <a:gd name="connsiteY0" fmla="*/ 0 h 257442"/>
                <a:gd name="connsiteX1" fmla="*/ 931347 w 986067"/>
                <a:gd name="connsiteY1" fmla="*/ 257442 h 257442"/>
                <a:gd name="connsiteX2" fmla="*/ 0 w 986067"/>
                <a:gd name="connsiteY2" fmla="*/ 257442 h 257442"/>
                <a:gd name="connsiteX3" fmla="*/ 0 w 986067"/>
                <a:gd name="connsiteY3" fmla="*/ 0 h 257442"/>
                <a:gd name="connsiteX0" fmla="*/ 986067 w 986067"/>
                <a:gd name="connsiteY0" fmla="*/ 0 h 257442"/>
                <a:gd name="connsiteX1" fmla="*/ 931347 w 986067"/>
                <a:gd name="connsiteY1" fmla="*/ 257442 h 257442"/>
                <a:gd name="connsiteX2" fmla="*/ 1 w 986067"/>
                <a:gd name="connsiteY2" fmla="*/ 257442 h 257442"/>
                <a:gd name="connsiteX3" fmla="*/ 0 w 986067"/>
                <a:gd name="connsiteY3" fmla="*/ 0 h 257442"/>
                <a:gd name="connsiteX0" fmla="*/ 986066 w 986066"/>
                <a:gd name="connsiteY0" fmla="*/ 0 h 257442"/>
                <a:gd name="connsiteX1" fmla="*/ 931346 w 986066"/>
                <a:gd name="connsiteY1" fmla="*/ 257442 h 257442"/>
                <a:gd name="connsiteX2" fmla="*/ 0 w 986066"/>
                <a:gd name="connsiteY2" fmla="*/ 257442 h 257442"/>
                <a:gd name="connsiteX3" fmla="*/ 0 w 986066"/>
                <a:gd name="connsiteY3" fmla="*/ 0 h 257442"/>
                <a:gd name="connsiteX0" fmla="*/ 1163999 w 1163999"/>
                <a:gd name="connsiteY0" fmla="*/ 0 h 257442"/>
                <a:gd name="connsiteX1" fmla="*/ 931346 w 1163999"/>
                <a:gd name="connsiteY1" fmla="*/ 257442 h 257442"/>
                <a:gd name="connsiteX2" fmla="*/ 0 w 1163999"/>
                <a:gd name="connsiteY2" fmla="*/ 257442 h 257442"/>
                <a:gd name="connsiteX3" fmla="*/ 0 w 1163999"/>
                <a:gd name="connsiteY3" fmla="*/ 0 h 257442"/>
                <a:gd name="connsiteX0" fmla="*/ 1163999 w 1163999"/>
                <a:gd name="connsiteY0" fmla="*/ 0 h 257442"/>
                <a:gd name="connsiteX1" fmla="*/ 1109278 w 1163999"/>
                <a:gd name="connsiteY1" fmla="*/ 257442 h 257442"/>
                <a:gd name="connsiteX2" fmla="*/ 0 w 1163999"/>
                <a:gd name="connsiteY2" fmla="*/ 257442 h 257442"/>
                <a:gd name="connsiteX3" fmla="*/ 0 w 1163999"/>
                <a:gd name="connsiteY3" fmla="*/ 0 h 257442"/>
                <a:gd name="connsiteX0" fmla="*/ 1164000 w 1164000"/>
                <a:gd name="connsiteY0" fmla="*/ 0 h 257442"/>
                <a:gd name="connsiteX1" fmla="*/ 1109279 w 1164000"/>
                <a:gd name="connsiteY1" fmla="*/ 257442 h 257442"/>
                <a:gd name="connsiteX2" fmla="*/ 0 w 1164000"/>
                <a:gd name="connsiteY2" fmla="*/ 257442 h 257442"/>
                <a:gd name="connsiteX3" fmla="*/ 1 w 1164000"/>
                <a:gd name="connsiteY3" fmla="*/ 0 h 257442"/>
                <a:gd name="connsiteX0" fmla="*/ 1164000 w 1164000"/>
                <a:gd name="connsiteY0" fmla="*/ 0 h 257442"/>
                <a:gd name="connsiteX1" fmla="*/ 1109279 w 1164000"/>
                <a:gd name="connsiteY1" fmla="*/ 257442 h 257442"/>
                <a:gd name="connsiteX2" fmla="*/ 0 w 1164000"/>
                <a:gd name="connsiteY2" fmla="*/ 257442 h 257442"/>
                <a:gd name="connsiteX3" fmla="*/ 0 w 1164000"/>
                <a:gd name="connsiteY3" fmla="*/ 0 h 257442"/>
                <a:gd name="connsiteX0" fmla="*/ 1332316 w 1332316"/>
                <a:gd name="connsiteY0" fmla="*/ 0 h 257442"/>
                <a:gd name="connsiteX1" fmla="*/ 1109279 w 1332316"/>
                <a:gd name="connsiteY1" fmla="*/ 257442 h 257442"/>
                <a:gd name="connsiteX2" fmla="*/ 0 w 1332316"/>
                <a:gd name="connsiteY2" fmla="*/ 257442 h 257442"/>
                <a:gd name="connsiteX3" fmla="*/ 0 w 1332316"/>
                <a:gd name="connsiteY3" fmla="*/ 0 h 257442"/>
                <a:gd name="connsiteX0" fmla="*/ 1332316 w 1332316"/>
                <a:gd name="connsiteY0" fmla="*/ 0 h 257442"/>
                <a:gd name="connsiteX1" fmla="*/ 1277595 w 1332316"/>
                <a:gd name="connsiteY1" fmla="*/ 257442 h 257442"/>
                <a:gd name="connsiteX2" fmla="*/ 0 w 1332316"/>
                <a:gd name="connsiteY2" fmla="*/ 257442 h 257442"/>
                <a:gd name="connsiteX3" fmla="*/ 0 w 1332316"/>
                <a:gd name="connsiteY3" fmla="*/ 0 h 257442"/>
                <a:gd name="connsiteX0" fmla="*/ 1332316 w 1332316"/>
                <a:gd name="connsiteY0" fmla="*/ 0 h 257442"/>
                <a:gd name="connsiteX1" fmla="*/ 1277595 w 1332316"/>
                <a:gd name="connsiteY1" fmla="*/ 257442 h 257442"/>
                <a:gd name="connsiteX2" fmla="*/ 0 w 1332316"/>
                <a:gd name="connsiteY2" fmla="*/ 257442 h 257442"/>
                <a:gd name="connsiteX3" fmla="*/ 0 w 1332316"/>
                <a:gd name="connsiteY3" fmla="*/ 0 h 257442"/>
                <a:gd name="connsiteX0" fmla="*/ 1332316 w 1332316"/>
                <a:gd name="connsiteY0" fmla="*/ 0 h 257442"/>
                <a:gd name="connsiteX1" fmla="*/ 1277595 w 1332316"/>
                <a:gd name="connsiteY1" fmla="*/ 257442 h 257442"/>
                <a:gd name="connsiteX2" fmla="*/ 0 w 1332316"/>
                <a:gd name="connsiteY2" fmla="*/ 257442 h 257442"/>
                <a:gd name="connsiteX3" fmla="*/ 0 w 1332316"/>
                <a:gd name="connsiteY3" fmla="*/ 0 h 257442"/>
                <a:gd name="connsiteX0" fmla="*/ 1500631 w 1500631"/>
                <a:gd name="connsiteY0" fmla="*/ 0 h 257442"/>
                <a:gd name="connsiteX1" fmla="*/ 1277595 w 1500631"/>
                <a:gd name="connsiteY1" fmla="*/ 257442 h 257442"/>
                <a:gd name="connsiteX2" fmla="*/ 0 w 1500631"/>
                <a:gd name="connsiteY2" fmla="*/ 257442 h 257442"/>
                <a:gd name="connsiteX3" fmla="*/ 0 w 1500631"/>
                <a:gd name="connsiteY3" fmla="*/ 0 h 257442"/>
                <a:gd name="connsiteX0" fmla="*/ 1500631 w 1500631"/>
                <a:gd name="connsiteY0" fmla="*/ 0 h 257442"/>
                <a:gd name="connsiteX1" fmla="*/ 1445910 w 1500631"/>
                <a:gd name="connsiteY1" fmla="*/ 257442 h 257442"/>
                <a:gd name="connsiteX2" fmla="*/ 0 w 1500631"/>
                <a:gd name="connsiteY2" fmla="*/ 257442 h 257442"/>
                <a:gd name="connsiteX3" fmla="*/ 0 w 1500631"/>
                <a:gd name="connsiteY3" fmla="*/ 0 h 257442"/>
                <a:gd name="connsiteX0" fmla="*/ 1500631 w 1500631"/>
                <a:gd name="connsiteY0" fmla="*/ 0 h 257442"/>
                <a:gd name="connsiteX1" fmla="*/ 1445910 w 1500631"/>
                <a:gd name="connsiteY1" fmla="*/ 257442 h 257442"/>
                <a:gd name="connsiteX2" fmla="*/ 0 w 1500631"/>
                <a:gd name="connsiteY2" fmla="*/ 257442 h 257442"/>
                <a:gd name="connsiteX3" fmla="*/ 0 w 1500631"/>
                <a:gd name="connsiteY3" fmla="*/ 0 h 257442"/>
                <a:gd name="connsiteX0" fmla="*/ 1500631 w 1500631"/>
                <a:gd name="connsiteY0" fmla="*/ 0 h 257442"/>
                <a:gd name="connsiteX1" fmla="*/ 1445910 w 1500631"/>
                <a:gd name="connsiteY1" fmla="*/ 257442 h 257442"/>
                <a:gd name="connsiteX2" fmla="*/ 0 w 1500631"/>
                <a:gd name="connsiteY2" fmla="*/ 257442 h 257442"/>
                <a:gd name="connsiteX3" fmla="*/ 0 w 1500631"/>
                <a:gd name="connsiteY3" fmla="*/ 0 h 257442"/>
                <a:gd name="connsiteX0" fmla="*/ 1652916 w 1652916"/>
                <a:gd name="connsiteY0" fmla="*/ 0 h 257442"/>
                <a:gd name="connsiteX1" fmla="*/ 1445910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652916 w 1652916"/>
                <a:gd name="connsiteY0" fmla="*/ 0 h 257442"/>
                <a:gd name="connsiteX1" fmla="*/ 1598194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652917 w 1652917"/>
                <a:gd name="connsiteY0" fmla="*/ 0 h 257442"/>
                <a:gd name="connsiteX1" fmla="*/ 1598195 w 1652917"/>
                <a:gd name="connsiteY1" fmla="*/ 257442 h 257442"/>
                <a:gd name="connsiteX2" fmla="*/ 0 w 1652917"/>
                <a:gd name="connsiteY2" fmla="*/ 257442 h 257442"/>
                <a:gd name="connsiteX3" fmla="*/ 1 w 1652917"/>
                <a:gd name="connsiteY3" fmla="*/ 0 h 257442"/>
                <a:gd name="connsiteX0" fmla="*/ 1652917 w 1652917"/>
                <a:gd name="connsiteY0" fmla="*/ 0 h 257442"/>
                <a:gd name="connsiteX1" fmla="*/ 1598195 w 1652917"/>
                <a:gd name="connsiteY1" fmla="*/ 257442 h 257442"/>
                <a:gd name="connsiteX2" fmla="*/ 0 w 1652917"/>
                <a:gd name="connsiteY2" fmla="*/ 257442 h 257442"/>
                <a:gd name="connsiteX3" fmla="*/ 1 w 1652917"/>
                <a:gd name="connsiteY3" fmla="*/ 0 h 257442"/>
                <a:gd name="connsiteX0" fmla="*/ 1830850 w 1830850"/>
                <a:gd name="connsiteY0" fmla="*/ 0 h 257442"/>
                <a:gd name="connsiteX1" fmla="*/ 1598195 w 1830850"/>
                <a:gd name="connsiteY1" fmla="*/ 257442 h 257442"/>
                <a:gd name="connsiteX2" fmla="*/ 0 w 1830850"/>
                <a:gd name="connsiteY2" fmla="*/ 257442 h 257442"/>
                <a:gd name="connsiteX3" fmla="*/ 1 w 1830850"/>
                <a:gd name="connsiteY3" fmla="*/ 0 h 257442"/>
                <a:gd name="connsiteX0" fmla="*/ 1830850 w 1830850"/>
                <a:gd name="connsiteY0" fmla="*/ 0 h 257442"/>
                <a:gd name="connsiteX1" fmla="*/ 1776128 w 1830850"/>
                <a:gd name="connsiteY1" fmla="*/ 257442 h 257442"/>
                <a:gd name="connsiteX2" fmla="*/ 0 w 1830850"/>
                <a:gd name="connsiteY2" fmla="*/ 257442 h 257442"/>
                <a:gd name="connsiteX3" fmla="*/ 1 w 1830850"/>
                <a:gd name="connsiteY3" fmla="*/ 0 h 257442"/>
                <a:gd name="connsiteX0" fmla="*/ 1830850 w 1830850"/>
                <a:gd name="connsiteY0" fmla="*/ 0 h 257442"/>
                <a:gd name="connsiteX1" fmla="*/ 1776128 w 1830850"/>
                <a:gd name="connsiteY1" fmla="*/ 257442 h 257442"/>
                <a:gd name="connsiteX2" fmla="*/ 0 w 1830850"/>
                <a:gd name="connsiteY2" fmla="*/ 257442 h 257442"/>
                <a:gd name="connsiteX3" fmla="*/ 1 w 1830850"/>
                <a:gd name="connsiteY3" fmla="*/ 0 h 257442"/>
                <a:gd name="connsiteX0" fmla="*/ 1830850 w 1830850"/>
                <a:gd name="connsiteY0" fmla="*/ 0 h 257442"/>
                <a:gd name="connsiteX1" fmla="*/ 1776128 w 1830850"/>
                <a:gd name="connsiteY1" fmla="*/ 257442 h 257442"/>
                <a:gd name="connsiteX2" fmla="*/ 0 w 1830850"/>
                <a:gd name="connsiteY2" fmla="*/ 257442 h 257442"/>
                <a:gd name="connsiteX3" fmla="*/ 0 w 1830850"/>
                <a:gd name="connsiteY3" fmla="*/ 0 h 257442"/>
                <a:gd name="connsiteX0" fmla="*/ 1999165 w 1999165"/>
                <a:gd name="connsiteY0" fmla="*/ 0 h 257442"/>
                <a:gd name="connsiteX1" fmla="*/ 1776128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2167480 w 2167480"/>
                <a:gd name="connsiteY0" fmla="*/ 0 h 257442"/>
                <a:gd name="connsiteX1" fmla="*/ 1944444 w 2167480"/>
                <a:gd name="connsiteY1" fmla="*/ 257442 h 257442"/>
                <a:gd name="connsiteX2" fmla="*/ 0 w 2167480"/>
                <a:gd name="connsiteY2" fmla="*/ 257442 h 257442"/>
                <a:gd name="connsiteX3" fmla="*/ 0 w 2167480"/>
                <a:gd name="connsiteY3" fmla="*/ 0 h 257442"/>
                <a:gd name="connsiteX0" fmla="*/ 2167480 w 2167480"/>
                <a:gd name="connsiteY0" fmla="*/ 0 h 257442"/>
                <a:gd name="connsiteX1" fmla="*/ 2112758 w 2167480"/>
                <a:gd name="connsiteY1" fmla="*/ 257442 h 257442"/>
                <a:gd name="connsiteX2" fmla="*/ 0 w 2167480"/>
                <a:gd name="connsiteY2" fmla="*/ 257442 h 257442"/>
                <a:gd name="connsiteX3" fmla="*/ 0 w 2167480"/>
                <a:gd name="connsiteY3" fmla="*/ 0 h 257442"/>
                <a:gd name="connsiteX0" fmla="*/ 2167481 w 2167481"/>
                <a:gd name="connsiteY0" fmla="*/ 0 h 257442"/>
                <a:gd name="connsiteX1" fmla="*/ 2112759 w 2167481"/>
                <a:gd name="connsiteY1" fmla="*/ 257442 h 257442"/>
                <a:gd name="connsiteX2" fmla="*/ 0 w 2167481"/>
                <a:gd name="connsiteY2" fmla="*/ 257442 h 257442"/>
                <a:gd name="connsiteX3" fmla="*/ 1 w 2167481"/>
                <a:gd name="connsiteY3" fmla="*/ 0 h 257442"/>
                <a:gd name="connsiteX0" fmla="*/ 2167481 w 2167481"/>
                <a:gd name="connsiteY0" fmla="*/ 0 h 257442"/>
                <a:gd name="connsiteX1" fmla="*/ 2112759 w 2167481"/>
                <a:gd name="connsiteY1" fmla="*/ 257442 h 257442"/>
                <a:gd name="connsiteX2" fmla="*/ 0 w 2167481"/>
                <a:gd name="connsiteY2" fmla="*/ 257442 h 257442"/>
                <a:gd name="connsiteX3" fmla="*/ 1 w 2167481"/>
                <a:gd name="connsiteY3" fmla="*/ 0 h 257442"/>
                <a:gd name="connsiteX0" fmla="*/ 2327781 w 2327781"/>
                <a:gd name="connsiteY0" fmla="*/ 0 h 257442"/>
                <a:gd name="connsiteX1" fmla="*/ 2112759 w 2327781"/>
                <a:gd name="connsiteY1" fmla="*/ 257442 h 257442"/>
                <a:gd name="connsiteX2" fmla="*/ 0 w 2327781"/>
                <a:gd name="connsiteY2" fmla="*/ 257442 h 257442"/>
                <a:gd name="connsiteX3" fmla="*/ 1 w 2327781"/>
                <a:gd name="connsiteY3" fmla="*/ 0 h 257442"/>
                <a:gd name="connsiteX0" fmla="*/ 2327781 w 2327781"/>
                <a:gd name="connsiteY0" fmla="*/ 0 h 257442"/>
                <a:gd name="connsiteX1" fmla="*/ 2273060 w 2327781"/>
                <a:gd name="connsiteY1" fmla="*/ 257442 h 257442"/>
                <a:gd name="connsiteX2" fmla="*/ 0 w 2327781"/>
                <a:gd name="connsiteY2" fmla="*/ 257442 h 257442"/>
                <a:gd name="connsiteX3" fmla="*/ 1 w 2327781"/>
                <a:gd name="connsiteY3" fmla="*/ 0 h 257442"/>
                <a:gd name="connsiteX0" fmla="*/ 2327780 w 2327780"/>
                <a:gd name="connsiteY0" fmla="*/ 0 h 257442"/>
                <a:gd name="connsiteX1" fmla="*/ 2273059 w 2327780"/>
                <a:gd name="connsiteY1" fmla="*/ 257442 h 257442"/>
                <a:gd name="connsiteX2" fmla="*/ 0 w 2327780"/>
                <a:gd name="connsiteY2" fmla="*/ 257442 h 257442"/>
                <a:gd name="connsiteX3" fmla="*/ 0 w 2327780"/>
                <a:gd name="connsiteY3" fmla="*/ 0 h 257442"/>
                <a:gd name="connsiteX0" fmla="*/ 2327781 w 2327781"/>
                <a:gd name="connsiteY0" fmla="*/ 0 h 257442"/>
                <a:gd name="connsiteX1" fmla="*/ 2273060 w 2327781"/>
                <a:gd name="connsiteY1" fmla="*/ 257442 h 257442"/>
                <a:gd name="connsiteX2" fmla="*/ 1 w 2327781"/>
                <a:gd name="connsiteY2" fmla="*/ 257442 h 257442"/>
                <a:gd name="connsiteX3" fmla="*/ 0 w 2327781"/>
                <a:gd name="connsiteY3" fmla="*/ 0 h 257442"/>
                <a:gd name="connsiteX0" fmla="*/ 950802 w 2273060"/>
                <a:gd name="connsiteY0" fmla="*/ 0 h 257442"/>
                <a:gd name="connsiteX1" fmla="*/ 2273060 w 2273060"/>
                <a:gd name="connsiteY1" fmla="*/ 257442 h 257442"/>
                <a:gd name="connsiteX2" fmla="*/ 1 w 2273060"/>
                <a:gd name="connsiteY2" fmla="*/ 257442 h 257442"/>
                <a:gd name="connsiteX3" fmla="*/ 0 w 2273060"/>
                <a:gd name="connsiteY3" fmla="*/ 0 h 257442"/>
                <a:gd name="connsiteX0" fmla="*/ 950802 w 950802"/>
                <a:gd name="connsiteY0" fmla="*/ 0 h 257442"/>
                <a:gd name="connsiteX1" fmla="*/ 896081 w 950802"/>
                <a:gd name="connsiteY1" fmla="*/ 257442 h 257442"/>
                <a:gd name="connsiteX2" fmla="*/ 1 w 950802"/>
                <a:gd name="connsiteY2" fmla="*/ 257442 h 257442"/>
                <a:gd name="connsiteX3" fmla="*/ 0 w 950802"/>
                <a:gd name="connsiteY3" fmla="*/ 0 h 257442"/>
                <a:gd name="connsiteX0" fmla="*/ 950802 w 950802"/>
                <a:gd name="connsiteY0" fmla="*/ 0 h 257442"/>
                <a:gd name="connsiteX1" fmla="*/ 896081 w 950802"/>
                <a:gd name="connsiteY1" fmla="*/ 257442 h 257442"/>
                <a:gd name="connsiteX2" fmla="*/ 1 w 950802"/>
                <a:gd name="connsiteY2" fmla="*/ 257442 h 257442"/>
                <a:gd name="connsiteX3" fmla="*/ 0 w 950802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1128734 w 1128734"/>
                <a:gd name="connsiteY0" fmla="*/ 0 h 257442"/>
                <a:gd name="connsiteX1" fmla="*/ 896080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128734 w 1128734"/>
                <a:gd name="connsiteY0" fmla="*/ 0 h 257442"/>
                <a:gd name="connsiteX1" fmla="*/ 1074012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128735 w 1128735"/>
                <a:gd name="connsiteY0" fmla="*/ 0 h 257442"/>
                <a:gd name="connsiteX1" fmla="*/ 1074013 w 1128735"/>
                <a:gd name="connsiteY1" fmla="*/ 257442 h 257442"/>
                <a:gd name="connsiteX2" fmla="*/ 0 w 1128735"/>
                <a:gd name="connsiteY2" fmla="*/ 257442 h 257442"/>
                <a:gd name="connsiteX3" fmla="*/ 1 w 1128735"/>
                <a:gd name="connsiteY3" fmla="*/ 0 h 257442"/>
                <a:gd name="connsiteX0" fmla="*/ 1128735 w 1128735"/>
                <a:gd name="connsiteY0" fmla="*/ 0 h 257442"/>
                <a:gd name="connsiteX1" fmla="*/ 1074013 w 1128735"/>
                <a:gd name="connsiteY1" fmla="*/ 257442 h 257442"/>
                <a:gd name="connsiteX2" fmla="*/ 0 w 1128735"/>
                <a:gd name="connsiteY2" fmla="*/ 257442 h 257442"/>
                <a:gd name="connsiteX3" fmla="*/ 1 w 1128735"/>
                <a:gd name="connsiteY3" fmla="*/ 0 h 257442"/>
                <a:gd name="connsiteX0" fmla="*/ 1314683 w 1314683"/>
                <a:gd name="connsiteY0" fmla="*/ 0 h 257442"/>
                <a:gd name="connsiteX1" fmla="*/ 1074013 w 1314683"/>
                <a:gd name="connsiteY1" fmla="*/ 257442 h 257442"/>
                <a:gd name="connsiteX2" fmla="*/ 0 w 1314683"/>
                <a:gd name="connsiteY2" fmla="*/ 257442 h 257442"/>
                <a:gd name="connsiteX3" fmla="*/ 1 w 1314683"/>
                <a:gd name="connsiteY3" fmla="*/ 0 h 257442"/>
                <a:gd name="connsiteX0" fmla="*/ 1314683 w 1314683"/>
                <a:gd name="connsiteY0" fmla="*/ 0 h 257442"/>
                <a:gd name="connsiteX1" fmla="*/ 1259962 w 1314683"/>
                <a:gd name="connsiteY1" fmla="*/ 257442 h 257442"/>
                <a:gd name="connsiteX2" fmla="*/ 0 w 1314683"/>
                <a:gd name="connsiteY2" fmla="*/ 257442 h 257442"/>
                <a:gd name="connsiteX3" fmla="*/ 1 w 1314683"/>
                <a:gd name="connsiteY3" fmla="*/ 0 h 257442"/>
                <a:gd name="connsiteX0" fmla="*/ 1314682 w 1314682"/>
                <a:gd name="connsiteY0" fmla="*/ 0 h 257442"/>
                <a:gd name="connsiteX1" fmla="*/ 1259961 w 1314682"/>
                <a:gd name="connsiteY1" fmla="*/ 257442 h 257442"/>
                <a:gd name="connsiteX2" fmla="*/ 0 w 1314682"/>
                <a:gd name="connsiteY2" fmla="*/ 257442 h 257442"/>
                <a:gd name="connsiteX3" fmla="*/ 0 w 1314682"/>
                <a:gd name="connsiteY3" fmla="*/ 0 h 257442"/>
                <a:gd name="connsiteX0" fmla="*/ 1314683 w 1314683"/>
                <a:gd name="connsiteY0" fmla="*/ 0 h 257442"/>
                <a:gd name="connsiteX1" fmla="*/ 1259962 w 1314683"/>
                <a:gd name="connsiteY1" fmla="*/ 257442 h 257442"/>
                <a:gd name="connsiteX2" fmla="*/ 1 w 1314683"/>
                <a:gd name="connsiteY2" fmla="*/ 257442 h 257442"/>
                <a:gd name="connsiteX3" fmla="*/ 0 w 1314683"/>
                <a:gd name="connsiteY3" fmla="*/ 0 h 257442"/>
                <a:gd name="connsiteX0" fmla="*/ 1474984 w 1474984"/>
                <a:gd name="connsiteY0" fmla="*/ 0 h 257442"/>
                <a:gd name="connsiteX1" fmla="*/ 1259962 w 1474984"/>
                <a:gd name="connsiteY1" fmla="*/ 257442 h 257442"/>
                <a:gd name="connsiteX2" fmla="*/ 1 w 1474984"/>
                <a:gd name="connsiteY2" fmla="*/ 257442 h 257442"/>
                <a:gd name="connsiteX3" fmla="*/ 0 w 1474984"/>
                <a:gd name="connsiteY3" fmla="*/ 0 h 257442"/>
                <a:gd name="connsiteX0" fmla="*/ 1474984 w 1474984"/>
                <a:gd name="connsiteY0" fmla="*/ 0 h 257442"/>
                <a:gd name="connsiteX1" fmla="*/ 1420262 w 1474984"/>
                <a:gd name="connsiteY1" fmla="*/ 257442 h 257442"/>
                <a:gd name="connsiteX2" fmla="*/ 1 w 1474984"/>
                <a:gd name="connsiteY2" fmla="*/ 257442 h 257442"/>
                <a:gd name="connsiteX3" fmla="*/ 0 w 1474984"/>
                <a:gd name="connsiteY3" fmla="*/ 0 h 257442"/>
                <a:gd name="connsiteX0" fmla="*/ 1474984 w 1474984"/>
                <a:gd name="connsiteY0" fmla="*/ 0 h 257442"/>
                <a:gd name="connsiteX1" fmla="*/ 1420262 w 1474984"/>
                <a:gd name="connsiteY1" fmla="*/ 257442 h 257442"/>
                <a:gd name="connsiteX2" fmla="*/ 0 w 1474984"/>
                <a:gd name="connsiteY2" fmla="*/ 257442 h 257442"/>
                <a:gd name="connsiteX3" fmla="*/ 0 w 1474984"/>
                <a:gd name="connsiteY3" fmla="*/ 0 h 257442"/>
                <a:gd name="connsiteX0" fmla="*/ 1474984 w 1474984"/>
                <a:gd name="connsiteY0" fmla="*/ 0 h 257442"/>
                <a:gd name="connsiteX1" fmla="*/ 1420262 w 1474984"/>
                <a:gd name="connsiteY1" fmla="*/ 257442 h 257442"/>
                <a:gd name="connsiteX2" fmla="*/ 0 w 1474984"/>
                <a:gd name="connsiteY2" fmla="*/ 257442 h 257442"/>
                <a:gd name="connsiteX3" fmla="*/ 0 w 1474984"/>
                <a:gd name="connsiteY3" fmla="*/ 0 h 257442"/>
                <a:gd name="connsiteX0" fmla="*/ 1635283 w 1635283"/>
                <a:gd name="connsiteY0" fmla="*/ 0 h 257442"/>
                <a:gd name="connsiteX1" fmla="*/ 1420262 w 1635283"/>
                <a:gd name="connsiteY1" fmla="*/ 257442 h 257442"/>
                <a:gd name="connsiteX2" fmla="*/ 0 w 1635283"/>
                <a:gd name="connsiteY2" fmla="*/ 257442 h 257442"/>
                <a:gd name="connsiteX3" fmla="*/ 0 w 1635283"/>
                <a:gd name="connsiteY3" fmla="*/ 0 h 257442"/>
                <a:gd name="connsiteX0" fmla="*/ 1635283 w 1635283"/>
                <a:gd name="connsiteY0" fmla="*/ 0 h 257442"/>
                <a:gd name="connsiteX1" fmla="*/ 1580562 w 1635283"/>
                <a:gd name="connsiteY1" fmla="*/ 257442 h 257442"/>
                <a:gd name="connsiteX2" fmla="*/ 0 w 1635283"/>
                <a:gd name="connsiteY2" fmla="*/ 257442 h 257442"/>
                <a:gd name="connsiteX3" fmla="*/ 0 w 1635283"/>
                <a:gd name="connsiteY3" fmla="*/ 0 h 257442"/>
                <a:gd name="connsiteX0" fmla="*/ 1635283 w 1635283"/>
                <a:gd name="connsiteY0" fmla="*/ 0 h 257442"/>
                <a:gd name="connsiteX1" fmla="*/ 1580562 w 1635283"/>
                <a:gd name="connsiteY1" fmla="*/ 257442 h 257442"/>
                <a:gd name="connsiteX2" fmla="*/ 0 w 1635283"/>
                <a:gd name="connsiteY2" fmla="*/ 257442 h 257442"/>
                <a:gd name="connsiteX3" fmla="*/ 0 w 1635283"/>
                <a:gd name="connsiteY3" fmla="*/ 0 h 257442"/>
                <a:gd name="connsiteX0" fmla="*/ 1635283 w 1635283"/>
                <a:gd name="connsiteY0" fmla="*/ 0 h 257442"/>
                <a:gd name="connsiteX1" fmla="*/ 1580562 w 1635283"/>
                <a:gd name="connsiteY1" fmla="*/ 257442 h 257442"/>
                <a:gd name="connsiteX2" fmla="*/ 0 w 1635283"/>
                <a:gd name="connsiteY2" fmla="*/ 257442 h 257442"/>
                <a:gd name="connsiteX3" fmla="*/ 0 w 1635283"/>
                <a:gd name="connsiteY3" fmla="*/ 0 h 257442"/>
                <a:gd name="connsiteX0" fmla="*/ 1787569 w 1787569"/>
                <a:gd name="connsiteY0" fmla="*/ 0 h 257442"/>
                <a:gd name="connsiteX1" fmla="*/ 1580562 w 1787569"/>
                <a:gd name="connsiteY1" fmla="*/ 257442 h 257442"/>
                <a:gd name="connsiteX2" fmla="*/ 0 w 1787569"/>
                <a:gd name="connsiteY2" fmla="*/ 257442 h 257442"/>
                <a:gd name="connsiteX3" fmla="*/ 0 w 1787569"/>
                <a:gd name="connsiteY3" fmla="*/ 0 h 257442"/>
                <a:gd name="connsiteX0" fmla="*/ 1787569 w 1787569"/>
                <a:gd name="connsiteY0" fmla="*/ 0 h 257442"/>
                <a:gd name="connsiteX1" fmla="*/ 1732848 w 1787569"/>
                <a:gd name="connsiteY1" fmla="*/ 257442 h 257442"/>
                <a:gd name="connsiteX2" fmla="*/ 0 w 1787569"/>
                <a:gd name="connsiteY2" fmla="*/ 257442 h 257442"/>
                <a:gd name="connsiteX3" fmla="*/ 0 w 1787569"/>
                <a:gd name="connsiteY3" fmla="*/ 0 h 257442"/>
                <a:gd name="connsiteX0" fmla="*/ 1787569 w 1787569"/>
                <a:gd name="connsiteY0" fmla="*/ 0 h 257442"/>
                <a:gd name="connsiteX1" fmla="*/ 1732848 w 1787569"/>
                <a:gd name="connsiteY1" fmla="*/ 257442 h 257442"/>
                <a:gd name="connsiteX2" fmla="*/ 0 w 1787569"/>
                <a:gd name="connsiteY2" fmla="*/ 257442 h 257442"/>
                <a:gd name="connsiteX3" fmla="*/ 0 w 1787569"/>
                <a:gd name="connsiteY3" fmla="*/ 0 h 257442"/>
                <a:gd name="connsiteX0" fmla="*/ 1787569 w 1787569"/>
                <a:gd name="connsiteY0" fmla="*/ 0 h 257442"/>
                <a:gd name="connsiteX1" fmla="*/ 1732848 w 1787569"/>
                <a:gd name="connsiteY1" fmla="*/ 257442 h 257442"/>
                <a:gd name="connsiteX2" fmla="*/ 0 w 1787569"/>
                <a:gd name="connsiteY2" fmla="*/ 257442 h 257442"/>
                <a:gd name="connsiteX3" fmla="*/ 0 w 1787569"/>
                <a:gd name="connsiteY3" fmla="*/ 0 h 257442"/>
                <a:gd name="connsiteX0" fmla="*/ 1888557 w 1888557"/>
                <a:gd name="connsiteY0" fmla="*/ 0 h 257442"/>
                <a:gd name="connsiteX1" fmla="*/ 1732848 w 1888557"/>
                <a:gd name="connsiteY1" fmla="*/ 257442 h 257442"/>
                <a:gd name="connsiteX2" fmla="*/ 0 w 1888557"/>
                <a:gd name="connsiteY2" fmla="*/ 257442 h 257442"/>
                <a:gd name="connsiteX3" fmla="*/ 0 w 1888557"/>
                <a:gd name="connsiteY3" fmla="*/ 0 h 257442"/>
                <a:gd name="connsiteX0" fmla="*/ 1888557 w 1888557"/>
                <a:gd name="connsiteY0" fmla="*/ 0 h 257442"/>
                <a:gd name="connsiteX1" fmla="*/ 1833836 w 1888557"/>
                <a:gd name="connsiteY1" fmla="*/ 257442 h 257442"/>
                <a:gd name="connsiteX2" fmla="*/ 0 w 1888557"/>
                <a:gd name="connsiteY2" fmla="*/ 257442 h 257442"/>
                <a:gd name="connsiteX3" fmla="*/ 0 w 1888557"/>
                <a:gd name="connsiteY3" fmla="*/ 0 h 257442"/>
                <a:gd name="connsiteX0" fmla="*/ 1888557 w 1888557"/>
                <a:gd name="connsiteY0" fmla="*/ 0 h 257442"/>
                <a:gd name="connsiteX1" fmla="*/ 1833836 w 1888557"/>
                <a:gd name="connsiteY1" fmla="*/ 257442 h 257442"/>
                <a:gd name="connsiteX2" fmla="*/ 0 w 1888557"/>
                <a:gd name="connsiteY2" fmla="*/ 257442 h 257442"/>
                <a:gd name="connsiteX3" fmla="*/ 0 w 1888557"/>
                <a:gd name="connsiteY3" fmla="*/ 0 h 257442"/>
                <a:gd name="connsiteX0" fmla="*/ 1888557 w 1888557"/>
                <a:gd name="connsiteY0" fmla="*/ 0 h 257442"/>
                <a:gd name="connsiteX1" fmla="*/ 1833836 w 1888557"/>
                <a:gd name="connsiteY1" fmla="*/ 257442 h 257442"/>
                <a:gd name="connsiteX2" fmla="*/ 0 w 1888557"/>
                <a:gd name="connsiteY2" fmla="*/ 257442 h 257442"/>
                <a:gd name="connsiteX3" fmla="*/ 0 w 1888557"/>
                <a:gd name="connsiteY3" fmla="*/ 0 h 257442"/>
                <a:gd name="connsiteX0" fmla="*/ 2040843 w 2040843"/>
                <a:gd name="connsiteY0" fmla="*/ 0 h 257442"/>
                <a:gd name="connsiteX1" fmla="*/ 1833836 w 2040843"/>
                <a:gd name="connsiteY1" fmla="*/ 257442 h 257442"/>
                <a:gd name="connsiteX2" fmla="*/ 0 w 2040843"/>
                <a:gd name="connsiteY2" fmla="*/ 257442 h 257442"/>
                <a:gd name="connsiteX3" fmla="*/ 0 w 2040843"/>
                <a:gd name="connsiteY3" fmla="*/ 0 h 257442"/>
                <a:gd name="connsiteX0" fmla="*/ 2040843 w 2040843"/>
                <a:gd name="connsiteY0" fmla="*/ 0 h 257442"/>
                <a:gd name="connsiteX1" fmla="*/ 1986122 w 2040843"/>
                <a:gd name="connsiteY1" fmla="*/ 257442 h 257442"/>
                <a:gd name="connsiteX2" fmla="*/ 0 w 2040843"/>
                <a:gd name="connsiteY2" fmla="*/ 257442 h 257442"/>
                <a:gd name="connsiteX3" fmla="*/ 0 w 2040843"/>
                <a:gd name="connsiteY3" fmla="*/ 0 h 257442"/>
                <a:gd name="connsiteX0" fmla="*/ 2040843 w 2040843"/>
                <a:gd name="connsiteY0" fmla="*/ 0 h 257442"/>
                <a:gd name="connsiteX1" fmla="*/ 1986122 w 2040843"/>
                <a:gd name="connsiteY1" fmla="*/ 257442 h 257442"/>
                <a:gd name="connsiteX2" fmla="*/ 0 w 2040843"/>
                <a:gd name="connsiteY2" fmla="*/ 257442 h 257442"/>
                <a:gd name="connsiteX3" fmla="*/ 0 w 2040843"/>
                <a:gd name="connsiteY3" fmla="*/ 0 h 257442"/>
                <a:gd name="connsiteX0" fmla="*/ 2040843 w 2040843"/>
                <a:gd name="connsiteY0" fmla="*/ 0 h 257442"/>
                <a:gd name="connsiteX1" fmla="*/ 1986122 w 2040843"/>
                <a:gd name="connsiteY1" fmla="*/ 257442 h 257442"/>
                <a:gd name="connsiteX2" fmla="*/ 0 w 2040843"/>
                <a:gd name="connsiteY2" fmla="*/ 257442 h 257442"/>
                <a:gd name="connsiteX3" fmla="*/ 0 w 2040843"/>
                <a:gd name="connsiteY3" fmla="*/ 0 h 257442"/>
                <a:gd name="connsiteX0" fmla="*/ 2141832 w 2141832"/>
                <a:gd name="connsiteY0" fmla="*/ 0 h 257442"/>
                <a:gd name="connsiteX1" fmla="*/ 1986122 w 2141832"/>
                <a:gd name="connsiteY1" fmla="*/ 257442 h 257442"/>
                <a:gd name="connsiteX2" fmla="*/ 0 w 2141832"/>
                <a:gd name="connsiteY2" fmla="*/ 257442 h 257442"/>
                <a:gd name="connsiteX3" fmla="*/ 0 w 2141832"/>
                <a:gd name="connsiteY3" fmla="*/ 0 h 257442"/>
                <a:gd name="connsiteX0" fmla="*/ 2141832 w 2141832"/>
                <a:gd name="connsiteY0" fmla="*/ 0 h 257442"/>
                <a:gd name="connsiteX1" fmla="*/ 2087110 w 2141832"/>
                <a:gd name="connsiteY1" fmla="*/ 257442 h 257442"/>
                <a:gd name="connsiteX2" fmla="*/ 0 w 2141832"/>
                <a:gd name="connsiteY2" fmla="*/ 257442 h 257442"/>
                <a:gd name="connsiteX3" fmla="*/ 0 w 2141832"/>
                <a:gd name="connsiteY3" fmla="*/ 0 h 257442"/>
                <a:gd name="connsiteX0" fmla="*/ 2141833 w 2141833"/>
                <a:gd name="connsiteY0" fmla="*/ 0 h 257442"/>
                <a:gd name="connsiteX1" fmla="*/ 2087111 w 2141833"/>
                <a:gd name="connsiteY1" fmla="*/ 257442 h 257442"/>
                <a:gd name="connsiteX2" fmla="*/ 0 w 2141833"/>
                <a:gd name="connsiteY2" fmla="*/ 257442 h 257442"/>
                <a:gd name="connsiteX3" fmla="*/ 1 w 2141833"/>
                <a:gd name="connsiteY3" fmla="*/ 0 h 257442"/>
                <a:gd name="connsiteX0" fmla="*/ 2141833 w 2141833"/>
                <a:gd name="connsiteY0" fmla="*/ 0 h 257442"/>
                <a:gd name="connsiteX1" fmla="*/ 2087111 w 2141833"/>
                <a:gd name="connsiteY1" fmla="*/ 257442 h 257442"/>
                <a:gd name="connsiteX2" fmla="*/ 0 w 2141833"/>
                <a:gd name="connsiteY2" fmla="*/ 257442 h 257442"/>
                <a:gd name="connsiteX3" fmla="*/ 1 w 2141833"/>
                <a:gd name="connsiteY3" fmla="*/ 0 h 257442"/>
                <a:gd name="connsiteX0" fmla="*/ 2302133 w 2302133"/>
                <a:gd name="connsiteY0" fmla="*/ 0 h 257442"/>
                <a:gd name="connsiteX1" fmla="*/ 2087111 w 2302133"/>
                <a:gd name="connsiteY1" fmla="*/ 257442 h 257442"/>
                <a:gd name="connsiteX2" fmla="*/ 0 w 2302133"/>
                <a:gd name="connsiteY2" fmla="*/ 257442 h 257442"/>
                <a:gd name="connsiteX3" fmla="*/ 1 w 2302133"/>
                <a:gd name="connsiteY3" fmla="*/ 0 h 257442"/>
                <a:gd name="connsiteX0" fmla="*/ 2302133 w 2302133"/>
                <a:gd name="connsiteY0" fmla="*/ 0 h 257442"/>
                <a:gd name="connsiteX1" fmla="*/ 2247412 w 2302133"/>
                <a:gd name="connsiteY1" fmla="*/ 257442 h 257442"/>
                <a:gd name="connsiteX2" fmla="*/ 0 w 2302133"/>
                <a:gd name="connsiteY2" fmla="*/ 257442 h 257442"/>
                <a:gd name="connsiteX3" fmla="*/ 1 w 2302133"/>
                <a:gd name="connsiteY3" fmla="*/ 0 h 257442"/>
                <a:gd name="connsiteX0" fmla="*/ 2302132 w 2302132"/>
                <a:gd name="connsiteY0" fmla="*/ 0 h 257442"/>
                <a:gd name="connsiteX1" fmla="*/ 2247411 w 2302132"/>
                <a:gd name="connsiteY1" fmla="*/ 257442 h 257442"/>
                <a:gd name="connsiteX2" fmla="*/ 0 w 2302132"/>
                <a:gd name="connsiteY2" fmla="*/ 257442 h 257442"/>
                <a:gd name="connsiteX3" fmla="*/ 0 w 2302132"/>
                <a:gd name="connsiteY3" fmla="*/ 0 h 257442"/>
                <a:gd name="connsiteX0" fmla="*/ 2302133 w 2302133"/>
                <a:gd name="connsiteY0" fmla="*/ 0 h 257442"/>
                <a:gd name="connsiteX1" fmla="*/ 2247412 w 2302133"/>
                <a:gd name="connsiteY1" fmla="*/ 257442 h 257442"/>
                <a:gd name="connsiteX2" fmla="*/ 1 w 2302133"/>
                <a:gd name="connsiteY2" fmla="*/ 257442 h 257442"/>
                <a:gd name="connsiteX3" fmla="*/ 0 w 2302133"/>
                <a:gd name="connsiteY3" fmla="*/ 0 h 257442"/>
                <a:gd name="connsiteX0" fmla="*/ 2462433 w 2462433"/>
                <a:gd name="connsiteY0" fmla="*/ 0 h 257442"/>
                <a:gd name="connsiteX1" fmla="*/ 2247412 w 2462433"/>
                <a:gd name="connsiteY1" fmla="*/ 257442 h 257442"/>
                <a:gd name="connsiteX2" fmla="*/ 1 w 2462433"/>
                <a:gd name="connsiteY2" fmla="*/ 257442 h 257442"/>
                <a:gd name="connsiteX3" fmla="*/ 0 w 2462433"/>
                <a:gd name="connsiteY3" fmla="*/ 0 h 257442"/>
                <a:gd name="connsiteX0" fmla="*/ 2462433 w 2462433"/>
                <a:gd name="connsiteY0" fmla="*/ 0 h 257442"/>
                <a:gd name="connsiteX1" fmla="*/ 2407712 w 2462433"/>
                <a:gd name="connsiteY1" fmla="*/ 257442 h 257442"/>
                <a:gd name="connsiteX2" fmla="*/ 1 w 2462433"/>
                <a:gd name="connsiteY2" fmla="*/ 257442 h 257442"/>
                <a:gd name="connsiteX3" fmla="*/ 0 w 2462433"/>
                <a:gd name="connsiteY3" fmla="*/ 0 h 257442"/>
                <a:gd name="connsiteX0" fmla="*/ 2462433 w 2462433"/>
                <a:gd name="connsiteY0" fmla="*/ 0 h 257442"/>
                <a:gd name="connsiteX1" fmla="*/ 2407712 w 2462433"/>
                <a:gd name="connsiteY1" fmla="*/ 257442 h 257442"/>
                <a:gd name="connsiteX2" fmla="*/ 1 w 2462433"/>
                <a:gd name="connsiteY2" fmla="*/ 257442 h 257442"/>
                <a:gd name="connsiteX3" fmla="*/ 0 w 2462433"/>
                <a:gd name="connsiteY3" fmla="*/ 0 h 257442"/>
                <a:gd name="connsiteX0" fmla="*/ 2462432 w 2462432"/>
                <a:gd name="connsiteY0" fmla="*/ 0 h 257442"/>
                <a:gd name="connsiteX1" fmla="*/ 2407711 w 2462432"/>
                <a:gd name="connsiteY1" fmla="*/ 257442 h 257442"/>
                <a:gd name="connsiteX2" fmla="*/ 0 w 2462432"/>
                <a:gd name="connsiteY2" fmla="*/ 257442 h 257442"/>
                <a:gd name="connsiteX3" fmla="*/ 0 w 2462432"/>
                <a:gd name="connsiteY3" fmla="*/ 0 h 257442"/>
                <a:gd name="connsiteX0" fmla="*/ 2563421 w 2563421"/>
                <a:gd name="connsiteY0" fmla="*/ 0 h 257442"/>
                <a:gd name="connsiteX1" fmla="*/ 2407711 w 2563421"/>
                <a:gd name="connsiteY1" fmla="*/ 257442 h 257442"/>
                <a:gd name="connsiteX2" fmla="*/ 0 w 2563421"/>
                <a:gd name="connsiteY2" fmla="*/ 257442 h 257442"/>
                <a:gd name="connsiteX3" fmla="*/ 0 w 2563421"/>
                <a:gd name="connsiteY3" fmla="*/ 0 h 257442"/>
                <a:gd name="connsiteX0" fmla="*/ 2563421 w 2563421"/>
                <a:gd name="connsiteY0" fmla="*/ 0 h 257442"/>
                <a:gd name="connsiteX1" fmla="*/ 2508700 w 2563421"/>
                <a:gd name="connsiteY1" fmla="*/ 257442 h 257442"/>
                <a:gd name="connsiteX2" fmla="*/ 0 w 2563421"/>
                <a:gd name="connsiteY2" fmla="*/ 257442 h 257442"/>
                <a:gd name="connsiteX3" fmla="*/ 0 w 2563421"/>
                <a:gd name="connsiteY3" fmla="*/ 0 h 257442"/>
                <a:gd name="connsiteX0" fmla="*/ 2563422 w 2563422"/>
                <a:gd name="connsiteY0" fmla="*/ 0 h 257442"/>
                <a:gd name="connsiteX1" fmla="*/ 2508701 w 2563422"/>
                <a:gd name="connsiteY1" fmla="*/ 257442 h 257442"/>
                <a:gd name="connsiteX2" fmla="*/ 0 w 2563422"/>
                <a:gd name="connsiteY2" fmla="*/ 257442 h 257442"/>
                <a:gd name="connsiteX3" fmla="*/ 1 w 2563422"/>
                <a:gd name="connsiteY3" fmla="*/ 0 h 257442"/>
                <a:gd name="connsiteX0" fmla="*/ 2563422 w 2563422"/>
                <a:gd name="connsiteY0" fmla="*/ 0 h 257442"/>
                <a:gd name="connsiteX1" fmla="*/ 2508701 w 2563422"/>
                <a:gd name="connsiteY1" fmla="*/ 257442 h 257442"/>
                <a:gd name="connsiteX2" fmla="*/ 0 w 2563422"/>
                <a:gd name="connsiteY2" fmla="*/ 257442 h 257442"/>
                <a:gd name="connsiteX3" fmla="*/ 0 w 2563422"/>
                <a:gd name="connsiteY3" fmla="*/ 0 h 257442"/>
                <a:gd name="connsiteX0" fmla="*/ 2731737 w 2731737"/>
                <a:gd name="connsiteY0" fmla="*/ 0 h 257442"/>
                <a:gd name="connsiteX1" fmla="*/ 2508701 w 2731737"/>
                <a:gd name="connsiteY1" fmla="*/ 257442 h 257442"/>
                <a:gd name="connsiteX2" fmla="*/ 0 w 2731737"/>
                <a:gd name="connsiteY2" fmla="*/ 257442 h 257442"/>
                <a:gd name="connsiteX3" fmla="*/ 0 w 2731737"/>
                <a:gd name="connsiteY3" fmla="*/ 0 h 257442"/>
                <a:gd name="connsiteX0" fmla="*/ 2731737 w 2731737"/>
                <a:gd name="connsiteY0" fmla="*/ 0 h 257442"/>
                <a:gd name="connsiteX1" fmla="*/ 2677016 w 2731737"/>
                <a:gd name="connsiteY1" fmla="*/ 257442 h 257442"/>
                <a:gd name="connsiteX2" fmla="*/ 0 w 2731737"/>
                <a:gd name="connsiteY2" fmla="*/ 257442 h 257442"/>
                <a:gd name="connsiteX3" fmla="*/ 0 w 2731737"/>
                <a:gd name="connsiteY3" fmla="*/ 0 h 257442"/>
                <a:gd name="connsiteX0" fmla="*/ 2731737 w 2731737"/>
                <a:gd name="connsiteY0" fmla="*/ 0 h 257442"/>
                <a:gd name="connsiteX1" fmla="*/ 2677016 w 2731737"/>
                <a:gd name="connsiteY1" fmla="*/ 257442 h 257442"/>
                <a:gd name="connsiteX2" fmla="*/ 0 w 2731737"/>
                <a:gd name="connsiteY2" fmla="*/ 257442 h 257442"/>
                <a:gd name="connsiteX3" fmla="*/ 0 w 2731737"/>
                <a:gd name="connsiteY3" fmla="*/ 0 h 257442"/>
                <a:gd name="connsiteX0" fmla="*/ 2731737 w 2731737"/>
                <a:gd name="connsiteY0" fmla="*/ 0 h 257442"/>
                <a:gd name="connsiteX1" fmla="*/ 2677016 w 2731737"/>
                <a:gd name="connsiteY1" fmla="*/ 257442 h 257442"/>
                <a:gd name="connsiteX2" fmla="*/ 0 w 2731737"/>
                <a:gd name="connsiteY2" fmla="*/ 257442 h 257442"/>
                <a:gd name="connsiteX3" fmla="*/ 0 w 2731737"/>
                <a:gd name="connsiteY3" fmla="*/ 0 h 257442"/>
                <a:gd name="connsiteX0" fmla="*/ 2892037 w 2892037"/>
                <a:gd name="connsiteY0" fmla="*/ 0 h 257442"/>
                <a:gd name="connsiteX1" fmla="*/ 2677016 w 2892037"/>
                <a:gd name="connsiteY1" fmla="*/ 257442 h 257442"/>
                <a:gd name="connsiteX2" fmla="*/ 0 w 2892037"/>
                <a:gd name="connsiteY2" fmla="*/ 257442 h 257442"/>
                <a:gd name="connsiteX3" fmla="*/ 0 w 2892037"/>
                <a:gd name="connsiteY3" fmla="*/ 0 h 257442"/>
                <a:gd name="connsiteX0" fmla="*/ 2892037 w 2892037"/>
                <a:gd name="connsiteY0" fmla="*/ 0 h 257442"/>
                <a:gd name="connsiteX1" fmla="*/ 2837316 w 2892037"/>
                <a:gd name="connsiteY1" fmla="*/ 257442 h 257442"/>
                <a:gd name="connsiteX2" fmla="*/ 0 w 2892037"/>
                <a:gd name="connsiteY2" fmla="*/ 257442 h 257442"/>
                <a:gd name="connsiteX3" fmla="*/ 0 w 2892037"/>
                <a:gd name="connsiteY3" fmla="*/ 0 h 257442"/>
                <a:gd name="connsiteX0" fmla="*/ 2892037 w 2892037"/>
                <a:gd name="connsiteY0" fmla="*/ 0 h 257442"/>
                <a:gd name="connsiteX1" fmla="*/ 2837316 w 2892037"/>
                <a:gd name="connsiteY1" fmla="*/ 257442 h 257442"/>
                <a:gd name="connsiteX2" fmla="*/ 0 w 2892037"/>
                <a:gd name="connsiteY2" fmla="*/ 257442 h 257442"/>
                <a:gd name="connsiteX3" fmla="*/ 0 w 2892037"/>
                <a:gd name="connsiteY3" fmla="*/ 0 h 257442"/>
                <a:gd name="connsiteX0" fmla="*/ 2892037 w 2892037"/>
                <a:gd name="connsiteY0" fmla="*/ 0 h 257442"/>
                <a:gd name="connsiteX1" fmla="*/ 2837316 w 2892037"/>
                <a:gd name="connsiteY1" fmla="*/ 257442 h 257442"/>
                <a:gd name="connsiteX2" fmla="*/ 0 w 2892037"/>
                <a:gd name="connsiteY2" fmla="*/ 257442 h 257442"/>
                <a:gd name="connsiteX3" fmla="*/ 0 w 2892037"/>
                <a:gd name="connsiteY3" fmla="*/ 0 h 257442"/>
                <a:gd name="connsiteX0" fmla="*/ 3060353 w 3060353"/>
                <a:gd name="connsiteY0" fmla="*/ 0 h 257442"/>
                <a:gd name="connsiteX1" fmla="*/ 2837316 w 3060353"/>
                <a:gd name="connsiteY1" fmla="*/ 257442 h 257442"/>
                <a:gd name="connsiteX2" fmla="*/ 0 w 3060353"/>
                <a:gd name="connsiteY2" fmla="*/ 257442 h 257442"/>
                <a:gd name="connsiteX3" fmla="*/ 0 w 3060353"/>
                <a:gd name="connsiteY3" fmla="*/ 0 h 257442"/>
                <a:gd name="connsiteX0" fmla="*/ 3060353 w 3060353"/>
                <a:gd name="connsiteY0" fmla="*/ 0 h 257442"/>
                <a:gd name="connsiteX1" fmla="*/ 3005632 w 3060353"/>
                <a:gd name="connsiteY1" fmla="*/ 257442 h 257442"/>
                <a:gd name="connsiteX2" fmla="*/ 0 w 3060353"/>
                <a:gd name="connsiteY2" fmla="*/ 257442 h 257442"/>
                <a:gd name="connsiteX3" fmla="*/ 0 w 3060353"/>
                <a:gd name="connsiteY3" fmla="*/ 0 h 257442"/>
                <a:gd name="connsiteX0" fmla="*/ 3060353 w 3060353"/>
                <a:gd name="connsiteY0" fmla="*/ 0 h 257442"/>
                <a:gd name="connsiteX1" fmla="*/ 3005632 w 3060353"/>
                <a:gd name="connsiteY1" fmla="*/ 257442 h 257442"/>
                <a:gd name="connsiteX2" fmla="*/ 0 w 3060353"/>
                <a:gd name="connsiteY2" fmla="*/ 257442 h 257442"/>
                <a:gd name="connsiteX3" fmla="*/ 0 w 3060353"/>
                <a:gd name="connsiteY3" fmla="*/ 0 h 257442"/>
                <a:gd name="connsiteX0" fmla="*/ 3060353 w 3060353"/>
                <a:gd name="connsiteY0" fmla="*/ 0 h 257442"/>
                <a:gd name="connsiteX1" fmla="*/ 3005632 w 3060353"/>
                <a:gd name="connsiteY1" fmla="*/ 257442 h 257442"/>
                <a:gd name="connsiteX2" fmla="*/ 0 w 3060353"/>
                <a:gd name="connsiteY2" fmla="*/ 257442 h 257442"/>
                <a:gd name="connsiteX3" fmla="*/ 0 w 3060353"/>
                <a:gd name="connsiteY3" fmla="*/ 0 h 257442"/>
                <a:gd name="connsiteX0" fmla="*/ 3228668 w 3228668"/>
                <a:gd name="connsiteY0" fmla="*/ 0 h 257442"/>
                <a:gd name="connsiteX1" fmla="*/ 3005632 w 3228668"/>
                <a:gd name="connsiteY1" fmla="*/ 257442 h 257442"/>
                <a:gd name="connsiteX2" fmla="*/ 0 w 3228668"/>
                <a:gd name="connsiteY2" fmla="*/ 257442 h 257442"/>
                <a:gd name="connsiteX3" fmla="*/ 0 w 3228668"/>
                <a:gd name="connsiteY3" fmla="*/ 0 h 257442"/>
                <a:gd name="connsiteX0" fmla="*/ 3228668 w 3228668"/>
                <a:gd name="connsiteY0" fmla="*/ 0 h 257442"/>
                <a:gd name="connsiteX1" fmla="*/ 3173946 w 3228668"/>
                <a:gd name="connsiteY1" fmla="*/ 257442 h 257442"/>
                <a:gd name="connsiteX2" fmla="*/ 0 w 3228668"/>
                <a:gd name="connsiteY2" fmla="*/ 257442 h 257442"/>
                <a:gd name="connsiteX3" fmla="*/ 0 w 3228668"/>
                <a:gd name="connsiteY3" fmla="*/ 0 h 257442"/>
                <a:gd name="connsiteX0" fmla="*/ 3228669 w 3228669"/>
                <a:gd name="connsiteY0" fmla="*/ 0 h 257442"/>
                <a:gd name="connsiteX1" fmla="*/ 3173947 w 3228669"/>
                <a:gd name="connsiteY1" fmla="*/ 257442 h 257442"/>
                <a:gd name="connsiteX2" fmla="*/ 0 w 3228669"/>
                <a:gd name="connsiteY2" fmla="*/ 257442 h 257442"/>
                <a:gd name="connsiteX3" fmla="*/ 1 w 3228669"/>
                <a:gd name="connsiteY3" fmla="*/ 0 h 257442"/>
                <a:gd name="connsiteX0" fmla="*/ 3228669 w 3228669"/>
                <a:gd name="connsiteY0" fmla="*/ 0 h 257442"/>
                <a:gd name="connsiteX1" fmla="*/ 3173947 w 3228669"/>
                <a:gd name="connsiteY1" fmla="*/ 257442 h 257442"/>
                <a:gd name="connsiteX2" fmla="*/ 0 w 3228669"/>
                <a:gd name="connsiteY2" fmla="*/ 257442 h 257442"/>
                <a:gd name="connsiteX3" fmla="*/ 1 w 3228669"/>
                <a:gd name="connsiteY3" fmla="*/ 0 h 257442"/>
                <a:gd name="connsiteX0" fmla="*/ 3414617 w 3414617"/>
                <a:gd name="connsiteY0" fmla="*/ 0 h 257442"/>
                <a:gd name="connsiteX1" fmla="*/ 3173947 w 3414617"/>
                <a:gd name="connsiteY1" fmla="*/ 257442 h 257442"/>
                <a:gd name="connsiteX2" fmla="*/ 0 w 3414617"/>
                <a:gd name="connsiteY2" fmla="*/ 257442 h 257442"/>
                <a:gd name="connsiteX3" fmla="*/ 1 w 3414617"/>
                <a:gd name="connsiteY3" fmla="*/ 0 h 257442"/>
                <a:gd name="connsiteX0" fmla="*/ 3414617 w 3414617"/>
                <a:gd name="connsiteY0" fmla="*/ 0 h 257442"/>
                <a:gd name="connsiteX1" fmla="*/ 3359896 w 3414617"/>
                <a:gd name="connsiteY1" fmla="*/ 257442 h 257442"/>
                <a:gd name="connsiteX2" fmla="*/ 0 w 3414617"/>
                <a:gd name="connsiteY2" fmla="*/ 257442 h 257442"/>
                <a:gd name="connsiteX3" fmla="*/ 1 w 3414617"/>
                <a:gd name="connsiteY3" fmla="*/ 0 h 257442"/>
                <a:gd name="connsiteX0" fmla="*/ 3414616 w 3414616"/>
                <a:gd name="connsiteY0" fmla="*/ 0 h 257442"/>
                <a:gd name="connsiteX1" fmla="*/ 3359895 w 3414616"/>
                <a:gd name="connsiteY1" fmla="*/ 257442 h 257442"/>
                <a:gd name="connsiteX2" fmla="*/ 0 w 3414616"/>
                <a:gd name="connsiteY2" fmla="*/ 257442 h 257442"/>
                <a:gd name="connsiteX3" fmla="*/ 0 w 3414616"/>
                <a:gd name="connsiteY3" fmla="*/ 0 h 257442"/>
                <a:gd name="connsiteX0" fmla="*/ 3414617 w 3414617"/>
                <a:gd name="connsiteY0" fmla="*/ 0 h 257442"/>
                <a:gd name="connsiteX1" fmla="*/ 3359896 w 3414617"/>
                <a:gd name="connsiteY1" fmla="*/ 257442 h 257442"/>
                <a:gd name="connsiteX2" fmla="*/ 1 w 3414617"/>
                <a:gd name="connsiteY2" fmla="*/ 257442 h 257442"/>
                <a:gd name="connsiteX3" fmla="*/ 0 w 3414617"/>
                <a:gd name="connsiteY3" fmla="*/ 0 h 257442"/>
                <a:gd name="connsiteX0" fmla="*/ 3515607 w 3515607"/>
                <a:gd name="connsiteY0" fmla="*/ 0 h 257442"/>
                <a:gd name="connsiteX1" fmla="*/ 3359896 w 3515607"/>
                <a:gd name="connsiteY1" fmla="*/ 257442 h 257442"/>
                <a:gd name="connsiteX2" fmla="*/ 1 w 3515607"/>
                <a:gd name="connsiteY2" fmla="*/ 257442 h 257442"/>
                <a:gd name="connsiteX3" fmla="*/ 0 w 3515607"/>
                <a:gd name="connsiteY3" fmla="*/ 0 h 257442"/>
                <a:gd name="connsiteX0" fmla="*/ 3515607 w 3515607"/>
                <a:gd name="connsiteY0" fmla="*/ 0 h 257442"/>
                <a:gd name="connsiteX1" fmla="*/ 3460886 w 3515607"/>
                <a:gd name="connsiteY1" fmla="*/ 257442 h 257442"/>
                <a:gd name="connsiteX2" fmla="*/ 1 w 3515607"/>
                <a:gd name="connsiteY2" fmla="*/ 257442 h 257442"/>
                <a:gd name="connsiteX3" fmla="*/ 0 w 3515607"/>
                <a:gd name="connsiteY3" fmla="*/ 0 h 257442"/>
                <a:gd name="connsiteX0" fmla="*/ 3515607 w 3515607"/>
                <a:gd name="connsiteY0" fmla="*/ 0 h 257442"/>
                <a:gd name="connsiteX1" fmla="*/ 3460886 w 3515607"/>
                <a:gd name="connsiteY1" fmla="*/ 257442 h 257442"/>
                <a:gd name="connsiteX2" fmla="*/ 1 w 3515607"/>
                <a:gd name="connsiteY2" fmla="*/ 257442 h 257442"/>
                <a:gd name="connsiteX3" fmla="*/ 0 w 3515607"/>
                <a:gd name="connsiteY3" fmla="*/ 0 h 257442"/>
                <a:gd name="connsiteX0" fmla="*/ 3515606 w 3515606"/>
                <a:gd name="connsiteY0" fmla="*/ 0 h 257442"/>
                <a:gd name="connsiteX1" fmla="*/ 3460885 w 3515606"/>
                <a:gd name="connsiteY1" fmla="*/ 257442 h 257442"/>
                <a:gd name="connsiteX2" fmla="*/ 0 w 3515606"/>
                <a:gd name="connsiteY2" fmla="*/ 257442 h 257442"/>
                <a:gd name="connsiteX3" fmla="*/ 0 w 3515606"/>
                <a:gd name="connsiteY3" fmla="*/ 0 h 257442"/>
                <a:gd name="connsiteX0" fmla="*/ 3683920 w 3683920"/>
                <a:gd name="connsiteY0" fmla="*/ 0 h 257442"/>
                <a:gd name="connsiteX1" fmla="*/ 3460885 w 3683920"/>
                <a:gd name="connsiteY1" fmla="*/ 257442 h 257442"/>
                <a:gd name="connsiteX2" fmla="*/ 0 w 3683920"/>
                <a:gd name="connsiteY2" fmla="*/ 257442 h 257442"/>
                <a:gd name="connsiteX3" fmla="*/ 0 w 3683920"/>
                <a:gd name="connsiteY3" fmla="*/ 0 h 257442"/>
                <a:gd name="connsiteX0" fmla="*/ 3683920 w 3683920"/>
                <a:gd name="connsiteY0" fmla="*/ 0 h 257442"/>
                <a:gd name="connsiteX1" fmla="*/ 3629199 w 3683920"/>
                <a:gd name="connsiteY1" fmla="*/ 257442 h 257442"/>
                <a:gd name="connsiteX2" fmla="*/ 0 w 3683920"/>
                <a:gd name="connsiteY2" fmla="*/ 257442 h 257442"/>
                <a:gd name="connsiteX3" fmla="*/ 0 w 3683920"/>
                <a:gd name="connsiteY3" fmla="*/ 0 h 257442"/>
                <a:gd name="connsiteX0" fmla="*/ 3683921 w 3683921"/>
                <a:gd name="connsiteY0" fmla="*/ 0 h 257442"/>
                <a:gd name="connsiteX1" fmla="*/ 3629200 w 3683921"/>
                <a:gd name="connsiteY1" fmla="*/ 257442 h 257442"/>
                <a:gd name="connsiteX2" fmla="*/ 0 w 3683921"/>
                <a:gd name="connsiteY2" fmla="*/ 257442 h 257442"/>
                <a:gd name="connsiteX3" fmla="*/ 1 w 3683921"/>
                <a:gd name="connsiteY3" fmla="*/ 0 h 257442"/>
                <a:gd name="connsiteX0" fmla="*/ 3683921 w 3683921"/>
                <a:gd name="connsiteY0" fmla="*/ 0 h 257442"/>
                <a:gd name="connsiteX1" fmla="*/ 3629200 w 3683921"/>
                <a:gd name="connsiteY1" fmla="*/ 257442 h 257442"/>
                <a:gd name="connsiteX2" fmla="*/ 0 w 3683921"/>
                <a:gd name="connsiteY2" fmla="*/ 257442 h 257442"/>
                <a:gd name="connsiteX3" fmla="*/ 1 w 3683921"/>
                <a:gd name="connsiteY3" fmla="*/ 0 h 257442"/>
                <a:gd name="connsiteX0" fmla="*/ 3844222 w 3844222"/>
                <a:gd name="connsiteY0" fmla="*/ 0 h 257442"/>
                <a:gd name="connsiteX1" fmla="*/ 3629200 w 3844222"/>
                <a:gd name="connsiteY1" fmla="*/ 257442 h 257442"/>
                <a:gd name="connsiteX2" fmla="*/ 0 w 3844222"/>
                <a:gd name="connsiteY2" fmla="*/ 257442 h 257442"/>
                <a:gd name="connsiteX3" fmla="*/ 1 w 3844222"/>
                <a:gd name="connsiteY3" fmla="*/ 0 h 257442"/>
                <a:gd name="connsiteX0" fmla="*/ 3844222 w 3844222"/>
                <a:gd name="connsiteY0" fmla="*/ 0 h 257442"/>
                <a:gd name="connsiteX1" fmla="*/ 3789500 w 3844222"/>
                <a:gd name="connsiteY1" fmla="*/ 257442 h 257442"/>
                <a:gd name="connsiteX2" fmla="*/ 0 w 3844222"/>
                <a:gd name="connsiteY2" fmla="*/ 257442 h 257442"/>
                <a:gd name="connsiteX3" fmla="*/ 1 w 3844222"/>
                <a:gd name="connsiteY3" fmla="*/ 0 h 257442"/>
                <a:gd name="connsiteX0" fmla="*/ 3844222 w 3844222"/>
                <a:gd name="connsiteY0" fmla="*/ 0 h 257442"/>
                <a:gd name="connsiteX1" fmla="*/ 3789500 w 3844222"/>
                <a:gd name="connsiteY1" fmla="*/ 257442 h 257442"/>
                <a:gd name="connsiteX2" fmla="*/ 0 w 3844222"/>
                <a:gd name="connsiteY2" fmla="*/ 257442 h 257442"/>
                <a:gd name="connsiteX3" fmla="*/ 1 w 3844222"/>
                <a:gd name="connsiteY3" fmla="*/ 0 h 257442"/>
                <a:gd name="connsiteX0" fmla="*/ 3844222 w 3844222"/>
                <a:gd name="connsiteY0" fmla="*/ 0 h 257442"/>
                <a:gd name="connsiteX1" fmla="*/ 3789500 w 3844222"/>
                <a:gd name="connsiteY1" fmla="*/ 257442 h 257442"/>
                <a:gd name="connsiteX2" fmla="*/ 0 w 3844222"/>
                <a:gd name="connsiteY2" fmla="*/ 257442 h 257442"/>
                <a:gd name="connsiteX3" fmla="*/ 0 w 3844222"/>
                <a:gd name="connsiteY3" fmla="*/ 0 h 257442"/>
                <a:gd name="connsiteX0" fmla="*/ 986067 w 3789500"/>
                <a:gd name="connsiteY0" fmla="*/ 0 h 257442"/>
                <a:gd name="connsiteX1" fmla="*/ 3789500 w 3789500"/>
                <a:gd name="connsiteY1" fmla="*/ 257442 h 257442"/>
                <a:gd name="connsiteX2" fmla="*/ 0 w 3789500"/>
                <a:gd name="connsiteY2" fmla="*/ 257442 h 257442"/>
                <a:gd name="connsiteX3" fmla="*/ 0 w 3789500"/>
                <a:gd name="connsiteY3" fmla="*/ 0 h 257442"/>
                <a:gd name="connsiteX0" fmla="*/ 986067 w 986067"/>
                <a:gd name="connsiteY0" fmla="*/ 0 h 257442"/>
                <a:gd name="connsiteX1" fmla="*/ 931346 w 986067"/>
                <a:gd name="connsiteY1" fmla="*/ 257442 h 257442"/>
                <a:gd name="connsiteX2" fmla="*/ 0 w 986067"/>
                <a:gd name="connsiteY2" fmla="*/ 257442 h 257442"/>
                <a:gd name="connsiteX3" fmla="*/ 0 w 986067"/>
                <a:gd name="connsiteY3" fmla="*/ 0 h 257442"/>
                <a:gd name="connsiteX0" fmla="*/ 986067 w 986067"/>
                <a:gd name="connsiteY0" fmla="*/ 0 h 257442"/>
                <a:gd name="connsiteX1" fmla="*/ 931346 w 986067"/>
                <a:gd name="connsiteY1" fmla="*/ 257442 h 257442"/>
                <a:gd name="connsiteX2" fmla="*/ 1 w 986067"/>
                <a:gd name="connsiteY2" fmla="*/ 257442 h 257442"/>
                <a:gd name="connsiteX3" fmla="*/ 0 w 986067"/>
                <a:gd name="connsiteY3" fmla="*/ 0 h 257442"/>
                <a:gd name="connsiteX0" fmla="*/ 986066 w 986066"/>
                <a:gd name="connsiteY0" fmla="*/ 0 h 257442"/>
                <a:gd name="connsiteX1" fmla="*/ 931345 w 986066"/>
                <a:gd name="connsiteY1" fmla="*/ 257442 h 257442"/>
                <a:gd name="connsiteX2" fmla="*/ 0 w 986066"/>
                <a:gd name="connsiteY2" fmla="*/ 257442 h 257442"/>
                <a:gd name="connsiteX3" fmla="*/ 0 w 986066"/>
                <a:gd name="connsiteY3" fmla="*/ 0 h 257442"/>
                <a:gd name="connsiteX0" fmla="*/ 1163999 w 1163999"/>
                <a:gd name="connsiteY0" fmla="*/ 0 h 257442"/>
                <a:gd name="connsiteX1" fmla="*/ 931345 w 1163999"/>
                <a:gd name="connsiteY1" fmla="*/ 257442 h 257442"/>
                <a:gd name="connsiteX2" fmla="*/ 0 w 1163999"/>
                <a:gd name="connsiteY2" fmla="*/ 257442 h 257442"/>
                <a:gd name="connsiteX3" fmla="*/ 0 w 1163999"/>
                <a:gd name="connsiteY3" fmla="*/ 0 h 257442"/>
                <a:gd name="connsiteX0" fmla="*/ 1163999 w 1163999"/>
                <a:gd name="connsiteY0" fmla="*/ 0 h 257442"/>
                <a:gd name="connsiteX1" fmla="*/ 1109278 w 1163999"/>
                <a:gd name="connsiteY1" fmla="*/ 257442 h 257442"/>
                <a:gd name="connsiteX2" fmla="*/ 0 w 1163999"/>
                <a:gd name="connsiteY2" fmla="*/ 257442 h 257442"/>
                <a:gd name="connsiteX3" fmla="*/ 0 w 1163999"/>
                <a:gd name="connsiteY3" fmla="*/ 0 h 257442"/>
                <a:gd name="connsiteX0" fmla="*/ 1164000 w 1164000"/>
                <a:gd name="connsiteY0" fmla="*/ 0 h 257442"/>
                <a:gd name="connsiteX1" fmla="*/ 1109279 w 1164000"/>
                <a:gd name="connsiteY1" fmla="*/ 257442 h 257442"/>
                <a:gd name="connsiteX2" fmla="*/ 0 w 1164000"/>
                <a:gd name="connsiteY2" fmla="*/ 257442 h 257442"/>
                <a:gd name="connsiteX3" fmla="*/ 1 w 1164000"/>
                <a:gd name="connsiteY3" fmla="*/ 0 h 257442"/>
                <a:gd name="connsiteX0" fmla="*/ 1164000 w 1164000"/>
                <a:gd name="connsiteY0" fmla="*/ 0 h 257442"/>
                <a:gd name="connsiteX1" fmla="*/ 1109279 w 1164000"/>
                <a:gd name="connsiteY1" fmla="*/ 257442 h 257442"/>
                <a:gd name="connsiteX2" fmla="*/ 0 w 1164000"/>
                <a:gd name="connsiteY2" fmla="*/ 257442 h 257442"/>
                <a:gd name="connsiteX3" fmla="*/ 0 w 1164000"/>
                <a:gd name="connsiteY3" fmla="*/ 0 h 257442"/>
                <a:gd name="connsiteX0" fmla="*/ 1332316 w 1332316"/>
                <a:gd name="connsiteY0" fmla="*/ 0 h 257442"/>
                <a:gd name="connsiteX1" fmla="*/ 1109279 w 1332316"/>
                <a:gd name="connsiteY1" fmla="*/ 257442 h 257442"/>
                <a:gd name="connsiteX2" fmla="*/ 0 w 1332316"/>
                <a:gd name="connsiteY2" fmla="*/ 257442 h 257442"/>
                <a:gd name="connsiteX3" fmla="*/ 0 w 1332316"/>
                <a:gd name="connsiteY3" fmla="*/ 0 h 257442"/>
                <a:gd name="connsiteX0" fmla="*/ 1332316 w 1332316"/>
                <a:gd name="connsiteY0" fmla="*/ 0 h 257442"/>
                <a:gd name="connsiteX1" fmla="*/ 1277595 w 1332316"/>
                <a:gd name="connsiteY1" fmla="*/ 257442 h 257442"/>
                <a:gd name="connsiteX2" fmla="*/ 0 w 1332316"/>
                <a:gd name="connsiteY2" fmla="*/ 257442 h 257442"/>
                <a:gd name="connsiteX3" fmla="*/ 0 w 1332316"/>
                <a:gd name="connsiteY3" fmla="*/ 0 h 257442"/>
                <a:gd name="connsiteX0" fmla="*/ 1332316 w 1332316"/>
                <a:gd name="connsiteY0" fmla="*/ 0 h 257442"/>
                <a:gd name="connsiteX1" fmla="*/ 1277595 w 1332316"/>
                <a:gd name="connsiteY1" fmla="*/ 257442 h 257442"/>
                <a:gd name="connsiteX2" fmla="*/ 0 w 1332316"/>
                <a:gd name="connsiteY2" fmla="*/ 257442 h 257442"/>
                <a:gd name="connsiteX3" fmla="*/ 0 w 1332316"/>
                <a:gd name="connsiteY3" fmla="*/ 0 h 257442"/>
                <a:gd name="connsiteX0" fmla="*/ 1332316 w 1332316"/>
                <a:gd name="connsiteY0" fmla="*/ 0 h 257442"/>
                <a:gd name="connsiteX1" fmla="*/ 1277595 w 1332316"/>
                <a:gd name="connsiteY1" fmla="*/ 257442 h 257442"/>
                <a:gd name="connsiteX2" fmla="*/ 0 w 1332316"/>
                <a:gd name="connsiteY2" fmla="*/ 257442 h 257442"/>
                <a:gd name="connsiteX3" fmla="*/ 0 w 1332316"/>
                <a:gd name="connsiteY3" fmla="*/ 0 h 257442"/>
                <a:gd name="connsiteX0" fmla="*/ 1500631 w 1500631"/>
                <a:gd name="connsiteY0" fmla="*/ 0 h 257442"/>
                <a:gd name="connsiteX1" fmla="*/ 1277595 w 1500631"/>
                <a:gd name="connsiteY1" fmla="*/ 257442 h 257442"/>
                <a:gd name="connsiteX2" fmla="*/ 0 w 1500631"/>
                <a:gd name="connsiteY2" fmla="*/ 257442 h 257442"/>
                <a:gd name="connsiteX3" fmla="*/ 0 w 1500631"/>
                <a:gd name="connsiteY3" fmla="*/ 0 h 257442"/>
                <a:gd name="connsiteX0" fmla="*/ 1500631 w 1500631"/>
                <a:gd name="connsiteY0" fmla="*/ 0 h 257442"/>
                <a:gd name="connsiteX1" fmla="*/ 1445910 w 1500631"/>
                <a:gd name="connsiteY1" fmla="*/ 257442 h 257442"/>
                <a:gd name="connsiteX2" fmla="*/ 0 w 1500631"/>
                <a:gd name="connsiteY2" fmla="*/ 257442 h 257442"/>
                <a:gd name="connsiteX3" fmla="*/ 0 w 1500631"/>
                <a:gd name="connsiteY3" fmla="*/ 0 h 257442"/>
                <a:gd name="connsiteX0" fmla="*/ 1500631 w 1500631"/>
                <a:gd name="connsiteY0" fmla="*/ 0 h 257442"/>
                <a:gd name="connsiteX1" fmla="*/ 1445910 w 1500631"/>
                <a:gd name="connsiteY1" fmla="*/ 257442 h 257442"/>
                <a:gd name="connsiteX2" fmla="*/ 0 w 1500631"/>
                <a:gd name="connsiteY2" fmla="*/ 257442 h 257442"/>
                <a:gd name="connsiteX3" fmla="*/ 0 w 1500631"/>
                <a:gd name="connsiteY3" fmla="*/ 0 h 257442"/>
                <a:gd name="connsiteX0" fmla="*/ 1500631 w 1500631"/>
                <a:gd name="connsiteY0" fmla="*/ 0 h 257442"/>
                <a:gd name="connsiteX1" fmla="*/ 1445910 w 1500631"/>
                <a:gd name="connsiteY1" fmla="*/ 257442 h 257442"/>
                <a:gd name="connsiteX2" fmla="*/ 0 w 1500631"/>
                <a:gd name="connsiteY2" fmla="*/ 257442 h 257442"/>
                <a:gd name="connsiteX3" fmla="*/ 0 w 1500631"/>
                <a:gd name="connsiteY3" fmla="*/ 0 h 257442"/>
                <a:gd name="connsiteX0" fmla="*/ 1652916 w 1652916"/>
                <a:gd name="connsiteY0" fmla="*/ 0 h 257442"/>
                <a:gd name="connsiteX1" fmla="*/ 1445910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652916 w 1652916"/>
                <a:gd name="connsiteY0" fmla="*/ 0 h 257442"/>
                <a:gd name="connsiteX1" fmla="*/ 1598194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652917 w 1652917"/>
                <a:gd name="connsiteY0" fmla="*/ 0 h 257442"/>
                <a:gd name="connsiteX1" fmla="*/ 1598195 w 1652917"/>
                <a:gd name="connsiteY1" fmla="*/ 257442 h 257442"/>
                <a:gd name="connsiteX2" fmla="*/ 0 w 1652917"/>
                <a:gd name="connsiteY2" fmla="*/ 257442 h 257442"/>
                <a:gd name="connsiteX3" fmla="*/ 1 w 1652917"/>
                <a:gd name="connsiteY3" fmla="*/ 0 h 257442"/>
                <a:gd name="connsiteX0" fmla="*/ 1652917 w 1652917"/>
                <a:gd name="connsiteY0" fmla="*/ 0 h 257442"/>
                <a:gd name="connsiteX1" fmla="*/ 1598195 w 1652917"/>
                <a:gd name="connsiteY1" fmla="*/ 257442 h 257442"/>
                <a:gd name="connsiteX2" fmla="*/ 0 w 1652917"/>
                <a:gd name="connsiteY2" fmla="*/ 257442 h 257442"/>
                <a:gd name="connsiteX3" fmla="*/ 1 w 1652917"/>
                <a:gd name="connsiteY3" fmla="*/ 0 h 257442"/>
                <a:gd name="connsiteX0" fmla="*/ 1830850 w 1830850"/>
                <a:gd name="connsiteY0" fmla="*/ 0 h 257442"/>
                <a:gd name="connsiteX1" fmla="*/ 1598195 w 1830850"/>
                <a:gd name="connsiteY1" fmla="*/ 257442 h 257442"/>
                <a:gd name="connsiteX2" fmla="*/ 0 w 1830850"/>
                <a:gd name="connsiteY2" fmla="*/ 257442 h 257442"/>
                <a:gd name="connsiteX3" fmla="*/ 1 w 1830850"/>
                <a:gd name="connsiteY3" fmla="*/ 0 h 257442"/>
                <a:gd name="connsiteX0" fmla="*/ 1830850 w 1830850"/>
                <a:gd name="connsiteY0" fmla="*/ 0 h 257442"/>
                <a:gd name="connsiteX1" fmla="*/ 1776128 w 1830850"/>
                <a:gd name="connsiteY1" fmla="*/ 257442 h 257442"/>
                <a:gd name="connsiteX2" fmla="*/ 0 w 1830850"/>
                <a:gd name="connsiteY2" fmla="*/ 257442 h 257442"/>
                <a:gd name="connsiteX3" fmla="*/ 1 w 1830850"/>
                <a:gd name="connsiteY3" fmla="*/ 0 h 257442"/>
                <a:gd name="connsiteX0" fmla="*/ 1830850 w 1830850"/>
                <a:gd name="connsiteY0" fmla="*/ 0 h 257442"/>
                <a:gd name="connsiteX1" fmla="*/ 1776128 w 1830850"/>
                <a:gd name="connsiteY1" fmla="*/ 257442 h 257442"/>
                <a:gd name="connsiteX2" fmla="*/ 0 w 1830850"/>
                <a:gd name="connsiteY2" fmla="*/ 257442 h 257442"/>
                <a:gd name="connsiteX3" fmla="*/ 1 w 1830850"/>
                <a:gd name="connsiteY3" fmla="*/ 0 h 257442"/>
                <a:gd name="connsiteX0" fmla="*/ 1830850 w 1830850"/>
                <a:gd name="connsiteY0" fmla="*/ 0 h 257442"/>
                <a:gd name="connsiteX1" fmla="*/ 1776128 w 1830850"/>
                <a:gd name="connsiteY1" fmla="*/ 257442 h 257442"/>
                <a:gd name="connsiteX2" fmla="*/ 0 w 1830850"/>
                <a:gd name="connsiteY2" fmla="*/ 257442 h 257442"/>
                <a:gd name="connsiteX3" fmla="*/ 0 w 1830850"/>
                <a:gd name="connsiteY3" fmla="*/ 0 h 257442"/>
                <a:gd name="connsiteX0" fmla="*/ 1999165 w 1999165"/>
                <a:gd name="connsiteY0" fmla="*/ 0 h 257442"/>
                <a:gd name="connsiteX1" fmla="*/ 1776128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2167480 w 2167480"/>
                <a:gd name="connsiteY0" fmla="*/ 0 h 257442"/>
                <a:gd name="connsiteX1" fmla="*/ 1944444 w 2167480"/>
                <a:gd name="connsiteY1" fmla="*/ 257442 h 257442"/>
                <a:gd name="connsiteX2" fmla="*/ 0 w 2167480"/>
                <a:gd name="connsiteY2" fmla="*/ 257442 h 257442"/>
                <a:gd name="connsiteX3" fmla="*/ 0 w 2167480"/>
                <a:gd name="connsiteY3" fmla="*/ 0 h 257442"/>
                <a:gd name="connsiteX0" fmla="*/ 2167480 w 2167480"/>
                <a:gd name="connsiteY0" fmla="*/ 0 h 257442"/>
                <a:gd name="connsiteX1" fmla="*/ 2112758 w 2167480"/>
                <a:gd name="connsiteY1" fmla="*/ 257442 h 257442"/>
                <a:gd name="connsiteX2" fmla="*/ 0 w 2167480"/>
                <a:gd name="connsiteY2" fmla="*/ 257442 h 257442"/>
                <a:gd name="connsiteX3" fmla="*/ 0 w 2167480"/>
                <a:gd name="connsiteY3" fmla="*/ 0 h 257442"/>
                <a:gd name="connsiteX0" fmla="*/ 2167481 w 2167481"/>
                <a:gd name="connsiteY0" fmla="*/ 0 h 257442"/>
                <a:gd name="connsiteX1" fmla="*/ 2112759 w 2167481"/>
                <a:gd name="connsiteY1" fmla="*/ 257442 h 257442"/>
                <a:gd name="connsiteX2" fmla="*/ 0 w 2167481"/>
                <a:gd name="connsiteY2" fmla="*/ 257442 h 257442"/>
                <a:gd name="connsiteX3" fmla="*/ 1 w 2167481"/>
                <a:gd name="connsiteY3" fmla="*/ 0 h 257442"/>
                <a:gd name="connsiteX0" fmla="*/ 2167481 w 2167481"/>
                <a:gd name="connsiteY0" fmla="*/ 0 h 257442"/>
                <a:gd name="connsiteX1" fmla="*/ 2112759 w 2167481"/>
                <a:gd name="connsiteY1" fmla="*/ 257442 h 257442"/>
                <a:gd name="connsiteX2" fmla="*/ 0 w 2167481"/>
                <a:gd name="connsiteY2" fmla="*/ 257442 h 257442"/>
                <a:gd name="connsiteX3" fmla="*/ 1 w 2167481"/>
                <a:gd name="connsiteY3" fmla="*/ 0 h 257442"/>
                <a:gd name="connsiteX0" fmla="*/ 2327781 w 2327781"/>
                <a:gd name="connsiteY0" fmla="*/ 0 h 257442"/>
                <a:gd name="connsiteX1" fmla="*/ 2112759 w 2327781"/>
                <a:gd name="connsiteY1" fmla="*/ 257442 h 257442"/>
                <a:gd name="connsiteX2" fmla="*/ 0 w 2327781"/>
                <a:gd name="connsiteY2" fmla="*/ 257442 h 257442"/>
                <a:gd name="connsiteX3" fmla="*/ 1 w 2327781"/>
                <a:gd name="connsiteY3" fmla="*/ 0 h 257442"/>
                <a:gd name="connsiteX0" fmla="*/ 2327781 w 2327781"/>
                <a:gd name="connsiteY0" fmla="*/ 0 h 257442"/>
                <a:gd name="connsiteX1" fmla="*/ 2273060 w 2327781"/>
                <a:gd name="connsiteY1" fmla="*/ 257442 h 257442"/>
                <a:gd name="connsiteX2" fmla="*/ 0 w 2327781"/>
                <a:gd name="connsiteY2" fmla="*/ 257442 h 257442"/>
                <a:gd name="connsiteX3" fmla="*/ 1 w 2327781"/>
                <a:gd name="connsiteY3" fmla="*/ 0 h 257442"/>
                <a:gd name="connsiteX0" fmla="*/ 2327780 w 2327780"/>
                <a:gd name="connsiteY0" fmla="*/ 0 h 257442"/>
                <a:gd name="connsiteX1" fmla="*/ 2273059 w 2327780"/>
                <a:gd name="connsiteY1" fmla="*/ 257442 h 257442"/>
                <a:gd name="connsiteX2" fmla="*/ 0 w 2327780"/>
                <a:gd name="connsiteY2" fmla="*/ 257442 h 257442"/>
                <a:gd name="connsiteX3" fmla="*/ 0 w 2327780"/>
                <a:gd name="connsiteY3" fmla="*/ 0 h 257442"/>
                <a:gd name="connsiteX0" fmla="*/ 2327781 w 2327781"/>
                <a:gd name="connsiteY0" fmla="*/ 0 h 257442"/>
                <a:gd name="connsiteX1" fmla="*/ 2273060 w 2327781"/>
                <a:gd name="connsiteY1" fmla="*/ 257442 h 257442"/>
                <a:gd name="connsiteX2" fmla="*/ 1 w 2327781"/>
                <a:gd name="connsiteY2" fmla="*/ 257442 h 257442"/>
                <a:gd name="connsiteX3" fmla="*/ 0 w 2327781"/>
                <a:gd name="connsiteY3" fmla="*/ 0 h 257442"/>
                <a:gd name="connsiteX0" fmla="*/ 934772 w 2273060"/>
                <a:gd name="connsiteY0" fmla="*/ 0 h 257442"/>
                <a:gd name="connsiteX1" fmla="*/ 2273060 w 2273060"/>
                <a:gd name="connsiteY1" fmla="*/ 257442 h 257442"/>
                <a:gd name="connsiteX2" fmla="*/ 1 w 2273060"/>
                <a:gd name="connsiteY2" fmla="*/ 257442 h 257442"/>
                <a:gd name="connsiteX3" fmla="*/ 0 w 2273060"/>
                <a:gd name="connsiteY3" fmla="*/ 0 h 257442"/>
                <a:gd name="connsiteX0" fmla="*/ 934772 w 934772"/>
                <a:gd name="connsiteY0" fmla="*/ 0 h 257442"/>
                <a:gd name="connsiteX1" fmla="*/ 880051 w 934772"/>
                <a:gd name="connsiteY1" fmla="*/ 257442 h 257442"/>
                <a:gd name="connsiteX2" fmla="*/ 1 w 934772"/>
                <a:gd name="connsiteY2" fmla="*/ 257442 h 257442"/>
                <a:gd name="connsiteX3" fmla="*/ 0 w 934772"/>
                <a:gd name="connsiteY3" fmla="*/ 0 h 257442"/>
                <a:gd name="connsiteX0" fmla="*/ 934772 w 934772"/>
                <a:gd name="connsiteY0" fmla="*/ 0 h 257442"/>
                <a:gd name="connsiteX1" fmla="*/ 880051 w 934772"/>
                <a:gd name="connsiteY1" fmla="*/ 257442 h 257442"/>
                <a:gd name="connsiteX2" fmla="*/ 1 w 934772"/>
                <a:gd name="connsiteY2" fmla="*/ 257442 h 257442"/>
                <a:gd name="connsiteX3" fmla="*/ 0 w 934772"/>
                <a:gd name="connsiteY3" fmla="*/ 0 h 257442"/>
                <a:gd name="connsiteX0" fmla="*/ 934771 w 934771"/>
                <a:gd name="connsiteY0" fmla="*/ 0 h 257442"/>
                <a:gd name="connsiteX1" fmla="*/ 880050 w 934771"/>
                <a:gd name="connsiteY1" fmla="*/ 257442 h 257442"/>
                <a:gd name="connsiteX2" fmla="*/ 0 w 934771"/>
                <a:gd name="connsiteY2" fmla="*/ 257442 h 257442"/>
                <a:gd name="connsiteX3" fmla="*/ 0 w 934771"/>
                <a:gd name="connsiteY3" fmla="*/ 0 h 257442"/>
                <a:gd name="connsiteX0" fmla="*/ 1091673 w 1091673"/>
                <a:gd name="connsiteY0" fmla="*/ 0 h 257442"/>
                <a:gd name="connsiteX1" fmla="*/ 880050 w 1091673"/>
                <a:gd name="connsiteY1" fmla="*/ 257442 h 257442"/>
                <a:gd name="connsiteX2" fmla="*/ 0 w 1091673"/>
                <a:gd name="connsiteY2" fmla="*/ 257442 h 257442"/>
                <a:gd name="connsiteX3" fmla="*/ 0 w 1091673"/>
                <a:gd name="connsiteY3" fmla="*/ 0 h 257442"/>
                <a:gd name="connsiteX0" fmla="*/ 1091673 w 1091673"/>
                <a:gd name="connsiteY0" fmla="*/ 0 h 257442"/>
                <a:gd name="connsiteX1" fmla="*/ 1036952 w 1091673"/>
                <a:gd name="connsiteY1" fmla="*/ 257442 h 257442"/>
                <a:gd name="connsiteX2" fmla="*/ 0 w 1091673"/>
                <a:gd name="connsiteY2" fmla="*/ 257442 h 257442"/>
                <a:gd name="connsiteX3" fmla="*/ 0 w 1091673"/>
                <a:gd name="connsiteY3" fmla="*/ 0 h 257442"/>
                <a:gd name="connsiteX0" fmla="*/ 1091673 w 1091673"/>
                <a:gd name="connsiteY0" fmla="*/ 0 h 257442"/>
                <a:gd name="connsiteX1" fmla="*/ 1036952 w 1091673"/>
                <a:gd name="connsiteY1" fmla="*/ 257442 h 257442"/>
                <a:gd name="connsiteX2" fmla="*/ 0 w 1091673"/>
                <a:gd name="connsiteY2" fmla="*/ 257442 h 257442"/>
                <a:gd name="connsiteX3" fmla="*/ 0 w 1091673"/>
                <a:gd name="connsiteY3" fmla="*/ 0 h 257442"/>
                <a:gd name="connsiteX0" fmla="*/ 1091673 w 1091673"/>
                <a:gd name="connsiteY0" fmla="*/ 0 h 257442"/>
                <a:gd name="connsiteX1" fmla="*/ 1036952 w 1091673"/>
                <a:gd name="connsiteY1" fmla="*/ 257442 h 257442"/>
                <a:gd name="connsiteX2" fmla="*/ 0 w 1091673"/>
                <a:gd name="connsiteY2" fmla="*/ 257442 h 257442"/>
                <a:gd name="connsiteX3" fmla="*/ 0 w 1091673"/>
                <a:gd name="connsiteY3" fmla="*/ 0 h 257442"/>
                <a:gd name="connsiteX0" fmla="*/ 1243958 w 1243958"/>
                <a:gd name="connsiteY0" fmla="*/ 0 h 257442"/>
                <a:gd name="connsiteX1" fmla="*/ 1036952 w 1243958"/>
                <a:gd name="connsiteY1" fmla="*/ 257442 h 257442"/>
                <a:gd name="connsiteX2" fmla="*/ 0 w 1243958"/>
                <a:gd name="connsiteY2" fmla="*/ 257442 h 257442"/>
                <a:gd name="connsiteX3" fmla="*/ 0 w 1243958"/>
                <a:gd name="connsiteY3" fmla="*/ 0 h 257442"/>
                <a:gd name="connsiteX0" fmla="*/ 1243958 w 1243958"/>
                <a:gd name="connsiteY0" fmla="*/ 0 h 257442"/>
                <a:gd name="connsiteX1" fmla="*/ 1189236 w 1243958"/>
                <a:gd name="connsiteY1" fmla="*/ 257442 h 257442"/>
                <a:gd name="connsiteX2" fmla="*/ 0 w 1243958"/>
                <a:gd name="connsiteY2" fmla="*/ 257442 h 257442"/>
                <a:gd name="connsiteX3" fmla="*/ 0 w 1243958"/>
                <a:gd name="connsiteY3" fmla="*/ 0 h 257442"/>
                <a:gd name="connsiteX0" fmla="*/ 1243959 w 1243959"/>
                <a:gd name="connsiteY0" fmla="*/ 0 h 257442"/>
                <a:gd name="connsiteX1" fmla="*/ 1189237 w 1243959"/>
                <a:gd name="connsiteY1" fmla="*/ 257442 h 257442"/>
                <a:gd name="connsiteX2" fmla="*/ 0 w 1243959"/>
                <a:gd name="connsiteY2" fmla="*/ 257442 h 257442"/>
                <a:gd name="connsiteX3" fmla="*/ 1 w 1243959"/>
                <a:gd name="connsiteY3" fmla="*/ 0 h 257442"/>
                <a:gd name="connsiteX0" fmla="*/ 1243959 w 1243959"/>
                <a:gd name="connsiteY0" fmla="*/ 0 h 257442"/>
                <a:gd name="connsiteX1" fmla="*/ 1189237 w 1243959"/>
                <a:gd name="connsiteY1" fmla="*/ 257442 h 257442"/>
                <a:gd name="connsiteX2" fmla="*/ 0 w 1243959"/>
                <a:gd name="connsiteY2" fmla="*/ 257442 h 257442"/>
                <a:gd name="connsiteX3" fmla="*/ 1 w 1243959"/>
                <a:gd name="connsiteY3" fmla="*/ 0 h 257442"/>
                <a:gd name="connsiteX0" fmla="*/ 1404260 w 1404260"/>
                <a:gd name="connsiteY0" fmla="*/ 0 h 257442"/>
                <a:gd name="connsiteX1" fmla="*/ 1189237 w 1404260"/>
                <a:gd name="connsiteY1" fmla="*/ 257442 h 257442"/>
                <a:gd name="connsiteX2" fmla="*/ 0 w 1404260"/>
                <a:gd name="connsiteY2" fmla="*/ 257442 h 257442"/>
                <a:gd name="connsiteX3" fmla="*/ 1 w 1404260"/>
                <a:gd name="connsiteY3" fmla="*/ 0 h 257442"/>
                <a:gd name="connsiteX0" fmla="*/ 1404260 w 1404260"/>
                <a:gd name="connsiteY0" fmla="*/ 0 h 257442"/>
                <a:gd name="connsiteX1" fmla="*/ 1349538 w 1404260"/>
                <a:gd name="connsiteY1" fmla="*/ 257442 h 257442"/>
                <a:gd name="connsiteX2" fmla="*/ 0 w 1404260"/>
                <a:gd name="connsiteY2" fmla="*/ 257442 h 257442"/>
                <a:gd name="connsiteX3" fmla="*/ 1 w 1404260"/>
                <a:gd name="connsiteY3" fmla="*/ 0 h 257442"/>
                <a:gd name="connsiteX0" fmla="*/ 1404260 w 1404260"/>
                <a:gd name="connsiteY0" fmla="*/ 0 h 257442"/>
                <a:gd name="connsiteX1" fmla="*/ 1349538 w 1404260"/>
                <a:gd name="connsiteY1" fmla="*/ 257442 h 257442"/>
                <a:gd name="connsiteX2" fmla="*/ 0 w 1404260"/>
                <a:gd name="connsiteY2" fmla="*/ 257442 h 257442"/>
                <a:gd name="connsiteX3" fmla="*/ 1 w 1404260"/>
                <a:gd name="connsiteY3" fmla="*/ 0 h 257442"/>
                <a:gd name="connsiteX0" fmla="*/ 1404260 w 1404260"/>
                <a:gd name="connsiteY0" fmla="*/ 0 h 257442"/>
                <a:gd name="connsiteX1" fmla="*/ 1349538 w 1404260"/>
                <a:gd name="connsiteY1" fmla="*/ 257442 h 257442"/>
                <a:gd name="connsiteX2" fmla="*/ 0 w 1404260"/>
                <a:gd name="connsiteY2" fmla="*/ 257442 h 257442"/>
                <a:gd name="connsiteX3" fmla="*/ 0 w 1404260"/>
                <a:gd name="connsiteY3" fmla="*/ 0 h 257442"/>
                <a:gd name="connsiteX0" fmla="*/ 1572573 w 1572573"/>
                <a:gd name="connsiteY0" fmla="*/ 0 h 257442"/>
                <a:gd name="connsiteX1" fmla="*/ 1349538 w 1572573"/>
                <a:gd name="connsiteY1" fmla="*/ 257442 h 257442"/>
                <a:gd name="connsiteX2" fmla="*/ 0 w 1572573"/>
                <a:gd name="connsiteY2" fmla="*/ 257442 h 257442"/>
                <a:gd name="connsiteX3" fmla="*/ 0 w 1572573"/>
                <a:gd name="connsiteY3" fmla="*/ 0 h 257442"/>
                <a:gd name="connsiteX0" fmla="*/ 1572573 w 1572573"/>
                <a:gd name="connsiteY0" fmla="*/ 0 h 257442"/>
                <a:gd name="connsiteX1" fmla="*/ 1517852 w 1572573"/>
                <a:gd name="connsiteY1" fmla="*/ 257442 h 257442"/>
                <a:gd name="connsiteX2" fmla="*/ 0 w 1572573"/>
                <a:gd name="connsiteY2" fmla="*/ 257442 h 257442"/>
                <a:gd name="connsiteX3" fmla="*/ 0 w 1572573"/>
                <a:gd name="connsiteY3" fmla="*/ 0 h 257442"/>
                <a:gd name="connsiteX0" fmla="*/ 1572573 w 1572573"/>
                <a:gd name="connsiteY0" fmla="*/ 0 h 257442"/>
                <a:gd name="connsiteX1" fmla="*/ 1517852 w 1572573"/>
                <a:gd name="connsiteY1" fmla="*/ 257442 h 257442"/>
                <a:gd name="connsiteX2" fmla="*/ 0 w 1572573"/>
                <a:gd name="connsiteY2" fmla="*/ 257442 h 257442"/>
                <a:gd name="connsiteX3" fmla="*/ 0 w 1572573"/>
                <a:gd name="connsiteY3" fmla="*/ 0 h 257442"/>
                <a:gd name="connsiteX0" fmla="*/ 1572573 w 1572573"/>
                <a:gd name="connsiteY0" fmla="*/ 0 h 257442"/>
                <a:gd name="connsiteX1" fmla="*/ 1517852 w 1572573"/>
                <a:gd name="connsiteY1" fmla="*/ 257442 h 257442"/>
                <a:gd name="connsiteX2" fmla="*/ 0 w 1572573"/>
                <a:gd name="connsiteY2" fmla="*/ 257442 h 257442"/>
                <a:gd name="connsiteX3" fmla="*/ 0 w 1572573"/>
                <a:gd name="connsiteY3" fmla="*/ 0 h 257442"/>
                <a:gd name="connsiteX0" fmla="*/ 1724859 w 1724859"/>
                <a:gd name="connsiteY0" fmla="*/ 0 h 257442"/>
                <a:gd name="connsiteX1" fmla="*/ 1517852 w 1724859"/>
                <a:gd name="connsiteY1" fmla="*/ 257442 h 257442"/>
                <a:gd name="connsiteX2" fmla="*/ 0 w 1724859"/>
                <a:gd name="connsiteY2" fmla="*/ 257442 h 257442"/>
                <a:gd name="connsiteX3" fmla="*/ 0 w 1724859"/>
                <a:gd name="connsiteY3" fmla="*/ 0 h 257442"/>
                <a:gd name="connsiteX0" fmla="*/ 1724859 w 1724859"/>
                <a:gd name="connsiteY0" fmla="*/ 0 h 257442"/>
                <a:gd name="connsiteX1" fmla="*/ 1670138 w 1724859"/>
                <a:gd name="connsiteY1" fmla="*/ 257442 h 257442"/>
                <a:gd name="connsiteX2" fmla="*/ 0 w 1724859"/>
                <a:gd name="connsiteY2" fmla="*/ 257442 h 257442"/>
                <a:gd name="connsiteX3" fmla="*/ 0 w 1724859"/>
                <a:gd name="connsiteY3" fmla="*/ 0 h 257442"/>
                <a:gd name="connsiteX0" fmla="*/ 1724859 w 1724859"/>
                <a:gd name="connsiteY0" fmla="*/ 0 h 257442"/>
                <a:gd name="connsiteX1" fmla="*/ 1670138 w 1724859"/>
                <a:gd name="connsiteY1" fmla="*/ 257442 h 257442"/>
                <a:gd name="connsiteX2" fmla="*/ 0 w 1724859"/>
                <a:gd name="connsiteY2" fmla="*/ 257442 h 257442"/>
                <a:gd name="connsiteX3" fmla="*/ 0 w 1724859"/>
                <a:gd name="connsiteY3" fmla="*/ 0 h 257442"/>
                <a:gd name="connsiteX0" fmla="*/ 1724859 w 1724859"/>
                <a:gd name="connsiteY0" fmla="*/ 0 h 257442"/>
                <a:gd name="connsiteX1" fmla="*/ 1670138 w 1724859"/>
                <a:gd name="connsiteY1" fmla="*/ 257442 h 257442"/>
                <a:gd name="connsiteX2" fmla="*/ 0 w 1724859"/>
                <a:gd name="connsiteY2" fmla="*/ 257442 h 257442"/>
                <a:gd name="connsiteX3" fmla="*/ 0 w 1724859"/>
                <a:gd name="connsiteY3" fmla="*/ 0 h 257442"/>
                <a:gd name="connsiteX0" fmla="*/ 1825848 w 1825848"/>
                <a:gd name="connsiteY0" fmla="*/ 0 h 257442"/>
                <a:gd name="connsiteX1" fmla="*/ 1670138 w 1825848"/>
                <a:gd name="connsiteY1" fmla="*/ 257442 h 257442"/>
                <a:gd name="connsiteX2" fmla="*/ 0 w 1825848"/>
                <a:gd name="connsiteY2" fmla="*/ 257442 h 257442"/>
                <a:gd name="connsiteX3" fmla="*/ 0 w 1825848"/>
                <a:gd name="connsiteY3" fmla="*/ 0 h 257442"/>
                <a:gd name="connsiteX0" fmla="*/ 1825848 w 1825848"/>
                <a:gd name="connsiteY0" fmla="*/ 0 h 257442"/>
                <a:gd name="connsiteX1" fmla="*/ 1771126 w 1825848"/>
                <a:gd name="connsiteY1" fmla="*/ 257442 h 257442"/>
                <a:gd name="connsiteX2" fmla="*/ 0 w 1825848"/>
                <a:gd name="connsiteY2" fmla="*/ 257442 h 257442"/>
                <a:gd name="connsiteX3" fmla="*/ 0 w 1825848"/>
                <a:gd name="connsiteY3" fmla="*/ 0 h 257442"/>
                <a:gd name="connsiteX0" fmla="*/ 1825849 w 1825849"/>
                <a:gd name="connsiteY0" fmla="*/ 0 h 257442"/>
                <a:gd name="connsiteX1" fmla="*/ 1771127 w 1825849"/>
                <a:gd name="connsiteY1" fmla="*/ 257442 h 257442"/>
                <a:gd name="connsiteX2" fmla="*/ 0 w 1825849"/>
                <a:gd name="connsiteY2" fmla="*/ 257442 h 257442"/>
                <a:gd name="connsiteX3" fmla="*/ 1 w 1825849"/>
                <a:gd name="connsiteY3" fmla="*/ 0 h 257442"/>
                <a:gd name="connsiteX0" fmla="*/ 1825849 w 1825849"/>
                <a:gd name="connsiteY0" fmla="*/ 0 h 257442"/>
                <a:gd name="connsiteX1" fmla="*/ 1771127 w 1825849"/>
                <a:gd name="connsiteY1" fmla="*/ 257442 h 257442"/>
                <a:gd name="connsiteX2" fmla="*/ 0 w 1825849"/>
                <a:gd name="connsiteY2" fmla="*/ 257442 h 257442"/>
                <a:gd name="connsiteX3" fmla="*/ 1 w 1825849"/>
                <a:gd name="connsiteY3" fmla="*/ 0 h 257442"/>
                <a:gd name="connsiteX0" fmla="*/ 1986149 w 1986149"/>
                <a:gd name="connsiteY0" fmla="*/ 0 h 257442"/>
                <a:gd name="connsiteX1" fmla="*/ 1771127 w 1986149"/>
                <a:gd name="connsiteY1" fmla="*/ 257442 h 257442"/>
                <a:gd name="connsiteX2" fmla="*/ 0 w 1986149"/>
                <a:gd name="connsiteY2" fmla="*/ 257442 h 257442"/>
                <a:gd name="connsiteX3" fmla="*/ 1 w 1986149"/>
                <a:gd name="connsiteY3" fmla="*/ 0 h 257442"/>
                <a:gd name="connsiteX0" fmla="*/ 1986149 w 1986149"/>
                <a:gd name="connsiteY0" fmla="*/ 0 h 257442"/>
                <a:gd name="connsiteX1" fmla="*/ 1931428 w 1986149"/>
                <a:gd name="connsiteY1" fmla="*/ 257442 h 257442"/>
                <a:gd name="connsiteX2" fmla="*/ 0 w 1986149"/>
                <a:gd name="connsiteY2" fmla="*/ 257442 h 257442"/>
                <a:gd name="connsiteX3" fmla="*/ 1 w 1986149"/>
                <a:gd name="connsiteY3" fmla="*/ 0 h 257442"/>
                <a:gd name="connsiteX0" fmla="*/ 1986148 w 1986148"/>
                <a:gd name="connsiteY0" fmla="*/ 0 h 257442"/>
                <a:gd name="connsiteX1" fmla="*/ 1931427 w 1986148"/>
                <a:gd name="connsiteY1" fmla="*/ 257442 h 257442"/>
                <a:gd name="connsiteX2" fmla="*/ 0 w 1986148"/>
                <a:gd name="connsiteY2" fmla="*/ 257442 h 257442"/>
                <a:gd name="connsiteX3" fmla="*/ 0 w 1986148"/>
                <a:gd name="connsiteY3" fmla="*/ 0 h 257442"/>
                <a:gd name="connsiteX0" fmla="*/ 1986149 w 1986149"/>
                <a:gd name="connsiteY0" fmla="*/ 0 h 257442"/>
                <a:gd name="connsiteX1" fmla="*/ 1931428 w 1986149"/>
                <a:gd name="connsiteY1" fmla="*/ 257442 h 257442"/>
                <a:gd name="connsiteX2" fmla="*/ 1 w 1986149"/>
                <a:gd name="connsiteY2" fmla="*/ 257442 h 257442"/>
                <a:gd name="connsiteX3" fmla="*/ 0 w 1986149"/>
                <a:gd name="connsiteY3" fmla="*/ 0 h 257442"/>
                <a:gd name="connsiteX0" fmla="*/ 2164083 w 2164083"/>
                <a:gd name="connsiteY0" fmla="*/ 0 h 257442"/>
                <a:gd name="connsiteX1" fmla="*/ 1931428 w 2164083"/>
                <a:gd name="connsiteY1" fmla="*/ 257442 h 257442"/>
                <a:gd name="connsiteX2" fmla="*/ 1 w 2164083"/>
                <a:gd name="connsiteY2" fmla="*/ 257442 h 257442"/>
                <a:gd name="connsiteX3" fmla="*/ 0 w 2164083"/>
                <a:gd name="connsiteY3" fmla="*/ 0 h 257442"/>
                <a:gd name="connsiteX0" fmla="*/ 2164083 w 2164083"/>
                <a:gd name="connsiteY0" fmla="*/ 0 h 257442"/>
                <a:gd name="connsiteX1" fmla="*/ 2109362 w 2164083"/>
                <a:gd name="connsiteY1" fmla="*/ 257442 h 257442"/>
                <a:gd name="connsiteX2" fmla="*/ 1 w 2164083"/>
                <a:gd name="connsiteY2" fmla="*/ 257442 h 257442"/>
                <a:gd name="connsiteX3" fmla="*/ 0 w 2164083"/>
                <a:gd name="connsiteY3" fmla="*/ 0 h 257442"/>
                <a:gd name="connsiteX0" fmla="*/ 2164083 w 2164083"/>
                <a:gd name="connsiteY0" fmla="*/ 0 h 257442"/>
                <a:gd name="connsiteX1" fmla="*/ 2109362 w 2164083"/>
                <a:gd name="connsiteY1" fmla="*/ 257442 h 257442"/>
                <a:gd name="connsiteX2" fmla="*/ 1 w 2164083"/>
                <a:gd name="connsiteY2" fmla="*/ 257442 h 257442"/>
                <a:gd name="connsiteX3" fmla="*/ 0 w 2164083"/>
                <a:gd name="connsiteY3" fmla="*/ 0 h 257442"/>
                <a:gd name="connsiteX0" fmla="*/ 2164082 w 2164082"/>
                <a:gd name="connsiteY0" fmla="*/ 0 h 257442"/>
                <a:gd name="connsiteX1" fmla="*/ 2109361 w 2164082"/>
                <a:gd name="connsiteY1" fmla="*/ 257442 h 257442"/>
                <a:gd name="connsiteX2" fmla="*/ 0 w 2164082"/>
                <a:gd name="connsiteY2" fmla="*/ 257442 h 257442"/>
                <a:gd name="connsiteX3" fmla="*/ 0 w 2164082"/>
                <a:gd name="connsiteY3" fmla="*/ 0 h 257442"/>
                <a:gd name="connsiteX0" fmla="*/ 2332396 w 2332396"/>
                <a:gd name="connsiteY0" fmla="*/ 0 h 257442"/>
                <a:gd name="connsiteX1" fmla="*/ 2109361 w 2332396"/>
                <a:gd name="connsiteY1" fmla="*/ 257442 h 257442"/>
                <a:gd name="connsiteX2" fmla="*/ 0 w 2332396"/>
                <a:gd name="connsiteY2" fmla="*/ 257442 h 257442"/>
                <a:gd name="connsiteX3" fmla="*/ 0 w 2332396"/>
                <a:gd name="connsiteY3" fmla="*/ 0 h 257442"/>
                <a:gd name="connsiteX0" fmla="*/ 2332396 w 2332396"/>
                <a:gd name="connsiteY0" fmla="*/ 0 h 257442"/>
                <a:gd name="connsiteX1" fmla="*/ 2277675 w 2332396"/>
                <a:gd name="connsiteY1" fmla="*/ 257442 h 257442"/>
                <a:gd name="connsiteX2" fmla="*/ 0 w 2332396"/>
                <a:gd name="connsiteY2" fmla="*/ 257442 h 257442"/>
                <a:gd name="connsiteX3" fmla="*/ 0 w 2332396"/>
                <a:gd name="connsiteY3" fmla="*/ 0 h 257442"/>
                <a:gd name="connsiteX0" fmla="*/ 2332397 w 2332397"/>
                <a:gd name="connsiteY0" fmla="*/ 0 h 257442"/>
                <a:gd name="connsiteX1" fmla="*/ 2277676 w 2332397"/>
                <a:gd name="connsiteY1" fmla="*/ 257442 h 257442"/>
                <a:gd name="connsiteX2" fmla="*/ 0 w 2332397"/>
                <a:gd name="connsiteY2" fmla="*/ 257442 h 257442"/>
                <a:gd name="connsiteX3" fmla="*/ 1 w 2332397"/>
                <a:gd name="connsiteY3" fmla="*/ 0 h 257442"/>
                <a:gd name="connsiteX0" fmla="*/ 2332397 w 2332397"/>
                <a:gd name="connsiteY0" fmla="*/ 0 h 257442"/>
                <a:gd name="connsiteX1" fmla="*/ 2277676 w 2332397"/>
                <a:gd name="connsiteY1" fmla="*/ 257442 h 257442"/>
                <a:gd name="connsiteX2" fmla="*/ 0 w 2332397"/>
                <a:gd name="connsiteY2" fmla="*/ 257442 h 257442"/>
                <a:gd name="connsiteX3" fmla="*/ 1 w 2332397"/>
                <a:gd name="connsiteY3" fmla="*/ 0 h 257442"/>
                <a:gd name="connsiteX0" fmla="*/ 2500714 w 2500714"/>
                <a:gd name="connsiteY0" fmla="*/ 0 h 257442"/>
                <a:gd name="connsiteX1" fmla="*/ 2277676 w 2500714"/>
                <a:gd name="connsiteY1" fmla="*/ 257442 h 257442"/>
                <a:gd name="connsiteX2" fmla="*/ 0 w 2500714"/>
                <a:gd name="connsiteY2" fmla="*/ 257442 h 257442"/>
                <a:gd name="connsiteX3" fmla="*/ 1 w 2500714"/>
                <a:gd name="connsiteY3" fmla="*/ 0 h 257442"/>
                <a:gd name="connsiteX0" fmla="*/ 2500714 w 2500714"/>
                <a:gd name="connsiteY0" fmla="*/ 0 h 257442"/>
                <a:gd name="connsiteX1" fmla="*/ 2445992 w 2500714"/>
                <a:gd name="connsiteY1" fmla="*/ 257442 h 257442"/>
                <a:gd name="connsiteX2" fmla="*/ 0 w 2500714"/>
                <a:gd name="connsiteY2" fmla="*/ 257442 h 257442"/>
                <a:gd name="connsiteX3" fmla="*/ 1 w 2500714"/>
                <a:gd name="connsiteY3" fmla="*/ 0 h 257442"/>
                <a:gd name="connsiteX0" fmla="*/ 2500714 w 2500714"/>
                <a:gd name="connsiteY0" fmla="*/ 0 h 257442"/>
                <a:gd name="connsiteX1" fmla="*/ 2445992 w 2500714"/>
                <a:gd name="connsiteY1" fmla="*/ 257442 h 257442"/>
                <a:gd name="connsiteX2" fmla="*/ 0 w 2500714"/>
                <a:gd name="connsiteY2" fmla="*/ 257442 h 257442"/>
                <a:gd name="connsiteX3" fmla="*/ 1 w 2500714"/>
                <a:gd name="connsiteY3" fmla="*/ 0 h 257442"/>
                <a:gd name="connsiteX0" fmla="*/ 2500714 w 2500714"/>
                <a:gd name="connsiteY0" fmla="*/ 0 h 257442"/>
                <a:gd name="connsiteX1" fmla="*/ 2445992 w 2500714"/>
                <a:gd name="connsiteY1" fmla="*/ 257442 h 257442"/>
                <a:gd name="connsiteX2" fmla="*/ 0 w 2500714"/>
                <a:gd name="connsiteY2" fmla="*/ 257442 h 257442"/>
                <a:gd name="connsiteX3" fmla="*/ 0 w 2500714"/>
                <a:gd name="connsiteY3" fmla="*/ 0 h 257442"/>
                <a:gd name="connsiteX0" fmla="*/ 2661013 w 2661013"/>
                <a:gd name="connsiteY0" fmla="*/ 0 h 257442"/>
                <a:gd name="connsiteX1" fmla="*/ 2445992 w 2661013"/>
                <a:gd name="connsiteY1" fmla="*/ 257442 h 257442"/>
                <a:gd name="connsiteX2" fmla="*/ 0 w 2661013"/>
                <a:gd name="connsiteY2" fmla="*/ 257442 h 257442"/>
                <a:gd name="connsiteX3" fmla="*/ 0 w 2661013"/>
                <a:gd name="connsiteY3" fmla="*/ 0 h 257442"/>
                <a:gd name="connsiteX0" fmla="*/ 2661013 w 2661013"/>
                <a:gd name="connsiteY0" fmla="*/ 0 h 257442"/>
                <a:gd name="connsiteX1" fmla="*/ 2606292 w 2661013"/>
                <a:gd name="connsiteY1" fmla="*/ 257442 h 257442"/>
                <a:gd name="connsiteX2" fmla="*/ 0 w 2661013"/>
                <a:gd name="connsiteY2" fmla="*/ 257442 h 257442"/>
                <a:gd name="connsiteX3" fmla="*/ 0 w 2661013"/>
                <a:gd name="connsiteY3" fmla="*/ 0 h 257442"/>
                <a:gd name="connsiteX0" fmla="*/ 2661013 w 2661013"/>
                <a:gd name="connsiteY0" fmla="*/ 0 h 257442"/>
                <a:gd name="connsiteX1" fmla="*/ 2606292 w 2661013"/>
                <a:gd name="connsiteY1" fmla="*/ 257442 h 257442"/>
                <a:gd name="connsiteX2" fmla="*/ 0 w 2661013"/>
                <a:gd name="connsiteY2" fmla="*/ 257442 h 257442"/>
                <a:gd name="connsiteX3" fmla="*/ 0 w 2661013"/>
                <a:gd name="connsiteY3" fmla="*/ 0 h 257442"/>
                <a:gd name="connsiteX0" fmla="*/ 2661013 w 2661013"/>
                <a:gd name="connsiteY0" fmla="*/ 0 h 257442"/>
                <a:gd name="connsiteX1" fmla="*/ 2606292 w 2661013"/>
                <a:gd name="connsiteY1" fmla="*/ 257442 h 257442"/>
                <a:gd name="connsiteX2" fmla="*/ 0 w 2661013"/>
                <a:gd name="connsiteY2" fmla="*/ 257442 h 257442"/>
                <a:gd name="connsiteX3" fmla="*/ 0 w 2661013"/>
                <a:gd name="connsiteY3" fmla="*/ 0 h 257442"/>
                <a:gd name="connsiteX0" fmla="*/ 986067 w 2606292"/>
                <a:gd name="connsiteY0" fmla="*/ 0 h 257442"/>
                <a:gd name="connsiteX1" fmla="*/ 2606292 w 2606292"/>
                <a:gd name="connsiteY1" fmla="*/ 257442 h 257442"/>
                <a:gd name="connsiteX2" fmla="*/ 0 w 2606292"/>
                <a:gd name="connsiteY2" fmla="*/ 257442 h 257442"/>
                <a:gd name="connsiteX3" fmla="*/ 0 w 2606292"/>
                <a:gd name="connsiteY3" fmla="*/ 0 h 257442"/>
                <a:gd name="connsiteX0" fmla="*/ 986067 w 986067"/>
                <a:gd name="connsiteY0" fmla="*/ 0 h 257442"/>
                <a:gd name="connsiteX1" fmla="*/ 931346 w 986067"/>
                <a:gd name="connsiteY1" fmla="*/ 257442 h 257442"/>
                <a:gd name="connsiteX2" fmla="*/ 0 w 986067"/>
                <a:gd name="connsiteY2" fmla="*/ 257442 h 257442"/>
                <a:gd name="connsiteX3" fmla="*/ 0 w 986067"/>
                <a:gd name="connsiteY3" fmla="*/ 0 h 257442"/>
                <a:gd name="connsiteX0" fmla="*/ 986067 w 986067"/>
                <a:gd name="connsiteY0" fmla="*/ 0 h 257442"/>
                <a:gd name="connsiteX1" fmla="*/ 931346 w 986067"/>
                <a:gd name="connsiteY1" fmla="*/ 257442 h 257442"/>
                <a:gd name="connsiteX2" fmla="*/ 1 w 986067"/>
                <a:gd name="connsiteY2" fmla="*/ 257442 h 257442"/>
                <a:gd name="connsiteX3" fmla="*/ 0 w 986067"/>
                <a:gd name="connsiteY3" fmla="*/ 0 h 257442"/>
                <a:gd name="connsiteX0" fmla="*/ 986066 w 986066"/>
                <a:gd name="connsiteY0" fmla="*/ 0 h 257442"/>
                <a:gd name="connsiteX1" fmla="*/ 931345 w 986066"/>
                <a:gd name="connsiteY1" fmla="*/ 257442 h 257442"/>
                <a:gd name="connsiteX2" fmla="*/ 0 w 986066"/>
                <a:gd name="connsiteY2" fmla="*/ 257442 h 257442"/>
                <a:gd name="connsiteX3" fmla="*/ 0 w 986066"/>
                <a:gd name="connsiteY3" fmla="*/ 0 h 257442"/>
                <a:gd name="connsiteX0" fmla="*/ 1163999 w 1163999"/>
                <a:gd name="connsiteY0" fmla="*/ 0 h 257442"/>
                <a:gd name="connsiteX1" fmla="*/ 931345 w 1163999"/>
                <a:gd name="connsiteY1" fmla="*/ 257442 h 257442"/>
                <a:gd name="connsiteX2" fmla="*/ 0 w 1163999"/>
                <a:gd name="connsiteY2" fmla="*/ 257442 h 257442"/>
                <a:gd name="connsiteX3" fmla="*/ 0 w 1163999"/>
                <a:gd name="connsiteY3" fmla="*/ 0 h 257442"/>
                <a:gd name="connsiteX0" fmla="*/ 1163999 w 1163999"/>
                <a:gd name="connsiteY0" fmla="*/ 0 h 257442"/>
                <a:gd name="connsiteX1" fmla="*/ 1109278 w 1163999"/>
                <a:gd name="connsiteY1" fmla="*/ 257442 h 257442"/>
                <a:gd name="connsiteX2" fmla="*/ 0 w 1163999"/>
                <a:gd name="connsiteY2" fmla="*/ 257442 h 257442"/>
                <a:gd name="connsiteX3" fmla="*/ 0 w 1163999"/>
                <a:gd name="connsiteY3" fmla="*/ 0 h 257442"/>
                <a:gd name="connsiteX0" fmla="*/ 1164000 w 1164000"/>
                <a:gd name="connsiteY0" fmla="*/ 0 h 257442"/>
                <a:gd name="connsiteX1" fmla="*/ 1109279 w 1164000"/>
                <a:gd name="connsiteY1" fmla="*/ 257442 h 257442"/>
                <a:gd name="connsiteX2" fmla="*/ 0 w 1164000"/>
                <a:gd name="connsiteY2" fmla="*/ 257442 h 257442"/>
                <a:gd name="connsiteX3" fmla="*/ 1 w 1164000"/>
                <a:gd name="connsiteY3" fmla="*/ 0 h 257442"/>
                <a:gd name="connsiteX0" fmla="*/ 1164000 w 1164000"/>
                <a:gd name="connsiteY0" fmla="*/ 0 h 257442"/>
                <a:gd name="connsiteX1" fmla="*/ 1109279 w 1164000"/>
                <a:gd name="connsiteY1" fmla="*/ 257442 h 257442"/>
                <a:gd name="connsiteX2" fmla="*/ 0 w 1164000"/>
                <a:gd name="connsiteY2" fmla="*/ 257442 h 257442"/>
                <a:gd name="connsiteX3" fmla="*/ 0 w 1164000"/>
                <a:gd name="connsiteY3" fmla="*/ 0 h 257442"/>
                <a:gd name="connsiteX0" fmla="*/ 1332316 w 1332316"/>
                <a:gd name="connsiteY0" fmla="*/ 0 h 257442"/>
                <a:gd name="connsiteX1" fmla="*/ 1109279 w 1332316"/>
                <a:gd name="connsiteY1" fmla="*/ 257442 h 257442"/>
                <a:gd name="connsiteX2" fmla="*/ 0 w 1332316"/>
                <a:gd name="connsiteY2" fmla="*/ 257442 h 257442"/>
                <a:gd name="connsiteX3" fmla="*/ 0 w 1332316"/>
                <a:gd name="connsiteY3" fmla="*/ 0 h 257442"/>
                <a:gd name="connsiteX0" fmla="*/ 1332316 w 1332316"/>
                <a:gd name="connsiteY0" fmla="*/ 0 h 257442"/>
                <a:gd name="connsiteX1" fmla="*/ 1277595 w 1332316"/>
                <a:gd name="connsiteY1" fmla="*/ 257442 h 257442"/>
                <a:gd name="connsiteX2" fmla="*/ 0 w 1332316"/>
                <a:gd name="connsiteY2" fmla="*/ 257442 h 257442"/>
                <a:gd name="connsiteX3" fmla="*/ 0 w 1332316"/>
                <a:gd name="connsiteY3" fmla="*/ 0 h 257442"/>
                <a:gd name="connsiteX0" fmla="*/ 1332316 w 1332316"/>
                <a:gd name="connsiteY0" fmla="*/ 0 h 257442"/>
                <a:gd name="connsiteX1" fmla="*/ 1277595 w 1332316"/>
                <a:gd name="connsiteY1" fmla="*/ 257442 h 257442"/>
                <a:gd name="connsiteX2" fmla="*/ 0 w 1332316"/>
                <a:gd name="connsiteY2" fmla="*/ 257442 h 257442"/>
                <a:gd name="connsiteX3" fmla="*/ 0 w 1332316"/>
                <a:gd name="connsiteY3" fmla="*/ 0 h 257442"/>
                <a:gd name="connsiteX0" fmla="*/ 1332316 w 1332316"/>
                <a:gd name="connsiteY0" fmla="*/ 0 h 257442"/>
                <a:gd name="connsiteX1" fmla="*/ 1277595 w 1332316"/>
                <a:gd name="connsiteY1" fmla="*/ 257442 h 257442"/>
                <a:gd name="connsiteX2" fmla="*/ 0 w 1332316"/>
                <a:gd name="connsiteY2" fmla="*/ 257442 h 257442"/>
                <a:gd name="connsiteX3" fmla="*/ 0 w 1332316"/>
                <a:gd name="connsiteY3" fmla="*/ 0 h 257442"/>
                <a:gd name="connsiteX0" fmla="*/ 1500631 w 1500631"/>
                <a:gd name="connsiteY0" fmla="*/ 0 h 257442"/>
                <a:gd name="connsiteX1" fmla="*/ 1277595 w 1500631"/>
                <a:gd name="connsiteY1" fmla="*/ 257442 h 257442"/>
                <a:gd name="connsiteX2" fmla="*/ 0 w 1500631"/>
                <a:gd name="connsiteY2" fmla="*/ 257442 h 257442"/>
                <a:gd name="connsiteX3" fmla="*/ 0 w 1500631"/>
                <a:gd name="connsiteY3" fmla="*/ 0 h 257442"/>
                <a:gd name="connsiteX0" fmla="*/ 1500631 w 1500631"/>
                <a:gd name="connsiteY0" fmla="*/ 0 h 257442"/>
                <a:gd name="connsiteX1" fmla="*/ 1445910 w 1500631"/>
                <a:gd name="connsiteY1" fmla="*/ 257442 h 257442"/>
                <a:gd name="connsiteX2" fmla="*/ 0 w 1500631"/>
                <a:gd name="connsiteY2" fmla="*/ 257442 h 257442"/>
                <a:gd name="connsiteX3" fmla="*/ 0 w 1500631"/>
                <a:gd name="connsiteY3" fmla="*/ 0 h 257442"/>
                <a:gd name="connsiteX0" fmla="*/ 1500631 w 1500631"/>
                <a:gd name="connsiteY0" fmla="*/ 0 h 257442"/>
                <a:gd name="connsiteX1" fmla="*/ 1445910 w 1500631"/>
                <a:gd name="connsiteY1" fmla="*/ 257442 h 257442"/>
                <a:gd name="connsiteX2" fmla="*/ 0 w 1500631"/>
                <a:gd name="connsiteY2" fmla="*/ 257442 h 257442"/>
                <a:gd name="connsiteX3" fmla="*/ 0 w 1500631"/>
                <a:gd name="connsiteY3" fmla="*/ 0 h 257442"/>
                <a:gd name="connsiteX0" fmla="*/ 1500631 w 1500631"/>
                <a:gd name="connsiteY0" fmla="*/ 0 h 257442"/>
                <a:gd name="connsiteX1" fmla="*/ 1445910 w 1500631"/>
                <a:gd name="connsiteY1" fmla="*/ 257442 h 257442"/>
                <a:gd name="connsiteX2" fmla="*/ 0 w 1500631"/>
                <a:gd name="connsiteY2" fmla="*/ 257442 h 257442"/>
                <a:gd name="connsiteX3" fmla="*/ 0 w 1500631"/>
                <a:gd name="connsiteY3" fmla="*/ 0 h 257442"/>
                <a:gd name="connsiteX0" fmla="*/ 1652916 w 1652916"/>
                <a:gd name="connsiteY0" fmla="*/ 0 h 257442"/>
                <a:gd name="connsiteX1" fmla="*/ 1445910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652916 w 1652916"/>
                <a:gd name="connsiteY0" fmla="*/ 0 h 257442"/>
                <a:gd name="connsiteX1" fmla="*/ 1598194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652917 w 1652917"/>
                <a:gd name="connsiteY0" fmla="*/ 0 h 257442"/>
                <a:gd name="connsiteX1" fmla="*/ 1598195 w 1652917"/>
                <a:gd name="connsiteY1" fmla="*/ 257442 h 257442"/>
                <a:gd name="connsiteX2" fmla="*/ 0 w 1652917"/>
                <a:gd name="connsiteY2" fmla="*/ 257442 h 257442"/>
                <a:gd name="connsiteX3" fmla="*/ 1 w 1652917"/>
                <a:gd name="connsiteY3" fmla="*/ 0 h 257442"/>
                <a:gd name="connsiteX0" fmla="*/ 1652917 w 1652917"/>
                <a:gd name="connsiteY0" fmla="*/ 0 h 257442"/>
                <a:gd name="connsiteX1" fmla="*/ 1598195 w 1652917"/>
                <a:gd name="connsiteY1" fmla="*/ 257442 h 257442"/>
                <a:gd name="connsiteX2" fmla="*/ 0 w 1652917"/>
                <a:gd name="connsiteY2" fmla="*/ 257442 h 257442"/>
                <a:gd name="connsiteX3" fmla="*/ 1 w 1652917"/>
                <a:gd name="connsiteY3" fmla="*/ 0 h 257442"/>
                <a:gd name="connsiteX0" fmla="*/ 1830850 w 1830850"/>
                <a:gd name="connsiteY0" fmla="*/ 0 h 257442"/>
                <a:gd name="connsiteX1" fmla="*/ 1598195 w 1830850"/>
                <a:gd name="connsiteY1" fmla="*/ 257442 h 257442"/>
                <a:gd name="connsiteX2" fmla="*/ 0 w 1830850"/>
                <a:gd name="connsiteY2" fmla="*/ 257442 h 257442"/>
                <a:gd name="connsiteX3" fmla="*/ 1 w 1830850"/>
                <a:gd name="connsiteY3" fmla="*/ 0 h 257442"/>
                <a:gd name="connsiteX0" fmla="*/ 1830850 w 1830850"/>
                <a:gd name="connsiteY0" fmla="*/ 0 h 257442"/>
                <a:gd name="connsiteX1" fmla="*/ 1776128 w 1830850"/>
                <a:gd name="connsiteY1" fmla="*/ 257442 h 257442"/>
                <a:gd name="connsiteX2" fmla="*/ 0 w 1830850"/>
                <a:gd name="connsiteY2" fmla="*/ 257442 h 257442"/>
                <a:gd name="connsiteX3" fmla="*/ 1 w 1830850"/>
                <a:gd name="connsiteY3" fmla="*/ 0 h 257442"/>
                <a:gd name="connsiteX0" fmla="*/ 1830850 w 1830850"/>
                <a:gd name="connsiteY0" fmla="*/ 0 h 257442"/>
                <a:gd name="connsiteX1" fmla="*/ 1776128 w 1830850"/>
                <a:gd name="connsiteY1" fmla="*/ 257442 h 257442"/>
                <a:gd name="connsiteX2" fmla="*/ 0 w 1830850"/>
                <a:gd name="connsiteY2" fmla="*/ 257442 h 257442"/>
                <a:gd name="connsiteX3" fmla="*/ 1 w 1830850"/>
                <a:gd name="connsiteY3" fmla="*/ 0 h 257442"/>
                <a:gd name="connsiteX0" fmla="*/ 1830850 w 1830850"/>
                <a:gd name="connsiteY0" fmla="*/ 0 h 257442"/>
                <a:gd name="connsiteX1" fmla="*/ 1776128 w 1830850"/>
                <a:gd name="connsiteY1" fmla="*/ 257442 h 257442"/>
                <a:gd name="connsiteX2" fmla="*/ 0 w 1830850"/>
                <a:gd name="connsiteY2" fmla="*/ 257442 h 257442"/>
                <a:gd name="connsiteX3" fmla="*/ 0 w 1830850"/>
                <a:gd name="connsiteY3" fmla="*/ 0 h 257442"/>
                <a:gd name="connsiteX0" fmla="*/ 1999165 w 1999165"/>
                <a:gd name="connsiteY0" fmla="*/ 0 h 257442"/>
                <a:gd name="connsiteX1" fmla="*/ 1776128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2167480 w 2167480"/>
                <a:gd name="connsiteY0" fmla="*/ 0 h 257442"/>
                <a:gd name="connsiteX1" fmla="*/ 1944444 w 2167480"/>
                <a:gd name="connsiteY1" fmla="*/ 257442 h 257442"/>
                <a:gd name="connsiteX2" fmla="*/ 0 w 2167480"/>
                <a:gd name="connsiteY2" fmla="*/ 257442 h 257442"/>
                <a:gd name="connsiteX3" fmla="*/ 0 w 2167480"/>
                <a:gd name="connsiteY3" fmla="*/ 0 h 257442"/>
                <a:gd name="connsiteX0" fmla="*/ 2167480 w 2167480"/>
                <a:gd name="connsiteY0" fmla="*/ 0 h 257442"/>
                <a:gd name="connsiteX1" fmla="*/ 2112758 w 2167480"/>
                <a:gd name="connsiteY1" fmla="*/ 257442 h 257442"/>
                <a:gd name="connsiteX2" fmla="*/ 0 w 2167480"/>
                <a:gd name="connsiteY2" fmla="*/ 257442 h 257442"/>
                <a:gd name="connsiteX3" fmla="*/ 0 w 2167480"/>
                <a:gd name="connsiteY3" fmla="*/ 0 h 257442"/>
                <a:gd name="connsiteX0" fmla="*/ 2167481 w 2167481"/>
                <a:gd name="connsiteY0" fmla="*/ 0 h 257442"/>
                <a:gd name="connsiteX1" fmla="*/ 2112759 w 2167481"/>
                <a:gd name="connsiteY1" fmla="*/ 257442 h 257442"/>
                <a:gd name="connsiteX2" fmla="*/ 0 w 2167481"/>
                <a:gd name="connsiteY2" fmla="*/ 257442 h 257442"/>
                <a:gd name="connsiteX3" fmla="*/ 1 w 2167481"/>
                <a:gd name="connsiteY3" fmla="*/ 0 h 257442"/>
                <a:gd name="connsiteX0" fmla="*/ 2167481 w 2167481"/>
                <a:gd name="connsiteY0" fmla="*/ 0 h 257442"/>
                <a:gd name="connsiteX1" fmla="*/ 2112759 w 2167481"/>
                <a:gd name="connsiteY1" fmla="*/ 257442 h 257442"/>
                <a:gd name="connsiteX2" fmla="*/ 0 w 2167481"/>
                <a:gd name="connsiteY2" fmla="*/ 257442 h 257442"/>
                <a:gd name="connsiteX3" fmla="*/ 1 w 2167481"/>
                <a:gd name="connsiteY3" fmla="*/ 0 h 257442"/>
                <a:gd name="connsiteX0" fmla="*/ 2327781 w 2327781"/>
                <a:gd name="connsiteY0" fmla="*/ 0 h 257442"/>
                <a:gd name="connsiteX1" fmla="*/ 2112759 w 2327781"/>
                <a:gd name="connsiteY1" fmla="*/ 257442 h 257442"/>
                <a:gd name="connsiteX2" fmla="*/ 0 w 2327781"/>
                <a:gd name="connsiteY2" fmla="*/ 257442 h 257442"/>
                <a:gd name="connsiteX3" fmla="*/ 1 w 2327781"/>
                <a:gd name="connsiteY3" fmla="*/ 0 h 257442"/>
                <a:gd name="connsiteX0" fmla="*/ 2327781 w 2327781"/>
                <a:gd name="connsiteY0" fmla="*/ 0 h 257442"/>
                <a:gd name="connsiteX1" fmla="*/ 2273060 w 2327781"/>
                <a:gd name="connsiteY1" fmla="*/ 257442 h 257442"/>
                <a:gd name="connsiteX2" fmla="*/ 0 w 2327781"/>
                <a:gd name="connsiteY2" fmla="*/ 257442 h 257442"/>
                <a:gd name="connsiteX3" fmla="*/ 1 w 2327781"/>
                <a:gd name="connsiteY3" fmla="*/ 0 h 257442"/>
                <a:gd name="connsiteX0" fmla="*/ 2327780 w 2327780"/>
                <a:gd name="connsiteY0" fmla="*/ 0 h 257442"/>
                <a:gd name="connsiteX1" fmla="*/ 2273059 w 2327780"/>
                <a:gd name="connsiteY1" fmla="*/ 257442 h 257442"/>
                <a:gd name="connsiteX2" fmla="*/ 0 w 2327780"/>
                <a:gd name="connsiteY2" fmla="*/ 257442 h 257442"/>
                <a:gd name="connsiteX3" fmla="*/ 0 w 2327780"/>
                <a:gd name="connsiteY3" fmla="*/ 0 h 257442"/>
                <a:gd name="connsiteX0" fmla="*/ 2327781 w 2327781"/>
                <a:gd name="connsiteY0" fmla="*/ 0 h 257442"/>
                <a:gd name="connsiteX1" fmla="*/ 2273060 w 2327781"/>
                <a:gd name="connsiteY1" fmla="*/ 257442 h 257442"/>
                <a:gd name="connsiteX2" fmla="*/ 1 w 2327781"/>
                <a:gd name="connsiteY2" fmla="*/ 257442 h 257442"/>
                <a:gd name="connsiteX3" fmla="*/ 0 w 2327781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27781" h="257442">
                  <a:moveTo>
                    <a:pt x="2327781" y="0"/>
                  </a:moveTo>
                  <a:lnTo>
                    <a:pt x="2273060" y="257442"/>
                  </a:lnTo>
                  <a:lnTo>
                    <a:pt x="1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4" name="btfpRunningAgenda2LevelTextLeft228391">
              <a:extLst>
                <a:ext uri="{FF2B5EF4-FFF2-40B4-BE49-F238E27FC236}">
                  <a16:creationId xmlns:a16="http://schemas.microsoft.com/office/drawing/2014/main" id="{E66786D9-6F83-4AC7-9FA1-063103B29BC6}"/>
                </a:ext>
              </a:extLst>
            </p:cNvPr>
            <p:cNvSpPr txBox="1"/>
            <p:nvPr/>
          </p:nvSpPr>
          <p:spPr bwMode="gray">
            <a:xfrm>
              <a:off x="0" y="876300"/>
              <a:ext cx="2273059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all" spc="4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workforce</a:t>
              </a:r>
            </a:p>
          </p:txBody>
        </p:sp>
        <p:sp>
          <p:nvSpPr>
            <p:cNvPr id="36" name="btfpRunningAgenda2LevelBarRight228391">
              <a:extLst>
                <a:ext uri="{FF2B5EF4-FFF2-40B4-BE49-F238E27FC236}">
                  <a16:creationId xmlns:a16="http://schemas.microsoft.com/office/drawing/2014/main" id="{35FAFE6B-9B21-476F-94C6-C69C98E86AAB}"/>
                </a:ext>
              </a:extLst>
            </p:cNvPr>
            <p:cNvSpPr/>
            <p:nvPr/>
          </p:nvSpPr>
          <p:spPr bwMode="gray">
            <a:xfrm>
              <a:off x="2192938" y="876300"/>
              <a:ext cx="2989628" cy="257442"/>
            </a:xfrm>
            <a:custGeom>
              <a:avLst/>
              <a:gdLst>
                <a:gd name="connsiteX0" fmla="*/ 934771 w 2367856"/>
                <a:gd name="connsiteY0" fmla="*/ 0 h 257442"/>
                <a:gd name="connsiteX1" fmla="*/ 2367856 w 2367856"/>
                <a:gd name="connsiteY1" fmla="*/ 0 h 257442"/>
                <a:gd name="connsiteX2" fmla="*/ 2313135 w 2367856"/>
                <a:gd name="connsiteY2" fmla="*/ 257442 h 257442"/>
                <a:gd name="connsiteX3" fmla="*/ 0 w 2367856"/>
                <a:gd name="connsiteY3" fmla="*/ 257442 h 257442"/>
                <a:gd name="connsiteX0" fmla="*/ 934771 w 2313135"/>
                <a:gd name="connsiteY0" fmla="*/ 0 h 257442"/>
                <a:gd name="connsiteX1" fmla="*/ 880050 w 2313135"/>
                <a:gd name="connsiteY1" fmla="*/ 257442 h 257442"/>
                <a:gd name="connsiteX2" fmla="*/ 2313135 w 2313135"/>
                <a:gd name="connsiteY2" fmla="*/ 257442 h 257442"/>
                <a:gd name="connsiteX3" fmla="*/ 0 w 2313135"/>
                <a:gd name="connsiteY3" fmla="*/ 257442 h 257442"/>
                <a:gd name="connsiteX0" fmla="*/ 934771 w 934771"/>
                <a:gd name="connsiteY0" fmla="*/ 0 h 257442"/>
                <a:gd name="connsiteX1" fmla="*/ 880050 w 934771"/>
                <a:gd name="connsiteY1" fmla="*/ 257442 h 257442"/>
                <a:gd name="connsiteX2" fmla="*/ 1 w 934771"/>
                <a:gd name="connsiteY2" fmla="*/ 257442 h 257442"/>
                <a:gd name="connsiteX3" fmla="*/ 0 w 934771"/>
                <a:gd name="connsiteY3" fmla="*/ 257442 h 257442"/>
                <a:gd name="connsiteX0" fmla="*/ 934770 w 934770"/>
                <a:gd name="connsiteY0" fmla="*/ 0 h 257442"/>
                <a:gd name="connsiteX1" fmla="*/ 880049 w 934770"/>
                <a:gd name="connsiteY1" fmla="*/ 257442 h 257442"/>
                <a:gd name="connsiteX2" fmla="*/ 0 w 934770"/>
                <a:gd name="connsiteY2" fmla="*/ 257442 h 257442"/>
                <a:gd name="connsiteX3" fmla="*/ 54721 w 934770"/>
                <a:gd name="connsiteY3" fmla="*/ 0 h 257442"/>
                <a:gd name="connsiteX0" fmla="*/ 1103085 w 1103085"/>
                <a:gd name="connsiteY0" fmla="*/ 0 h 257442"/>
                <a:gd name="connsiteX1" fmla="*/ 880049 w 1103085"/>
                <a:gd name="connsiteY1" fmla="*/ 257442 h 257442"/>
                <a:gd name="connsiteX2" fmla="*/ 0 w 1103085"/>
                <a:gd name="connsiteY2" fmla="*/ 257442 h 257442"/>
                <a:gd name="connsiteX3" fmla="*/ 54721 w 1103085"/>
                <a:gd name="connsiteY3" fmla="*/ 0 h 257442"/>
                <a:gd name="connsiteX0" fmla="*/ 1103085 w 1103085"/>
                <a:gd name="connsiteY0" fmla="*/ 0 h 257442"/>
                <a:gd name="connsiteX1" fmla="*/ 1048364 w 1103085"/>
                <a:gd name="connsiteY1" fmla="*/ 257442 h 257442"/>
                <a:gd name="connsiteX2" fmla="*/ 0 w 1103085"/>
                <a:gd name="connsiteY2" fmla="*/ 257442 h 257442"/>
                <a:gd name="connsiteX3" fmla="*/ 54721 w 1103085"/>
                <a:gd name="connsiteY3" fmla="*/ 0 h 257442"/>
                <a:gd name="connsiteX0" fmla="*/ 1103086 w 1103086"/>
                <a:gd name="connsiteY0" fmla="*/ 0 h 257442"/>
                <a:gd name="connsiteX1" fmla="*/ 1048365 w 1103086"/>
                <a:gd name="connsiteY1" fmla="*/ 257442 h 257442"/>
                <a:gd name="connsiteX2" fmla="*/ 0 w 1103086"/>
                <a:gd name="connsiteY2" fmla="*/ 257442 h 257442"/>
                <a:gd name="connsiteX3" fmla="*/ 54722 w 1103086"/>
                <a:gd name="connsiteY3" fmla="*/ 0 h 257442"/>
                <a:gd name="connsiteX0" fmla="*/ 1103086 w 1103086"/>
                <a:gd name="connsiteY0" fmla="*/ 0 h 257442"/>
                <a:gd name="connsiteX1" fmla="*/ 1048365 w 1103086"/>
                <a:gd name="connsiteY1" fmla="*/ 257442 h 257442"/>
                <a:gd name="connsiteX2" fmla="*/ 0 w 1103086"/>
                <a:gd name="connsiteY2" fmla="*/ 257442 h 257442"/>
                <a:gd name="connsiteX3" fmla="*/ 54721 w 1103086"/>
                <a:gd name="connsiteY3" fmla="*/ 0 h 257442"/>
                <a:gd name="connsiteX0" fmla="*/ 1271402 w 1271402"/>
                <a:gd name="connsiteY0" fmla="*/ 0 h 257442"/>
                <a:gd name="connsiteX1" fmla="*/ 1048365 w 1271402"/>
                <a:gd name="connsiteY1" fmla="*/ 257442 h 257442"/>
                <a:gd name="connsiteX2" fmla="*/ 0 w 1271402"/>
                <a:gd name="connsiteY2" fmla="*/ 257442 h 257442"/>
                <a:gd name="connsiteX3" fmla="*/ 54721 w 1271402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54721 w 1271402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54721 w 1271402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54721 w 1271402"/>
                <a:gd name="connsiteY3" fmla="*/ 0 h 257442"/>
                <a:gd name="connsiteX0" fmla="*/ 1439717 w 1439717"/>
                <a:gd name="connsiteY0" fmla="*/ 0 h 257442"/>
                <a:gd name="connsiteX1" fmla="*/ 1216681 w 1439717"/>
                <a:gd name="connsiteY1" fmla="*/ 257442 h 257442"/>
                <a:gd name="connsiteX2" fmla="*/ 0 w 1439717"/>
                <a:gd name="connsiteY2" fmla="*/ 257442 h 257442"/>
                <a:gd name="connsiteX3" fmla="*/ 54721 w 1439717"/>
                <a:gd name="connsiteY3" fmla="*/ 0 h 257442"/>
                <a:gd name="connsiteX0" fmla="*/ 1439717 w 1439717"/>
                <a:gd name="connsiteY0" fmla="*/ 0 h 257442"/>
                <a:gd name="connsiteX1" fmla="*/ 1384996 w 1439717"/>
                <a:gd name="connsiteY1" fmla="*/ 257442 h 257442"/>
                <a:gd name="connsiteX2" fmla="*/ 0 w 1439717"/>
                <a:gd name="connsiteY2" fmla="*/ 257442 h 257442"/>
                <a:gd name="connsiteX3" fmla="*/ 54721 w 1439717"/>
                <a:gd name="connsiteY3" fmla="*/ 0 h 257442"/>
                <a:gd name="connsiteX0" fmla="*/ 1439717 w 1439717"/>
                <a:gd name="connsiteY0" fmla="*/ 0 h 257442"/>
                <a:gd name="connsiteX1" fmla="*/ 1384996 w 1439717"/>
                <a:gd name="connsiteY1" fmla="*/ 257442 h 257442"/>
                <a:gd name="connsiteX2" fmla="*/ 0 w 1439717"/>
                <a:gd name="connsiteY2" fmla="*/ 257442 h 257442"/>
                <a:gd name="connsiteX3" fmla="*/ 54721 w 1439717"/>
                <a:gd name="connsiteY3" fmla="*/ 0 h 257442"/>
                <a:gd name="connsiteX0" fmla="*/ 1439717 w 1439717"/>
                <a:gd name="connsiteY0" fmla="*/ 0 h 257442"/>
                <a:gd name="connsiteX1" fmla="*/ 1384996 w 1439717"/>
                <a:gd name="connsiteY1" fmla="*/ 257442 h 257442"/>
                <a:gd name="connsiteX2" fmla="*/ 0 w 1439717"/>
                <a:gd name="connsiteY2" fmla="*/ 257442 h 257442"/>
                <a:gd name="connsiteX3" fmla="*/ 54721 w 1439717"/>
                <a:gd name="connsiteY3" fmla="*/ 0 h 257442"/>
                <a:gd name="connsiteX0" fmla="*/ 1692991 w 1692991"/>
                <a:gd name="connsiteY0" fmla="*/ 0 h 257442"/>
                <a:gd name="connsiteX1" fmla="*/ 1384996 w 1692991"/>
                <a:gd name="connsiteY1" fmla="*/ 257442 h 257442"/>
                <a:gd name="connsiteX2" fmla="*/ 0 w 1692991"/>
                <a:gd name="connsiteY2" fmla="*/ 257442 h 257442"/>
                <a:gd name="connsiteX3" fmla="*/ 54721 w 1692991"/>
                <a:gd name="connsiteY3" fmla="*/ 0 h 257442"/>
                <a:gd name="connsiteX0" fmla="*/ 1692991 w 1692991"/>
                <a:gd name="connsiteY0" fmla="*/ 0 h 257442"/>
                <a:gd name="connsiteX1" fmla="*/ 1638270 w 1692991"/>
                <a:gd name="connsiteY1" fmla="*/ 257442 h 257442"/>
                <a:gd name="connsiteX2" fmla="*/ 0 w 1692991"/>
                <a:gd name="connsiteY2" fmla="*/ 257442 h 257442"/>
                <a:gd name="connsiteX3" fmla="*/ 54721 w 1692991"/>
                <a:gd name="connsiteY3" fmla="*/ 0 h 257442"/>
                <a:gd name="connsiteX0" fmla="*/ 1692991 w 1692991"/>
                <a:gd name="connsiteY0" fmla="*/ 0 h 257442"/>
                <a:gd name="connsiteX1" fmla="*/ 1638270 w 1692991"/>
                <a:gd name="connsiteY1" fmla="*/ 257442 h 257442"/>
                <a:gd name="connsiteX2" fmla="*/ 0 w 1692991"/>
                <a:gd name="connsiteY2" fmla="*/ 257442 h 257442"/>
                <a:gd name="connsiteX3" fmla="*/ 54721 w 1692991"/>
                <a:gd name="connsiteY3" fmla="*/ 0 h 257442"/>
                <a:gd name="connsiteX0" fmla="*/ 1692991 w 1692991"/>
                <a:gd name="connsiteY0" fmla="*/ 0 h 257442"/>
                <a:gd name="connsiteX1" fmla="*/ 1638270 w 1692991"/>
                <a:gd name="connsiteY1" fmla="*/ 257442 h 257442"/>
                <a:gd name="connsiteX2" fmla="*/ 0 w 1692991"/>
                <a:gd name="connsiteY2" fmla="*/ 257442 h 257442"/>
                <a:gd name="connsiteX3" fmla="*/ 54721 w 1692991"/>
                <a:gd name="connsiteY3" fmla="*/ 0 h 257442"/>
                <a:gd name="connsiteX0" fmla="*/ 1870925 w 1870925"/>
                <a:gd name="connsiteY0" fmla="*/ 0 h 257442"/>
                <a:gd name="connsiteX1" fmla="*/ 1638270 w 1870925"/>
                <a:gd name="connsiteY1" fmla="*/ 257442 h 257442"/>
                <a:gd name="connsiteX2" fmla="*/ 0 w 1870925"/>
                <a:gd name="connsiteY2" fmla="*/ 257442 h 257442"/>
                <a:gd name="connsiteX3" fmla="*/ 54721 w 1870925"/>
                <a:gd name="connsiteY3" fmla="*/ 0 h 257442"/>
                <a:gd name="connsiteX0" fmla="*/ 1870925 w 1870925"/>
                <a:gd name="connsiteY0" fmla="*/ 0 h 257442"/>
                <a:gd name="connsiteX1" fmla="*/ 1816204 w 1870925"/>
                <a:gd name="connsiteY1" fmla="*/ 257442 h 257442"/>
                <a:gd name="connsiteX2" fmla="*/ 0 w 1870925"/>
                <a:gd name="connsiteY2" fmla="*/ 257442 h 257442"/>
                <a:gd name="connsiteX3" fmla="*/ 54721 w 1870925"/>
                <a:gd name="connsiteY3" fmla="*/ 0 h 257442"/>
                <a:gd name="connsiteX0" fmla="*/ 1870925 w 1870925"/>
                <a:gd name="connsiteY0" fmla="*/ 0 h 257442"/>
                <a:gd name="connsiteX1" fmla="*/ 1816204 w 1870925"/>
                <a:gd name="connsiteY1" fmla="*/ 257442 h 257442"/>
                <a:gd name="connsiteX2" fmla="*/ 0 w 1870925"/>
                <a:gd name="connsiteY2" fmla="*/ 257442 h 257442"/>
                <a:gd name="connsiteX3" fmla="*/ 54721 w 1870925"/>
                <a:gd name="connsiteY3" fmla="*/ 0 h 257442"/>
                <a:gd name="connsiteX0" fmla="*/ 1870925 w 1870925"/>
                <a:gd name="connsiteY0" fmla="*/ 0 h 257442"/>
                <a:gd name="connsiteX1" fmla="*/ 1816204 w 1870925"/>
                <a:gd name="connsiteY1" fmla="*/ 257442 h 257442"/>
                <a:gd name="connsiteX2" fmla="*/ 0 w 1870925"/>
                <a:gd name="connsiteY2" fmla="*/ 257442 h 257442"/>
                <a:gd name="connsiteX3" fmla="*/ 54721 w 1870925"/>
                <a:gd name="connsiteY3" fmla="*/ 0 h 257442"/>
                <a:gd name="connsiteX0" fmla="*/ 2039240 w 2039240"/>
                <a:gd name="connsiteY0" fmla="*/ 0 h 257442"/>
                <a:gd name="connsiteX1" fmla="*/ 1816204 w 2039240"/>
                <a:gd name="connsiteY1" fmla="*/ 257442 h 257442"/>
                <a:gd name="connsiteX2" fmla="*/ 0 w 2039240"/>
                <a:gd name="connsiteY2" fmla="*/ 257442 h 257442"/>
                <a:gd name="connsiteX3" fmla="*/ 54721 w 2039240"/>
                <a:gd name="connsiteY3" fmla="*/ 0 h 257442"/>
                <a:gd name="connsiteX0" fmla="*/ 2039240 w 2039240"/>
                <a:gd name="connsiteY0" fmla="*/ 0 h 257442"/>
                <a:gd name="connsiteX1" fmla="*/ 1984518 w 2039240"/>
                <a:gd name="connsiteY1" fmla="*/ 257442 h 257442"/>
                <a:gd name="connsiteX2" fmla="*/ 0 w 2039240"/>
                <a:gd name="connsiteY2" fmla="*/ 257442 h 257442"/>
                <a:gd name="connsiteX3" fmla="*/ 54721 w 2039240"/>
                <a:gd name="connsiteY3" fmla="*/ 0 h 257442"/>
                <a:gd name="connsiteX0" fmla="*/ 2039241 w 2039241"/>
                <a:gd name="connsiteY0" fmla="*/ 0 h 257442"/>
                <a:gd name="connsiteX1" fmla="*/ 1984519 w 2039241"/>
                <a:gd name="connsiteY1" fmla="*/ 257442 h 257442"/>
                <a:gd name="connsiteX2" fmla="*/ 0 w 2039241"/>
                <a:gd name="connsiteY2" fmla="*/ 257442 h 257442"/>
                <a:gd name="connsiteX3" fmla="*/ 54722 w 2039241"/>
                <a:gd name="connsiteY3" fmla="*/ 0 h 257442"/>
                <a:gd name="connsiteX0" fmla="*/ 2039241 w 2039241"/>
                <a:gd name="connsiteY0" fmla="*/ 0 h 257442"/>
                <a:gd name="connsiteX1" fmla="*/ 1984519 w 2039241"/>
                <a:gd name="connsiteY1" fmla="*/ 257442 h 257442"/>
                <a:gd name="connsiteX2" fmla="*/ 0 w 2039241"/>
                <a:gd name="connsiteY2" fmla="*/ 257442 h 257442"/>
                <a:gd name="connsiteX3" fmla="*/ 54722 w 2039241"/>
                <a:gd name="connsiteY3" fmla="*/ 0 h 257442"/>
                <a:gd name="connsiteX0" fmla="*/ 950801 w 1984519"/>
                <a:gd name="connsiteY0" fmla="*/ 0 h 257442"/>
                <a:gd name="connsiteX1" fmla="*/ 1984519 w 1984519"/>
                <a:gd name="connsiteY1" fmla="*/ 257442 h 257442"/>
                <a:gd name="connsiteX2" fmla="*/ 0 w 1984519"/>
                <a:gd name="connsiteY2" fmla="*/ 257442 h 257442"/>
                <a:gd name="connsiteX3" fmla="*/ 54722 w 1984519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54722 w 950801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54722 w 950801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54721 w 950801"/>
                <a:gd name="connsiteY3" fmla="*/ 0 h 257442"/>
                <a:gd name="connsiteX0" fmla="*/ 1119116 w 1119116"/>
                <a:gd name="connsiteY0" fmla="*/ 0 h 257442"/>
                <a:gd name="connsiteX1" fmla="*/ 896080 w 1119116"/>
                <a:gd name="connsiteY1" fmla="*/ 257442 h 257442"/>
                <a:gd name="connsiteX2" fmla="*/ 0 w 1119116"/>
                <a:gd name="connsiteY2" fmla="*/ 257442 h 257442"/>
                <a:gd name="connsiteX3" fmla="*/ 54721 w 1119116"/>
                <a:gd name="connsiteY3" fmla="*/ 0 h 257442"/>
                <a:gd name="connsiteX0" fmla="*/ 1119116 w 1119116"/>
                <a:gd name="connsiteY0" fmla="*/ 0 h 257442"/>
                <a:gd name="connsiteX1" fmla="*/ 1064394 w 1119116"/>
                <a:gd name="connsiteY1" fmla="*/ 257442 h 257442"/>
                <a:gd name="connsiteX2" fmla="*/ 0 w 1119116"/>
                <a:gd name="connsiteY2" fmla="*/ 257442 h 257442"/>
                <a:gd name="connsiteX3" fmla="*/ 54721 w 1119116"/>
                <a:gd name="connsiteY3" fmla="*/ 0 h 257442"/>
                <a:gd name="connsiteX0" fmla="*/ 1119117 w 1119117"/>
                <a:gd name="connsiteY0" fmla="*/ 0 h 257442"/>
                <a:gd name="connsiteX1" fmla="*/ 1064395 w 1119117"/>
                <a:gd name="connsiteY1" fmla="*/ 257442 h 257442"/>
                <a:gd name="connsiteX2" fmla="*/ 0 w 1119117"/>
                <a:gd name="connsiteY2" fmla="*/ 257442 h 257442"/>
                <a:gd name="connsiteX3" fmla="*/ 54722 w 1119117"/>
                <a:gd name="connsiteY3" fmla="*/ 0 h 257442"/>
                <a:gd name="connsiteX0" fmla="*/ 1119117 w 1119117"/>
                <a:gd name="connsiteY0" fmla="*/ 0 h 257442"/>
                <a:gd name="connsiteX1" fmla="*/ 1064395 w 1119117"/>
                <a:gd name="connsiteY1" fmla="*/ 257442 h 257442"/>
                <a:gd name="connsiteX2" fmla="*/ 0 w 1119117"/>
                <a:gd name="connsiteY2" fmla="*/ 257442 h 257442"/>
                <a:gd name="connsiteX3" fmla="*/ 54722 w 1119117"/>
                <a:gd name="connsiteY3" fmla="*/ 0 h 257442"/>
                <a:gd name="connsiteX0" fmla="*/ 1287433 w 1287433"/>
                <a:gd name="connsiteY0" fmla="*/ 0 h 257442"/>
                <a:gd name="connsiteX1" fmla="*/ 1064395 w 1287433"/>
                <a:gd name="connsiteY1" fmla="*/ 257442 h 257442"/>
                <a:gd name="connsiteX2" fmla="*/ 0 w 1287433"/>
                <a:gd name="connsiteY2" fmla="*/ 257442 h 257442"/>
                <a:gd name="connsiteX3" fmla="*/ 54722 w 1287433"/>
                <a:gd name="connsiteY3" fmla="*/ 0 h 257442"/>
                <a:gd name="connsiteX0" fmla="*/ 1287433 w 1287433"/>
                <a:gd name="connsiteY0" fmla="*/ 0 h 257442"/>
                <a:gd name="connsiteX1" fmla="*/ 1232712 w 1287433"/>
                <a:gd name="connsiteY1" fmla="*/ 257442 h 257442"/>
                <a:gd name="connsiteX2" fmla="*/ 0 w 1287433"/>
                <a:gd name="connsiteY2" fmla="*/ 257442 h 257442"/>
                <a:gd name="connsiteX3" fmla="*/ 54722 w 1287433"/>
                <a:gd name="connsiteY3" fmla="*/ 0 h 257442"/>
                <a:gd name="connsiteX0" fmla="*/ 1287432 w 1287432"/>
                <a:gd name="connsiteY0" fmla="*/ 0 h 257442"/>
                <a:gd name="connsiteX1" fmla="*/ 1232711 w 1287432"/>
                <a:gd name="connsiteY1" fmla="*/ 257442 h 257442"/>
                <a:gd name="connsiteX2" fmla="*/ 0 w 1287432"/>
                <a:gd name="connsiteY2" fmla="*/ 257442 h 257442"/>
                <a:gd name="connsiteX3" fmla="*/ 54721 w 1287432"/>
                <a:gd name="connsiteY3" fmla="*/ 0 h 257442"/>
                <a:gd name="connsiteX0" fmla="*/ 1287432 w 1287432"/>
                <a:gd name="connsiteY0" fmla="*/ 0 h 257442"/>
                <a:gd name="connsiteX1" fmla="*/ 1232711 w 1287432"/>
                <a:gd name="connsiteY1" fmla="*/ 257442 h 257442"/>
                <a:gd name="connsiteX2" fmla="*/ 0 w 1287432"/>
                <a:gd name="connsiteY2" fmla="*/ 257442 h 257442"/>
                <a:gd name="connsiteX3" fmla="*/ 54720 w 1287432"/>
                <a:gd name="connsiteY3" fmla="*/ 0 h 257442"/>
                <a:gd name="connsiteX0" fmla="*/ 1455746 w 1455746"/>
                <a:gd name="connsiteY0" fmla="*/ 0 h 257442"/>
                <a:gd name="connsiteX1" fmla="*/ 1232711 w 1455746"/>
                <a:gd name="connsiteY1" fmla="*/ 257442 h 257442"/>
                <a:gd name="connsiteX2" fmla="*/ 0 w 1455746"/>
                <a:gd name="connsiteY2" fmla="*/ 257442 h 257442"/>
                <a:gd name="connsiteX3" fmla="*/ 54720 w 1455746"/>
                <a:gd name="connsiteY3" fmla="*/ 0 h 257442"/>
                <a:gd name="connsiteX0" fmla="*/ 1455746 w 1455746"/>
                <a:gd name="connsiteY0" fmla="*/ 0 h 257442"/>
                <a:gd name="connsiteX1" fmla="*/ 1401025 w 1455746"/>
                <a:gd name="connsiteY1" fmla="*/ 257442 h 257442"/>
                <a:gd name="connsiteX2" fmla="*/ 0 w 1455746"/>
                <a:gd name="connsiteY2" fmla="*/ 257442 h 257442"/>
                <a:gd name="connsiteX3" fmla="*/ 54720 w 1455746"/>
                <a:gd name="connsiteY3" fmla="*/ 0 h 257442"/>
                <a:gd name="connsiteX0" fmla="*/ 1455747 w 1455747"/>
                <a:gd name="connsiteY0" fmla="*/ 0 h 257442"/>
                <a:gd name="connsiteX1" fmla="*/ 1401026 w 1455747"/>
                <a:gd name="connsiteY1" fmla="*/ 257442 h 257442"/>
                <a:gd name="connsiteX2" fmla="*/ 0 w 1455747"/>
                <a:gd name="connsiteY2" fmla="*/ 257442 h 257442"/>
                <a:gd name="connsiteX3" fmla="*/ 54721 w 1455747"/>
                <a:gd name="connsiteY3" fmla="*/ 0 h 257442"/>
                <a:gd name="connsiteX0" fmla="*/ 1455747 w 1455747"/>
                <a:gd name="connsiteY0" fmla="*/ 0 h 257442"/>
                <a:gd name="connsiteX1" fmla="*/ 1401026 w 1455747"/>
                <a:gd name="connsiteY1" fmla="*/ 257442 h 257442"/>
                <a:gd name="connsiteX2" fmla="*/ 0 w 1455747"/>
                <a:gd name="connsiteY2" fmla="*/ 257442 h 257442"/>
                <a:gd name="connsiteX3" fmla="*/ 54722 w 1455747"/>
                <a:gd name="connsiteY3" fmla="*/ 0 h 257442"/>
                <a:gd name="connsiteX0" fmla="*/ 1633681 w 1633681"/>
                <a:gd name="connsiteY0" fmla="*/ 0 h 257442"/>
                <a:gd name="connsiteX1" fmla="*/ 1401026 w 1633681"/>
                <a:gd name="connsiteY1" fmla="*/ 257442 h 257442"/>
                <a:gd name="connsiteX2" fmla="*/ 0 w 1633681"/>
                <a:gd name="connsiteY2" fmla="*/ 257442 h 257442"/>
                <a:gd name="connsiteX3" fmla="*/ 54722 w 1633681"/>
                <a:gd name="connsiteY3" fmla="*/ 0 h 257442"/>
                <a:gd name="connsiteX0" fmla="*/ 1633681 w 1633681"/>
                <a:gd name="connsiteY0" fmla="*/ 0 h 257442"/>
                <a:gd name="connsiteX1" fmla="*/ 1578960 w 1633681"/>
                <a:gd name="connsiteY1" fmla="*/ 257442 h 257442"/>
                <a:gd name="connsiteX2" fmla="*/ 0 w 1633681"/>
                <a:gd name="connsiteY2" fmla="*/ 257442 h 257442"/>
                <a:gd name="connsiteX3" fmla="*/ 54722 w 1633681"/>
                <a:gd name="connsiteY3" fmla="*/ 0 h 257442"/>
                <a:gd name="connsiteX0" fmla="*/ 1633680 w 1633680"/>
                <a:gd name="connsiteY0" fmla="*/ 0 h 257442"/>
                <a:gd name="connsiteX1" fmla="*/ 1578959 w 1633680"/>
                <a:gd name="connsiteY1" fmla="*/ 257442 h 257442"/>
                <a:gd name="connsiteX2" fmla="*/ 0 w 1633680"/>
                <a:gd name="connsiteY2" fmla="*/ 257442 h 257442"/>
                <a:gd name="connsiteX3" fmla="*/ 54721 w 1633680"/>
                <a:gd name="connsiteY3" fmla="*/ 0 h 257442"/>
                <a:gd name="connsiteX0" fmla="*/ 1633680 w 1633680"/>
                <a:gd name="connsiteY0" fmla="*/ 0 h 257442"/>
                <a:gd name="connsiteX1" fmla="*/ 1578959 w 1633680"/>
                <a:gd name="connsiteY1" fmla="*/ 257442 h 257442"/>
                <a:gd name="connsiteX2" fmla="*/ 0 w 1633680"/>
                <a:gd name="connsiteY2" fmla="*/ 257442 h 257442"/>
                <a:gd name="connsiteX3" fmla="*/ 54720 w 1633680"/>
                <a:gd name="connsiteY3" fmla="*/ 0 h 257442"/>
                <a:gd name="connsiteX0" fmla="*/ 1801994 w 1801994"/>
                <a:gd name="connsiteY0" fmla="*/ 0 h 257442"/>
                <a:gd name="connsiteX1" fmla="*/ 1578959 w 1801994"/>
                <a:gd name="connsiteY1" fmla="*/ 257442 h 257442"/>
                <a:gd name="connsiteX2" fmla="*/ 0 w 1801994"/>
                <a:gd name="connsiteY2" fmla="*/ 257442 h 257442"/>
                <a:gd name="connsiteX3" fmla="*/ 54720 w 1801994"/>
                <a:gd name="connsiteY3" fmla="*/ 0 h 257442"/>
                <a:gd name="connsiteX0" fmla="*/ 1801994 w 1801994"/>
                <a:gd name="connsiteY0" fmla="*/ 0 h 257442"/>
                <a:gd name="connsiteX1" fmla="*/ 1747273 w 1801994"/>
                <a:gd name="connsiteY1" fmla="*/ 257442 h 257442"/>
                <a:gd name="connsiteX2" fmla="*/ 0 w 1801994"/>
                <a:gd name="connsiteY2" fmla="*/ 257442 h 257442"/>
                <a:gd name="connsiteX3" fmla="*/ 54720 w 1801994"/>
                <a:gd name="connsiteY3" fmla="*/ 0 h 257442"/>
                <a:gd name="connsiteX0" fmla="*/ 1801995 w 1801995"/>
                <a:gd name="connsiteY0" fmla="*/ 0 h 257442"/>
                <a:gd name="connsiteX1" fmla="*/ 1747274 w 1801995"/>
                <a:gd name="connsiteY1" fmla="*/ 257442 h 257442"/>
                <a:gd name="connsiteX2" fmla="*/ 0 w 1801995"/>
                <a:gd name="connsiteY2" fmla="*/ 257442 h 257442"/>
                <a:gd name="connsiteX3" fmla="*/ 54721 w 1801995"/>
                <a:gd name="connsiteY3" fmla="*/ 0 h 257442"/>
                <a:gd name="connsiteX0" fmla="*/ 1801995 w 1801995"/>
                <a:gd name="connsiteY0" fmla="*/ 0 h 257442"/>
                <a:gd name="connsiteX1" fmla="*/ 1747274 w 1801995"/>
                <a:gd name="connsiteY1" fmla="*/ 257442 h 257442"/>
                <a:gd name="connsiteX2" fmla="*/ 0 w 1801995"/>
                <a:gd name="connsiteY2" fmla="*/ 257442 h 257442"/>
                <a:gd name="connsiteX3" fmla="*/ 54722 w 1801995"/>
                <a:gd name="connsiteY3" fmla="*/ 0 h 257442"/>
                <a:gd name="connsiteX0" fmla="*/ 1979930 w 1979930"/>
                <a:gd name="connsiteY0" fmla="*/ 0 h 257442"/>
                <a:gd name="connsiteX1" fmla="*/ 1747274 w 1979930"/>
                <a:gd name="connsiteY1" fmla="*/ 257442 h 257442"/>
                <a:gd name="connsiteX2" fmla="*/ 0 w 1979930"/>
                <a:gd name="connsiteY2" fmla="*/ 257442 h 257442"/>
                <a:gd name="connsiteX3" fmla="*/ 54722 w 1979930"/>
                <a:gd name="connsiteY3" fmla="*/ 0 h 257442"/>
                <a:gd name="connsiteX0" fmla="*/ 1979930 w 1979930"/>
                <a:gd name="connsiteY0" fmla="*/ 0 h 257442"/>
                <a:gd name="connsiteX1" fmla="*/ 1925208 w 1979930"/>
                <a:gd name="connsiteY1" fmla="*/ 257442 h 257442"/>
                <a:gd name="connsiteX2" fmla="*/ 0 w 1979930"/>
                <a:gd name="connsiteY2" fmla="*/ 257442 h 257442"/>
                <a:gd name="connsiteX3" fmla="*/ 54722 w 1979930"/>
                <a:gd name="connsiteY3" fmla="*/ 0 h 257442"/>
                <a:gd name="connsiteX0" fmla="*/ 1979930 w 1979930"/>
                <a:gd name="connsiteY0" fmla="*/ 0 h 257442"/>
                <a:gd name="connsiteX1" fmla="*/ 1925208 w 1979930"/>
                <a:gd name="connsiteY1" fmla="*/ 257442 h 257442"/>
                <a:gd name="connsiteX2" fmla="*/ 0 w 1979930"/>
                <a:gd name="connsiteY2" fmla="*/ 257442 h 257442"/>
                <a:gd name="connsiteX3" fmla="*/ 54722 w 1979930"/>
                <a:gd name="connsiteY3" fmla="*/ 0 h 257442"/>
                <a:gd name="connsiteX0" fmla="*/ 1979930 w 1979930"/>
                <a:gd name="connsiteY0" fmla="*/ 0 h 257442"/>
                <a:gd name="connsiteX1" fmla="*/ 1925208 w 1979930"/>
                <a:gd name="connsiteY1" fmla="*/ 257442 h 257442"/>
                <a:gd name="connsiteX2" fmla="*/ 0 w 1979930"/>
                <a:gd name="connsiteY2" fmla="*/ 257442 h 257442"/>
                <a:gd name="connsiteX3" fmla="*/ 54721 w 1979930"/>
                <a:gd name="connsiteY3" fmla="*/ 0 h 257442"/>
                <a:gd name="connsiteX0" fmla="*/ 2148244 w 2148244"/>
                <a:gd name="connsiteY0" fmla="*/ 0 h 257442"/>
                <a:gd name="connsiteX1" fmla="*/ 1925208 w 2148244"/>
                <a:gd name="connsiteY1" fmla="*/ 257442 h 257442"/>
                <a:gd name="connsiteX2" fmla="*/ 0 w 2148244"/>
                <a:gd name="connsiteY2" fmla="*/ 257442 h 257442"/>
                <a:gd name="connsiteX3" fmla="*/ 54721 w 2148244"/>
                <a:gd name="connsiteY3" fmla="*/ 0 h 257442"/>
                <a:gd name="connsiteX0" fmla="*/ 2148244 w 2148244"/>
                <a:gd name="connsiteY0" fmla="*/ 0 h 257442"/>
                <a:gd name="connsiteX1" fmla="*/ 2093523 w 2148244"/>
                <a:gd name="connsiteY1" fmla="*/ 257442 h 257442"/>
                <a:gd name="connsiteX2" fmla="*/ 0 w 2148244"/>
                <a:gd name="connsiteY2" fmla="*/ 257442 h 257442"/>
                <a:gd name="connsiteX3" fmla="*/ 54721 w 2148244"/>
                <a:gd name="connsiteY3" fmla="*/ 0 h 257442"/>
                <a:gd name="connsiteX0" fmla="*/ 2148244 w 2148244"/>
                <a:gd name="connsiteY0" fmla="*/ 0 h 257442"/>
                <a:gd name="connsiteX1" fmla="*/ 2093523 w 2148244"/>
                <a:gd name="connsiteY1" fmla="*/ 257442 h 257442"/>
                <a:gd name="connsiteX2" fmla="*/ 0 w 2148244"/>
                <a:gd name="connsiteY2" fmla="*/ 257442 h 257442"/>
                <a:gd name="connsiteX3" fmla="*/ 54721 w 2148244"/>
                <a:gd name="connsiteY3" fmla="*/ 0 h 257442"/>
                <a:gd name="connsiteX0" fmla="*/ 2148244 w 2148244"/>
                <a:gd name="connsiteY0" fmla="*/ 0 h 257442"/>
                <a:gd name="connsiteX1" fmla="*/ 2093523 w 2148244"/>
                <a:gd name="connsiteY1" fmla="*/ 257442 h 257442"/>
                <a:gd name="connsiteX2" fmla="*/ 0 w 2148244"/>
                <a:gd name="connsiteY2" fmla="*/ 257442 h 257442"/>
                <a:gd name="connsiteX3" fmla="*/ 54721 w 2148244"/>
                <a:gd name="connsiteY3" fmla="*/ 0 h 257442"/>
                <a:gd name="connsiteX0" fmla="*/ 2316560 w 2316560"/>
                <a:gd name="connsiteY0" fmla="*/ 0 h 257442"/>
                <a:gd name="connsiteX1" fmla="*/ 2093523 w 2316560"/>
                <a:gd name="connsiteY1" fmla="*/ 257442 h 257442"/>
                <a:gd name="connsiteX2" fmla="*/ 0 w 2316560"/>
                <a:gd name="connsiteY2" fmla="*/ 257442 h 257442"/>
                <a:gd name="connsiteX3" fmla="*/ 54721 w 2316560"/>
                <a:gd name="connsiteY3" fmla="*/ 0 h 257442"/>
                <a:gd name="connsiteX0" fmla="*/ 2316560 w 2316560"/>
                <a:gd name="connsiteY0" fmla="*/ 0 h 257442"/>
                <a:gd name="connsiteX1" fmla="*/ 2261839 w 2316560"/>
                <a:gd name="connsiteY1" fmla="*/ 257442 h 257442"/>
                <a:gd name="connsiteX2" fmla="*/ 0 w 2316560"/>
                <a:gd name="connsiteY2" fmla="*/ 257442 h 257442"/>
                <a:gd name="connsiteX3" fmla="*/ 54721 w 2316560"/>
                <a:gd name="connsiteY3" fmla="*/ 0 h 257442"/>
                <a:gd name="connsiteX0" fmla="*/ 2316560 w 2316560"/>
                <a:gd name="connsiteY0" fmla="*/ 0 h 257442"/>
                <a:gd name="connsiteX1" fmla="*/ 2261839 w 2316560"/>
                <a:gd name="connsiteY1" fmla="*/ 257442 h 257442"/>
                <a:gd name="connsiteX2" fmla="*/ 0 w 2316560"/>
                <a:gd name="connsiteY2" fmla="*/ 257442 h 257442"/>
                <a:gd name="connsiteX3" fmla="*/ 54721 w 2316560"/>
                <a:gd name="connsiteY3" fmla="*/ 0 h 257442"/>
                <a:gd name="connsiteX0" fmla="*/ 2316560 w 2316560"/>
                <a:gd name="connsiteY0" fmla="*/ 0 h 257442"/>
                <a:gd name="connsiteX1" fmla="*/ 2261839 w 2316560"/>
                <a:gd name="connsiteY1" fmla="*/ 257442 h 257442"/>
                <a:gd name="connsiteX2" fmla="*/ 0 w 2316560"/>
                <a:gd name="connsiteY2" fmla="*/ 257442 h 257442"/>
                <a:gd name="connsiteX3" fmla="*/ 54721 w 2316560"/>
                <a:gd name="connsiteY3" fmla="*/ 0 h 257442"/>
                <a:gd name="connsiteX0" fmla="*/ 2484874 w 2484874"/>
                <a:gd name="connsiteY0" fmla="*/ 0 h 257442"/>
                <a:gd name="connsiteX1" fmla="*/ 2261839 w 2484874"/>
                <a:gd name="connsiteY1" fmla="*/ 257442 h 257442"/>
                <a:gd name="connsiteX2" fmla="*/ 0 w 2484874"/>
                <a:gd name="connsiteY2" fmla="*/ 257442 h 257442"/>
                <a:gd name="connsiteX3" fmla="*/ 54721 w 2484874"/>
                <a:gd name="connsiteY3" fmla="*/ 0 h 257442"/>
                <a:gd name="connsiteX0" fmla="*/ 2484874 w 2484874"/>
                <a:gd name="connsiteY0" fmla="*/ 0 h 257442"/>
                <a:gd name="connsiteX1" fmla="*/ 2430153 w 2484874"/>
                <a:gd name="connsiteY1" fmla="*/ 257442 h 257442"/>
                <a:gd name="connsiteX2" fmla="*/ 0 w 2484874"/>
                <a:gd name="connsiteY2" fmla="*/ 257442 h 257442"/>
                <a:gd name="connsiteX3" fmla="*/ 54721 w 2484874"/>
                <a:gd name="connsiteY3" fmla="*/ 0 h 257442"/>
                <a:gd name="connsiteX0" fmla="*/ 2484874 w 2484874"/>
                <a:gd name="connsiteY0" fmla="*/ 0 h 257442"/>
                <a:gd name="connsiteX1" fmla="*/ 2430153 w 2484874"/>
                <a:gd name="connsiteY1" fmla="*/ 257442 h 257442"/>
                <a:gd name="connsiteX2" fmla="*/ 0 w 2484874"/>
                <a:gd name="connsiteY2" fmla="*/ 257442 h 257442"/>
                <a:gd name="connsiteX3" fmla="*/ 54721 w 2484874"/>
                <a:gd name="connsiteY3" fmla="*/ 0 h 257442"/>
                <a:gd name="connsiteX0" fmla="*/ 2484874 w 2484874"/>
                <a:gd name="connsiteY0" fmla="*/ 0 h 257442"/>
                <a:gd name="connsiteX1" fmla="*/ 2430153 w 2484874"/>
                <a:gd name="connsiteY1" fmla="*/ 257442 h 257442"/>
                <a:gd name="connsiteX2" fmla="*/ 0 w 2484874"/>
                <a:gd name="connsiteY2" fmla="*/ 257442 h 257442"/>
                <a:gd name="connsiteX3" fmla="*/ 54721 w 2484874"/>
                <a:gd name="connsiteY3" fmla="*/ 0 h 257442"/>
                <a:gd name="connsiteX0" fmla="*/ 2645175 w 2645175"/>
                <a:gd name="connsiteY0" fmla="*/ 0 h 257442"/>
                <a:gd name="connsiteX1" fmla="*/ 2430153 w 2645175"/>
                <a:gd name="connsiteY1" fmla="*/ 257442 h 257442"/>
                <a:gd name="connsiteX2" fmla="*/ 0 w 2645175"/>
                <a:gd name="connsiteY2" fmla="*/ 257442 h 257442"/>
                <a:gd name="connsiteX3" fmla="*/ 54721 w 2645175"/>
                <a:gd name="connsiteY3" fmla="*/ 0 h 257442"/>
                <a:gd name="connsiteX0" fmla="*/ 2645175 w 2645175"/>
                <a:gd name="connsiteY0" fmla="*/ 0 h 257442"/>
                <a:gd name="connsiteX1" fmla="*/ 2590454 w 2645175"/>
                <a:gd name="connsiteY1" fmla="*/ 257442 h 257442"/>
                <a:gd name="connsiteX2" fmla="*/ 0 w 2645175"/>
                <a:gd name="connsiteY2" fmla="*/ 257442 h 257442"/>
                <a:gd name="connsiteX3" fmla="*/ 54721 w 2645175"/>
                <a:gd name="connsiteY3" fmla="*/ 0 h 257442"/>
                <a:gd name="connsiteX0" fmla="*/ 2645175 w 2645175"/>
                <a:gd name="connsiteY0" fmla="*/ 0 h 257442"/>
                <a:gd name="connsiteX1" fmla="*/ 2590454 w 2645175"/>
                <a:gd name="connsiteY1" fmla="*/ 257442 h 257442"/>
                <a:gd name="connsiteX2" fmla="*/ 0 w 2645175"/>
                <a:gd name="connsiteY2" fmla="*/ 257442 h 257442"/>
                <a:gd name="connsiteX3" fmla="*/ 54721 w 2645175"/>
                <a:gd name="connsiteY3" fmla="*/ 0 h 257442"/>
                <a:gd name="connsiteX0" fmla="*/ 2645175 w 2645175"/>
                <a:gd name="connsiteY0" fmla="*/ 0 h 257442"/>
                <a:gd name="connsiteX1" fmla="*/ 2590454 w 2645175"/>
                <a:gd name="connsiteY1" fmla="*/ 257442 h 257442"/>
                <a:gd name="connsiteX2" fmla="*/ 0 w 2645175"/>
                <a:gd name="connsiteY2" fmla="*/ 257442 h 257442"/>
                <a:gd name="connsiteX3" fmla="*/ 54721 w 2645175"/>
                <a:gd name="connsiteY3" fmla="*/ 0 h 257442"/>
                <a:gd name="connsiteX0" fmla="*/ 2813491 w 2813491"/>
                <a:gd name="connsiteY0" fmla="*/ 0 h 257442"/>
                <a:gd name="connsiteX1" fmla="*/ 2590454 w 2813491"/>
                <a:gd name="connsiteY1" fmla="*/ 257442 h 257442"/>
                <a:gd name="connsiteX2" fmla="*/ 0 w 2813491"/>
                <a:gd name="connsiteY2" fmla="*/ 257442 h 257442"/>
                <a:gd name="connsiteX3" fmla="*/ 54721 w 2813491"/>
                <a:gd name="connsiteY3" fmla="*/ 0 h 257442"/>
                <a:gd name="connsiteX0" fmla="*/ 2813491 w 2813491"/>
                <a:gd name="connsiteY0" fmla="*/ 0 h 257442"/>
                <a:gd name="connsiteX1" fmla="*/ 2758770 w 2813491"/>
                <a:gd name="connsiteY1" fmla="*/ 257442 h 257442"/>
                <a:gd name="connsiteX2" fmla="*/ 0 w 2813491"/>
                <a:gd name="connsiteY2" fmla="*/ 257442 h 257442"/>
                <a:gd name="connsiteX3" fmla="*/ 54721 w 2813491"/>
                <a:gd name="connsiteY3" fmla="*/ 0 h 257442"/>
                <a:gd name="connsiteX0" fmla="*/ 2813491 w 2813491"/>
                <a:gd name="connsiteY0" fmla="*/ 0 h 257442"/>
                <a:gd name="connsiteX1" fmla="*/ 2758770 w 2813491"/>
                <a:gd name="connsiteY1" fmla="*/ 257442 h 257442"/>
                <a:gd name="connsiteX2" fmla="*/ 0 w 2813491"/>
                <a:gd name="connsiteY2" fmla="*/ 257442 h 257442"/>
                <a:gd name="connsiteX3" fmla="*/ 54721 w 2813491"/>
                <a:gd name="connsiteY3" fmla="*/ 0 h 257442"/>
                <a:gd name="connsiteX0" fmla="*/ 2813491 w 2813491"/>
                <a:gd name="connsiteY0" fmla="*/ 0 h 257442"/>
                <a:gd name="connsiteX1" fmla="*/ 2758770 w 2813491"/>
                <a:gd name="connsiteY1" fmla="*/ 257442 h 257442"/>
                <a:gd name="connsiteX2" fmla="*/ 0 w 2813491"/>
                <a:gd name="connsiteY2" fmla="*/ 257442 h 257442"/>
                <a:gd name="connsiteX3" fmla="*/ 54721 w 2813491"/>
                <a:gd name="connsiteY3" fmla="*/ 0 h 257442"/>
                <a:gd name="connsiteX0" fmla="*/ 2981805 w 2981805"/>
                <a:gd name="connsiteY0" fmla="*/ 0 h 257442"/>
                <a:gd name="connsiteX1" fmla="*/ 2758770 w 2981805"/>
                <a:gd name="connsiteY1" fmla="*/ 257442 h 257442"/>
                <a:gd name="connsiteX2" fmla="*/ 0 w 2981805"/>
                <a:gd name="connsiteY2" fmla="*/ 257442 h 257442"/>
                <a:gd name="connsiteX3" fmla="*/ 54721 w 2981805"/>
                <a:gd name="connsiteY3" fmla="*/ 0 h 257442"/>
                <a:gd name="connsiteX0" fmla="*/ 2981805 w 2981805"/>
                <a:gd name="connsiteY0" fmla="*/ 0 h 257442"/>
                <a:gd name="connsiteX1" fmla="*/ 2927084 w 2981805"/>
                <a:gd name="connsiteY1" fmla="*/ 257442 h 257442"/>
                <a:gd name="connsiteX2" fmla="*/ 0 w 2981805"/>
                <a:gd name="connsiteY2" fmla="*/ 257442 h 257442"/>
                <a:gd name="connsiteX3" fmla="*/ 54721 w 2981805"/>
                <a:gd name="connsiteY3" fmla="*/ 0 h 257442"/>
                <a:gd name="connsiteX0" fmla="*/ 2981805 w 2981805"/>
                <a:gd name="connsiteY0" fmla="*/ 0 h 257442"/>
                <a:gd name="connsiteX1" fmla="*/ 2927084 w 2981805"/>
                <a:gd name="connsiteY1" fmla="*/ 257442 h 257442"/>
                <a:gd name="connsiteX2" fmla="*/ 0 w 2981805"/>
                <a:gd name="connsiteY2" fmla="*/ 257442 h 257442"/>
                <a:gd name="connsiteX3" fmla="*/ 54721 w 2981805"/>
                <a:gd name="connsiteY3" fmla="*/ 0 h 257442"/>
                <a:gd name="connsiteX0" fmla="*/ 2981805 w 2981805"/>
                <a:gd name="connsiteY0" fmla="*/ 0 h 257442"/>
                <a:gd name="connsiteX1" fmla="*/ 2927084 w 2981805"/>
                <a:gd name="connsiteY1" fmla="*/ 257442 h 257442"/>
                <a:gd name="connsiteX2" fmla="*/ 0 w 2981805"/>
                <a:gd name="connsiteY2" fmla="*/ 257442 h 257442"/>
                <a:gd name="connsiteX3" fmla="*/ 54721 w 2981805"/>
                <a:gd name="connsiteY3" fmla="*/ 0 h 257442"/>
                <a:gd name="connsiteX0" fmla="*/ 3150121 w 3150121"/>
                <a:gd name="connsiteY0" fmla="*/ 0 h 257442"/>
                <a:gd name="connsiteX1" fmla="*/ 2927084 w 3150121"/>
                <a:gd name="connsiteY1" fmla="*/ 257442 h 257442"/>
                <a:gd name="connsiteX2" fmla="*/ 0 w 3150121"/>
                <a:gd name="connsiteY2" fmla="*/ 257442 h 257442"/>
                <a:gd name="connsiteX3" fmla="*/ 54721 w 3150121"/>
                <a:gd name="connsiteY3" fmla="*/ 0 h 257442"/>
                <a:gd name="connsiteX0" fmla="*/ 3150121 w 3150121"/>
                <a:gd name="connsiteY0" fmla="*/ 0 h 257442"/>
                <a:gd name="connsiteX1" fmla="*/ 3095400 w 3150121"/>
                <a:gd name="connsiteY1" fmla="*/ 257442 h 257442"/>
                <a:gd name="connsiteX2" fmla="*/ 0 w 3150121"/>
                <a:gd name="connsiteY2" fmla="*/ 257442 h 257442"/>
                <a:gd name="connsiteX3" fmla="*/ 54721 w 3150121"/>
                <a:gd name="connsiteY3" fmla="*/ 0 h 257442"/>
                <a:gd name="connsiteX0" fmla="*/ 3150121 w 3150121"/>
                <a:gd name="connsiteY0" fmla="*/ 0 h 257442"/>
                <a:gd name="connsiteX1" fmla="*/ 3095400 w 3150121"/>
                <a:gd name="connsiteY1" fmla="*/ 257442 h 257442"/>
                <a:gd name="connsiteX2" fmla="*/ 0 w 3150121"/>
                <a:gd name="connsiteY2" fmla="*/ 257442 h 257442"/>
                <a:gd name="connsiteX3" fmla="*/ 54721 w 3150121"/>
                <a:gd name="connsiteY3" fmla="*/ 0 h 257442"/>
                <a:gd name="connsiteX0" fmla="*/ 3150121 w 3150121"/>
                <a:gd name="connsiteY0" fmla="*/ 0 h 257442"/>
                <a:gd name="connsiteX1" fmla="*/ 3095400 w 3150121"/>
                <a:gd name="connsiteY1" fmla="*/ 257442 h 257442"/>
                <a:gd name="connsiteX2" fmla="*/ 0 w 3150121"/>
                <a:gd name="connsiteY2" fmla="*/ 257442 h 257442"/>
                <a:gd name="connsiteX3" fmla="*/ 54721 w 3150121"/>
                <a:gd name="connsiteY3" fmla="*/ 0 h 257442"/>
                <a:gd name="connsiteX0" fmla="*/ 3318436 w 3318436"/>
                <a:gd name="connsiteY0" fmla="*/ 0 h 257442"/>
                <a:gd name="connsiteX1" fmla="*/ 3095400 w 3318436"/>
                <a:gd name="connsiteY1" fmla="*/ 257442 h 257442"/>
                <a:gd name="connsiteX2" fmla="*/ 0 w 3318436"/>
                <a:gd name="connsiteY2" fmla="*/ 257442 h 257442"/>
                <a:gd name="connsiteX3" fmla="*/ 54721 w 3318436"/>
                <a:gd name="connsiteY3" fmla="*/ 0 h 257442"/>
                <a:gd name="connsiteX0" fmla="*/ 3318436 w 3318436"/>
                <a:gd name="connsiteY0" fmla="*/ 0 h 257442"/>
                <a:gd name="connsiteX1" fmla="*/ 3263714 w 3318436"/>
                <a:gd name="connsiteY1" fmla="*/ 257442 h 257442"/>
                <a:gd name="connsiteX2" fmla="*/ 0 w 3318436"/>
                <a:gd name="connsiteY2" fmla="*/ 257442 h 257442"/>
                <a:gd name="connsiteX3" fmla="*/ 54721 w 3318436"/>
                <a:gd name="connsiteY3" fmla="*/ 0 h 257442"/>
                <a:gd name="connsiteX0" fmla="*/ 3318437 w 3318437"/>
                <a:gd name="connsiteY0" fmla="*/ 0 h 257442"/>
                <a:gd name="connsiteX1" fmla="*/ 3263715 w 3318437"/>
                <a:gd name="connsiteY1" fmla="*/ 257442 h 257442"/>
                <a:gd name="connsiteX2" fmla="*/ 0 w 3318437"/>
                <a:gd name="connsiteY2" fmla="*/ 257442 h 257442"/>
                <a:gd name="connsiteX3" fmla="*/ 54722 w 3318437"/>
                <a:gd name="connsiteY3" fmla="*/ 0 h 257442"/>
                <a:gd name="connsiteX0" fmla="*/ 3318437 w 3318437"/>
                <a:gd name="connsiteY0" fmla="*/ 0 h 257442"/>
                <a:gd name="connsiteX1" fmla="*/ 3263715 w 3318437"/>
                <a:gd name="connsiteY1" fmla="*/ 257442 h 257442"/>
                <a:gd name="connsiteX2" fmla="*/ 0 w 3318437"/>
                <a:gd name="connsiteY2" fmla="*/ 257442 h 257442"/>
                <a:gd name="connsiteX3" fmla="*/ 54722 w 3318437"/>
                <a:gd name="connsiteY3" fmla="*/ 0 h 257442"/>
                <a:gd name="connsiteX0" fmla="*/ 3560298 w 3560298"/>
                <a:gd name="connsiteY0" fmla="*/ 0 h 257442"/>
                <a:gd name="connsiteX1" fmla="*/ 3263715 w 3560298"/>
                <a:gd name="connsiteY1" fmla="*/ 257442 h 257442"/>
                <a:gd name="connsiteX2" fmla="*/ 0 w 3560298"/>
                <a:gd name="connsiteY2" fmla="*/ 257442 h 257442"/>
                <a:gd name="connsiteX3" fmla="*/ 54722 w 3560298"/>
                <a:gd name="connsiteY3" fmla="*/ 0 h 257442"/>
                <a:gd name="connsiteX0" fmla="*/ 3560298 w 3560298"/>
                <a:gd name="connsiteY0" fmla="*/ 0 h 257442"/>
                <a:gd name="connsiteX1" fmla="*/ 3505576 w 3560298"/>
                <a:gd name="connsiteY1" fmla="*/ 257442 h 257442"/>
                <a:gd name="connsiteX2" fmla="*/ 0 w 3560298"/>
                <a:gd name="connsiteY2" fmla="*/ 257442 h 257442"/>
                <a:gd name="connsiteX3" fmla="*/ 54722 w 3560298"/>
                <a:gd name="connsiteY3" fmla="*/ 0 h 257442"/>
                <a:gd name="connsiteX0" fmla="*/ 3560298 w 3560298"/>
                <a:gd name="connsiteY0" fmla="*/ 0 h 257442"/>
                <a:gd name="connsiteX1" fmla="*/ 3505576 w 3560298"/>
                <a:gd name="connsiteY1" fmla="*/ 257442 h 257442"/>
                <a:gd name="connsiteX2" fmla="*/ 0 w 3560298"/>
                <a:gd name="connsiteY2" fmla="*/ 257442 h 257442"/>
                <a:gd name="connsiteX3" fmla="*/ 54722 w 3560298"/>
                <a:gd name="connsiteY3" fmla="*/ 0 h 257442"/>
                <a:gd name="connsiteX0" fmla="*/ 3560298 w 3560298"/>
                <a:gd name="connsiteY0" fmla="*/ 0 h 257442"/>
                <a:gd name="connsiteX1" fmla="*/ 3505576 w 3560298"/>
                <a:gd name="connsiteY1" fmla="*/ 257442 h 257442"/>
                <a:gd name="connsiteX2" fmla="*/ 0 w 3560298"/>
                <a:gd name="connsiteY2" fmla="*/ 257442 h 257442"/>
                <a:gd name="connsiteX3" fmla="*/ 54721 w 3560298"/>
                <a:gd name="connsiteY3" fmla="*/ 0 h 257442"/>
                <a:gd name="connsiteX0" fmla="*/ 3738231 w 3738231"/>
                <a:gd name="connsiteY0" fmla="*/ 0 h 257442"/>
                <a:gd name="connsiteX1" fmla="*/ 3505576 w 3738231"/>
                <a:gd name="connsiteY1" fmla="*/ 257442 h 257442"/>
                <a:gd name="connsiteX2" fmla="*/ 0 w 3738231"/>
                <a:gd name="connsiteY2" fmla="*/ 257442 h 257442"/>
                <a:gd name="connsiteX3" fmla="*/ 54721 w 3738231"/>
                <a:gd name="connsiteY3" fmla="*/ 0 h 257442"/>
                <a:gd name="connsiteX0" fmla="*/ 3738231 w 3738231"/>
                <a:gd name="connsiteY0" fmla="*/ 0 h 257442"/>
                <a:gd name="connsiteX1" fmla="*/ 3683510 w 3738231"/>
                <a:gd name="connsiteY1" fmla="*/ 257442 h 257442"/>
                <a:gd name="connsiteX2" fmla="*/ 0 w 3738231"/>
                <a:gd name="connsiteY2" fmla="*/ 257442 h 257442"/>
                <a:gd name="connsiteX3" fmla="*/ 54721 w 3738231"/>
                <a:gd name="connsiteY3" fmla="*/ 0 h 257442"/>
                <a:gd name="connsiteX0" fmla="*/ 3738231 w 3738231"/>
                <a:gd name="connsiteY0" fmla="*/ 0 h 257442"/>
                <a:gd name="connsiteX1" fmla="*/ 3683510 w 3738231"/>
                <a:gd name="connsiteY1" fmla="*/ 257442 h 257442"/>
                <a:gd name="connsiteX2" fmla="*/ 0 w 3738231"/>
                <a:gd name="connsiteY2" fmla="*/ 257442 h 257442"/>
                <a:gd name="connsiteX3" fmla="*/ 54721 w 3738231"/>
                <a:gd name="connsiteY3" fmla="*/ 0 h 257442"/>
                <a:gd name="connsiteX0" fmla="*/ 3738231 w 3738231"/>
                <a:gd name="connsiteY0" fmla="*/ 0 h 257442"/>
                <a:gd name="connsiteX1" fmla="*/ 3683510 w 3738231"/>
                <a:gd name="connsiteY1" fmla="*/ 257442 h 257442"/>
                <a:gd name="connsiteX2" fmla="*/ 0 w 3738231"/>
                <a:gd name="connsiteY2" fmla="*/ 257442 h 257442"/>
                <a:gd name="connsiteX3" fmla="*/ 54721 w 3738231"/>
                <a:gd name="connsiteY3" fmla="*/ 0 h 257442"/>
                <a:gd name="connsiteX0" fmla="*/ 3906546 w 3906546"/>
                <a:gd name="connsiteY0" fmla="*/ 0 h 257442"/>
                <a:gd name="connsiteX1" fmla="*/ 3683510 w 3906546"/>
                <a:gd name="connsiteY1" fmla="*/ 257442 h 257442"/>
                <a:gd name="connsiteX2" fmla="*/ 0 w 3906546"/>
                <a:gd name="connsiteY2" fmla="*/ 257442 h 257442"/>
                <a:gd name="connsiteX3" fmla="*/ 54721 w 3906546"/>
                <a:gd name="connsiteY3" fmla="*/ 0 h 257442"/>
                <a:gd name="connsiteX0" fmla="*/ 3906546 w 3906546"/>
                <a:gd name="connsiteY0" fmla="*/ 0 h 257442"/>
                <a:gd name="connsiteX1" fmla="*/ 3851824 w 3906546"/>
                <a:gd name="connsiteY1" fmla="*/ 257442 h 257442"/>
                <a:gd name="connsiteX2" fmla="*/ 0 w 3906546"/>
                <a:gd name="connsiteY2" fmla="*/ 257442 h 257442"/>
                <a:gd name="connsiteX3" fmla="*/ 54721 w 3906546"/>
                <a:gd name="connsiteY3" fmla="*/ 0 h 257442"/>
                <a:gd name="connsiteX0" fmla="*/ 3906547 w 3906547"/>
                <a:gd name="connsiteY0" fmla="*/ 0 h 257442"/>
                <a:gd name="connsiteX1" fmla="*/ 3851825 w 3906547"/>
                <a:gd name="connsiteY1" fmla="*/ 257442 h 257442"/>
                <a:gd name="connsiteX2" fmla="*/ 0 w 3906547"/>
                <a:gd name="connsiteY2" fmla="*/ 257442 h 257442"/>
                <a:gd name="connsiteX3" fmla="*/ 54722 w 3906547"/>
                <a:gd name="connsiteY3" fmla="*/ 0 h 257442"/>
                <a:gd name="connsiteX0" fmla="*/ 3906547 w 3906547"/>
                <a:gd name="connsiteY0" fmla="*/ 0 h 257442"/>
                <a:gd name="connsiteX1" fmla="*/ 3851825 w 3906547"/>
                <a:gd name="connsiteY1" fmla="*/ 257442 h 257442"/>
                <a:gd name="connsiteX2" fmla="*/ 0 w 3906547"/>
                <a:gd name="connsiteY2" fmla="*/ 257442 h 257442"/>
                <a:gd name="connsiteX3" fmla="*/ 54722 w 3906547"/>
                <a:gd name="connsiteY3" fmla="*/ 0 h 257442"/>
                <a:gd name="connsiteX0" fmla="*/ 4074863 w 4074863"/>
                <a:gd name="connsiteY0" fmla="*/ 0 h 257442"/>
                <a:gd name="connsiteX1" fmla="*/ 3851825 w 4074863"/>
                <a:gd name="connsiteY1" fmla="*/ 257442 h 257442"/>
                <a:gd name="connsiteX2" fmla="*/ 0 w 4074863"/>
                <a:gd name="connsiteY2" fmla="*/ 257442 h 257442"/>
                <a:gd name="connsiteX3" fmla="*/ 54722 w 4074863"/>
                <a:gd name="connsiteY3" fmla="*/ 0 h 257442"/>
                <a:gd name="connsiteX0" fmla="*/ 4074863 w 4074863"/>
                <a:gd name="connsiteY0" fmla="*/ 0 h 257442"/>
                <a:gd name="connsiteX1" fmla="*/ 4020142 w 4074863"/>
                <a:gd name="connsiteY1" fmla="*/ 257442 h 257442"/>
                <a:gd name="connsiteX2" fmla="*/ 0 w 4074863"/>
                <a:gd name="connsiteY2" fmla="*/ 257442 h 257442"/>
                <a:gd name="connsiteX3" fmla="*/ 54722 w 4074863"/>
                <a:gd name="connsiteY3" fmla="*/ 0 h 257442"/>
                <a:gd name="connsiteX0" fmla="*/ 4074862 w 4074862"/>
                <a:gd name="connsiteY0" fmla="*/ 0 h 257442"/>
                <a:gd name="connsiteX1" fmla="*/ 4020141 w 4074862"/>
                <a:gd name="connsiteY1" fmla="*/ 257442 h 257442"/>
                <a:gd name="connsiteX2" fmla="*/ 0 w 4074862"/>
                <a:gd name="connsiteY2" fmla="*/ 257442 h 257442"/>
                <a:gd name="connsiteX3" fmla="*/ 54721 w 4074862"/>
                <a:gd name="connsiteY3" fmla="*/ 0 h 257442"/>
                <a:gd name="connsiteX0" fmla="*/ 4074862 w 4074862"/>
                <a:gd name="connsiteY0" fmla="*/ 0 h 257442"/>
                <a:gd name="connsiteX1" fmla="*/ 4020141 w 4074862"/>
                <a:gd name="connsiteY1" fmla="*/ 257442 h 257442"/>
                <a:gd name="connsiteX2" fmla="*/ 0 w 4074862"/>
                <a:gd name="connsiteY2" fmla="*/ 257442 h 257442"/>
                <a:gd name="connsiteX3" fmla="*/ 54720 w 4074862"/>
                <a:gd name="connsiteY3" fmla="*/ 0 h 257442"/>
                <a:gd name="connsiteX0" fmla="*/ 4325377 w 4325377"/>
                <a:gd name="connsiteY0" fmla="*/ 0 h 257442"/>
                <a:gd name="connsiteX1" fmla="*/ 4020141 w 4325377"/>
                <a:gd name="connsiteY1" fmla="*/ 257442 h 257442"/>
                <a:gd name="connsiteX2" fmla="*/ 0 w 4325377"/>
                <a:gd name="connsiteY2" fmla="*/ 257442 h 257442"/>
                <a:gd name="connsiteX3" fmla="*/ 54720 w 4325377"/>
                <a:gd name="connsiteY3" fmla="*/ 0 h 257442"/>
                <a:gd name="connsiteX0" fmla="*/ 4325377 w 4325377"/>
                <a:gd name="connsiteY0" fmla="*/ 0 h 257442"/>
                <a:gd name="connsiteX1" fmla="*/ 4270656 w 4325377"/>
                <a:gd name="connsiteY1" fmla="*/ 257442 h 257442"/>
                <a:gd name="connsiteX2" fmla="*/ 0 w 4325377"/>
                <a:gd name="connsiteY2" fmla="*/ 257442 h 257442"/>
                <a:gd name="connsiteX3" fmla="*/ 54720 w 4325377"/>
                <a:gd name="connsiteY3" fmla="*/ 0 h 257442"/>
                <a:gd name="connsiteX0" fmla="*/ 4325378 w 4325378"/>
                <a:gd name="connsiteY0" fmla="*/ 0 h 257442"/>
                <a:gd name="connsiteX1" fmla="*/ 4270657 w 4325378"/>
                <a:gd name="connsiteY1" fmla="*/ 257442 h 257442"/>
                <a:gd name="connsiteX2" fmla="*/ 0 w 4325378"/>
                <a:gd name="connsiteY2" fmla="*/ 257442 h 257442"/>
                <a:gd name="connsiteX3" fmla="*/ 54721 w 4325378"/>
                <a:gd name="connsiteY3" fmla="*/ 0 h 257442"/>
                <a:gd name="connsiteX0" fmla="*/ 4325378 w 4325378"/>
                <a:gd name="connsiteY0" fmla="*/ 0 h 257442"/>
                <a:gd name="connsiteX1" fmla="*/ 4270657 w 4325378"/>
                <a:gd name="connsiteY1" fmla="*/ 257442 h 257442"/>
                <a:gd name="connsiteX2" fmla="*/ 0 w 4325378"/>
                <a:gd name="connsiteY2" fmla="*/ 257442 h 257442"/>
                <a:gd name="connsiteX3" fmla="*/ 54721 w 4325378"/>
                <a:gd name="connsiteY3" fmla="*/ 0 h 257442"/>
                <a:gd name="connsiteX0" fmla="*/ 942786 w 4270657"/>
                <a:gd name="connsiteY0" fmla="*/ 0 h 257442"/>
                <a:gd name="connsiteX1" fmla="*/ 4270657 w 4270657"/>
                <a:gd name="connsiteY1" fmla="*/ 257442 h 257442"/>
                <a:gd name="connsiteX2" fmla="*/ 0 w 4270657"/>
                <a:gd name="connsiteY2" fmla="*/ 257442 h 257442"/>
                <a:gd name="connsiteX3" fmla="*/ 54721 w 4270657"/>
                <a:gd name="connsiteY3" fmla="*/ 0 h 257442"/>
                <a:gd name="connsiteX0" fmla="*/ 942786 w 942786"/>
                <a:gd name="connsiteY0" fmla="*/ 0 h 257442"/>
                <a:gd name="connsiteX1" fmla="*/ 888066 w 942786"/>
                <a:gd name="connsiteY1" fmla="*/ 257442 h 257442"/>
                <a:gd name="connsiteX2" fmla="*/ 0 w 942786"/>
                <a:gd name="connsiteY2" fmla="*/ 257442 h 257442"/>
                <a:gd name="connsiteX3" fmla="*/ 54721 w 942786"/>
                <a:gd name="connsiteY3" fmla="*/ 0 h 257442"/>
                <a:gd name="connsiteX0" fmla="*/ 942785 w 942785"/>
                <a:gd name="connsiteY0" fmla="*/ 0 h 257442"/>
                <a:gd name="connsiteX1" fmla="*/ 888065 w 942785"/>
                <a:gd name="connsiteY1" fmla="*/ 257442 h 257442"/>
                <a:gd name="connsiteX2" fmla="*/ 0 w 942785"/>
                <a:gd name="connsiteY2" fmla="*/ 257442 h 257442"/>
                <a:gd name="connsiteX3" fmla="*/ 54720 w 942785"/>
                <a:gd name="connsiteY3" fmla="*/ 0 h 257442"/>
                <a:gd name="connsiteX0" fmla="*/ 942785 w 942785"/>
                <a:gd name="connsiteY0" fmla="*/ 0 h 257442"/>
                <a:gd name="connsiteX1" fmla="*/ 888065 w 942785"/>
                <a:gd name="connsiteY1" fmla="*/ 257442 h 257442"/>
                <a:gd name="connsiteX2" fmla="*/ 0 w 942785"/>
                <a:gd name="connsiteY2" fmla="*/ 257442 h 257442"/>
                <a:gd name="connsiteX3" fmla="*/ 54721 w 942785"/>
                <a:gd name="connsiteY3" fmla="*/ 0 h 257442"/>
                <a:gd name="connsiteX0" fmla="*/ 1111101 w 1111101"/>
                <a:gd name="connsiteY0" fmla="*/ 0 h 257442"/>
                <a:gd name="connsiteX1" fmla="*/ 888065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279416 w 1279416"/>
                <a:gd name="connsiteY0" fmla="*/ 0 h 257442"/>
                <a:gd name="connsiteX1" fmla="*/ 1056380 w 1279416"/>
                <a:gd name="connsiteY1" fmla="*/ 257442 h 257442"/>
                <a:gd name="connsiteX2" fmla="*/ 0 w 1279416"/>
                <a:gd name="connsiteY2" fmla="*/ 257442 h 257442"/>
                <a:gd name="connsiteX3" fmla="*/ 54721 w 1279416"/>
                <a:gd name="connsiteY3" fmla="*/ 0 h 257442"/>
                <a:gd name="connsiteX0" fmla="*/ 1279416 w 1279416"/>
                <a:gd name="connsiteY0" fmla="*/ 0 h 257442"/>
                <a:gd name="connsiteX1" fmla="*/ 1224694 w 1279416"/>
                <a:gd name="connsiteY1" fmla="*/ 257442 h 257442"/>
                <a:gd name="connsiteX2" fmla="*/ 0 w 1279416"/>
                <a:gd name="connsiteY2" fmla="*/ 257442 h 257442"/>
                <a:gd name="connsiteX3" fmla="*/ 54721 w 1279416"/>
                <a:gd name="connsiteY3" fmla="*/ 0 h 257442"/>
                <a:gd name="connsiteX0" fmla="*/ 1279417 w 1279417"/>
                <a:gd name="connsiteY0" fmla="*/ 0 h 257442"/>
                <a:gd name="connsiteX1" fmla="*/ 1224695 w 1279417"/>
                <a:gd name="connsiteY1" fmla="*/ 257442 h 257442"/>
                <a:gd name="connsiteX2" fmla="*/ 0 w 1279417"/>
                <a:gd name="connsiteY2" fmla="*/ 257442 h 257442"/>
                <a:gd name="connsiteX3" fmla="*/ 54722 w 1279417"/>
                <a:gd name="connsiteY3" fmla="*/ 0 h 257442"/>
                <a:gd name="connsiteX0" fmla="*/ 1279417 w 1279417"/>
                <a:gd name="connsiteY0" fmla="*/ 0 h 257442"/>
                <a:gd name="connsiteX1" fmla="*/ 1224695 w 1279417"/>
                <a:gd name="connsiteY1" fmla="*/ 257442 h 257442"/>
                <a:gd name="connsiteX2" fmla="*/ 0 w 1279417"/>
                <a:gd name="connsiteY2" fmla="*/ 257442 h 257442"/>
                <a:gd name="connsiteX3" fmla="*/ 54722 w 1279417"/>
                <a:gd name="connsiteY3" fmla="*/ 0 h 257442"/>
                <a:gd name="connsiteX0" fmla="*/ 1447733 w 1447733"/>
                <a:gd name="connsiteY0" fmla="*/ 0 h 257442"/>
                <a:gd name="connsiteX1" fmla="*/ 1224695 w 1447733"/>
                <a:gd name="connsiteY1" fmla="*/ 257442 h 257442"/>
                <a:gd name="connsiteX2" fmla="*/ 0 w 1447733"/>
                <a:gd name="connsiteY2" fmla="*/ 257442 h 257442"/>
                <a:gd name="connsiteX3" fmla="*/ 54722 w 1447733"/>
                <a:gd name="connsiteY3" fmla="*/ 0 h 257442"/>
                <a:gd name="connsiteX0" fmla="*/ 1447733 w 1447733"/>
                <a:gd name="connsiteY0" fmla="*/ 0 h 257442"/>
                <a:gd name="connsiteX1" fmla="*/ 1393012 w 1447733"/>
                <a:gd name="connsiteY1" fmla="*/ 257442 h 257442"/>
                <a:gd name="connsiteX2" fmla="*/ 0 w 1447733"/>
                <a:gd name="connsiteY2" fmla="*/ 257442 h 257442"/>
                <a:gd name="connsiteX3" fmla="*/ 54722 w 1447733"/>
                <a:gd name="connsiteY3" fmla="*/ 0 h 257442"/>
                <a:gd name="connsiteX0" fmla="*/ 1447732 w 1447732"/>
                <a:gd name="connsiteY0" fmla="*/ 0 h 257442"/>
                <a:gd name="connsiteX1" fmla="*/ 1393011 w 1447732"/>
                <a:gd name="connsiteY1" fmla="*/ 257442 h 257442"/>
                <a:gd name="connsiteX2" fmla="*/ 0 w 1447732"/>
                <a:gd name="connsiteY2" fmla="*/ 257442 h 257442"/>
                <a:gd name="connsiteX3" fmla="*/ 54721 w 1447732"/>
                <a:gd name="connsiteY3" fmla="*/ 0 h 257442"/>
                <a:gd name="connsiteX0" fmla="*/ 1447732 w 1447732"/>
                <a:gd name="connsiteY0" fmla="*/ 0 h 257442"/>
                <a:gd name="connsiteX1" fmla="*/ 1393011 w 1447732"/>
                <a:gd name="connsiteY1" fmla="*/ 257442 h 257442"/>
                <a:gd name="connsiteX2" fmla="*/ 0 w 1447732"/>
                <a:gd name="connsiteY2" fmla="*/ 257442 h 257442"/>
                <a:gd name="connsiteX3" fmla="*/ 54720 w 1447732"/>
                <a:gd name="connsiteY3" fmla="*/ 0 h 257442"/>
                <a:gd name="connsiteX0" fmla="*/ 1616046 w 1616046"/>
                <a:gd name="connsiteY0" fmla="*/ 0 h 257442"/>
                <a:gd name="connsiteX1" fmla="*/ 1393011 w 1616046"/>
                <a:gd name="connsiteY1" fmla="*/ 257442 h 257442"/>
                <a:gd name="connsiteX2" fmla="*/ 0 w 1616046"/>
                <a:gd name="connsiteY2" fmla="*/ 257442 h 257442"/>
                <a:gd name="connsiteX3" fmla="*/ 54720 w 1616046"/>
                <a:gd name="connsiteY3" fmla="*/ 0 h 257442"/>
                <a:gd name="connsiteX0" fmla="*/ 1616046 w 1616046"/>
                <a:gd name="connsiteY0" fmla="*/ 0 h 257442"/>
                <a:gd name="connsiteX1" fmla="*/ 1561325 w 1616046"/>
                <a:gd name="connsiteY1" fmla="*/ 257442 h 257442"/>
                <a:gd name="connsiteX2" fmla="*/ 0 w 1616046"/>
                <a:gd name="connsiteY2" fmla="*/ 257442 h 257442"/>
                <a:gd name="connsiteX3" fmla="*/ 54720 w 1616046"/>
                <a:gd name="connsiteY3" fmla="*/ 0 h 257442"/>
                <a:gd name="connsiteX0" fmla="*/ 1616047 w 1616047"/>
                <a:gd name="connsiteY0" fmla="*/ 0 h 257442"/>
                <a:gd name="connsiteX1" fmla="*/ 1561326 w 1616047"/>
                <a:gd name="connsiteY1" fmla="*/ 257442 h 257442"/>
                <a:gd name="connsiteX2" fmla="*/ 0 w 1616047"/>
                <a:gd name="connsiteY2" fmla="*/ 257442 h 257442"/>
                <a:gd name="connsiteX3" fmla="*/ 54721 w 1616047"/>
                <a:gd name="connsiteY3" fmla="*/ 0 h 257442"/>
                <a:gd name="connsiteX0" fmla="*/ 1616047 w 1616047"/>
                <a:gd name="connsiteY0" fmla="*/ 0 h 257442"/>
                <a:gd name="connsiteX1" fmla="*/ 1561326 w 1616047"/>
                <a:gd name="connsiteY1" fmla="*/ 257442 h 257442"/>
                <a:gd name="connsiteX2" fmla="*/ 0 w 1616047"/>
                <a:gd name="connsiteY2" fmla="*/ 257442 h 257442"/>
                <a:gd name="connsiteX3" fmla="*/ 54722 w 1616047"/>
                <a:gd name="connsiteY3" fmla="*/ 0 h 257442"/>
                <a:gd name="connsiteX0" fmla="*/ 1857909 w 1857909"/>
                <a:gd name="connsiteY0" fmla="*/ 0 h 257442"/>
                <a:gd name="connsiteX1" fmla="*/ 1561326 w 1857909"/>
                <a:gd name="connsiteY1" fmla="*/ 257442 h 257442"/>
                <a:gd name="connsiteX2" fmla="*/ 0 w 1857909"/>
                <a:gd name="connsiteY2" fmla="*/ 257442 h 257442"/>
                <a:gd name="connsiteX3" fmla="*/ 54722 w 1857909"/>
                <a:gd name="connsiteY3" fmla="*/ 0 h 257442"/>
                <a:gd name="connsiteX0" fmla="*/ 1857909 w 1857909"/>
                <a:gd name="connsiteY0" fmla="*/ 0 h 257442"/>
                <a:gd name="connsiteX1" fmla="*/ 1803188 w 1857909"/>
                <a:gd name="connsiteY1" fmla="*/ 257442 h 257442"/>
                <a:gd name="connsiteX2" fmla="*/ 0 w 1857909"/>
                <a:gd name="connsiteY2" fmla="*/ 257442 h 257442"/>
                <a:gd name="connsiteX3" fmla="*/ 54722 w 1857909"/>
                <a:gd name="connsiteY3" fmla="*/ 0 h 257442"/>
                <a:gd name="connsiteX0" fmla="*/ 1857908 w 1857908"/>
                <a:gd name="connsiteY0" fmla="*/ 0 h 257442"/>
                <a:gd name="connsiteX1" fmla="*/ 1803187 w 1857908"/>
                <a:gd name="connsiteY1" fmla="*/ 257442 h 257442"/>
                <a:gd name="connsiteX2" fmla="*/ 0 w 1857908"/>
                <a:gd name="connsiteY2" fmla="*/ 257442 h 257442"/>
                <a:gd name="connsiteX3" fmla="*/ 54721 w 1857908"/>
                <a:gd name="connsiteY3" fmla="*/ 0 h 257442"/>
                <a:gd name="connsiteX0" fmla="*/ 1857908 w 1857908"/>
                <a:gd name="connsiteY0" fmla="*/ 0 h 257442"/>
                <a:gd name="connsiteX1" fmla="*/ 1803187 w 1857908"/>
                <a:gd name="connsiteY1" fmla="*/ 257442 h 257442"/>
                <a:gd name="connsiteX2" fmla="*/ 0 w 1857908"/>
                <a:gd name="connsiteY2" fmla="*/ 257442 h 257442"/>
                <a:gd name="connsiteX3" fmla="*/ 54720 w 1857908"/>
                <a:gd name="connsiteY3" fmla="*/ 0 h 257442"/>
                <a:gd name="connsiteX0" fmla="*/ 2035841 w 2035841"/>
                <a:gd name="connsiteY0" fmla="*/ 0 h 257442"/>
                <a:gd name="connsiteX1" fmla="*/ 1803187 w 2035841"/>
                <a:gd name="connsiteY1" fmla="*/ 257442 h 257442"/>
                <a:gd name="connsiteX2" fmla="*/ 0 w 2035841"/>
                <a:gd name="connsiteY2" fmla="*/ 257442 h 257442"/>
                <a:gd name="connsiteX3" fmla="*/ 54720 w 2035841"/>
                <a:gd name="connsiteY3" fmla="*/ 0 h 257442"/>
                <a:gd name="connsiteX0" fmla="*/ 2035841 w 2035841"/>
                <a:gd name="connsiteY0" fmla="*/ 0 h 257442"/>
                <a:gd name="connsiteX1" fmla="*/ 1981120 w 2035841"/>
                <a:gd name="connsiteY1" fmla="*/ 257442 h 257442"/>
                <a:gd name="connsiteX2" fmla="*/ 0 w 2035841"/>
                <a:gd name="connsiteY2" fmla="*/ 257442 h 257442"/>
                <a:gd name="connsiteX3" fmla="*/ 54720 w 2035841"/>
                <a:gd name="connsiteY3" fmla="*/ 0 h 257442"/>
                <a:gd name="connsiteX0" fmla="*/ 2035842 w 2035842"/>
                <a:gd name="connsiteY0" fmla="*/ 0 h 257442"/>
                <a:gd name="connsiteX1" fmla="*/ 1981121 w 2035842"/>
                <a:gd name="connsiteY1" fmla="*/ 257442 h 257442"/>
                <a:gd name="connsiteX2" fmla="*/ 0 w 2035842"/>
                <a:gd name="connsiteY2" fmla="*/ 257442 h 257442"/>
                <a:gd name="connsiteX3" fmla="*/ 54721 w 2035842"/>
                <a:gd name="connsiteY3" fmla="*/ 0 h 257442"/>
                <a:gd name="connsiteX0" fmla="*/ 2035842 w 2035842"/>
                <a:gd name="connsiteY0" fmla="*/ 0 h 257442"/>
                <a:gd name="connsiteX1" fmla="*/ 1981121 w 2035842"/>
                <a:gd name="connsiteY1" fmla="*/ 257442 h 257442"/>
                <a:gd name="connsiteX2" fmla="*/ 0 w 2035842"/>
                <a:gd name="connsiteY2" fmla="*/ 257442 h 257442"/>
                <a:gd name="connsiteX3" fmla="*/ 54721 w 2035842"/>
                <a:gd name="connsiteY3" fmla="*/ 0 h 257442"/>
                <a:gd name="connsiteX0" fmla="*/ 2204157 w 2204157"/>
                <a:gd name="connsiteY0" fmla="*/ 0 h 257442"/>
                <a:gd name="connsiteX1" fmla="*/ 1981121 w 2204157"/>
                <a:gd name="connsiteY1" fmla="*/ 257442 h 257442"/>
                <a:gd name="connsiteX2" fmla="*/ 0 w 2204157"/>
                <a:gd name="connsiteY2" fmla="*/ 257442 h 257442"/>
                <a:gd name="connsiteX3" fmla="*/ 54721 w 2204157"/>
                <a:gd name="connsiteY3" fmla="*/ 0 h 257442"/>
                <a:gd name="connsiteX0" fmla="*/ 2204157 w 2204157"/>
                <a:gd name="connsiteY0" fmla="*/ 0 h 257442"/>
                <a:gd name="connsiteX1" fmla="*/ 2149436 w 2204157"/>
                <a:gd name="connsiteY1" fmla="*/ 257442 h 257442"/>
                <a:gd name="connsiteX2" fmla="*/ 0 w 2204157"/>
                <a:gd name="connsiteY2" fmla="*/ 257442 h 257442"/>
                <a:gd name="connsiteX3" fmla="*/ 54721 w 2204157"/>
                <a:gd name="connsiteY3" fmla="*/ 0 h 257442"/>
                <a:gd name="connsiteX0" fmla="*/ 2204157 w 2204157"/>
                <a:gd name="connsiteY0" fmla="*/ 0 h 257442"/>
                <a:gd name="connsiteX1" fmla="*/ 2149436 w 2204157"/>
                <a:gd name="connsiteY1" fmla="*/ 257442 h 257442"/>
                <a:gd name="connsiteX2" fmla="*/ 0 w 2204157"/>
                <a:gd name="connsiteY2" fmla="*/ 257442 h 257442"/>
                <a:gd name="connsiteX3" fmla="*/ 54721 w 2204157"/>
                <a:gd name="connsiteY3" fmla="*/ 0 h 257442"/>
                <a:gd name="connsiteX0" fmla="*/ 2204157 w 2204157"/>
                <a:gd name="connsiteY0" fmla="*/ 0 h 257442"/>
                <a:gd name="connsiteX1" fmla="*/ 2149436 w 2204157"/>
                <a:gd name="connsiteY1" fmla="*/ 257442 h 257442"/>
                <a:gd name="connsiteX2" fmla="*/ 0 w 2204157"/>
                <a:gd name="connsiteY2" fmla="*/ 257442 h 257442"/>
                <a:gd name="connsiteX3" fmla="*/ 54721 w 2204157"/>
                <a:gd name="connsiteY3" fmla="*/ 0 h 257442"/>
                <a:gd name="connsiteX0" fmla="*/ 934771 w 2149436"/>
                <a:gd name="connsiteY0" fmla="*/ 0 h 257442"/>
                <a:gd name="connsiteX1" fmla="*/ 2149436 w 2149436"/>
                <a:gd name="connsiteY1" fmla="*/ 257442 h 257442"/>
                <a:gd name="connsiteX2" fmla="*/ 0 w 2149436"/>
                <a:gd name="connsiteY2" fmla="*/ 257442 h 257442"/>
                <a:gd name="connsiteX3" fmla="*/ 54721 w 2149436"/>
                <a:gd name="connsiteY3" fmla="*/ 0 h 257442"/>
                <a:gd name="connsiteX0" fmla="*/ 934771 w 934771"/>
                <a:gd name="connsiteY0" fmla="*/ 0 h 257442"/>
                <a:gd name="connsiteX1" fmla="*/ 880050 w 934771"/>
                <a:gd name="connsiteY1" fmla="*/ 257442 h 257442"/>
                <a:gd name="connsiteX2" fmla="*/ 0 w 934771"/>
                <a:gd name="connsiteY2" fmla="*/ 257442 h 257442"/>
                <a:gd name="connsiteX3" fmla="*/ 54721 w 934771"/>
                <a:gd name="connsiteY3" fmla="*/ 0 h 257442"/>
                <a:gd name="connsiteX0" fmla="*/ 934770 w 934770"/>
                <a:gd name="connsiteY0" fmla="*/ 0 h 257442"/>
                <a:gd name="connsiteX1" fmla="*/ 880049 w 934770"/>
                <a:gd name="connsiteY1" fmla="*/ 257442 h 257442"/>
                <a:gd name="connsiteX2" fmla="*/ 0 w 934770"/>
                <a:gd name="connsiteY2" fmla="*/ 257442 h 257442"/>
                <a:gd name="connsiteX3" fmla="*/ 54720 w 934770"/>
                <a:gd name="connsiteY3" fmla="*/ 0 h 257442"/>
                <a:gd name="connsiteX0" fmla="*/ 934770 w 934770"/>
                <a:gd name="connsiteY0" fmla="*/ 0 h 257442"/>
                <a:gd name="connsiteX1" fmla="*/ 880049 w 934770"/>
                <a:gd name="connsiteY1" fmla="*/ 257442 h 257442"/>
                <a:gd name="connsiteX2" fmla="*/ 0 w 934770"/>
                <a:gd name="connsiteY2" fmla="*/ 257442 h 257442"/>
                <a:gd name="connsiteX3" fmla="*/ 54720 w 934770"/>
                <a:gd name="connsiteY3" fmla="*/ 0 h 257442"/>
                <a:gd name="connsiteX0" fmla="*/ 1243957 w 1243957"/>
                <a:gd name="connsiteY0" fmla="*/ 0 h 257442"/>
                <a:gd name="connsiteX1" fmla="*/ 880049 w 1243957"/>
                <a:gd name="connsiteY1" fmla="*/ 257442 h 257442"/>
                <a:gd name="connsiteX2" fmla="*/ 0 w 1243957"/>
                <a:gd name="connsiteY2" fmla="*/ 257442 h 257442"/>
                <a:gd name="connsiteX3" fmla="*/ 54720 w 1243957"/>
                <a:gd name="connsiteY3" fmla="*/ 0 h 257442"/>
                <a:gd name="connsiteX0" fmla="*/ 1243957 w 1243957"/>
                <a:gd name="connsiteY0" fmla="*/ 0 h 257442"/>
                <a:gd name="connsiteX1" fmla="*/ 1189236 w 1243957"/>
                <a:gd name="connsiteY1" fmla="*/ 257442 h 257442"/>
                <a:gd name="connsiteX2" fmla="*/ 0 w 1243957"/>
                <a:gd name="connsiteY2" fmla="*/ 257442 h 257442"/>
                <a:gd name="connsiteX3" fmla="*/ 54720 w 1243957"/>
                <a:gd name="connsiteY3" fmla="*/ 0 h 257442"/>
                <a:gd name="connsiteX0" fmla="*/ 1243958 w 1243958"/>
                <a:gd name="connsiteY0" fmla="*/ 0 h 257442"/>
                <a:gd name="connsiteX1" fmla="*/ 1189237 w 1243958"/>
                <a:gd name="connsiteY1" fmla="*/ 257442 h 257442"/>
                <a:gd name="connsiteX2" fmla="*/ 0 w 1243958"/>
                <a:gd name="connsiteY2" fmla="*/ 257442 h 257442"/>
                <a:gd name="connsiteX3" fmla="*/ 54721 w 1243958"/>
                <a:gd name="connsiteY3" fmla="*/ 0 h 257442"/>
                <a:gd name="connsiteX0" fmla="*/ 1243958 w 1243958"/>
                <a:gd name="connsiteY0" fmla="*/ 0 h 257442"/>
                <a:gd name="connsiteX1" fmla="*/ 1189237 w 1243958"/>
                <a:gd name="connsiteY1" fmla="*/ 257442 h 257442"/>
                <a:gd name="connsiteX2" fmla="*/ 0 w 1243958"/>
                <a:gd name="connsiteY2" fmla="*/ 257442 h 257442"/>
                <a:gd name="connsiteX3" fmla="*/ 54721 w 1243958"/>
                <a:gd name="connsiteY3" fmla="*/ 0 h 257442"/>
                <a:gd name="connsiteX0" fmla="*/ 1404259 w 1404259"/>
                <a:gd name="connsiteY0" fmla="*/ 0 h 257442"/>
                <a:gd name="connsiteX1" fmla="*/ 1189237 w 1404259"/>
                <a:gd name="connsiteY1" fmla="*/ 257442 h 257442"/>
                <a:gd name="connsiteX2" fmla="*/ 0 w 1404259"/>
                <a:gd name="connsiteY2" fmla="*/ 257442 h 257442"/>
                <a:gd name="connsiteX3" fmla="*/ 54721 w 1404259"/>
                <a:gd name="connsiteY3" fmla="*/ 0 h 257442"/>
                <a:gd name="connsiteX0" fmla="*/ 1404259 w 1404259"/>
                <a:gd name="connsiteY0" fmla="*/ 0 h 257442"/>
                <a:gd name="connsiteX1" fmla="*/ 1349538 w 1404259"/>
                <a:gd name="connsiteY1" fmla="*/ 257442 h 257442"/>
                <a:gd name="connsiteX2" fmla="*/ 0 w 1404259"/>
                <a:gd name="connsiteY2" fmla="*/ 257442 h 257442"/>
                <a:gd name="connsiteX3" fmla="*/ 54721 w 1404259"/>
                <a:gd name="connsiteY3" fmla="*/ 0 h 257442"/>
                <a:gd name="connsiteX0" fmla="*/ 1404259 w 1404259"/>
                <a:gd name="connsiteY0" fmla="*/ 0 h 257442"/>
                <a:gd name="connsiteX1" fmla="*/ 1349538 w 1404259"/>
                <a:gd name="connsiteY1" fmla="*/ 257442 h 257442"/>
                <a:gd name="connsiteX2" fmla="*/ 0 w 1404259"/>
                <a:gd name="connsiteY2" fmla="*/ 257442 h 257442"/>
                <a:gd name="connsiteX3" fmla="*/ 54721 w 1404259"/>
                <a:gd name="connsiteY3" fmla="*/ 0 h 257442"/>
                <a:gd name="connsiteX0" fmla="*/ 1404259 w 1404259"/>
                <a:gd name="connsiteY0" fmla="*/ 0 h 257442"/>
                <a:gd name="connsiteX1" fmla="*/ 1349538 w 1404259"/>
                <a:gd name="connsiteY1" fmla="*/ 257442 h 257442"/>
                <a:gd name="connsiteX2" fmla="*/ 0 w 1404259"/>
                <a:gd name="connsiteY2" fmla="*/ 257442 h 257442"/>
                <a:gd name="connsiteX3" fmla="*/ 54721 w 1404259"/>
                <a:gd name="connsiteY3" fmla="*/ 0 h 257442"/>
                <a:gd name="connsiteX0" fmla="*/ 1572573 w 1572573"/>
                <a:gd name="connsiteY0" fmla="*/ 0 h 257442"/>
                <a:gd name="connsiteX1" fmla="*/ 1349538 w 1572573"/>
                <a:gd name="connsiteY1" fmla="*/ 257442 h 257442"/>
                <a:gd name="connsiteX2" fmla="*/ 0 w 1572573"/>
                <a:gd name="connsiteY2" fmla="*/ 257442 h 257442"/>
                <a:gd name="connsiteX3" fmla="*/ 54721 w 1572573"/>
                <a:gd name="connsiteY3" fmla="*/ 0 h 257442"/>
                <a:gd name="connsiteX0" fmla="*/ 1572573 w 1572573"/>
                <a:gd name="connsiteY0" fmla="*/ 0 h 257442"/>
                <a:gd name="connsiteX1" fmla="*/ 1517852 w 1572573"/>
                <a:gd name="connsiteY1" fmla="*/ 257442 h 257442"/>
                <a:gd name="connsiteX2" fmla="*/ 0 w 1572573"/>
                <a:gd name="connsiteY2" fmla="*/ 257442 h 257442"/>
                <a:gd name="connsiteX3" fmla="*/ 54721 w 1572573"/>
                <a:gd name="connsiteY3" fmla="*/ 0 h 257442"/>
                <a:gd name="connsiteX0" fmla="*/ 1572573 w 1572573"/>
                <a:gd name="connsiteY0" fmla="*/ 0 h 257442"/>
                <a:gd name="connsiteX1" fmla="*/ 1517852 w 1572573"/>
                <a:gd name="connsiteY1" fmla="*/ 257442 h 257442"/>
                <a:gd name="connsiteX2" fmla="*/ 0 w 1572573"/>
                <a:gd name="connsiteY2" fmla="*/ 257442 h 257442"/>
                <a:gd name="connsiteX3" fmla="*/ 54721 w 1572573"/>
                <a:gd name="connsiteY3" fmla="*/ 0 h 257442"/>
                <a:gd name="connsiteX0" fmla="*/ 1572573 w 1572573"/>
                <a:gd name="connsiteY0" fmla="*/ 0 h 257442"/>
                <a:gd name="connsiteX1" fmla="*/ 1517852 w 1572573"/>
                <a:gd name="connsiteY1" fmla="*/ 257442 h 257442"/>
                <a:gd name="connsiteX2" fmla="*/ 0 w 1572573"/>
                <a:gd name="connsiteY2" fmla="*/ 257442 h 257442"/>
                <a:gd name="connsiteX3" fmla="*/ 54721 w 1572573"/>
                <a:gd name="connsiteY3" fmla="*/ 0 h 257442"/>
                <a:gd name="connsiteX0" fmla="*/ 942786 w 1517852"/>
                <a:gd name="connsiteY0" fmla="*/ 0 h 257442"/>
                <a:gd name="connsiteX1" fmla="*/ 1517852 w 1517852"/>
                <a:gd name="connsiteY1" fmla="*/ 257442 h 257442"/>
                <a:gd name="connsiteX2" fmla="*/ 0 w 1517852"/>
                <a:gd name="connsiteY2" fmla="*/ 257442 h 257442"/>
                <a:gd name="connsiteX3" fmla="*/ 54721 w 1517852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0 w 942786"/>
                <a:gd name="connsiteY2" fmla="*/ 257442 h 257442"/>
                <a:gd name="connsiteX3" fmla="*/ 54721 w 942786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0 w 942786"/>
                <a:gd name="connsiteY2" fmla="*/ 257442 h 257442"/>
                <a:gd name="connsiteX3" fmla="*/ 54721 w 942786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0 w 942786"/>
                <a:gd name="connsiteY2" fmla="*/ 257442 h 257442"/>
                <a:gd name="connsiteX3" fmla="*/ 54721 w 942786"/>
                <a:gd name="connsiteY3" fmla="*/ 0 h 257442"/>
                <a:gd name="connsiteX0" fmla="*/ 1111101 w 1111101"/>
                <a:gd name="connsiteY0" fmla="*/ 0 h 257442"/>
                <a:gd name="connsiteX1" fmla="*/ 888065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279416 w 1279416"/>
                <a:gd name="connsiteY0" fmla="*/ 0 h 257442"/>
                <a:gd name="connsiteX1" fmla="*/ 1056380 w 1279416"/>
                <a:gd name="connsiteY1" fmla="*/ 257442 h 257442"/>
                <a:gd name="connsiteX2" fmla="*/ 0 w 1279416"/>
                <a:gd name="connsiteY2" fmla="*/ 257442 h 257442"/>
                <a:gd name="connsiteX3" fmla="*/ 54721 w 1279416"/>
                <a:gd name="connsiteY3" fmla="*/ 0 h 257442"/>
                <a:gd name="connsiteX0" fmla="*/ 1279416 w 1279416"/>
                <a:gd name="connsiteY0" fmla="*/ 0 h 257442"/>
                <a:gd name="connsiteX1" fmla="*/ 1224694 w 1279416"/>
                <a:gd name="connsiteY1" fmla="*/ 257442 h 257442"/>
                <a:gd name="connsiteX2" fmla="*/ 0 w 1279416"/>
                <a:gd name="connsiteY2" fmla="*/ 257442 h 257442"/>
                <a:gd name="connsiteX3" fmla="*/ 54721 w 1279416"/>
                <a:gd name="connsiteY3" fmla="*/ 0 h 257442"/>
                <a:gd name="connsiteX0" fmla="*/ 1279417 w 1279417"/>
                <a:gd name="connsiteY0" fmla="*/ 0 h 257442"/>
                <a:gd name="connsiteX1" fmla="*/ 1224695 w 1279417"/>
                <a:gd name="connsiteY1" fmla="*/ 257442 h 257442"/>
                <a:gd name="connsiteX2" fmla="*/ 0 w 1279417"/>
                <a:gd name="connsiteY2" fmla="*/ 257442 h 257442"/>
                <a:gd name="connsiteX3" fmla="*/ 54722 w 1279417"/>
                <a:gd name="connsiteY3" fmla="*/ 0 h 257442"/>
                <a:gd name="connsiteX0" fmla="*/ 1279417 w 1279417"/>
                <a:gd name="connsiteY0" fmla="*/ 0 h 257442"/>
                <a:gd name="connsiteX1" fmla="*/ 1224695 w 1279417"/>
                <a:gd name="connsiteY1" fmla="*/ 257442 h 257442"/>
                <a:gd name="connsiteX2" fmla="*/ 0 w 1279417"/>
                <a:gd name="connsiteY2" fmla="*/ 257442 h 257442"/>
                <a:gd name="connsiteX3" fmla="*/ 54722 w 1279417"/>
                <a:gd name="connsiteY3" fmla="*/ 0 h 257442"/>
                <a:gd name="connsiteX0" fmla="*/ 1447733 w 1447733"/>
                <a:gd name="connsiteY0" fmla="*/ 0 h 257442"/>
                <a:gd name="connsiteX1" fmla="*/ 1224695 w 1447733"/>
                <a:gd name="connsiteY1" fmla="*/ 257442 h 257442"/>
                <a:gd name="connsiteX2" fmla="*/ 0 w 1447733"/>
                <a:gd name="connsiteY2" fmla="*/ 257442 h 257442"/>
                <a:gd name="connsiteX3" fmla="*/ 54722 w 1447733"/>
                <a:gd name="connsiteY3" fmla="*/ 0 h 257442"/>
                <a:gd name="connsiteX0" fmla="*/ 1447733 w 1447733"/>
                <a:gd name="connsiteY0" fmla="*/ 0 h 257442"/>
                <a:gd name="connsiteX1" fmla="*/ 1393012 w 1447733"/>
                <a:gd name="connsiteY1" fmla="*/ 257442 h 257442"/>
                <a:gd name="connsiteX2" fmla="*/ 0 w 1447733"/>
                <a:gd name="connsiteY2" fmla="*/ 257442 h 257442"/>
                <a:gd name="connsiteX3" fmla="*/ 54722 w 1447733"/>
                <a:gd name="connsiteY3" fmla="*/ 0 h 257442"/>
                <a:gd name="connsiteX0" fmla="*/ 1447732 w 1447732"/>
                <a:gd name="connsiteY0" fmla="*/ 0 h 257442"/>
                <a:gd name="connsiteX1" fmla="*/ 1393011 w 1447732"/>
                <a:gd name="connsiteY1" fmla="*/ 257442 h 257442"/>
                <a:gd name="connsiteX2" fmla="*/ 0 w 1447732"/>
                <a:gd name="connsiteY2" fmla="*/ 257442 h 257442"/>
                <a:gd name="connsiteX3" fmla="*/ 54721 w 1447732"/>
                <a:gd name="connsiteY3" fmla="*/ 0 h 257442"/>
                <a:gd name="connsiteX0" fmla="*/ 1447732 w 1447732"/>
                <a:gd name="connsiteY0" fmla="*/ 0 h 257442"/>
                <a:gd name="connsiteX1" fmla="*/ 1393011 w 1447732"/>
                <a:gd name="connsiteY1" fmla="*/ 257442 h 257442"/>
                <a:gd name="connsiteX2" fmla="*/ 0 w 1447732"/>
                <a:gd name="connsiteY2" fmla="*/ 257442 h 257442"/>
                <a:gd name="connsiteX3" fmla="*/ 54720 w 1447732"/>
                <a:gd name="connsiteY3" fmla="*/ 0 h 257442"/>
                <a:gd name="connsiteX0" fmla="*/ 1756918 w 1756918"/>
                <a:gd name="connsiteY0" fmla="*/ 0 h 257442"/>
                <a:gd name="connsiteX1" fmla="*/ 1393011 w 1756918"/>
                <a:gd name="connsiteY1" fmla="*/ 257442 h 257442"/>
                <a:gd name="connsiteX2" fmla="*/ 0 w 1756918"/>
                <a:gd name="connsiteY2" fmla="*/ 257442 h 257442"/>
                <a:gd name="connsiteX3" fmla="*/ 54720 w 1756918"/>
                <a:gd name="connsiteY3" fmla="*/ 0 h 257442"/>
                <a:gd name="connsiteX0" fmla="*/ 1756918 w 1756918"/>
                <a:gd name="connsiteY0" fmla="*/ 0 h 257442"/>
                <a:gd name="connsiteX1" fmla="*/ 1702197 w 1756918"/>
                <a:gd name="connsiteY1" fmla="*/ 257442 h 257442"/>
                <a:gd name="connsiteX2" fmla="*/ 0 w 1756918"/>
                <a:gd name="connsiteY2" fmla="*/ 257442 h 257442"/>
                <a:gd name="connsiteX3" fmla="*/ 54720 w 1756918"/>
                <a:gd name="connsiteY3" fmla="*/ 0 h 257442"/>
                <a:gd name="connsiteX0" fmla="*/ 1756919 w 1756919"/>
                <a:gd name="connsiteY0" fmla="*/ 0 h 257442"/>
                <a:gd name="connsiteX1" fmla="*/ 1702198 w 1756919"/>
                <a:gd name="connsiteY1" fmla="*/ 257442 h 257442"/>
                <a:gd name="connsiteX2" fmla="*/ 0 w 1756919"/>
                <a:gd name="connsiteY2" fmla="*/ 257442 h 257442"/>
                <a:gd name="connsiteX3" fmla="*/ 54721 w 1756919"/>
                <a:gd name="connsiteY3" fmla="*/ 0 h 257442"/>
                <a:gd name="connsiteX0" fmla="*/ 1756919 w 1756919"/>
                <a:gd name="connsiteY0" fmla="*/ 0 h 257442"/>
                <a:gd name="connsiteX1" fmla="*/ 1702198 w 1756919"/>
                <a:gd name="connsiteY1" fmla="*/ 257442 h 257442"/>
                <a:gd name="connsiteX2" fmla="*/ 0 w 1756919"/>
                <a:gd name="connsiteY2" fmla="*/ 257442 h 257442"/>
                <a:gd name="connsiteX3" fmla="*/ 54722 w 1756919"/>
                <a:gd name="connsiteY3" fmla="*/ 0 h 257442"/>
                <a:gd name="connsiteX0" fmla="*/ 2035843 w 2035843"/>
                <a:gd name="connsiteY0" fmla="*/ 0 h 257442"/>
                <a:gd name="connsiteX1" fmla="*/ 1702198 w 2035843"/>
                <a:gd name="connsiteY1" fmla="*/ 257442 h 257442"/>
                <a:gd name="connsiteX2" fmla="*/ 0 w 2035843"/>
                <a:gd name="connsiteY2" fmla="*/ 257442 h 257442"/>
                <a:gd name="connsiteX3" fmla="*/ 54722 w 2035843"/>
                <a:gd name="connsiteY3" fmla="*/ 0 h 257442"/>
                <a:gd name="connsiteX0" fmla="*/ 2035843 w 2035843"/>
                <a:gd name="connsiteY0" fmla="*/ 0 h 257442"/>
                <a:gd name="connsiteX1" fmla="*/ 1981122 w 2035843"/>
                <a:gd name="connsiteY1" fmla="*/ 257442 h 257442"/>
                <a:gd name="connsiteX2" fmla="*/ 0 w 2035843"/>
                <a:gd name="connsiteY2" fmla="*/ 257442 h 257442"/>
                <a:gd name="connsiteX3" fmla="*/ 54722 w 2035843"/>
                <a:gd name="connsiteY3" fmla="*/ 0 h 257442"/>
                <a:gd name="connsiteX0" fmla="*/ 2035842 w 2035842"/>
                <a:gd name="connsiteY0" fmla="*/ 0 h 257442"/>
                <a:gd name="connsiteX1" fmla="*/ 1981121 w 2035842"/>
                <a:gd name="connsiteY1" fmla="*/ 257442 h 257442"/>
                <a:gd name="connsiteX2" fmla="*/ 0 w 2035842"/>
                <a:gd name="connsiteY2" fmla="*/ 257442 h 257442"/>
                <a:gd name="connsiteX3" fmla="*/ 54721 w 2035842"/>
                <a:gd name="connsiteY3" fmla="*/ 0 h 257442"/>
                <a:gd name="connsiteX0" fmla="*/ 2035842 w 2035842"/>
                <a:gd name="connsiteY0" fmla="*/ 0 h 257442"/>
                <a:gd name="connsiteX1" fmla="*/ 1981121 w 2035842"/>
                <a:gd name="connsiteY1" fmla="*/ 257442 h 257442"/>
                <a:gd name="connsiteX2" fmla="*/ 0 w 2035842"/>
                <a:gd name="connsiteY2" fmla="*/ 257442 h 257442"/>
                <a:gd name="connsiteX3" fmla="*/ 54720 w 2035842"/>
                <a:gd name="connsiteY3" fmla="*/ 0 h 257442"/>
                <a:gd name="connsiteX0" fmla="*/ 2204156 w 2204156"/>
                <a:gd name="connsiteY0" fmla="*/ 0 h 257442"/>
                <a:gd name="connsiteX1" fmla="*/ 1981121 w 2204156"/>
                <a:gd name="connsiteY1" fmla="*/ 257442 h 257442"/>
                <a:gd name="connsiteX2" fmla="*/ 0 w 2204156"/>
                <a:gd name="connsiteY2" fmla="*/ 257442 h 257442"/>
                <a:gd name="connsiteX3" fmla="*/ 54720 w 2204156"/>
                <a:gd name="connsiteY3" fmla="*/ 0 h 257442"/>
                <a:gd name="connsiteX0" fmla="*/ 2204156 w 2204156"/>
                <a:gd name="connsiteY0" fmla="*/ 0 h 257442"/>
                <a:gd name="connsiteX1" fmla="*/ 2149435 w 2204156"/>
                <a:gd name="connsiteY1" fmla="*/ 257442 h 257442"/>
                <a:gd name="connsiteX2" fmla="*/ 0 w 2204156"/>
                <a:gd name="connsiteY2" fmla="*/ 257442 h 257442"/>
                <a:gd name="connsiteX3" fmla="*/ 54720 w 2204156"/>
                <a:gd name="connsiteY3" fmla="*/ 0 h 257442"/>
                <a:gd name="connsiteX0" fmla="*/ 2204157 w 2204157"/>
                <a:gd name="connsiteY0" fmla="*/ 0 h 257442"/>
                <a:gd name="connsiteX1" fmla="*/ 2149436 w 2204157"/>
                <a:gd name="connsiteY1" fmla="*/ 257442 h 257442"/>
                <a:gd name="connsiteX2" fmla="*/ 0 w 2204157"/>
                <a:gd name="connsiteY2" fmla="*/ 257442 h 257442"/>
                <a:gd name="connsiteX3" fmla="*/ 54721 w 2204157"/>
                <a:gd name="connsiteY3" fmla="*/ 0 h 257442"/>
                <a:gd name="connsiteX0" fmla="*/ 2204157 w 2204157"/>
                <a:gd name="connsiteY0" fmla="*/ 0 h 257442"/>
                <a:gd name="connsiteX1" fmla="*/ 2149436 w 2204157"/>
                <a:gd name="connsiteY1" fmla="*/ 257442 h 257442"/>
                <a:gd name="connsiteX2" fmla="*/ 0 w 2204157"/>
                <a:gd name="connsiteY2" fmla="*/ 257442 h 257442"/>
                <a:gd name="connsiteX3" fmla="*/ 54722 w 2204157"/>
                <a:gd name="connsiteY3" fmla="*/ 0 h 257442"/>
                <a:gd name="connsiteX0" fmla="*/ 2047256 w 2149436"/>
                <a:gd name="connsiteY0" fmla="*/ 0 h 257442"/>
                <a:gd name="connsiteX1" fmla="*/ 2149436 w 2149436"/>
                <a:gd name="connsiteY1" fmla="*/ 257442 h 257442"/>
                <a:gd name="connsiteX2" fmla="*/ 0 w 2149436"/>
                <a:gd name="connsiteY2" fmla="*/ 257442 h 257442"/>
                <a:gd name="connsiteX3" fmla="*/ 54722 w 2149436"/>
                <a:gd name="connsiteY3" fmla="*/ 0 h 257442"/>
                <a:gd name="connsiteX0" fmla="*/ 2047256 w 2047256"/>
                <a:gd name="connsiteY0" fmla="*/ 0 h 257442"/>
                <a:gd name="connsiteX1" fmla="*/ 1992535 w 2047256"/>
                <a:gd name="connsiteY1" fmla="*/ 257442 h 257442"/>
                <a:gd name="connsiteX2" fmla="*/ 0 w 2047256"/>
                <a:gd name="connsiteY2" fmla="*/ 257442 h 257442"/>
                <a:gd name="connsiteX3" fmla="*/ 54722 w 2047256"/>
                <a:gd name="connsiteY3" fmla="*/ 0 h 257442"/>
                <a:gd name="connsiteX0" fmla="*/ 2047255 w 2047255"/>
                <a:gd name="connsiteY0" fmla="*/ 0 h 257442"/>
                <a:gd name="connsiteX1" fmla="*/ 1992534 w 2047255"/>
                <a:gd name="connsiteY1" fmla="*/ 257442 h 257442"/>
                <a:gd name="connsiteX2" fmla="*/ 0 w 2047255"/>
                <a:gd name="connsiteY2" fmla="*/ 257442 h 257442"/>
                <a:gd name="connsiteX3" fmla="*/ 54721 w 2047255"/>
                <a:gd name="connsiteY3" fmla="*/ 0 h 257442"/>
                <a:gd name="connsiteX0" fmla="*/ 2047255 w 2047255"/>
                <a:gd name="connsiteY0" fmla="*/ 0 h 257442"/>
                <a:gd name="connsiteX1" fmla="*/ 1992534 w 2047255"/>
                <a:gd name="connsiteY1" fmla="*/ 257442 h 257442"/>
                <a:gd name="connsiteX2" fmla="*/ 0 w 2047255"/>
                <a:gd name="connsiteY2" fmla="*/ 257442 h 257442"/>
                <a:gd name="connsiteX3" fmla="*/ 54721 w 2047255"/>
                <a:gd name="connsiteY3" fmla="*/ 0 h 257442"/>
                <a:gd name="connsiteX0" fmla="*/ 1894969 w 1992534"/>
                <a:gd name="connsiteY0" fmla="*/ 0 h 257442"/>
                <a:gd name="connsiteX1" fmla="*/ 1992534 w 1992534"/>
                <a:gd name="connsiteY1" fmla="*/ 257442 h 257442"/>
                <a:gd name="connsiteX2" fmla="*/ 0 w 1992534"/>
                <a:gd name="connsiteY2" fmla="*/ 257442 h 257442"/>
                <a:gd name="connsiteX3" fmla="*/ 54721 w 1992534"/>
                <a:gd name="connsiteY3" fmla="*/ 0 h 257442"/>
                <a:gd name="connsiteX0" fmla="*/ 1894969 w 1894969"/>
                <a:gd name="connsiteY0" fmla="*/ 0 h 257442"/>
                <a:gd name="connsiteX1" fmla="*/ 1840248 w 1894969"/>
                <a:gd name="connsiteY1" fmla="*/ 257442 h 257442"/>
                <a:gd name="connsiteX2" fmla="*/ 0 w 1894969"/>
                <a:gd name="connsiteY2" fmla="*/ 257442 h 257442"/>
                <a:gd name="connsiteX3" fmla="*/ 54721 w 1894969"/>
                <a:gd name="connsiteY3" fmla="*/ 0 h 257442"/>
                <a:gd name="connsiteX0" fmla="*/ 1894968 w 1894968"/>
                <a:gd name="connsiteY0" fmla="*/ 0 h 257442"/>
                <a:gd name="connsiteX1" fmla="*/ 1840247 w 1894968"/>
                <a:gd name="connsiteY1" fmla="*/ 257442 h 257442"/>
                <a:gd name="connsiteX2" fmla="*/ 0 w 1894968"/>
                <a:gd name="connsiteY2" fmla="*/ 257442 h 257442"/>
                <a:gd name="connsiteX3" fmla="*/ 54720 w 1894968"/>
                <a:gd name="connsiteY3" fmla="*/ 0 h 257442"/>
                <a:gd name="connsiteX0" fmla="*/ 1894968 w 1894968"/>
                <a:gd name="connsiteY0" fmla="*/ 0 h 257442"/>
                <a:gd name="connsiteX1" fmla="*/ 1840247 w 1894968"/>
                <a:gd name="connsiteY1" fmla="*/ 257442 h 257442"/>
                <a:gd name="connsiteX2" fmla="*/ 0 w 1894968"/>
                <a:gd name="connsiteY2" fmla="*/ 257442 h 257442"/>
                <a:gd name="connsiteX3" fmla="*/ 54720 w 1894968"/>
                <a:gd name="connsiteY3" fmla="*/ 0 h 257442"/>
                <a:gd name="connsiteX0" fmla="*/ 2063284 w 2063284"/>
                <a:gd name="connsiteY0" fmla="*/ 0 h 257442"/>
                <a:gd name="connsiteX1" fmla="*/ 1840247 w 2063284"/>
                <a:gd name="connsiteY1" fmla="*/ 257442 h 257442"/>
                <a:gd name="connsiteX2" fmla="*/ 0 w 2063284"/>
                <a:gd name="connsiteY2" fmla="*/ 257442 h 257442"/>
                <a:gd name="connsiteX3" fmla="*/ 54720 w 2063284"/>
                <a:gd name="connsiteY3" fmla="*/ 0 h 257442"/>
                <a:gd name="connsiteX0" fmla="*/ 2063284 w 2063284"/>
                <a:gd name="connsiteY0" fmla="*/ 0 h 257442"/>
                <a:gd name="connsiteX1" fmla="*/ 2008563 w 2063284"/>
                <a:gd name="connsiteY1" fmla="*/ 257442 h 257442"/>
                <a:gd name="connsiteX2" fmla="*/ 0 w 2063284"/>
                <a:gd name="connsiteY2" fmla="*/ 257442 h 257442"/>
                <a:gd name="connsiteX3" fmla="*/ 54720 w 2063284"/>
                <a:gd name="connsiteY3" fmla="*/ 0 h 257442"/>
                <a:gd name="connsiteX0" fmla="*/ 2063285 w 2063285"/>
                <a:gd name="connsiteY0" fmla="*/ 0 h 257442"/>
                <a:gd name="connsiteX1" fmla="*/ 2008564 w 2063285"/>
                <a:gd name="connsiteY1" fmla="*/ 257442 h 257442"/>
                <a:gd name="connsiteX2" fmla="*/ 0 w 2063285"/>
                <a:gd name="connsiteY2" fmla="*/ 257442 h 257442"/>
                <a:gd name="connsiteX3" fmla="*/ 54721 w 2063285"/>
                <a:gd name="connsiteY3" fmla="*/ 0 h 257442"/>
                <a:gd name="connsiteX0" fmla="*/ 2063285 w 2063285"/>
                <a:gd name="connsiteY0" fmla="*/ 0 h 257442"/>
                <a:gd name="connsiteX1" fmla="*/ 2008564 w 2063285"/>
                <a:gd name="connsiteY1" fmla="*/ 257442 h 257442"/>
                <a:gd name="connsiteX2" fmla="*/ 0 w 2063285"/>
                <a:gd name="connsiteY2" fmla="*/ 257442 h 257442"/>
                <a:gd name="connsiteX3" fmla="*/ 54722 w 2063285"/>
                <a:gd name="connsiteY3" fmla="*/ 0 h 257442"/>
                <a:gd name="connsiteX0" fmla="*/ 2305147 w 2305147"/>
                <a:gd name="connsiteY0" fmla="*/ 0 h 257442"/>
                <a:gd name="connsiteX1" fmla="*/ 2008564 w 2305147"/>
                <a:gd name="connsiteY1" fmla="*/ 257442 h 257442"/>
                <a:gd name="connsiteX2" fmla="*/ 0 w 2305147"/>
                <a:gd name="connsiteY2" fmla="*/ 257442 h 257442"/>
                <a:gd name="connsiteX3" fmla="*/ 54722 w 2305147"/>
                <a:gd name="connsiteY3" fmla="*/ 0 h 257442"/>
                <a:gd name="connsiteX0" fmla="*/ 2305147 w 2305147"/>
                <a:gd name="connsiteY0" fmla="*/ 0 h 257442"/>
                <a:gd name="connsiteX1" fmla="*/ 2250426 w 2305147"/>
                <a:gd name="connsiteY1" fmla="*/ 257442 h 257442"/>
                <a:gd name="connsiteX2" fmla="*/ 0 w 2305147"/>
                <a:gd name="connsiteY2" fmla="*/ 257442 h 257442"/>
                <a:gd name="connsiteX3" fmla="*/ 54722 w 2305147"/>
                <a:gd name="connsiteY3" fmla="*/ 0 h 257442"/>
                <a:gd name="connsiteX0" fmla="*/ 2305146 w 2305146"/>
                <a:gd name="connsiteY0" fmla="*/ 0 h 257442"/>
                <a:gd name="connsiteX1" fmla="*/ 2250425 w 2305146"/>
                <a:gd name="connsiteY1" fmla="*/ 257442 h 257442"/>
                <a:gd name="connsiteX2" fmla="*/ 0 w 2305146"/>
                <a:gd name="connsiteY2" fmla="*/ 257442 h 257442"/>
                <a:gd name="connsiteX3" fmla="*/ 54721 w 2305146"/>
                <a:gd name="connsiteY3" fmla="*/ 0 h 257442"/>
                <a:gd name="connsiteX0" fmla="*/ 2305146 w 2305146"/>
                <a:gd name="connsiteY0" fmla="*/ 0 h 257442"/>
                <a:gd name="connsiteX1" fmla="*/ 2250425 w 2305146"/>
                <a:gd name="connsiteY1" fmla="*/ 257442 h 257442"/>
                <a:gd name="connsiteX2" fmla="*/ 0 w 2305146"/>
                <a:gd name="connsiteY2" fmla="*/ 257442 h 257442"/>
                <a:gd name="connsiteX3" fmla="*/ 54720 w 2305146"/>
                <a:gd name="connsiteY3" fmla="*/ 0 h 257442"/>
                <a:gd name="connsiteX0" fmla="*/ 2204156 w 2250425"/>
                <a:gd name="connsiteY0" fmla="*/ 0 h 257442"/>
                <a:gd name="connsiteX1" fmla="*/ 2250425 w 2250425"/>
                <a:gd name="connsiteY1" fmla="*/ 257442 h 257442"/>
                <a:gd name="connsiteX2" fmla="*/ 0 w 2250425"/>
                <a:gd name="connsiteY2" fmla="*/ 257442 h 257442"/>
                <a:gd name="connsiteX3" fmla="*/ 54720 w 2250425"/>
                <a:gd name="connsiteY3" fmla="*/ 0 h 257442"/>
                <a:gd name="connsiteX0" fmla="*/ 2204156 w 2204156"/>
                <a:gd name="connsiteY0" fmla="*/ 0 h 257442"/>
                <a:gd name="connsiteX1" fmla="*/ 2149436 w 2204156"/>
                <a:gd name="connsiteY1" fmla="*/ 257442 h 257442"/>
                <a:gd name="connsiteX2" fmla="*/ 0 w 2204156"/>
                <a:gd name="connsiteY2" fmla="*/ 257442 h 257442"/>
                <a:gd name="connsiteX3" fmla="*/ 54720 w 2204156"/>
                <a:gd name="connsiteY3" fmla="*/ 0 h 257442"/>
                <a:gd name="connsiteX0" fmla="*/ 2204156 w 2204156"/>
                <a:gd name="connsiteY0" fmla="*/ 0 h 257442"/>
                <a:gd name="connsiteX1" fmla="*/ 2149436 w 2204156"/>
                <a:gd name="connsiteY1" fmla="*/ 257442 h 257442"/>
                <a:gd name="connsiteX2" fmla="*/ 0 w 2204156"/>
                <a:gd name="connsiteY2" fmla="*/ 257442 h 257442"/>
                <a:gd name="connsiteX3" fmla="*/ 54720 w 2204156"/>
                <a:gd name="connsiteY3" fmla="*/ 0 h 257442"/>
                <a:gd name="connsiteX0" fmla="*/ 2204156 w 2204156"/>
                <a:gd name="connsiteY0" fmla="*/ 0 h 257442"/>
                <a:gd name="connsiteX1" fmla="*/ 2149436 w 2204156"/>
                <a:gd name="connsiteY1" fmla="*/ 257442 h 257442"/>
                <a:gd name="connsiteX2" fmla="*/ 0 w 2204156"/>
                <a:gd name="connsiteY2" fmla="*/ 257442 h 257442"/>
                <a:gd name="connsiteX3" fmla="*/ 54721 w 2204156"/>
                <a:gd name="connsiteY3" fmla="*/ 0 h 257442"/>
                <a:gd name="connsiteX0" fmla="*/ 934771 w 2149436"/>
                <a:gd name="connsiteY0" fmla="*/ 0 h 257442"/>
                <a:gd name="connsiteX1" fmla="*/ 2149436 w 2149436"/>
                <a:gd name="connsiteY1" fmla="*/ 257442 h 257442"/>
                <a:gd name="connsiteX2" fmla="*/ 0 w 2149436"/>
                <a:gd name="connsiteY2" fmla="*/ 257442 h 257442"/>
                <a:gd name="connsiteX3" fmla="*/ 54721 w 2149436"/>
                <a:gd name="connsiteY3" fmla="*/ 0 h 257442"/>
                <a:gd name="connsiteX0" fmla="*/ 934771 w 934771"/>
                <a:gd name="connsiteY0" fmla="*/ 0 h 257442"/>
                <a:gd name="connsiteX1" fmla="*/ 880050 w 934771"/>
                <a:gd name="connsiteY1" fmla="*/ 257442 h 257442"/>
                <a:gd name="connsiteX2" fmla="*/ 0 w 934771"/>
                <a:gd name="connsiteY2" fmla="*/ 257442 h 257442"/>
                <a:gd name="connsiteX3" fmla="*/ 54721 w 934771"/>
                <a:gd name="connsiteY3" fmla="*/ 0 h 257442"/>
                <a:gd name="connsiteX0" fmla="*/ 934770 w 934770"/>
                <a:gd name="connsiteY0" fmla="*/ 0 h 257442"/>
                <a:gd name="connsiteX1" fmla="*/ 880049 w 934770"/>
                <a:gd name="connsiteY1" fmla="*/ 257442 h 257442"/>
                <a:gd name="connsiteX2" fmla="*/ 0 w 934770"/>
                <a:gd name="connsiteY2" fmla="*/ 257442 h 257442"/>
                <a:gd name="connsiteX3" fmla="*/ 54720 w 934770"/>
                <a:gd name="connsiteY3" fmla="*/ 0 h 257442"/>
                <a:gd name="connsiteX0" fmla="*/ 934770 w 934770"/>
                <a:gd name="connsiteY0" fmla="*/ 0 h 257442"/>
                <a:gd name="connsiteX1" fmla="*/ 880049 w 934770"/>
                <a:gd name="connsiteY1" fmla="*/ 257442 h 257442"/>
                <a:gd name="connsiteX2" fmla="*/ 0 w 934770"/>
                <a:gd name="connsiteY2" fmla="*/ 257442 h 257442"/>
                <a:gd name="connsiteX3" fmla="*/ 54720 w 934770"/>
                <a:gd name="connsiteY3" fmla="*/ 0 h 257442"/>
                <a:gd name="connsiteX0" fmla="*/ 1243957 w 1243957"/>
                <a:gd name="connsiteY0" fmla="*/ 0 h 257442"/>
                <a:gd name="connsiteX1" fmla="*/ 880049 w 1243957"/>
                <a:gd name="connsiteY1" fmla="*/ 257442 h 257442"/>
                <a:gd name="connsiteX2" fmla="*/ 0 w 1243957"/>
                <a:gd name="connsiteY2" fmla="*/ 257442 h 257442"/>
                <a:gd name="connsiteX3" fmla="*/ 54720 w 1243957"/>
                <a:gd name="connsiteY3" fmla="*/ 0 h 257442"/>
                <a:gd name="connsiteX0" fmla="*/ 1243957 w 1243957"/>
                <a:gd name="connsiteY0" fmla="*/ 0 h 257442"/>
                <a:gd name="connsiteX1" fmla="*/ 1189236 w 1243957"/>
                <a:gd name="connsiteY1" fmla="*/ 257442 h 257442"/>
                <a:gd name="connsiteX2" fmla="*/ 0 w 1243957"/>
                <a:gd name="connsiteY2" fmla="*/ 257442 h 257442"/>
                <a:gd name="connsiteX3" fmla="*/ 54720 w 1243957"/>
                <a:gd name="connsiteY3" fmla="*/ 0 h 257442"/>
                <a:gd name="connsiteX0" fmla="*/ 1243958 w 1243958"/>
                <a:gd name="connsiteY0" fmla="*/ 0 h 257442"/>
                <a:gd name="connsiteX1" fmla="*/ 1189237 w 1243958"/>
                <a:gd name="connsiteY1" fmla="*/ 257442 h 257442"/>
                <a:gd name="connsiteX2" fmla="*/ 0 w 1243958"/>
                <a:gd name="connsiteY2" fmla="*/ 257442 h 257442"/>
                <a:gd name="connsiteX3" fmla="*/ 54721 w 1243958"/>
                <a:gd name="connsiteY3" fmla="*/ 0 h 257442"/>
                <a:gd name="connsiteX0" fmla="*/ 1243958 w 1243958"/>
                <a:gd name="connsiteY0" fmla="*/ 0 h 257442"/>
                <a:gd name="connsiteX1" fmla="*/ 1189237 w 1243958"/>
                <a:gd name="connsiteY1" fmla="*/ 257442 h 257442"/>
                <a:gd name="connsiteX2" fmla="*/ 0 w 1243958"/>
                <a:gd name="connsiteY2" fmla="*/ 257442 h 257442"/>
                <a:gd name="connsiteX3" fmla="*/ 54721 w 1243958"/>
                <a:gd name="connsiteY3" fmla="*/ 0 h 257442"/>
                <a:gd name="connsiteX0" fmla="*/ 1404259 w 1404259"/>
                <a:gd name="connsiteY0" fmla="*/ 0 h 257442"/>
                <a:gd name="connsiteX1" fmla="*/ 1189237 w 1404259"/>
                <a:gd name="connsiteY1" fmla="*/ 257442 h 257442"/>
                <a:gd name="connsiteX2" fmla="*/ 0 w 1404259"/>
                <a:gd name="connsiteY2" fmla="*/ 257442 h 257442"/>
                <a:gd name="connsiteX3" fmla="*/ 54721 w 1404259"/>
                <a:gd name="connsiteY3" fmla="*/ 0 h 257442"/>
                <a:gd name="connsiteX0" fmla="*/ 1404259 w 1404259"/>
                <a:gd name="connsiteY0" fmla="*/ 0 h 257442"/>
                <a:gd name="connsiteX1" fmla="*/ 1349538 w 1404259"/>
                <a:gd name="connsiteY1" fmla="*/ 257442 h 257442"/>
                <a:gd name="connsiteX2" fmla="*/ 0 w 1404259"/>
                <a:gd name="connsiteY2" fmla="*/ 257442 h 257442"/>
                <a:gd name="connsiteX3" fmla="*/ 54721 w 1404259"/>
                <a:gd name="connsiteY3" fmla="*/ 0 h 257442"/>
                <a:gd name="connsiteX0" fmla="*/ 1404259 w 1404259"/>
                <a:gd name="connsiteY0" fmla="*/ 0 h 257442"/>
                <a:gd name="connsiteX1" fmla="*/ 1349538 w 1404259"/>
                <a:gd name="connsiteY1" fmla="*/ 257442 h 257442"/>
                <a:gd name="connsiteX2" fmla="*/ 0 w 1404259"/>
                <a:gd name="connsiteY2" fmla="*/ 257442 h 257442"/>
                <a:gd name="connsiteX3" fmla="*/ 54721 w 1404259"/>
                <a:gd name="connsiteY3" fmla="*/ 0 h 257442"/>
                <a:gd name="connsiteX0" fmla="*/ 1404259 w 1404259"/>
                <a:gd name="connsiteY0" fmla="*/ 0 h 257442"/>
                <a:gd name="connsiteX1" fmla="*/ 1349538 w 1404259"/>
                <a:gd name="connsiteY1" fmla="*/ 257442 h 257442"/>
                <a:gd name="connsiteX2" fmla="*/ 0 w 1404259"/>
                <a:gd name="connsiteY2" fmla="*/ 257442 h 257442"/>
                <a:gd name="connsiteX3" fmla="*/ 54721 w 1404259"/>
                <a:gd name="connsiteY3" fmla="*/ 0 h 257442"/>
                <a:gd name="connsiteX0" fmla="*/ 1572573 w 1572573"/>
                <a:gd name="connsiteY0" fmla="*/ 0 h 257442"/>
                <a:gd name="connsiteX1" fmla="*/ 1349538 w 1572573"/>
                <a:gd name="connsiteY1" fmla="*/ 257442 h 257442"/>
                <a:gd name="connsiteX2" fmla="*/ 0 w 1572573"/>
                <a:gd name="connsiteY2" fmla="*/ 257442 h 257442"/>
                <a:gd name="connsiteX3" fmla="*/ 54721 w 1572573"/>
                <a:gd name="connsiteY3" fmla="*/ 0 h 257442"/>
                <a:gd name="connsiteX0" fmla="*/ 1572573 w 1572573"/>
                <a:gd name="connsiteY0" fmla="*/ 0 h 257442"/>
                <a:gd name="connsiteX1" fmla="*/ 1517852 w 1572573"/>
                <a:gd name="connsiteY1" fmla="*/ 257442 h 257442"/>
                <a:gd name="connsiteX2" fmla="*/ 0 w 1572573"/>
                <a:gd name="connsiteY2" fmla="*/ 257442 h 257442"/>
                <a:gd name="connsiteX3" fmla="*/ 54721 w 1572573"/>
                <a:gd name="connsiteY3" fmla="*/ 0 h 257442"/>
                <a:gd name="connsiteX0" fmla="*/ 1572573 w 1572573"/>
                <a:gd name="connsiteY0" fmla="*/ 0 h 257442"/>
                <a:gd name="connsiteX1" fmla="*/ 1517852 w 1572573"/>
                <a:gd name="connsiteY1" fmla="*/ 257442 h 257442"/>
                <a:gd name="connsiteX2" fmla="*/ 0 w 1572573"/>
                <a:gd name="connsiteY2" fmla="*/ 257442 h 257442"/>
                <a:gd name="connsiteX3" fmla="*/ 54721 w 1572573"/>
                <a:gd name="connsiteY3" fmla="*/ 0 h 257442"/>
                <a:gd name="connsiteX0" fmla="*/ 1572573 w 1572573"/>
                <a:gd name="connsiteY0" fmla="*/ 0 h 257442"/>
                <a:gd name="connsiteX1" fmla="*/ 1517852 w 1572573"/>
                <a:gd name="connsiteY1" fmla="*/ 257442 h 257442"/>
                <a:gd name="connsiteX2" fmla="*/ 0 w 1572573"/>
                <a:gd name="connsiteY2" fmla="*/ 257442 h 257442"/>
                <a:gd name="connsiteX3" fmla="*/ 54721 w 1572573"/>
                <a:gd name="connsiteY3" fmla="*/ 0 h 257442"/>
                <a:gd name="connsiteX0" fmla="*/ 1825848 w 1825848"/>
                <a:gd name="connsiteY0" fmla="*/ 0 h 257442"/>
                <a:gd name="connsiteX1" fmla="*/ 1517852 w 1825848"/>
                <a:gd name="connsiteY1" fmla="*/ 257442 h 257442"/>
                <a:gd name="connsiteX2" fmla="*/ 0 w 1825848"/>
                <a:gd name="connsiteY2" fmla="*/ 257442 h 257442"/>
                <a:gd name="connsiteX3" fmla="*/ 54721 w 1825848"/>
                <a:gd name="connsiteY3" fmla="*/ 0 h 257442"/>
                <a:gd name="connsiteX0" fmla="*/ 1825848 w 1825848"/>
                <a:gd name="connsiteY0" fmla="*/ 0 h 257442"/>
                <a:gd name="connsiteX1" fmla="*/ 1771126 w 1825848"/>
                <a:gd name="connsiteY1" fmla="*/ 257442 h 257442"/>
                <a:gd name="connsiteX2" fmla="*/ 0 w 1825848"/>
                <a:gd name="connsiteY2" fmla="*/ 257442 h 257442"/>
                <a:gd name="connsiteX3" fmla="*/ 54721 w 1825848"/>
                <a:gd name="connsiteY3" fmla="*/ 0 h 257442"/>
                <a:gd name="connsiteX0" fmla="*/ 1825849 w 1825849"/>
                <a:gd name="connsiteY0" fmla="*/ 0 h 257442"/>
                <a:gd name="connsiteX1" fmla="*/ 1771127 w 1825849"/>
                <a:gd name="connsiteY1" fmla="*/ 257442 h 257442"/>
                <a:gd name="connsiteX2" fmla="*/ 0 w 1825849"/>
                <a:gd name="connsiteY2" fmla="*/ 257442 h 257442"/>
                <a:gd name="connsiteX3" fmla="*/ 54722 w 1825849"/>
                <a:gd name="connsiteY3" fmla="*/ 0 h 257442"/>
                <a:gd name="connsiteX0" fmla="*/ 1825849 w 1825849"/>
                <a:gd name="connsiteY0" fmla="*/ 0 h 257442"/>
                <a:gd name="connsiteX1" fmla="*/ 1771127 w 1825849"/>
                <a:gd name="connsiteY1" fmla="*/ 257442 h 257442"/>
                <a:gd name="connsiteX2" fmla="*/ 0 w 1825849"/>
                <a:gd name="connsiteY2" fmla="*/ 257442 h 257442"/>
                <a:gd name="connsiteX3" fmla="*/ 54722 w 1825849"/>
                <a:gd name="connsiteY3" fmla="*/ 0 h 257442"/>
                <a:gd name="connsiteX0" fmla="*/ 1986149 w 1986149"/>
                <a:gd name="connsiteY0" fmla="*/ 0 h 257442"/>
                <a:gd name="connsiteX1" fmla="*/ 1771127 w 1986149"/>
                <a:gd name="connsiteY1" fmla="*/ 257442 h 257442"/>
                <a:gd name="connsiteX2" fmla="*/ 0 w 1986149"/>
                <a:gd name="connsiteY2" fmla="*/ 257442 h 257442"/>
                <a:gd name="connsiteX3" fmla="*/ 54722 w 1986149"/>
                <a:gd name="connsiteY3" fmla="*/ 0 h 257442"/>
                <a:gd name="connsiteX0" fmla="*/ 1986149 w 1986149"/>
                <a:gd name="connsiteY0" fmla="*/ 0 h 257442"/>
                <a:gd name="connsiteX1" fmla="*/ 1931428 w 1986149"/>
                <a:gd name="connsiteY1" fmla="*/ 257442 h 257442"/>
                <a:gd name="connsiteX2" fmla="*/ 0 w 1986149"/>
                <a:gd name="connsiteY2" fmla="*/ 257442 h 257442"/>
                <a:gd name="connsiteX3" fmla="*/ 54722 w 1986149"/>
                <a:gd name="connsiteY3" fmla="*/ 0 h 257442"/>
                <a:gd name="connsiteX0" fmla="*/ 1986148 w 1986148"/>
                <a:gd name="connsiteY0" fmla="*/ 0 h 257442"/>
                <a:gd name="connsiteX1" fmla="*/ 1931427 w 1986148"/>
                <a:gd name="connsiteY1" fmla="*/ 257442 h 257442"/>
                <a:gd name="connsiteX2" fmla="*/ 0 w 1986148"/>
                <a:gd name="connsiteY2" fmla="*/ 257442 h 257442"/>
                <a:gd name="connsiteX3" fmla="*/ 54721 w 1986148"/>
                <a:gd name="connsiteY3" fmla="*/ 0 h 257442"/>
                <a:gd name="connsiteX0" fmla="*/ 1986148 w 1986148"/>
                <a:gd name="connsiteY0" fmla="*/ 0 h 257442"/>
                <a:gd name="connsiteX1" fmla="*/ 1931427 w 1986148"/>
                <a:gd name="connsiteY1" fmla="*/ 257442 h 257442"/>
                <a:gd name="connsiteX2" fmla="*/ 0 w 1986148"/>
                <a:gd name="connsiteY2" fmla="*/ 257442 h 257442"/>
                <a:gd name="connsiteX3" fmla="*/ 54720 w 1986148"/>
                <a:gd name="connsiteY3" fmla="*/ 0 h 257442"/>
                <a:gd name="connsiteX0" fmla="*/ 2164081 w 2164081"/>
                <a:gd name="connsiteY0" fmla="*/ 0 h 257442"/>
                <a:gd name="connsiteX1" fmla="*/ 1931427 w 2164081"/>
                <a:gd name="connsiteY1" fmla="*/ 257442 h 257442"/>
                <a:gd name="connsiteX2" fmla="*/ 0 w 2164081"/>
                <a:gd name="connsiteY2" fmla="*/ 257442 h 257442"/>
                <a:gd name="connsiteX3" fmla="*/ 54720 w 2164081"/>
                <a:gd name="connsiteY3" fmla="*/ 0 h 257442"/>
                <a:gd name="connsiteX0" fmla="*/ 2164081 w 2164081"/>
                <a:gd name="connsiteY0" fmla="*/ 0 h 257442"/>
                <a:gd name="connsiteX1" fmla="*/ 2109360 w 2164081"/>
                <a:gd name="connsiteY1" fmla="*/ 257442 h 257442"/>
                <a:gd name="connsiteX2" fmla="*/ 0 w 2164081"/>
                <a:gd name="connsiteY2" fmla="*/ 257442 h 257442"/>
                <a:gd name="connsiteX3" fmla="*/ 54720 w 2164081"/>
                <a:gd name="connsiteY3" fmla="*/ 0 h 257442"/>
                <a:gd name="connsiteX0" fmla="*/ 2164082 w 2164082"/>
                <a:gd name="connsiteY0" fmla="*/ 0 h 257442"/>
                <a:gd name="connsiteX1" fmla="*/ 2109361 w 2164082"/>
                <a:gd name="connsiteY1" fmla="*/ 257442 h 257442"/>
                <a:gd name="connsiteX2" fmla="*/ 0 w 2164082"/>
                <a:gd name="connsiteY2" fmla="*/ 257442 h 257442"/>
                <a:gd name="connsiteX3" fmla="*/ 54721 w 2164082"/>
                <a:gd name="connsiteY3" fmla="*/ 0 h 257442"/>
                <a:gd name="connsiteX0" fmla="*/ 2164082 w 2164082"/>
                <a:gd name="connsiteY0" fmla="*/ 0 h 257442"/>
                <a:gd name="connsiteX1" fmla="*/ 2109361 w 2164082"/>
                <a:gd name="connsiteY1" fmla="*/ 257442 h 257442"/>
                <a:gd name="connsiteX2" fmla="*/ 0 w 2164082"/>
                <a:gd name="connsiteY2" fmla="*/ 257442 h 257442"/>
                <a:gd name="connsiteX3" fmla="*/ 54721 w 2164082"/>
                <a:gd name="connsiteY3" fmla="*/ 0 h 257442"/>
                <a:gd name="connsiteX0" fmla="*/ 2332397 w 2332397"/>
                <a:gd name="connsiteY0" fmla="*/ 0 h 257442"/>
                <a:gd name="connsiteX1" fmla="*/ 2109361 w 2332397"/>
                <a:gd name="connsiteY1" fmla="*/ 257442 h 257442"/>
                <a:gd name="connsiteX2" fmla="*/ 0 w 2332397"/>
                <a:gd name="connsiteY2" fmla="*/ 257442 h 257442"/>
                <a:gd name="connsiteX3" fmla="*/ 54721 w 2332397"/>
                <a:gd name="connsiteY3" fmla="*/ 0 h 257442"/>
                <a:gd name="connsiteX0" fmla="*/ 2332397 w 2332397"/>
                <a:gd name="connsiteY0" fmla="*/ 0 h 257442"/>
                <a:gd name="connsiteX1" fmla="*/ 2277676 w 2332397"/>
                <a:gd name="connsiteY1" fmla="*/ 257442 h 257442"/>
                <a:gd name="connsiteX2" fmla="*/ 0 w 2332397"/>
                <a:gd name="connsiteY2" fmla="*/ 257442 h 257442"/>
                <a:gd name="connsiteX3" fmla="*/ 54721 w 2332397"/>
                <a:gd name="connsiteY3" fmla="*/ 0 h 257442"/>
                <a:gd name="connsiteX0" fmla="*/ 2332397 w 2332397"/>
                <a:gd name="connsiteY0" fmla="*/ 0 h 257442"/>
                <a:gd name="connsiteX1" fmla="*/ 2277676 w 2332397"/>
                <a:gd name="connsiteY1" fmla="*/ 257442 h 257442"/>
                <a:gd name="connsiteX2" fmla="*/ 0 w 2332397"/>
                <a:gd name="connsiteY2" fmla="*/ 257442 h 257442"/>
                <a:gd name="connsiteX3" fmla="*/ 54721 w 2332397"/>
                <a:gd name="connsiteY3" fmla="*/ 0 h 257442"/>
                <a:gd name="connsiteX0" fmla="*/ 2332397 w 2332397"/>
                <a:gd name="connsiteY0" fmla="*/ 0 h 257442"/>
                <a:gd name="connsiteX1" fmla="*/ 2277676 w 2332397"/>
                <a:gd name="connsiteY1" fmla="*/ 257442 h 257442"/>
                <a:gd name="connsiteX2" fmla="*/ 0 w 2332397"/>
                <a:gd name="connsiteY2" fmla="*/ 257442 h 257442"/>
                <a:gd name="connsiteX3" fmla="*/ 54721 w 2332397"/>
                <a:gd name="connsiteY3" fmla="*/ 0 h 257442"/>
                <a:gd name="connsiteX0" fmla="*/ 2500713 w 2500713"/>
                <a:gd name="connsiteY0" fmla="*/ 0 h 257442"/>
                <a:gd name="connsiteX1" fmla="*/ 2277676 w 2500713"/>
                <a:gd name="connsiteY1" fmla="*/ 257442 h 257442"/>
                <a:gd name="connsiteX2" fmla="*/ 0 w 2500713"/>
                <a:gd name="connsiteY2" fmla="*/ 257442 h 257442"/>
                <a:gd name="connsiteX3" fmla="*/ 54721 w 2500713"/>
                <a:gd name="connsiteY3" fmla="*/ 0 h 257442"/>
                <a:gd name="connsiteX0" fmla="*/ 2500713 w 2500713"/>
                <a:gd name="connsiteY0" fmla="*/ 0 h 257442"/>
                <a:gd name="connsiteX1" fmla="*/ 2445992 w 2500713"/>
                <a:gd name="connsiteY1" fmla="*/ 257442 h 257442"/>
                <a:gd name="connsiteX2" fmla="*/ 0 w 2500713"/>
                <a:gd name="connsiteY2" fmla="*/ 257442 h 257442"/>
                <a:gd name="connsiteX3" fmla="*/ 54721 w 2500713"/>
                <a:gd name="connsiteY3" fmla="*/ 0 h 257442"/>
                <a:gd name="connsiteX0" fmla="*/ 2500713 w 2500713"/>
                <a:gd name="connsiteY0" fmla="*/ 0 h 257442"/>
                <a:gd name="connsiteX1" fmla="*/ 2445992 w 2500713"/>
                <a:gd name="connsiteY1" fmla="*/ 257442 h 257442"/>
                <a:gd name="connsiteX2" fmla="*/ 0 w 2500713"/>
                <a:gd name="connsiteY2" fmla="*/ 257442 h 257442"/>
                <a:gd name="connsiteX3" fmla="*/ 54721 w 2500713"/>
                <a:gd name="connsiteY3" fmla="*/ 0 h 257442"/>
                <a:gd name="connsiteX0" fmla="*/ 2500713 w 2500713"/>
                <a:gd name="connsiteY0" fmla="*/ 0 h 257442"/>
                <a:gd name="connsiteX1" fmla="*/ 2445992 w 2500713"/>
                <a:gd name="connsiteY1" fmla="*/ 257442 h 257442"/>
                <a:gd name="connsiteX2" fmla="*/ 0 w 2500713"/>
                <a:gd name="connsiteY2" fmla="*/ 257442 h 257442"/>
                <a:gd name="connsiteX3" fmla="*/ 54721 w 2500713"/>
                <a:gd name="connsiteY3" fmla="*/ 0 h 257442"/>
                <a:gd name="connsiteX0" fmla="*/ 2669027 w 2669027"/>
                <a:gd name="connsiteY0" fmla="*/ 0 h 257442"/>
                <a:gd name="connsiteX1" fmla="*/ 2445992 w 2669027"/>
                <a:gd name="connsiteY1" fmla="*/ 257442 h 257442"/>
                <a:gd name="connsiteX2" fmla="*/ 0 w 2669027"/>
                <a:gd name="connsiteY2" fmla="*/ 257442 h 257442"/>
                <a:gd name="connsiteX3" fmla="*/ 54721 w 2669027"/>
                <a:gd name="connsiteY3" fmla="*/ 0 h 257442"/>
                <a:gd name="connsiteX0" fmla="*/ 2669027 w 2669027"/>
                <a:gd name="connsiteY0" fmla="*/ 0 h 257442"/>
                <a:gd name="connsiteX1" fmla="*/ 2614306 w 2669027"/>
                <a:gd name="connsiteY1" fmla="*/ 257442 h 257442"/>
                <a:gd name="connsiteX2" fmla="*/ 0 w 2669027"/>
                <a:gd name="connsiteY2" fmla="*/ 257442 h 257442"/>
                <a:gd name="connsiteX3" fmla="*/ 54721 w 2669027"/>
                <a:gd name="connsiteY3" fmla="*/ 0 h 257442"/>
                <a:gd name="connsiteX0" fmla="*/ 2669027 w 2669027"/>
                <a:gd name="connsiteY0" fmla="*/ 0 h 257442"/>
                <a:gd name="connsiteX1" fmla="*/ 2614306 w 2669027"/>
                <a:gd name="connsiteY1" fmla="*/ 257442 h 257442"/>
                <a:gd name="connsiteX2" fmla="*/ 0 w 2669027"/>
                <a:gd name="connsiteY2" fmla="*/ 257442 h 257442"/>
                <a:gd name="connsiteX3" fmla="*/ 54721 w 2669027"/>
                <a:gd name="connsiteY3" fmla="*/ 0 h 257442"/>
                <a:gd name="connsiteX0" fmla="*/ 2669027 w 2669027"/>
                <a:gd name="connsiteY0" fmla="*/ 0 h 257442"/>
                <a:gd name="connsiteX1" fmla="*/ 2614306 w 2669027"/>
                <a:gd name="connsiteY1" fmla="*/ 257442 h 257442"/>
                <a:gd name="connsiteX2" fmla="*/ 0 w 2669027"/>
                <a:gd name="connsiteY2" fmla="*/ 257442 h 257442"/>
                <a:gd name="connsiteX3" fmla="*/ 54721 w 2669027"/>
                <a:gd name="connsiteY3" fmla="*/ 0 h 257442"/>
                <a:gd name="connsiteX0" fmla="*/ 2829328 w 2829328"/>
                <a:gd name="connsiteY0" fmla="*/ 0 h 257442"/>
                <a:gd name="connsiteX1" fmla="*/ 2614306 w 2829328"/>
                <a:gd name="connsiteY1" fmla="*/ 257442 h 257442"/>
                <a:gd name="connsiteX2" fmla="*/ 0 w 2829328"/>
                <a:gd name="connsiteY2" fmla="*/ 257442 h 257442"/>
                <a:gd name="connsiteX3" fmla="*/ 54721 w 2829328"/>
                <a:gd name="connsiteY3" fmla="*/ 0 h 257442"/>
                <a:gd name="connsiteX0" fmla="*/ 2829328 w 2829328"/>
                <a:gd name="connsiteY0" fmla="*/ 0 h 257442"/>
                <a:gd name="connsiteX1" fmla="*/ 2774606 w 2829328"/>
                <a:gd name="connsiteY1" fmla="*/ 257442 h 257442"/>
                <a:gd name="connsiteX2" fmla="*/ 0 w 2829328"/>
                <a:gd name="connsiteY2" fmla="*/ 257442 h 257442"/>
                <a:gd name="connsiteX3" fmla="*/ 54721 w 2829328"/>
                <a:gd name="connsiteY3" fmla="*/ 0 h 257442"/>
                <a:gd name="connsiteX0" fmla="*/ 2829329 w 2829329"/>
                <a:gd name="connsiteY0" fmla="*/ 0 h 257442"/>
                <a:gd name="connsiteX1" fmla="*/ 2774607 w 2829329"/>
                <a:gd name="connsiteY1" fmla="*/ 257442 h 257442"/>
                <a:gd name="connsiteX2" fmla="*/ 0 w 2829329"/>
                <a:gd name="connsiteY2" fmla="*/ 257442 h 257442"/>
                <a:gd name="connsiteX3" fmla="*/ 54722 w 2829329"/>
                <a:gd name="connsiteY3" fmla="*/ 0 h 257442"/>
                <a:gd name="connsiteX0" fmla="*/ 2829329 w 2829329"/>
                <a:gd name="connsiteY0" fmla="*/ 0 h 257442"/>
                <a:gd name="connsiteX1" fmla="*/ 2774607 w 2829329"/>
                <a:gd name="connsiteY1" fmla="*/ 257442 h 257442"/>
                <a:gd name="connsiteX2" fmla="*/ 0 w 2829329"/>
                <a:gd name="connsiteY2" fmla="*/ 257442 h 257442"/>
                <a:gd name="connsiteX3" fmla="*/ 54722 w 2829329"/>
                <a:gd name="connsiteY3" fmla="*/ 0 h 257442"/>
                <a:gd name="connsiteX0" fmla="*/ 2989629 w 2989629"/>
                <a:gd name="connsiteY0" fmla="*/ 0 h 257442"/>
                <a:gd name="connsiteX1" fmla="*/ 2774607 w 2989629"/>
                <a:gd name="connsiteY1" fmla="*/ 257442 h 257442"/>
                <a:gd name="connsiteX2" fmla="*/ 0 w 2989629"/>
                <a:gd name="connsiteY2" fmla="*/ 257442 h 257442"/>
                <a:gd name="connsiteX3" fmla="*/ 54722 w 2989629"/>
                <a:gd name="connsiteY3" fmla="*/ 0 h 257442"/>
                <a:gd name="connsiteX0" fmla="*/ 2989629 w 2989629"/>
                <a:gd name="connsiteY0" fmla="*/ 0 h 257442"/>
                <a:gd name="connsiteX1" fmla="*/ 2934908 w 2989629"/>
                <a:gd name="connsiteY1" fmla="*/ 257442 h 257442"/>
                <a:gd name="connsiteX2" fmla="*/ 0 w 2989629"/>
                <a:gd name="connsiteY2" fmla="*/ 257442 h 257442"/>
                <a:gd name="connsiteX3" fmla="*/ 54722 w 2989629"/>
                <a:gd name="connsiteY3" fmla="*/ 0 h 257442"/>
                <a:gd name="connsiteX0" fmla="*/ 2989628 w 2989628"/>
                <a:gd name="connsiteY0" fmla="*/ 0 h 257442"/>
                <a:gd name="connsiteX1" fmla="*/ 2934907 w 2989628"/>
                <a:gd name="connsiteY1" fmla="*/ 257442 h 257442"/>
                <a:gd name="connsiteX2" fmla="*/ 0 w 2989628"/>
                <a:gd name="connsiteY2" fmla="*/ 257442 h 257442"/>
                <a:gd name="connsiteX3" fmla="*/ 54721 w 2989628"/>
                <a:gd name="connsiteY3" fmla="*/ 0 h 257442"/>
                <a:gd name="connsiteX0" fmla="*/ 2989628 w 2989628"/>
                <a:gd name="connsiteY0" fmla="*/ 0 h 257442"/>
                <a:gd name="connsiteX1" fmla="*/ 2934907 w 2989628"/>
                <a:gd name="connsiteY1" fmla="*/ 257442 h 257442"/>
                <a:gd name="connsiteX2" fmla="*/ 0 w 2989628"/>
                <a:gd name="connsiteY2" fmla="*/ 257442 h 257442"/>
                <a:gd name="connsiteX3" fmla="*/ 54720 w 2989628"/>
                <a:gd name="connsiteY3" fmla="*/ 0 h 257442"/>
                <a:gd name="connsiteX0" fmla="*/ 1994163 w 2934907"/>
                <a:gd name="connsiteY0" fmla="*/ 0 h 257442"/>
                <a:gd name="connsiteX1" fmla="*/ 2934907 w 2934907"/>
                <a:gd name="connsiteY1" fmla="*/ 257442 h 257442"/>
                <a:gd name="connsiteX2" fmla="*/ 0 w 2934907"/>
                <a:gd name="connsiteY2" fmla="*/ 257442 h 257442"/>
                <a:gd name="connsiteX3" fmla="*/ 54720 w 2934907"/>
                <a:gd name="connsiteY3" fmla="*/ 0 h 257442"/>
                <a:gd name="connsiteX0" fmla="*/ 1994163 w 1994163"/>
                <a:gd name="connsiteY0" fmla="*/ 0 h 257442"/>
                <a:gd name="connsiteX1" fmla="*/ 1939443 w 1994163"/>
                <a:gd name="connsiteY1" fmla="*/ 257442 h 257442"/>
                <a:gd name="connsiteX2" fmla="*/ 0 w 1994163"/>
                <a:gd name="connsiteY2" fmla="*/ 257442 h 257442"/>
                <a:gd name="connsiteX3" fmla="*/ 54720 w 1994163"/>
                <a:gd name="connsiteY3" fmla="*/ 0 h 257442"/>
                <a:gd name="connsiteX0" fmla="*/ 1994163 w 1994163"/>
                <a:gd name="connsiteY0" fmla="*/ 0 h 257442"/>
                <a:gd name="connsiteX1" fmla="*/ 1939443 w 1994163"/>
                <a:gd name="connsiteY1" fmla="*/ 257442 h 257442"/>
                <a:gd name="connsiteX2" fmla="*/ 0 w 1994163"/>
                <a:gd name="connsiteY2" fmla="*/ 257442 h 257442"/>
                <a:gd name="connsiteX3" fmla="*/ 54720 w 1994163"/>
                <a:gd name="connsiteY3" fmla="*/ 0 h 257442"/>
                <a:gd name="connsiteX0" fmla="*/ 1994163 w 1994163"/>
                <a:gd name="connsiteY0" fmla="*/ 0 h 257442"/>
                <a:gd name="connsiteX1" fmla="*/ 1939443 w 1994163"/>
                <a:gd name="connsiteY1" fmla="*/ 257442 h 257442"/>
                <a:gd name="connsiteX2" fmla="*/ 0 w 1994163"/>
                <a:gd name="connsiteY2" fmla="*/ 257442 h 257442"/>
                <a:gd name="connsiteX3" fmla="*/ 54721 w 1994163"/>
                <a:gd name="connsiteY3" fmla="*/ 0 h 257442"/>
                <a:gd name="connsiteX0" fmla="*/ 2154464 w 2154464"/>
                <a:gd name="connsiteY0" fmla="*/ 0 h 257442"/>
                <a:gd name="connsiteX1" fmla="*/ 1939443 w 2154464"/>
                <a:gd name="connsiteY1" fmla="*/ 257442 h 257442"/>
                <a:gd name="connsiteX2" fmla="*/ 0 w 2154464"/>
                <a:gd name="connsiteY2" fmla="*/ 257442 h 257442"/>
                <a:gd name="connsiteX3" fmla="*/ 54721 w 2154464"/>
                <a:gd name="connsiteY3" fmla="*/ 0 h 257442"/>
                <a:gd name="connsiteX0" fmla="*/ 2154464 w 2154464"/>
                <a:gd name="connsiteY0" fmla="*/ 0 h 257442"/>
                <a:gd name="connsiteX1" fmla="*/ 2099742 w 2154464"/>
                <a:gd name="connsiteY1" fmla="*/ 257442 h 257442"/>
                <a:gd name="connsiteX2" fmla="*/ 0 w 2154464"/>
                <a:gd name="connsiteY2" fmla="*/ 257442 h 257442"/>
                <a:gd name="connsiteX3" fmla="*/ 54721 w 2154464"/>
                <a:gd name="connsiteY3" fmla="*/ 0 h 257442"/>
                <a:gd name="connsiteX0" fmla="*/ 2154465 w 2154465"/>
                <a:gd name="connsiteY0" fmla="*/ 0 h 257442"/>
                <a:gd name="connsiteX1" fmla="*/ 2099743 w 2154465"/>
                <a:gd name="connsiteY1" fmla="*/ 257442 h 257442"/>
                <a:gd name="connsiteX2" fmla="*/ 0 w 2154465"/>
                <a:gd name="connsiteY2" fmla="*/ 257442 h 257442"/>
                <a:gd name="connsiteX3" fmla="*/ 54722 w 2154465"/>
                <a:gd name="connsiteY3" fmla="*/ 0 h 257442"/>
                <a:gd name="connsiteX0" fmla="*/ 2154465 w 2154465"/>
                <a:gd name="connsiteY0" fmla="*/ 0 h 257442"/>
                <a:gd name="connsiteX1" fmla="*/ 2099743 w 2154465"/>
                <a:gd name="connsiteY1" fmla="*/ 257442 h 257442"/>
                <a:gd name="connsiteX2" fmla="*/ 0 w 2154465"/>
                <a:gd name="connsiteY2" fmla="*/ 257442 h 257442"/>
                <a:gd name="connsiteX3" fmla="*/ 54722 w 2154465"/>
                <a:gd name="connsiteY3" fmla="*/ 0 h 257442"/>
                <a:gd name="connsiteX0" fmla="*/ 2314765 w 2314765"/>
                <a:gd name="connsiteY0" fmla="*/ 0 h 257442"/>
                <a:gd name="connsiteX1" fmla="*/ 2099743 w 2314765"/>
                <a:gd name="connsiteY1" fmla="*/ 257442 h 257442"/>
                <a:gd name="connsiteX2" fmla="*/ 0 w 2314765"/>
                <a:gd name="connsiteY2" fmla="*/ 257442 h 257442"/>
                <a:gd name="connsiteX3" fmla="*/ 54722 w 2314765"/>
                <a:gd name="connsiteY3" fmla="*/ 0 h 257442"/>
                <a:gd name="connsiteX0" fmla="*/ 2314765 w 2314765"/>
                <a:gd name="connsiteY0" fmla="*/ 0 h 257442"/>
                <a:gd name="connsiteX1" fmla="*/ 2260044 w 2314765"/>
                <a:gd name="connsiteY1" fmla="*/ 257442 h 257442"/>
                <a:gd name="connsiteX2" fmla="*/ 0 w 2314765"/>
                <a:gd name="connsiteY2" fmla="*/ 257442 h 257442"/>
                <a:gd name="connsiteX3" fmla="*/ 54722 w 2314765"/>
                <a:gd name="connsiteY3" fmla="*/ 0 h 257442"/>
                <a:gd name="connsiteX0" fmla="*/ 2314764 w 2314764"/>
                <a:gd name="connsiteY0" fmla="*/ 0 h 257442"/>
                <a:gd name="connsiteX1" fmla="*/ 2260043 w 2314764"/>
                <a:gd name="connsiteY1" fmla="*/ 257442 h 257442"/>
                <a:gd name="connsiteX2" fmla="*/ 0 w 2314764"/>
                <a:gd name="connsiteY2" fmla="*/ 257442 h 257442"/>
                <a:gd name="connsiteX3" fmla="*/ 54721 w 2314764"/>
                <a:gd name="connsiteY3" fmla="*/ 0 h 257442"/>
                <a:gd name="connsiteX0" fmla="*/ 2314764 w 2314764"/>
                <a:gd name="connsiteY0" fmla="*/ 0 h 257442"/>
                <a:gd name="connsiteX1" fmla="*/ 2260043 w 2314764"/>
                <a:gd name="connsiteY1" fmla="*/ 257442 h 257442"/>
                <a:gd name="connsiteX2" fmla="*/ 0 w 2314764"/>
                <a:gd name="connsiteY2" fmla="*/ 257442 h 257442"/>
                <a:gd name="connsiteX3" fmla="*/ 54720 w 2314764"/>
                <a:gd name="connsiteY3" fmla="*/ 0 h 257442"/>
                <a:gd name="connsiteX0" fmla="*/ 2568038 w 2568038"/>
                <a:gd name="connsiteY0" fmla="*/ 0 h 257442"/>
                <a:gd name="connsiteX1" fmla="*/ 2260043 w 2568038"/>
                <a:gd name="connsiteY1" fmla="*/ 257442 h 257442"/>
                <a:gd name="connsiteX2" fmla="*/ 0 w 2568038"/>
                <a:gd name="connsiteY2" fmla="*/ 257442 h 257442"/>
                <a:gd name="connsiteX3" fmla="*/ 54720 w 2568038"/>
                <a:gd name="connsiteY3" fmla="*/ 0 h 257442"/>
                <a:gd name="connsiteX0" fmla="*/ 2568038 w 2568038"/>
                <a:gd name="connsiteY0" fmla="*/ 0 h 257442"/>
                <a:gd name="connsiteX1" fmla="*/ 2513317 w 2568038"/>
                <a:gd name="connsiteY1" fmla="*/ 257442 h 257442"/>
                <a:gd name="connsiteX2" fmla="*/ 0 w 2568038"/>
                <a:gd name="connsiteY2" fmla="*/ 257442 h 257442"/>
                <a:gd name="connsiteX3" fmla="*/ 54720 w 2568038"/>
                <a:gd name="connsiteY3" fmla="*/ 0 h 257442"/>
                <a:gd name="connsiteX0" fmla="*/ 2568039 w 2568039"/>
                <a:gd name="connsiteY0" fmla="*/ 0 h 257442"/>
                <a:gd name="connsiteX1" fmla="*/ 2513318 w 2568039"/>
                <a:gd name="connsiteY1" fmla="*/ 257442 h 257442"/>
                <a:gd name="connsiteX2" fmla="*/ 0 w 2568039"/>
                <a:gd name="connsiteY2" fmla="*/ 257442 h 257442"/>
                <a:gd name="connsiteX3" fmla="*/ 54721 w 2568039"/>
                <a:gd name="connsiteY3" fmla="*/ 0 h 257442"/>
                <a:gd name="connsiteX0" fmla="*/ 2568039 w 2568039"/>
                <a:gd name="connsiteY0" fmla="*/ 0 h 257442"/>
                <a:gd name="connsiteX1" fmla="*/ 2513318 w 2568039"/>
                <a:gd name="connsiteY1" fmla="*/ 257442 h 257442"/>
                <a:gd name="connsiteX2" fmla="*/ 0 w 2568039"/>
                <a:gd name="connsiteY2" fmla="*/ 257442 h 257442"/>
                <a:gd name="connsiteX3" fmla="*/ 54722 w 2568039"/>
                <a:gd name="connsiteY3" fmla="*/ 0 h 257442"/>
                <a:gd name="connsiteX0" fmla="*/ 2736355 w 2736355"/>
                <a:gd name="connsiteY0" fmla="*/ 0 h 257442"/>
                <a:gd name="connsiteX1" fmla="*/ 2513318 w 2736355"/>
                <a:gd name="connsiteY1" fmla="*/ 257442 h 257442"/>
                <a:gd name="connsiteX2" fmla="*/ 0 w 2736355"/>
                <a:gd name="connsiteY2" fmla="*/ 257442 h 257442"/>
                <a:gd name="connsiteX3" fmla="*/ 54722 w 2736355"/>
                <a:gd name="connsiteY3" fmla="*/ 0 h 257442"/>
                <a:gd name="connsiteX0" fmla="*/ 2736355 w 2736355"/>
                <a:gd name="connsiteY0" fmla="*/ 0 h 257442"/>
                <a:gd name="connsiteX1" fmla="*/ 2681634 w 2736355"/>
                <a:gd name="connsiteY1" fmla="*/ 257442 h 257442"/>
                <a:gd name="connsiteX2" fmla="*/ 0 w 2736355"/>
                <a:gd name="connsiteY2" fmla="*/ 257442 h 257442"/>
                <a:gd name="connsiteX3" fmla="*/ 54722 w 2736355"/>
                <a:gd name="connsiteY3" fmla="*/ 0 h 257442"/>
                <a:gd name="connsiteX0" fmla="*/ 2736354 w 2736354"/>
                <a:gd name="connsiteY0" fmla="*/ 0 h 257442"/>
                <a:gd name="connsiteX1" fmla="*/ 2681633 w 2736354"/>
                <a:gd name="connsiteY1" fmla="*/ 257442 h 257442"/>
                <a:gd name="connsiteX2" fmla="*/ 0 w 2736354"/>
                <a:gd name="connsiteY2" fmla="*/ 257442 h 257442"/>
                <a:gd name="connsiteX3" fmla="*/ 54721 w 2736354"/>
                <a:gd name="connsiteY3" fmla="*/ 0 h 257442"/>
                <a:gd name="connsiteX0" fmla="*/ 2736354 w 2736354"/>
                <a:gd name="connsiteY0" fmla="*/ 0 h 257442"/>
                <a:gd name="connsiteX1" fmla="*/ 2681633 w 2736354"/>
                <a:gd name="connsiteY1" fmla="*/ 257442 h 257442"/>
                <a:gd name="connsiteX2" fmla="*/ 0 w 2736354"/>
                <a:gd name="connsiteY2" fmla="*/ 257442 h 257442"/>
                <a:gd name="connsiteX3" fmla="*/ 54720 w 2736354"/>
                <a:gd name="connsiteY3" fmla="*/ 0 h 257442"/>
                <a:gd name="connsiteX0" fmla="*/ 2904668 w 2904668"/>
                <a:gd name="connsiteY0" fmla="*/ 0 h 257442"/>
                <a:gd name="connsiteX1" fmla="*/ 2681633 w 2904668"/>
                <a:gd name="connsiteY1" fmla="*/ 257442 h 257442"/>
                <a:gd name="connsiteX2" fmla="*/ 0 w 2904668"/>
                <a:gd name="connsiteY2" fmla="*/ 257442 h 257442"/>
                <a:gd name="connsiteX3" fmla="*/ 54720 w 2904668"/>
                <a:gd name="connsiteY3" fmla="*/ 0 h 257442"/>
                <a:gd name="connsiteX0" fmla="*/ 2904668 w 2904668"/>
                <a:gd name="connsiteY0" fmla="*/ 0 h 257442"/>
                <a:gd name="connsiteX1" fmla="*/ 2849947 w 2904668"/>
                <a:gd name="connsiteY1" fmla="*/ 257442 h 257442"/>
                <a:gd name="connsiteX2" fmla="*/ 0 w 2904668"/>
                <a:gd name="connsiteY2" fmla="*/ 257442 h 257442"/>
                <a:gd name="connsiteX3" fmla="*/ 54720 w 2904668"/>
                <a:gd name="connsiteY3" fmla="*/ 0 h 257442"/>
                <a:gd name="connsiteX0" fmla="*/ 2904669 w 2904669"/>
                <a:gd name="connsiteY0" fmla="*/ 0 h 257442"/>
                <a:gd name="connsiteX1" fmla="*/ 2849948 w 2904669"/>
                <a:gd name="connsiteY1" fmla="*/ 257442 h 257442"/>
                <a:gd name="connsiteX2" fmla="*/ 0 w 2904669"/>
                <a:gd name="connsiteY2" fmla="*/ 257442 h 257442"/>
                <a:gd name="connsiteX3" fmla="*/ 54721 w 2904669"/>
                <a:gd name="connsiteY3" fmla="*/ 0 h 257442"/>
                <a:gd name="connsiteX0" fmla="*/ 2904669 w 2904669"/>
                <a:gd name="connsiteY0" fmla="*/ 0 h 257442"/>
                <a:gd name="connsiteX1" fmla="*/ 2849948 w 2904669"/>
                <a:gd name="connsiteY1" fmla="*/ 257442 h 257442"/>
                <a:gd name="connsiteX2" fmla="*/ 0 w 2904669"/>
                <a:gd name="connsiteY2" fmla="*/ 257442 h 257442"/>
                <a:gd name="connsiteX3" fmla="*/ 54722 w 2904669"/>
                <a:gd name="connsiteY3" fmla="*/ 0 h 257442"/>
                <a:gd name="connsiteX0" fmla="*/ 3146531 w 3146531"/>
                <a:gd name="connsiteY0" fmla="*/ 0 h 257442"/>
                <a:gd name="connsiteX1" fmla="*/ 2849948 w 3146531"/>
                <a:gd name="connsiteY1" fmla="*/ 257442 h 257442"/>
                <a:gd name="connsiteX2" fmla="*/ 0 w 3146531"/>
                <a:gd name="connsiteY2" fmla="*/ 257442 h 257442"/>
                <a:gd name="connsiteX3" fmla="*/ 54722 w 3146531"/>
                <a:gd name="connsiteY3" fmla="*/ 0 h 257442"/>
                <a:gd name="connsiteX0" fmla="*/ 3146531 w 3146531"/>
                <a:gd name="connsiteY0" fmla="*/ 0 h 257442"/>
                <a:gd name="connsiteX1" fmla="*/ 3091810 w 3146531"/>
                <a:gd name="connsiteY1" fmla="*/ 257442 h 257442"/>
                <a:gd name="connsiteX2" fmla="*/ 0 w 3146531"/>
                <a:gd name="connsiteY2" fmla="*/ 257442 h 257442"/>
                <a:gd name="connsiteX3" fmla="*/ 54722 w 3146531"/>
                <a:gd name="connsiteY3" fmla="*/ 0 h 257442"/>
                <a:gd name="connsiteX0" fmla="*/ 3146530 w 3146530"/>
                <a:gd name="connsiteY0" fmla="*/ 0 h 257442"/>
                <a:gd name="connsiteX1" fmla="*/ 3091809 w 3146530"/>
                <a:gd name="connsiteY1" fmla="*/ 257442 h 257442"/>
                <a:gd name="connsiteX2" fmla="*/ 0 w 3146530"/>
                <a:gd name="connsiteY2" fmla="*/ 257442 h 257442"/>
                <a:gd name="connsiteX3" fmla="*/ 54721 w 3146530"/>
                <a:gd name="connsiteY3" fmla="*/ 0 h 257442"/>
                <a:gd name="connsiteX0" fmla="*/ 3146530 w 3146530"/>
                <a:gd name="connsiteY0" fmla="*/ 0 h 257442"/>
                <a:gd name="connsiteX1" fmla="*/ 3091809 w 3146530"/>
                <a:gd name="connsiteY1" fmla="*/ 257442 h 257442"/>
                <a:gd name="connsiteX2" fmla="*/ 0 w 3146530"/>
                <a:gd name="connsiteY2" fmla="*/ 257442 h 257442"/>
                <a:gd name="connsiteX3" fmla="*/ 54720 w 3146530"/>
                <a:gd name="connsiteY3" fmla="*/ 0 h 257442"/>
                <a:gd name="connsiteX0" fmla="*/ 3324462 w 3324462"/>
                <a:gd name="connsiteY0" fmla="*/ 0 h 257442"/>
                <a:gd name="connsiteX1" fmla="*/ 3091809 w 3324462"/>
                <a:gd name="connsiteY1" fmla="*/ 257442 h 257442"/>
                <a:gd name="connsiteX2" fmla="*/ 0 w 3324462"/>
                <a:gd name="connsiteY2" fmla="*/ 257442 h 257442"/>
                <a:gd name="connsiteX3" fmla="*/ 54720 w 3324462"/>
                <a:gd name="connsiteY3" fmla="*/ 0 h 257442"/>
                <a:gd name="connsiteX0" fmla="*/ 3324462 w 3324462"/>
                <a:gd name="connsiteY0" fmla="*/ 0 h 257442"/>
                <a:gd name="connsiteX1" fmla="*/ 3269741 w 3324462"/>
                <a:gd name="connsiteY1" fmla="*/ 257442 h 257442"/>
                <a:gd name="connsiteX2" fmla="*/ 0 w 3324462"/>
                <a:gd name="connsiteY2" fmla="*/ 257442 h 257442"/>
                <a:gd name="connsiteX3" fmla="*/ 54720 w 3324462"/>
                <a:gd name="connsiteY3" fmla="*/ 0 h 257442"/>
                <a:gd name="connsiteX0" fmla="*/ 3324463 w 3324463"/>
                <a:gd name="connsiteY0" fmla="*/ 0 h 257442"/>
                <a:gd name="connsiteX1" fmla="*/ 3269742 w 3324463"/>
                <a:gd name="connsiteY1" fmla="*/ 257442 h 257442"/>
                <a:gd name="connsiteX2" fmla="*/ 0 w 3324463"/>
                <a:gd name="connsiteY2" fmla="*/ 257442 h 257442"/>
                <a:gd name="connsiteX3" fmla="*/ 54721 w 3324463"/>
                <a:gd name="connsiteY3" fmla="*/ 0 h 257442"/>
                <a:gd name="connsiteX0" fmla="*/ 3324463 w 3324463"/>
                <a:gd name="connsiteY0" fmla="*/ 0 h 257442"/>
                <a:gd name="connsiteX1" fmla="*/ 3269742 w 3324463"/>
                <a:gd name="connsiteY1" fmla="*/ 257442 h 257442"/>
                <a:gd name="connsiteX2" fmla="*/ 0 w 3324463"/>
                <a:gd name="connsiteY2" fmla="*/ 257442 h 257442"/>
                <a:gd name="connsiteX3" fmla="*/ 54722 w 3324463"/>
                <a:gd name="connsiteY3" fmla="*/ 0 h 257442"/>
                <a:gd name="connsiteX0" fmla="*/ 3492780 w 3492780"/>
                <a:gd name="connsiteY0" fmla="*/ 0 h 257442"/>
                <a:gd name="connsiteX1" fmla="*/ 3269742 w 3492780"/>
                <a:gd name="connsiteY1" fmla="*/ 257442 h 257442"/>
                <a:gd name="connsiteX2" fmla="*/ 0 w 3492780"/>
                <a:gd name="connsiteY2" fmla="*/ 257442 h 257442"/>
                <a:gd name="connsiteX3" fmla="*/ 54722 w 3492780"/>
                <a:gd name="connsiteY3" fmla="*/ 0 h 257442"/>
                <a:gd name="connsiteX0" fmla="*/ 3492780 w 3492780"/>
                <a:gd name="connsiteY0" fmla="*/ 0 h 257442"/>
                <a:gd name="connsiteX1" fmla="*/ 3438058 w 3492780"/>
                <a:gd name="connsiteY1" fmla="*/ 257442 h 257442"/>
                <a:gd name="connsiteX2" fmla="*/ 0 w 3492780"/>
                <a:gd name="connsiteY2" fmla="*/ 257442 h 257442"/>
                <a:gd name="connsiteX3" fmla="*/ 54722 w 3492780"/>
                <a:gd name="connsiteY3" fmla="*/ 0 h 257442"/>
                <a:gd name="connsiteX0" fmla="*/ 3492780 w 3492780"/>
                <a:gd name="connsiteY0" fmla="*/ 0 h 257442"/>
                <a:gd name="connsiteX1" fmla="*/ 3438058 w 3492780"/>
                <a:gd name="connsiteY1" fmla="*/ 257442 h 257442"/>
                <a:gd name="connsiteX2" fmla="*/ 0 w 3492780"/>
                <a:gd name="connsiteY2" fmla="*/ 257442 h 257442"/>
                <a:gd name="connsiteX3" fmla="*/ 54722 w 3492780"/>
                <a:gd name="connsiteY3" fmla="*/ 0 h 257442"/>
                <a:gd name="connsiteX0" fmla="*/ 3492780 w 3492780"/>
                <a:gd name="connsiteY0" fmla="*/ 0 h 257442"/>
                <a:gd name="connsiteX1" fmla="*/ 3438058 w 3492780"/>
                <a:gd name="connsiteY1" fmla="*/ 257442 h 257442"/>
                <a:gd name="connsiteX2" fmla="*/ 0 w 3492780"/>
                <a:gd name="connsiteY2" fmla="*/ 257442 h 257442"/>
                <a:gd name="connsiteX3" fmla="*/ 54721 w 3492780"/>
                <a:gd name="connsiteY3" fmla="*/ 0 h 257442"/>
                <a:gd name="connsiteX0" fmla="*/ 3653079 w 3653079"/>
                <a:gd name="connsiteY0" fmla="*/ 0 h 257442"/>
                <a:gd name="connsiteX1" fmla="*/ 3438058 w 3653079"/>
                <a:gd name="connsiteY1" fmla="*/ 257442 h 257442"/>
                <a:gd name="connsiteX2" fmla="*/ 0 w 3653079"/>
                <a:gd name="connsiteY2" fmla="*/ 257442 h 257442"/>
                <a:gd name="connsiteX3" fmla="*/ 54721 w 3653079"/>
                <a:gd name="connsiteY3" fmla="*/ 0 h 257442"/>
                <a:gd name="connsiteX0" fmla="*/ 3653079 w 3653079"/>
                <a:gd name="connsiteY0" fmla="*/ 0 h 257442"/>
                <a:gd name="connsiteX1" fmla="*/ 3598358 w 3653079"/>
                <a:gd name="connsiteY1" fmla="*/ 257442 h 257442"/>
                <a:gd name="connsiteX2" fmla="*/ 0 w 3653079"/>
                <a:gd name="connsiteY2" fmla="*/ 257442 h 257442"/>
                <a:gd name="connsiteX3" fmla="*/ 54721 w 3653079"/>
                <a:gd name="connsiteY3" fmla="*/ 0 h 257442"/>
                <a:gd name="connsiteX0" fmla="*/ 3653079 w 3653079"/>
                <a:gd name="connsiteY0" fmla="*/ 0 h 257442"/>
                <a:gd name="connsiteX1" fmla="*/ 3598358 w 3653079"/>
                <a:gd name="connsiteY1" fmla="*/ 257442 h 257442"/>
                <a:gd name="connsiteX2" fmla="*/ 0 w 3653079"/>
                <a:gd name="connsiteY2" fmla="*/ 257442 h 257442"/>
                <a:gd name="connsiteX3" fmla="*/ 54721 w 3653079"/>
                <a:gd name="connsiteY3" fmla="*/ 0 h 257442"/>
                <a:gd name="connsiteX0" fmla="*/ 3653079 w 3653079"/>
                <a:gd name="connsiteY0" fmla="*/ 0 h 257442"/>
                <a:gd name="connsiteX1" fmla="*/ 3598358 w 3653079"/>
                <a:gd name="connsiteY1" fmla="*/ 257442 h 257442"/>
                <a:gd name="connsiteX2" fmla="*/ 0 w 3653079"/>
                <a:gd name="connsiteY2" fmla="*/ 257442 h 257442"/>
                <a:gd name="connsiteX3" fmla="*/ 54721 w 3653079"/>
                <a:gd name="connsiteY3" fmla="*/ 0 h 257442"/>
                <a:gd name="connsiteX0" fmla="*/ 1986148 w 3598358"/>
                <a:gd name="connsiteY0" fmla="*/ 0 h 257442"/>
                <a:gd name="connsiteX1" fmla="*/ 3598358 w 3598358"/>
                <a:gd name="connsiteY1" fmla="*/ 257442 h 257442"/>
                <a:gd name="connsiteX2" fmla="*/ 0 w 3598358"/>
                <a:gd name="connsiteY2" fmla="*/ 257442 h 257442"/>
                <a:gd name="connsiteX3" fmla="*/ 54721 w 3598358"/>
                <a:gd name="connsiteY3" fmla="*/ 0 h 257442"/>
                <a:gd name="connsiteX0" fmla="*/ 1986148 w 1986148"/>
                <a:gd name="connsiteY0" fmla="*/ 0 h 257442"/>
                <a:gd name="connsiteX1" fmla="*/ 1931427 w 1986148"/>
                <a:gd name="connsiteY1" fmla="*/ 257442 h 257442"/>
                <a:gd name="connsiteX2" fmla="*/ 0 w 1986148"/>
                <a:gd name="connsiteY2" fmla="*/ 257442 h 257442"/>
                <a:gd name="connsiteX3" fmla="*/ 54721 w 1986148"/>
                <a:gd name="connsiteY3" fmla="*/ 0 h 257442"/>
                <a:gd name="connsiteX0" fmla="*/ 1986148 w 1986148"/>
                <a:gd name="connsiteY0" fmla="*/ 0 h 257442"/>
                <a:gd name="connsiteX1" fmla="*/ 1931427 w 1986148"/>
                <a:gd name="connsiteY1" fmla="*/ 257442 h 257442"/>
                <a:gd name="connsiteX2" fmla="*/ 0 w 1986148"/>
                <a:gd name="connsiteY2" fmla="*/ 257442 h 257442"/>
                <a:gd name="connsiteX3" fmla="*/ 54721 w 1986148"/>
                <a:gd name="connsiteY3" fmla="*/ 0 h 257442"/>
                <a:gd name="connsiteX0" fmla="*/ 1986148 w 1986148"/>
                <a:gd name="connsiteY0" fmla="*/ 0 h 257442"/>
                <a:gd name="connsiteX1" fmla="*/ 1931427 w 1986148"/>
                <a:gd name="connsiteY1" fmla="*/ 257442 h 257442"/>
                <a:gd name="connsiteX2" fmla="*/ 0 w 1986148"/>
                <a:gd name="connsiteY2" fmla="*/ 257442 h 257442"/>
                <a:gd name="connsiteX3" fmla="*/ 54721 w 1986148"/>
                <a:gd name="connsiteY3" fmla="*/ 0 h 257442"/>
                <a:gd name="connsiteX0" fmla="*/ 2164082 w 2164082"/>
                <a:gd name="connsiteY0" fmla="*/ 0 h 257442"/>
                <a:gd name="connsiteX1" fmla="*/ 1931427 w 2164082"/>
                <a:gd name="connsiteY1" fmla="*/ 257442 h 257442"/>
                <a:gd name="connsiteX2" fmla="*/ 0 w 2164082"/>
                <a:gd name="connsiteY2" fmla="*/ 257442 h 257442"/>
                <a:gd name="connsiteX3" fmla="*/ 54721 w 2164082"/>
                <a:gd name="connsiteY3" fmla="*/ 0 h 257442"/>
                <a:gd name="connsiteX0" fmla="*/ 2164082 w 2164082"/>
                <a:gd name="connsiteY0" fmla="*/ 0 h 257442"/>
                <a:gd name="connsiteX1" fmla="*/ 2109361 w 2164082"/>
                <a:gd name="connsiteY1" fmla="*/ 257442 h 257442"/>
                <a:gd name="connsiteX2" fmla="*/ 0 w 2164082"/>
                <a:gd name="connsiteY2" fmla="*/ 257442 h 257442"/>
                <a:gd name="connsiteX3" fmla="*/ 54721 w 2164082"/>
                <a:gd name="connsiteY3" fmla="*/ 0 h 257442"/>
                <a:gd name="connsiteX0" fmla="*/ 2164082 w 2164082"/>
                <a:gd name="connsiteY0" fmla="*/ 0 h 257442"/>
                <a:gd name="connsiteX1" fmla="*/ 2109361 w 2164082"/>
                <a:gd name="connsiteY1" fmla="*/ 257442 h 257442"/>
                <a:gd name="connsiteX2" fmla="*/ 0 w 2164082"/>
                <a:gd name="connsiteY2" fmla="*/ 257442 h 257442"/>
                <a:gd name="connsiteX3" fmla="*/ 54721 w 2164082"/>
                <a:gd name="connsiteY3" fmla="*/ 0 h 257442"/>
                <a:gd name="connsiteX0" fmla="*/ 2164082 w 2164082"/>
                <a:gd name="connsiteY0" fmla="*/ 0 h 257442"/>
                <a:gd name="connsiteX1" fmla="*/ 2109361 w 2164082"/>
                <a:gd name="connsiteY1" fmla="*/ 257442 h 257442"/>
                <a:gd name="connsiteX2" fmla="*/ 0 w 2164082"/>
                <a:gd name="connsiteY2" fmla="*/ 257442 h 257442"/>
                <a:gd name="connsiteX3" fmla="*/ 54721 w 2164082"/>
                <a:gd name="connsiteY3" fmla="*/ 0 h 257442"/>
                <a:gd name="connsiteX0" fmla="*/ 2332397 w 2332397"/>
                <a:gd name="connsiteY0" fmla="*/ 0 h 257442"/>
                <a:gd name="connsiteX1" fmla="*/ 2109361 w 2332397"/>
                <a:gd name="connsiteY1" fmla="*/ 257442 h 257442"/>
                <a:gd name="connsiteX2" fmla="*/ 0 w 2332397"/>
                <a:gd name="connsiteY2" fmla="*/ 257442 h 257442"/>
                <a:gd name="connsiteX3" fmla="*/ 54721 w 2332397"/>
                <a:gd name="connsiteY3" fmla="*/ 0 h 257442"/>
                <a:gd name="connsiteX0" fmla="*/ 2332397 w 2332397"/>
                <a:gd name="connsiteY0" fmla="*/ 0 h 257442"/>
                <a:gd name="connsiteX1" fmla="*/ 2277676 w 2332397"/>
                <a:gd name="connsiteY1" fmla="*/ 257442 h 257442"/>
                <a:gd name="connsiteX2" fmla="*/ 0 w 2332397"/>
                <a:gd name="connsiteY2" fmla="*/ 257442 h 257442"/>
                <a:gd name="connsiteX3" fmla="*/ 54721 w 2332397"/>
                <a:gd name="connsiteY3" fmla="*/ 0 h 257442"/>
                <a:gd name="connsiteX0" fmla="*/ 2332397 w 2332397"/>
                <a:gd name="connsiteY0" fmla="*/ 0 h 257442"/>
                <a:gd name="connsiteX1" fmla="*/ 2277676 w 2332397"/>
                <a:gd name="connsiteY1" fmla="*/ 257442 h 257442"/>
                <a:gd name="connsiteX2" fmla="*/ 0 w 2332397"/>
                <a:gd name="connsiteY2" fmla="*/ 257442 h 257442"/>
                <a:gd name="connsiteX3" fmla="*/ 54721 w 2332397"/>
                <a:gd name="connsiteY3" fmla="*/ 0 h 257442"/>
                <a:gd name="connsiteX0" fmla="*/ 2332397 w 2332397"/>
                <a:gd name="connsiteY0" fmla="*/ 0 h 257442"/>
                <a:gd name="connsiteX1" fmla="*/ 2277676 w 2332397"/>
                <a:gd name="connsiteY1" fmla="*/ 257442 h 257442"/>
                <a:gd name="connsiteX2" fmla="*/ 0 w 2332397"/>
                <a:gd name="connsiteY2" fmla="*/ 257442 h 257442"/>
                <a:gd name="connsiteX3" fmla="*/ 54721 w 2332397"/>
                <a:gd name="connsiteY3" fmla="*/ 0 h 257442"/>
                <a:gd name="connsiteX0" fmla="*/ 2500713 w 2500713"/>
                <a:gd name="connsiteY0" fmla="*/ 0 h 257442"/>
                <a:gd name="connsiteX1" fmla="*/ 2277676 w 2500713"/>
                <a:gd name="connsiteY1" fmla="*/ 257442 h 257442"/>
                <a:gd name="connsiteX2" fmla="*/ 0 w 2500713"/>
                <a:gd name="connsiteY2" fmla="*/ 257442 h 257442"/>
                <a:gd name="connsiteX3" fmla="*/ 54721 w 2500713"/>
                <a:gd name="connsiteY3" fmla="*/ 0 h 257442"/>
                <a:gd name="connsiteX0" fmla="*/ 2500713 w 2500713"/>
                <a:gd name="connsiteY0" fmla="*/ 0 h 257442"/>
                <a:gd name="connsiteX1" fmla="*/ 2445992 w 2500713"/>
                <a:gd name="connsiteY1" fmla="*/ 257442 h 257442"/>
                <a:gd name="connsiteX2" fmla="*/ 0 w 2500713"/>
                <a:gd name="connsiteY2" fmla="*/ 257442 h 257442"/>
                <a:gd name="connsiteX3" fmla="*/ 54721 w 2500713"/>
                <a:gd name="connsiteY3" fmla="*/ 0 h 257442"/>
                <a:gd name="connsiteX0" fmla="*/ 2500713 w 2500713"/>
                <a:gd name="connsiteY0" fmla="*/ 0 h 257442"/>
                <a:gd name="connsiteX1" fmla="*/ 2445992 w 2500713"/>
                <a:gd name="connsiteY1" fmla="*/ 257442 h 257442"/>
                <a:gd name="connsiteX2" fmla="*/ 0 w 2500713"/>
                <a:gd name="connsiteY2" fmla="*/ 257442 h 257442"/>
                <a:gd name="connsiteX3" fmla="*/ 54721 w 2500713"/>
                <a:gd name="connsiteY3" fmla="*/ 0 h 257442"/>
                <a:gd name="connsiteX0" fmla="*/ 2500713 w 2500713"/>
                <a:gd name="connsiteY0" fmla="*/ 0 h 257442"/>
                <a:gd name="connsiteX1" fmla="*/ 2445992 w 2500713"/>
                <a:gd name="connsiteY1" fmla="*/ 257442 h 257442"/>
                <a:gd name="connsiteX2" fmla="*/ 0 w 2500713"/>
                <a:gd name="connsiteY2" fmla="*/ 257442 h 257442"/>
                <a:gd name="connsiteX3" fmla="*/ 54721 w 2500713"/>
                <a:gd name="connsiteY3" fmla="*/ 0 h 257442"/>
                <a:gd name="connsiteX0" fmla="*/ 2669027 w 2669027"/>
                <a:gd name="connsiteY0" fmla="*/ 0 h 257442"/>
                <a:gd name="connsiteX1" fmla="*/ 2445992 w 2669027"/>
                <a:gd name="connsiteY1" fmla="*/ 257442 h 257442"/>
                <a:gd name="connsiteX2" fmla="*/ 0 w 2669027"/>
                <a:gd name="connsiteY2" fmla="*/ 257442 h 257442"/>
                <a:gd name="connsiteX3" fmla="*/ 54721 w 2669027"/>
                <a:gd name="connsiteY3" fmla="*/ 0 h 257442"/>
                <a:gd name="connsiteX0" fmla="*/ 2669027 w 2669027"/>
                <a:gd name="connsiteY0" fmla="*/ 0 h 257442"/>
                <a:gd name="connsiteX1" fmla="*/ 2614306 w 2669027"/>
                <a:gd name="connsiteY1" fmla="*/ 257442 h 257442"/>
                <a:gd name="connsiteX2" fmla="*/ 0 w 2669027"/>
                <a:gd name="connsiteY2" fmla="*/ 257442 h 257442"/>
                <a:gd name="connsiteX3" fmla="*/ 54721 w 2669027"/>
                <a:gd name="connsiteY3" fmla="*/ 0 h 257442"/>
                <a:gd name="connsiteX0" fmla="*/ 2669027 w 2669027"/>
                <a:gd name="connsiteY0" fmla="*/ 0 h 257442"/>
                <a:gd name="connsiteX1" fmla="*/ 2614306 w 2669027"/>
                <a:gd name="connsiteY1" fmla="*/ 257442 h 257442"/>
                <a:gd name="connsiteX2" fmla="*/ 0 w 2669027"/>
                <a:gd name="connsiteY2" fmla="*/ 257442 h 257442"/>
                <a:gd name="connsiteX3" fmla="*/ 54721 w 2669027"/>
                <a:gd name="connsiteY3" fmla="*/ 0 h 257442"/>
                <a:gd name="connsiteX0" fmla="*/ 2669027 w 2669027"/>
                <a:gd name="connsiteY0" fmla="*/ 0 h 257442"/>
                <a:gd name="connsiteX1" fmla="*/ 2614306 w 2669027"/>
                <a:gd name="connsiteY1" fmla="*/ 257442 h 257442"/>
                <a:gd name="connsiteX2" fmla="*/ 0 w 2669027"/>
                <a:gd name="connsiteY2" fmla="*/ 257442 h 257442"/>
                <a:gd name="connsiteX3" fmla="*/ 54721 w 2669027"/>
                <a:gd name="connsiteY3" fmla="*/ 0 h 257442"/>
                <a:gd name="connsiteX0" fmla="*/ 2829328 w 2829328"/>
                <a:gd name="connsiteY0" fmla="*/ 0 h 257442"/>
                <a:gd name="connsiteX1" fmla="*/ 2614306 w 2829328"/>
                <a:gd name="connsiteY1" fmla="*/ 257442 h 257442"/>
                <a:gd name="connsiteX2" fmla="*/ 0 w 2829328"/>
                <a:gd name="connsiteY2" fmla="*/ 257442 h 257442"/>
                <a:gd name="connsiteX3" fmla="*/ 54721 w 2829328"/>
                <a:gd name="connsiteY3" fmla="*/ 0 h 257442"/>
                <a:gd name="connsiteX0" fmla="*/ 2829328 w 2829328"/>
                <a:gd name="connsiteY0" fmla="*/ 0 h 257442"/>
                <a:gd name="connsiteX1" fmla="*/ 2774606 w 2829328"/>
                <a:gd name="connsiteY1" fmla="*/ 257442 h 257442"/>
                <a:gd name="connsiteX2" fmla="*/ 0 w 2829328"/>
                <a:gd name="connsiteY2" fmla="*/ 257442 h 257442"/>
                <a:gd name="connsiteX3" fmla="*/ 54721 w 2829328"/>
                <a:gd name="connsiteY3" fmla="*/ 0 h 257442"/>
                <a:gd name="connsiteX0" fmla="*/ 2829329 w 2829329"/>
                <a:gd name="connsiteY0" fmla="*/ 0 h 257442"/>
                <a:gd name="connsiteX1" fmla="*/ 2774607 w 2829329"/>
                <a:gd name="connsiteY1" fmla="*/ 257442 h 257442"/>
                <a:gd name="connsiteX2" fmla="*/ 0 w 2829329"/>
                <a:gd name="connsiteY2" fmla="*/ 257442 h 257442"/>
                <a:gd name="connsiteX3" fmla="*/ 54722 w 2829329"/>
                <a:gd name="connsiteY3" fmla="*/ 0 h 257442"/>
                <a:gd name="connsiteX0" fmla="*/ 2829329 w 2829329"/>
                <a:gd name="connsiteY0" fmla="*/ 0 h 257442"/>
                <a:gd name="connsiteX1" fmla="*/ 2774607 w 2829329"/>
                <a:gd name="connsiteY1" fmla="*/ 257442 h 257442"/>
                <a:gd name="connsiteX2" fmla="*/ 0 w 2829329"/>
                <a:gd name="connsiteY2" fmla="*/ 257442 h 257442"/>
                <a:gd name="connsiteX3" fmla="*/ 54722 w 2829329"/>
                <a:gd name="connsiteY3" fmla="*/ 0 h 257442"/>
                <a:gd name="connsiteX0" fmla="*/ 2989629 w 2989629"/>
                <a:gd name="connsiteY0" fmla="*/ 0 h 257442"/>
                <a:gd name="connsiteX1" fmla="*/ 2774607 w 2989629"/>
                <a:gd name="connsiteY1" fmla="*/ 257442 h 257442"/>
                <a:gd name="connsiteX2" fmla="*/ 0 w 2989629"/>
                <a:gd name="connsiteY2" fmla="*/ 257442 h 257442"/>
                <a:gd name="connsiteX3" fmla="*/ 54722 w 2989629"/>
                <a:gd name="connsiteY3" fmla="*/ 0 h 257442"/>
                <a:gd name="connsiteX0" fmla="*/ 2989629 w 2989629"/>
                <a:gd name="connsiteY0" fmla="*/ 0 h 257442"/>
                <a:gd name="connsiteX1" fmla="*/ 2934908 w 2989629"/>
                <a:gd name="connsiteY1" fmla="*/ 257442 h 257442"/>
                <a:gd name="connsiteX2" fmla="*/ 0 w 2989629"/>
                <a:gd name="connsiteY2" fmla="*/ 257442 h 257442"/>
                <a:gd name="connsiteX3" fmla="*/ 54722 w 2989629"/>
                <a:gd name="connsiteY3" fmla="*/ 0 h 257442"/>
                <a:gd name="connsiteX0" fmla="*/ 2989628 w 2989628"/>
                <a:gd name="connsiteY0" fmla="*/ 0 h 257442"/>
                <a:gd name="connsiteX1" fmla="*/ 2934907 w 2989628"/>
                <a:gd name="connsiteY1" fmla="*/ 257442 h 257442"/>
                <a:gd name="connsiteX2" fmla="*/ 0 w 2989628"/>
                <a:gd name="connsiteY2" fmla="*/ 257442 h 257442"/>
                <a:gd name="connsiteX3" fmla="*/ 54721 w 2989628"/>
                <a:gd name="connsiteY3" fmla="*/ 0 h 257442"/>
                <a:gd name="connsiteX0" fmla="*/ 2989628 w 2989628"/>
                <a:gd name="connsiteY0" fmla="*/ 0 h 257442"/>
                <a:gd name="connsiteX1" fmla="*/ 2934907 w 2989628"/>
                <a:gd name="connsiteY1" fmla="*/ 257442 h 257442"/>
                <a:gd name="connsiteX2" fmla="*/ 0 w 2989628"/>
                <a:gd name="connsiteY2" fmla="*/ 257442 h 257442"/>
                <a:gd name="connsiteX3" fmla="*/ 54720 w 2989628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89628" h="257442">
                  <a:moveTo>
                    <a:pt x="2989628" y="0"/>
                  </a:moveTo>
                  <a:lnTo>
                    <a:pt x="2934907" y="257442"/>
                  </a:lnTo>
                  <a:lnTo>
                    <a:pt x="0" y="257442"/>
                  </a:lnTo>
                  <a:lnTo>
                    <a:pt x="54720" y="0"/>
                  </a:lnTo>
                  <a:close/>
                </a:path>
              </a:pathLst>
            </a:custGeom>
            <a:solidFill>
              <a:srgbClr val="B4B4B4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" name="btfpRunningAgenda2LevelTextRight228391">
              <a:extLst>
                <a:ext uri="{FF2B5EF4-FFF2-40B4-BE49-F238E27FC236}">
                  <a16:creationId xmlns:a16="http://schemas.microsoft.com/office/drawing/2014/main" id="{A705D401-B388-4CD5-A573-B3DCABCC0E18}"/>
                </a:ext>
              </a:extLst>
            </p:cNvPr>
            <p:cNvSpPr txBox="1"/>
            <p:nvPr/>
          </p:nvSpPr>
          <p:spPr bwMode="gray">
            <a:xfrm>
              <a:off x="2192937" y="876300"/>
              <a:ext cx="2934907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all" spc="4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alent SOURCES</a:t>
              </a:r>
            </a:p>
          </p:txBody>
        </p:sp>
      </p:grpSp>
      <p:sp>
        <p:nvSpPr>
          <p:cNvPr id="71" name="Rectangle 70">
            <a:extLst>
              <a:ext uri="{FF2B5EF4-FFF2-40B4-BE49-F238E27FC236}">
                <a16:creationId xmlns:a16="http://schemas.microsoft.com/office/drawing/2014/main" id="{69CFF8C1-CD46-499C-AAAF-D4C4F7AE7CDF}"/>
              </a:ext>
            </a:extLst>
          </p:cNvPr>
          <p:cNvSpPr/>
          <p:nvPr/>
        </p:nvSpPr>
        <p:spPr bwMode="gray">
          <a:xfrm>
            <a:off x="9834420" y="1855596"/>
            <a:ext cx="830120" cy="4133306"/>
          </a:xfrm>
          <a:prstGeom prst="rect">
            <a:avLst/>
          </a:prstGeom>
          <a:noFill/>
          <a:ln w="1905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31" name="btfpNotesBox521293">
            <a:extLst>
              <a:ext uri="{FF2B5EF4-FFF2-40B4-BE49-F238E27FC236}">
                <a16:creationId xmlns:a16="http://schemas.microsoft.com/office/drawing/2014/main" id="{7FCD83D4-0A84-15CB-41B6-52A705CEF459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gray">
          <a:xfrm>
            <a:off x="330199" y="6319679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ct val="0"/>
              </a:spcBef>
              <a:buNone/>
            </a:pPr>
            <a:r>
              <a:rPr lang="en-US" sz="800">
                <a:solidFill>
                  <a:srgbClr val="000000"/>
                </a:solidFill>
              </a:rPr>
              <a:t>Note: *Peers + top previous employers (basis highest N) have been shown in the chart; Bars sorted basis total # of profiles; Top lines may not match since Previous/ Next employers are unavailable for some profiles</a:t>
            </a:r>
          </a:p>
          <a:p>
            <a:pPr marL="0" indent="0">
              <a:spcBef>
                <a:spcPct val="0"/>
              </a:spcBef>
              <a:buNone/>
            </a:pPr>
            <a:r>
              <a:rPr lang="en-US" sz="800">
                <a:solidFill>
                  <a:srgbClr val="000000"/>
                </a:solidFill>
              </a:rPr>
              <a:t>Source: Aura, Bain analysis</a:t>
            </a:r>
          </a:p>
        </p:txBody>
      </p:sp>
      <p:pic>
        <p:nvPicPr>
          <p:cNvPr id="48" name="Picture 47">
            <a:extLst>
              <a:ext uri="{FF2B5EF4-FFF2-40B4-BE49-F238E27FC236}">
                <a16:creationId xmlns:a16="http://schemas.microsoft.com/office/drawing/2014/main" id="{92AD20F6-5362-544A-AA00-B09F2968301C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0646654" y="6219647"/>
            <a:ext cx="1261892" cy="353608"/>
          </a:xfrm>
          <a:prstGeom prst="rect">
            <a:avLst/>
          </a:prstGeom>
        </p:spPr>
      </p:pic>
      <p:grpSp>
        <p:nvGrpSpPr>
          <p:cNvPr id="53" name="btfpStatusSticker323952">
            <a:extLst>
              <a:ext uri="{FF2B5EF4-FFF2-40B4-BE49-F238E27FC236}">
                <a16:creationId xmlns:a16="http://schemas.microsoft.com/office/drawing/2014/main" id="{9AED61AC-D9FC-C600-87A7-05F54C92581E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10102664" y="955344"/>
            <a:ext cx="1759136" cy="235611"/>
            <a:chOff x="-2269853" y="876300"/>
            <a:chExt cx="1759136" cy="235611"/>
          </a:xfrm>
        </p:grpSpPr>
        <p:sp>
          <p:nvSpPr>
            <p:cNvPr id="51" name="btfpStatusStickerText323952">
              <a:extLst>
                <a:ext uri="{FF2B5EF4-FFF2-40B4-BE49-F238E27FC236}">
                  <a16:creationId xmlns:a16="http://schemas.microsoft.com/office/drawing/2014/main" id="{2B8FCCD3-088A-7DFB-1D28-31C979763166}"/>
                </a:ext>
              </a:extLst>
            </p:cNvPr>
            <p:cNvSpPr txBox="1"/>
            <p:nvPr/>
          </p:nvSpPr>
          <p:spPr bwMode="gray">
            <a:xfrm>
              <a:off x="-2269853" y="876300"/>
              <a:ext cx="1759136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000000"/>
                  </a:solidFill>
                </a:rPr>
                <a:t>directional</a:t>
              </a:r>
            </a:p>
          </p:txBody>
        </p:sp>
        <p:cxnSp>
          <p:nvCxnSpPr>
            <p:cNvPr id="52" name="btfpStatusStickerLine323952">
              <a:extLst>
                <a:ext uri="{FF2B5EF4-FFF2-40B4-BE49-F238E27FC236}">
                  <a16:creationId xmlns:a16="http://schemas.microsoft.com/office/drawing/2014/main" id="{C03E4E9E-DC81-95BC-B279-B39ADDEFAF28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2269853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itle 1">
            <a:extLst>
              <a:ext uri="{FF2B5EF4-FFF2-40B4-BE49-F238E27FC236}">
                <a16:creationId xmlns:a16="http://schemas.microsoft.com/office/drawing/2014/main" id="{C1FA96CF-306C-A77D-440D-8C03ECC7A8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1"/>
            <a:ext cx="11522075" cy="876687"/>
          </a:xfrm>
        </p:spPr>
        <p:txBody>
          <a:bodyPr vert="horz"/>
          <a:lstStyle/>
          <a:p>
            <a:r>
              <a:rPr lang="en-US" dirty="0">
                <a:highlight>
                  <a:srgbClr val="FFFFFF"/>
                </a:highlight>
              </a:rPr>
              <a:t>Majority of the employees come from ‘University/ Colleges’ across peers, followed by the Big 4s; Peer 1 hire relative higher share of talent from peers</a:t>
            </a:r>
            <a:endParaRPr lang="en-US" b="1" dirty="0">
              <a:solidFill>
                <a:srgbClr val="FF0000"/>
              </a:solidFill>
              <a:highlight>
                <a:srgbClr val="FFFFFF"/>
              </a:highlight>
            </a:endParaRPr>
          </a:p>
        </p:txBody>
      </p:sp>
      <p:grpSp>
        <p:nvGrpSpPr>
          <p:cNvPr id="45" name="btfpStatusSticker288847">
            <a:extLst>
              <a:ext uri="{FF2B5EF4-FFF2-40B4-BE49-F238E27FC236}">
                <a16:creationId xmlns:a16="http://schemas.microsoft.com/office/drawing/2014/main" id="{1CB35D0B-5A98-F2E5-EF4F-1938FFD8294A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8760843" y="955344"/>
            <a:ext cx="1212512" cy="235611"/>
            <a:chOff x="-2619627" y="876300"/>
            <a:chExt cx="1212512" cy="235611"/>
          </a:xfrm>
        </p:grpSpPr>
        <p:sp>
          <p:nvSpPr>
            <p:cNvPr id="65" name="btfpStatusStickerText288847">
              <a:extLst>
                <a:ext uri="{FF2B5EF4-FFF2-40B4-BE49-F238E27FC236}">
                  <a16:creationId xmlns:a16="http://schemas.microsoft.com/office/drawing/2014/main" id="{55B1885F-32CC-5F02-4010-90A0D74B5BEC}"/>
                </a:ext>
              </a:extLst>
            </p:cNvPr>
            <p:cNvSpPr txBox="1"/>
            <p:nvPr/>
          </p:nvSpPr>
          <p:spPr bwMode="gray">
            <a:xfrm>
              <a:off x="-2619627" y="876300"/>
              <a:ext cx="1212512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000000"/>
                  </a:solidFill>
                </a:rPr>
                <a:t>overall</a:t>
              </a:r>
            </a:p>
          </p:txBody>
        </p:sp>
        <p:cxnSp>
          <p:nvCxnSpPr>
            <p:cNvPr id="66" name="btfpStatusStickerLine288847">
              <a:extLst>
                <a:ext uri="{FF2B5EF4-FFF2-40B4-BE49-F238E27FC236}">
                  <a16:creationId xmlns:a16="http://schemas.microsoft.com/office/drawing/2014/main" id="{E57B677E-621D-75D3-4C5B-C23E51E69F26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2619627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1" name="Rectangle 40">
            <a:extLst>
              <a:ext uri="{FF2B5EF4-FFF2-40B4-BE49-F238E27FC236}">
                <a16:creationId xmlns:a16="http://schemas.microsoft.com/office/drawing/2014/main" id="{52D247DA-80E2-1C64-9D59-B855D6DF2A86}"/>
              </a:ext>
            </a:extLst>
          </p:cNvPr>
          <p:cNvSpPr/>
          <p:nvPr/>
        </p:nvSpPr>
        <p:spPr bwMode="gray">
          <a:xfrm>
            <a:off x="9407356" y="1427514"/>
            <a:ext cx="125830" cy="125830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chemeClr val="tx1"/>
              </a:solidFill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03642145-3474-3403-B7EF-3B0E41B91D88}"/>
              </a:ext>
            </a:extLst>
          </p:cNvPr>
          <p:cNvSpPr txBox="1"/>
          <p:nvPr/>
        </p:nvSpPr>
        <p:spPr bwMode="gray">
          <a:xfrm>
            <a:off x="9595709" y="1388699"/>
            <a:ext cx="542495" cy="19581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800"/>
              <a:t>Peer Set 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CAF38D82-4B8F-B7C5-48E5-2B869CEFACE2}"/>
              </a:ext>
            </a:extLst>
          </p:cNvPr>
          <p:cNvSpPr/>
          <p:nvPr/>
        </p:nvSpPr>
        <p:spPr bwMode="gray">
          <a:xfrm>
            <a:off x="10146642" y="1427514"/>
            <a:ext cx="125830" cy="12583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chemeClr val="tx1"/>
              </a:solidFill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43B1969B-F378-7C76-6647-AB5E726DA139}"/>
              </a:ext>
            </a:extLst>
          </p:cNvPr>
          <p:cNvSpPr txBox="1"/>
          <p:nvPr/>
        </p:nvSpPr>
        <p:spPr bwMode="gray">
          <a:xfrm>
            <a:off x="10334995" y="1388699"/>
            <a:ext cx="987914" cy="19581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800"/>
              <a:t>University/ Colleges</a:t>
            </a: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18A77407-512A-D52F-29D2-E66C153D593E}"/>
              </a:ext>
            </a:extLst>
          </p:cNvPr>
          <p:cNvSpPr/>
          <p:nvPr/>
        </p:nvSpPr>
        <p:spPr bwMode="gray">
          <a:xfrm>
            <a:off x="10747068" y="796006"/>
            <a:ext cx="956332" cy="382533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00" dirty="0">
                <a:solidFill>
                  <a:schemeClr val="tx1"/>
                </a:solidFill>
              </a:rPr>
              <a:t>BCN updated 11/09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188055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COLUMNGUIDE" val="Visible"/>
  <p:tag name="OFFICE" val="Boston"/>
  <p:tag name="MEKKOFORMATS" val="&lt;MekkoFormats&gt;&lt;NumberFormat DecimalSeparator=&quot;.&quot; ThousandSeparator=&quot;,&quot; NegativeNumberFormat=&quot;1&quot; /&gt;&lt;DateFormat CultureID=&quot;1033&quot; FormatString=&quot;M/d/yyyy&quot; /&gt;&lt;Font&gt;&lt;Output_Font_Name Default=&quot;Arial&quot; UsePPTTheme=&quot;True&quot; /&gt;&lt;/Font&gt;&lt;/MekkoFormats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2253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3"/>
  <p:tag name="BTFPLAYOUTENABLED" val="0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iWcfk2RmY+GE6Q6T90sFUr0lg9IPP9y8umrse/9AoLT5R0GKq+XM9pr/aTyOTf0wptcuHbHxeyqBm9svU01qeeEM1v0hpSHUgirOnAK/wuhh4R0jlrHnY+9pFyM8mIa/v+EBRT4DxCrO4MOZv053OPZGuBPBkVTM93MBe9Uwqf4aYnlMSZvsL3oxynmN4ZyHez2Gu5Besl3qxqPf4w7kkGjcfx21rtUtqz54pGW2EahJvCwJSTBgeYUe/G/Za7TK2ixHK+x3nW56q7eZo+z2won0JnoKCGwuAbm+KG95GAvJp9MB862hQs23z3qdKCjiZwGj33JaHcf7hyG9TAcfS4Q4kM7UpETKrfjCJJhZxJ/ddhWAVBiI/BwsHAOu2NO7XupYekC73SwZ3vnasUIHnxIsKk6nUrZ0wvZ+ebrbBZrJY5/wPDVKvtrG6eoKFbEwXIqzj3r6mR9TiVIjmkrs3aG1Ja0jgoosFHz6tEjN4YbfqfbuXIWAhZF7ytquaYhwX+NbR+Cm/0gxjx59T7ssOBlJnAjgZE1QKEVjM6EsbhLOgs6sN1CPkGWtwZRof1rP8oHILqAaHZfKfdPNjkOOzi3JtiAtzjiA6V/i80NbphdVcVKPaHeJYWdIHPTSNaVDizN4+/KYm2fSp7XcbvC0vIMcxH7+vFrhxkQImRJ4rL5QILkLtsZNimXBWDwoP0s6eTNsQ+ezL21nbBVyBt2Oce3BvskN1KMJArxsVydTIXKlfdEEj9IhAdcHjhgtiOSvR8II1IucvKCBa4HfOJx9nww0+rmYSYPPbC/G9cMyjIsbV4zTNqEADUMQfEojvNMOHs343pT9+bjcXsn/6B2oQc/c6LDsKlnYlCCzOLBw4eZfjMwubMiRpBJKI4QAgFiZezN7uGl+BunlwqdqKFWBQI0UtjOrGOyTeTVfEPuQdZ9Wu81dmL8ZvT1ovyky8J+oDGhVemlvxrmtvZVwZIMCm/pDnf+Tnvuf4HetF90wh23oM/S9cI0wlIf0xfMBIuXr16G8ill+JchJ5jYNXsa03ER5j17f4AHx/zuBAgQ///Lwh8typmjoE56CtnKMU7o5TPL3QH9pNVYMSWwYXuDAiKb8qsDjcK9uISFvFjEPLXRWAtlC6VrO9842QksygemKs3wBatE6xxtIYb5NG43T9uq3KRZTIPKf12ITzT/2aH+Ey2IfCg/AJcooEq4JXa2zzAt8Gk4aBHoVEXQvP9jv4JegZMPY9pB9djPkMwEG6Pv77OABoANSUcTE03+xlhQYh104c5Tx5a+THlXtkCB/pDVaZ8/gfaTDpVJ1qs2Rpk8VAvoxwXdBx4yvSpkVKS7USrY7KoR8Ch8x/1SoqcJuIvNDssQIdCXIrz+s4eldSSF51TKb/o31qXVDM3Xv1ody0oyAnzi9kTJ80vmBsU9BXaa8aQy+vHmFLGzHWChuj7OrmNW2gLRSDTP0RgPGB5/RpHovrtl+AO/pYrDHeA4OrcXyPlBrGPnRlhYnwFu6dv2PWTduYOmh/EolIHyYWIfhXzV/BsP5S2znEFN+7SiwsrS+7Br4H9dDZGFzrl8jSlKMDG+mxg6BfgXOXfh55z+9Bwf/5dTh7cAS5q4WeU0qpmGLzgeickew15uQ/3oLRP4G3k2QIDwnZxouCnl9HrcfdQoLxShp6YDfHF2nc+do6TtKqso+jXov/dsMliUKdl7ciVB3uF9XLTn8g2i6EBQb23b02Km4NLgCtOWx+1xrAt3zli5aQKksFQ9w0ZOu+DYXj19PDf1CnqKzFt9KdKZ4Z/XGnmlWWUEchvCChhEaC9SbJbodo5ij32ZfRm57VHpXJq7C4gjMffrQFRuV7Xm6EUVda8oGwXlSpsQQJxS0ulevrysHg6ljkE9XVeMbv3+hy6CiDs5iwimasBKgxilxX64Ur8weQgIkpQEDaPLraqVgSKADalT7d9cWOLs/uEILm38Oi45veaL6R1AuGN5+wottJIef3Lwan2yQvrTKbadaPHpVwzDAOs4Udby9eJzAV5rQqWIiqhYxOPUA0BQqUnciihm2/QzxnFmoF+8zV0N7jg1nDqzQffTwCydBqW8LXgBZ+vk6j2NEjeyDV1k0XbDtkuupBSNVCdEcAvruz7QlfLAK9BZ0zBfh3up099q1k50WgiBXgaCP1vUyg/6j3WAcOfCfUCqialfOKNo91CD2dJ5zgDvEishwYsy1UISt1d2xhGXn7gtvFfeQ1elPo5e/zDHh82UR8D6n8mKJiFL9vIdotBW2idgSC2PJs9sL1O4PSe7nMW8qFBUrcKHRFKxVRMoDQVEr1/kyVqCyHN/LImwEtaCdhOMa1bVgZr6jOGHCdUA0MXUCtIcA4pDpeNLoj0Xt8mpFwVS6ZzbBdhzPjZTaa4vSab0F/24rJ0vMeaPYSHCu4Eri79KjAniSWZFB8XTjP5KMSZtzgeXYnSpZLbtfshJ24pek/zPSl6rbyz+cSa4o2lcABioqglph4fDgnOjRiqLuNwZfbn9m2RBXlPDQhnoL0EKjyAJpoweorNlIyD01R6R8sme+WNvSLxk4WymjY0x9kGXt3cLh3OmLiA0mB2ekvCe0KhgBQ1lLbMocg4AUvH6lGbmpq/gtYvqMDIvrdZX2A734k6iOFnuPq0qudLgoQ14GRvY0g513HFH6AauUtk+QwzXoBtKwRIwsDGbJkV6WGBp0uiHC0EzotSuz6tJQ4jZ8Xgytn7SKTEcbta6KEAZwbI4N8WnF9amqqfQjpmWG+VgSwW2r+Qf70finuor+fw3A2fZomRLZIK0UcEOa+9nzNTrWvHoy58m32EpmmyuMjPeHD0eP5rEe0koNW7nwXOdMS255yZLlG+J8MKBHgGVkah0i/aAXmaM04vA8orXYjhAivVSAqe0zjaYCMi+Cvvo2EO7pUfAYFsGBHM/g9CxnX8rO+hzJaXzyvuEVQOZiRCLOekso55DvRxpQN8vt4bWkvxxWn0ziMBX4d2SCR4NfHoHRKJSv1kP5u2hKRE2xVcBLjRr8O0FtGIC0H9p+z+Xqeyw2ctv4jB/t3FUuehjSnVJN93zLGOxRHfbLXj9M0Apw09ZiJbxA7Q+3rfLjjF0qo0R0+tkUYffr3tJSg0bcILQo678Q1+EBi8dQhXwHgrMt6Iwoxzc31ZYjeOtQ9HjflABBJjTsfPoNqWKWipgDOuiEYm9zqetVsz+pyleiDV0CvZ6p+i5SGCfG3GueSUAEXo/+lf4EW0ZrL/1sLeDCjgL5ovgI2MylK4Y8KNg3U+SLR8427ZVsTjBS04VTI1t7CxLypv+WIt4W50JJqDg7xd75aDZFXVsua/G9Z0gMNf8Arjn6THQPI3lIoFGky9AmSQOB/ps8QQobqUMG+PHGUOpCjHUqfc03aaFjQX8s8ARs1D5y454WrWL/IWvtw+dkJIL9djQa18igRTbhGUgVmYay9mYSNL1CvWE7iOPh2AsXo6WtH4LGOaB/zqkS7SuN2C/WCqKgoBxi3qAZPooWfzIHGDQKDLmKpHe/2FMXVJmjNeNUUuoPzMhX5SF3b8wMl8QHxxbcPwc3r5vQ2k4HGYQEALjBd8yrbAeFjrLhxL/UeJgMU14fd0EZHhEBEACj1rcXMgkyC3GjjTaDVYFdxl0FJEEdz0drsYYK8teXzMsd0ZCELYKVLFkSwC0K9oYz/WfNbdjWrG6Yg1vm5CJyGNJ11HBHV+OSQe7pO9J2CN5cH6To9OtUtd8p2zMi6Gy6rscXfaOnu2IKEdc7Lg7L3WaTiJXErrFkWeaovxuPAnuMZ+dL4Lozaa9EH+mcUcobn23HrYUsbHpGgVxOSJKvF+rKW8i7GVIfaDhtfRN6xy++Hk7k4NuseRYpHN3sAKyhladbMTq7S9/bnAVZM9cMnPsyaFVxB0LvKAjN5GKyiF1nn4esgE0x56FJEcE5b8RJwY1KwWOb70QYfOzAt6E19i4JTAho0zbr1Hc1NPE4IpEoCcwGXZGTWuO4WQ9O4/zJH8TDyF6P5wzlgoEARW2N3n8wItfLS3NgdxiTsVF2CQwg9MG8NUFYm3Y8qb7ZZnbIHdTC3eFXKayO8oMu73CcPKx0aFSh7es46lFY7j6NTkf0x7qCfpKHS6B81KN6fDkLTtjTOL2HImq7cw8NPwg9IrJ68pT8S/GTAhbYVCo0t0rnl7Sz1k5dNisbN+piL2uiaFWOj/p9gPOYyf3mPjY5hlFVkT0NxBtfJbo8gK0rx0EKyEUthjfa9yhNPSV1WFOF2TDbelCvhnr+0nw81Uba3RcMKP4tvHKraAfZJKgFwC0UM0Ci4WrhqNac1A9tYMji3vrxwBNq1gOoNykFmfpqx8Q5KRdV8QeDbC/CtVSMBma0ynX9LoFlcW2QA/k3HuW3TE/bbQOjV9EdWgEvB2o/6pD/YDLpR9RASSyZ8lERuACsOyBS8iFXNNgpiL+fyNj8ZUsK6bhbgu6BR3WdXOUezwbaMSyPC+t+ik5ckfW/yoqYfL0nFopUkxdtLOQv7Enfx6BMDtRdLbpCh9pCbnSyGNSsDFguCFNGWPvM+02xyBfTqwm+Ywp4zhfrjCEDBQWPMJ8wvJUqvF8xwqBv8WyHux3UQ6pHzrrhcH93yINjvzVL570p09oLfk1Sru+lhXsxOF2K2IB0bi5Hhy0WrK5nzhWKRVamTgID1ikE8LDjkohk0BsJuumkJ0apt+i3CHOVAucyWhZs14wLWNxSh3kNgV3iedcsl4VYms+jK08IP20JevSu929iOubhrsVSV8bHBMv8wJu3EeOpbOAU+WZN6GB0NoqW0DvUST813edQ0AgxqrRM6qAUpaUSmOJWnHF8Gm+vLFLDDauCOwMyY+D/UnqyuBufhAXpsGB+4oze7VSHLQ6VvucssTB4CZ56O5kNnTSIeTpa/JANBQ/CKb7EOCYpxm9LWl8jUxxruCBJzTbvi+ePW1Ffnjvs8m6WQCZ00fPenazmb++k/SNq7DuhaqOGWB7Ftq8ehnOUJbV2RvDki+ld0oGOvc/E66vjZNUupZXX/5G7yW82z5JUaSfofdh/bWEtKY5b2OmK3hfDZjl/ZyNQMqoNJEg3H6tKnWSohv+KlOFgk5CGLwKrjpPbHTDP68pixPZdB5uJBAZorZkRMQXtkAEVK94cZ9smIY7ruERvAHVTCTHFW83wVQH9V1iiksfDhBif2my+h662DZQAffQGq536pwvySbKejZLpnV8qE0iOdiUjj6aSr/0AUDlSPgbQ9lQa87QnzdTHA18GnpW+seKNs+bcKA2Y9iwngLku9y7MZiEyqm0mzEE2X7Q4W+5uvJviLDsOG/q6rocb+wMYKzCIom1TIYuekAdZee5uao5b6UnS0MWJTEvkf3z7/ocC9aZXpzdFqktbFs11kvPtZiNr36BWlCirB2S+o6xKW9/slx8/WT7F4w4uCM9HYATqO3YcrIY3aAK/+QqrZrVsdrplbIKdE5MD4Fz9prLCcbSlI24xxSrb9WTNywbBZOjvFFOUyd15hcerUZo7mrrpxxjZny26gVBXRrb5URlSoXCHWXXhOadXUVKImBLZlooLoMdAP77tgpMosqMSY5JFgjIJKWqggjqhnu5TOK4rsJUxFM4Iqe/zBtLe6Txkx953SmYlsJCnB5JlgCXFwereF6WceXu3fqtdOBjWLQKTXIkh3nuoPCp4F3mCJHpnI8bO5VP7HL5u2wXzVzP1xcv5vGJDvyKjEFKoWCjKplvmqZ/Ni94wjTUIeN6dvpnuqmuaijQsI6yF5ePgE510X5e3OTHIa/GBfO4EXdoA+I5h8AWkh/8I8+vH6KMszT1Oa+8HjILpVUFAZveaefMhSPyhXPKd55gHgG58I9+SGhkGR3PxRWX8GtNsPJeVZHfdva0UtU/BV4EDLq240htC6dmhVlqvMe0uCRcxy1o9jqthYbIPWzc4u+zRYpY5zepiwgIM5h6lr9VFYtWfI1ziZOOmVCKyxB3usvkx3b79290b8x3/gsXZF7PQCL961dNEzuBKw6fVYkcsPU8KZS23rd1W4hwlIY9HlEeSPXR7GYkkHpA4DI4pWV1+K+7bSadUyTbH1qoOkAdh48dH2VSGc5WF1HafurLMVSKFq4Gw//ksouH4+fRBkbHIun8QfIN/yN1Sy9VA8p8vVrkmwIjCM8EJiXkRQvLRv6eACOrVoyxJHThwkFzCyScRsREtqTYSktb6nZht1ksUuMb/2LXBS4pXOOzaG0yPO24fiYBSGT11s8jkFyrYbxlXMS2bZQpCdWQhPWwTVBLe5qB8FQw085WSek0PKMa7vmrY9/YBvajtVMx3wkeA0ASyWQxTmr56cbftiSgg7Qs3zEtRY/2Ys7Wgz5V9jDlmrS0rH4Lb/t0MK+3l1t1rCwSKlAxz7mPkHxkwkY3xsWa0x35wJL2tabVXZLFPrQSvEQ9l0xGYkDpQtans3cVqweHNMx1RJ+izxcN1QFlLgSzz7AbZ8of1LYm+fDMMvZ9tN8urLxUka60ZIm5SM/rjX26rAGX63ZVm/9tNwdRr80kMiJqRqiifowOLtgPK/bErlySO+z/GDVf/wclcc3ihHq/f2ccf4xGefgYmX7ory+1zyOgBzV3bSmHo6e8voQmUfDg0ILWptWPRZ85k1oyJVO0yl0CYEgndAP6QnToM43B52d0txfvvUad/aoJwBulSV4Wi+OB34/DnV54ia8bUAO0Z54pXklxreEbVb04H3n6d46dKAkrFSs/1i4LkjiO5h6srRFw5v3CauclhCbUwwuNG3TXmwVquRFkgLnQ1NOaifK24a2gb9jQ9wt3JODczaD9MAqDVEkQjUa3ZtIVeapryDzeNljH9UB+NIdTO/Sp8yeGXsd+TVgg6wIZTLp0TYhlNPUDtLt4ye/IbzvLFPeUec1WT0qFgVOoA815vqArwdmAiM/EbV0MspQJ2VQJdAxxTZrOa7wIom0eE4psARh8MN0Gcxl3IyvZo7OnlGsHZwtdj/GufvkdicR80abTRKfemCcgKpPSbnhjk3iCA084btPAOpcOWtSgg6VVb5INSjNa99Fbyehn8JLebUhc/QkbJguiyUN/BOOWPI8pmL1nnAL9c81JuLgC7lQT2/U3atKccEgbP+uCM+Yx2rIp3z1osU9a9Vvh7oDZmEl3Wc7Q+JjKG420cXnEONQWYUbp+T9IJ89M2/k+gUWk2dgkkEiAbM1sMrKu/2OAxx4Z6wccHgn7B/OAr9x5rXtyulGrw6alohlrA8D6+CQCaBDBxSR9UopbTaJnJ2RKqtYb5MYq+n2vHvWNNp3lQ3cfjNYUHyGe7zjJvA9VNPAZWnZ3yHeGpPgTy+C/mkvicMpZiiLtpD7vc4LBODuAgu5ix0BvELrVGjdD288erwlSruYmGe/6AZdhMC46KxHQcPedetLYg+bXBi3u9TecYgNpnnvZgiJ6vjxC7TEzgrTZtNhNc5/V+E053EvWbs26pdvrNmiZd9COAEbyMFHqglEgJnvJ7LoSQV6sagba1OGMD7ZRvOkcgrIeDTd//NcD9IRVADhHGlrDXx2DP1jcfSZctKNtiijvtQBMWPPjt5MniVUmgVV3Dz83OWGZ4ux6hZJEBLvmbWluKKwXysdOO/ZGzrtVNt84y38j33qRsZ0LkmOz0nAlgSiaWfX+cxP6+G4YRKA7rCrNiTL8Zb9VQffmNrvYQDqHu9Ng3U+C4b9xfMwsHI7cis40rA8lXtNthEcge61FnsoT0olfIZcIE2uBsQWBcDo9zHkZq9BcDJK5APyFI9RIZsB3z1JMLYAKkhChgdUoX9sqYE6kOeXCtE8H0st5K8vwinI7G20tbykC0+kwCaev4xesVe/CJYw1JVOxaiPoktg8jjNaH0Uzi918jzraZBF+94GatAeHMbKjM7IhWpaN833m0lQT+S6Bv7xP2kARAA2Px3bY+u04oQUzRwWS2ZBfvA+i9nOS1pcPKHSqeGoNpeEbZz5kyeLnrGr1exduQWsrdcfLJDFA9/gbpAV39CMDiM26tZ/x7qdAcEr/LWRBYcNqTuNNoxGH/PPwLXYI2bYbL4fVFMmmrEgUYCkP6xBjFBfGYJWGya+e0tFtrtqvoi1SN0Adaf4CAGJ7EHfct3AxlZK0YvfeUzG3NFe3ZPaDvNGhBPXCjQBGtuxKyiDTZHUe0kNt1LRDbVOIqjl6YGuHlek4fC8SrotCJtzcUvjzusEwYbEpn9uZ2aUSF1fYe3kLhgM87JTA3go94x2LHre51QjNJucqaCHoqI+3Lqu3WHmsiV5PeftzmyWBobwgUSFhhDf9udFqJRlEn1B1tbeW/7Maw1LOVYlcRirPUFNeuZ2QzPlvCTkdvXKle+vGCrEI+ymaK83Lcj7+3ytFR3QO1VmrmjIH1uZJPExuZ8Gpsf+VoNm1C86sS6tib81EvyUeh714UZ8b3tG4UIkVxJN5dPv/nJL7n9cLXEUscyq3vU9LlVM2WQfVQndN/IbuuABEoW2J6vgo87dasC3pMYzXZxcthQfACWMq09n9bxlG0R5NwSx6PbI3/dRKMxKXSth8qWkj9S2h7KBIJ6QcylWkI1bCYt3pXjiXDtHDHhPswGGLISrMPwvuOtt5w6s6gfb4sy5W+bPgNYSHXWN4OADd7TvQRkaZZHVl4/inSthjU0fxUQUSpzutIlx9++ES0QI9ctNvhNHr9eMuimEx+SJ7F8BhGa8a00ROfT+FxQZvd0odGX911DMj/rK0O5q/odkpnmxlkWmT2IotvU0XaHptHTtd7nrxSGcurR1npxE3Q0mXgfm+UAdnjSHvlZzRGiy6LaYDiqTT8kGtjChcoKI9QP9iYJ8lzPqTDw3BgLfOanJhEHZ7ncN9kj0eV6Zf77gohpT1EICKM9U9HDSy3aU9qC+Ydn/LkK486wPz1bBQTacaQC1cSwvSxZPizEqI6AFFVgxtrlBUn1h8LTN+ZGaKlTM5BGYTwZlUifBcE0ofUeZlPvU0UzDUk7JVLVWcCjOtQa7Uen0jmfv1y0o/BjFtzbtoCfmbFUTM3O/nzTV+dv41t04m6Q4H09IpvMVM7IJG/F/0f2fyKQ534bCuy6o+if5HM3zbDv6tnpRZTpi2Aq9sAM9FWcyI9bB5YqXuummJ5ExwXiw7csAT1+BfROV3BrwKp1UvkQy5SMf18s3d97mj+jLCylx4wm3/H/CNgDNrKoEVBU326MeD56E+Dj/36FtpexgXdoYS1yCMqYytAa4sDD/JGRwOvtHN9pWcdjZu09a2gyCWCgpFzKbGN2vsqKSIWJWEaLTfIl26aKa49oYFgOIzng3w9Ylb8Qt6WtNa7wp2joKEspt9EF80DQcV09LQ7xEhfy+YHvURbwplp81Hrjph3Cr+gngH50fe+fIsPlo28/sQC1nnevRFHlDt/1s6YnsfJTqjrw/OczU5kgG11TcROqcDD9cLr5oZ85ucY+uypjRqsjqBud7e67yZCnOHoWU8Ld6Cf8t8nGT0Bw2rKRCqCQEo4hpL+MdKel6VlkdxRYgxsJB46aU5mYuQIogJWM2CL5yjcx4XVUfb9ggzwjrIor00OBZKNyqjzkILJMG52GcsoTA0lsSKzCIlvdrIC6d59W9GJuEGRNFubKCgB/4ym3xP5+MbjQSmCXun/j6RwPXVftF8cDerPqTPVKs28tNhq7Nm4dEoqSt3PkA04A5M0Gvv5NAog5qXScnRkI9Tb7Lq50XB23hAICRzhPkLKQ6uWbq6RNRHpB8+dzyfOfLRciFV36wgpjjXFXa70G4eURRUMXqc0ZbbIsBsHVjIkr+KyqT2aVnIfroJGYa1kyHlF87aumcFOwjkaqTYMiZ45lP44VY+n1r13cYf/TJl6MkMnZZgwWpChvc5YiXhaKdzi11XVJvlxscWFS6k//jEnBz6izEXn/NBvJIC4CiOvglNFC+ZPfiJb+hep/iqFtjQc2ftvMFp/wsQs1ahF/sp/Ut9kq2lArBBuY4fVIUcNceKIvM8D2K8pmAj9027cvQolHyNasgfmlmi1Nd1NBWK2AM3uf3gBXPvNW8BxJwsh25ZDwM8iZPRgWKakoSy2mHDOL93VhOQy66s+G5m42tC2V5rTB02cVmx8fMHRgje4m/gZR8cSS3PvgJxzIz4vPoPfs1KFHseL7OETGcoY8YV9hnkU9CzuXxn53Bha29yGtQPeorgQoVQ7lxDzTtM1ZGaK/ggoqsVKKdI3vb/wtevmV4pHK6awekI2VopVnKJd2ten2mUXyL5NdyHpmfdnLIzkU8k2up6fyI+aiHQw+HuPEqxrApa97c07DwdSt6LHJz2KOTKnStqPyv/y9KxIKkZWYDqdtLjjH2BDQpNQyMNTXBVN2ONmxspS5zhQ7QIope4ZmIFrJv+/IaUUROoBpr+cMco9D5g/27H8xkX/4H4kaWX9kpggViNSa09vkNBvZERjgdSEgRRtzLlaLLkMomplVJZ4BqrSlpO/xrLServJ9llrL+1uCYzt5WvZQN5+j8MtRas2N89GXFD9U9eeKVKN513BN0QyglrHg4q70ujAZYhJb9BKsDzr3TRH/md8uAjVjHu/aP2p8/sQ4yfw7sMYUKA1lYQt9c1SjFNekKkMpF1ND4/Nw3Nhs8llipfmLW72qzNPqbk27fABqFo4w/DCkKzwhRv4UwlxSgBvivuVSxzc/JYeeqyYZ3aXjFmPzVkdKcjBRywEBRT8Dd8Bzh6HZWYlYDX0uFYIOuhQDrxmJsw98EbJmCCuvG30rhckMecb4ePtTdmo4u7P03uLfQGI44SbchleMiWiZlY0/0xyZEjzrlBuU6oaHIEDKcL56RvUJ3oNVZ9lryjJi9KdIKyGG/I9SpShhcDMWR/2ssq+i2avJdcsfYw7MRfP7m9jF/3v9KX4ZUaq1pRmb7O7IT5el0hjCi6y1X5psFs/scfV+oHMCkV3TH4gDXnVggeaQVOPvchNAAFavfjWD+IXzFJaeFTFxcv27ilNwKlTvuZgGN/yOxAVC/gune6ra3CbQHW8sQSlhsb8Gb84EGV0xi8LsSBe9GCX+CbbaPLhsA29xLMEZSRDM1z7G4tMo50IMKuejIlzjjhOZ2BuR8pwKjWjHYf/2r+AuGeQxd6loUxSjjOkdXKTesDYQQc/240qE+i1pw0ztnwd2lmiFpW1yRO3h8+uCbOHOP4p6C4MSBiMwm8OnzQxqNKXksK0ZQnYHvFFbiRpHCzvXZoUE6CkuFyRLLR4Hepe7C/M0j6al66u5JQnE0I2+64HGFA7ZcwEs0aeW9CaJpnynZLTbnnOO24JnHAZ8jLda9UDWfCrs50l5wK62S6mZ1lDf48h4d2wp+p8sAvrbBiDfO1V+y5YAFfQX0KzmP0DddHJAu27p/V7B8fvX1jjRy/acnd4USGPpbicpZuK1tkGkB27IejbmIUyXhUVQ5vz9FMdNQU7BXMXZ6PPjXIlp8Z1BPGEdDAklCvLig3WtW3SARI4j4agoGwJYl+7wTsy8SwBhrh79xVAmFxoMrWoeYWjTTzmAPJU0WJeUc3TGXYLithe/HudHy0DBhpx3o/A49zMeBPdIdx/P4yN4/IIvOn+hQ/l3dTwSXUfwVdFbUsrbV90vo1S2GQ6FzJATAhrcMuUyEZpcH08IFEJ/tvUfGh4NJCXX3s1MreGdRFaNoJ4P/c9gesG+hoUBXI5aSZ9xESuxCs3ewBKA9cvN3UG9R+6GvvaSRWb6fPsXsyy0EiJzr4W0XjzDmnyI5hGSUcBZ3bVof+n/OKvUF6241zLT3TrRErOmS3MClTol9orteYudKGSHODKdHHzjO5hdUDiSTMigFVjyNIKZEeSn9vAhEwNWZd4i9rb9FKt80JRcqyab4ESIBIxuQfy5sH4fT4l6JvcNkF8XyLIlRFdxlXmCdaF0HBJOkdg4+hFkUb2mGRrhRgTbqq0vN8j8JdCNm6mjr5JBbbkxlE1No3ahmZW0+0AkiaGaMbG5BoiBEz0cvhbajbqX0zRZPtYBLEYfatir0+bDjP5+lINjKZ1abmpcl6d48Me1yDcPZ9rvebfakIJSpIuV8fGA2I5dOMiCBqT/XDNcyX5q9WvOx2SX4u6Vuzc16t5b/P3g2iIDdBDndAYEmmV2k3Alantjc+g91kXI2VkjwBuffrFesuNlFMxzVCc6A65BPylc/IPeZiJrwDdmp/RhiTwCnfZqdu8SrSMm4h+9J4liPJZarupYeMgQuZl/DJSUbZBvvpGW+woPaQNq8mKIAm6Nb+7GFjU+jl709oeSzVAtHzGcWBnDi0iqhBHg/Zxkbb+4vccVm6xDajLG9tELEvClfmrQksfUtRrWMOwTkUazUCEMahR2XNzIt8KISoFJ8nb/T8Wnfqe0If7xOEC5OxZHu/9boYN2+F3GHD4n6kAHW1XFwGrHd+sD6aWRi7Dvj5QZY/5d7pJ5tpYdzpt3RHUNJGvR2vKkiNj9CBLs2M7kX6Aq7Iy5ouaNcUBdwz4Vp9dzEbBWPjEF6sGJOhe2HgHFO5RBX4F4UASlVdCIMDEzcdJdq8GXHe0hKyazcsK7hkPXJ4kIzAABnv7SRB+u/AimUjHmVwaHHPZTvq8xq37LdsP2ZjYt8MNbpvfRPK5cN9Z5sYqkNfJ1LUOYvLGKwvZdxx4cGDIiqb0HnXVV2KJnxQnqnKUfRLJub2JgNR3CbrMY5DvfEu/yX7vQyXwbVFIvMsU6rRUpjCB9Pl3PP8eqJrAcZD8OkOMd4J8tBY6DtGDS6VRlVbsB/vZKxuEozpPg0jwiugz3fsdBPgBoK8RUrNjwK2A8VBEBJYK0AJtENPWKAMXmHitQqimJzT/pjG1FS4tmcbBfUL4MEN+wNvE/GJw50BeJejJpItr3MRXC7Szg4vawLDW3T2oKDrYVSKUwfprcBaa0XQ/nBu1KtjdAo9t4lKT3TSzHi2IpKpxgY7XQfvH+iQpfb7lxSa8luIKlc+utBw+5peYfT8qAhj3+QlSttgGBP8fkphabAxBQHREev+6IYX30U+rzFlGMAtf1rYKdGVsZnxSXNj+9SuFA2lKKKYboM/NSxQDWn2ufCEJsMNQIQrLj12KfsW+/3ufc/oc/ZetNkEndZzJrx6iL/dKHQF08XpZc7UeKFXzKLL+ClyAV0qO6vYtq12ZLQG+mlvJdUSlOL1up9+FjB3w0AwNDhCZUZatfhfh0NAjP2vzn7QP9ry4unFDwK9DVV5y0Y0lfMkJc9TKpNnqXlpPmvq1yYKHuH3NnfUpwRYzd/LsEWVLZmRb56H28sjNXzRrVN7lwnUwjJ3A/lyEfOjTQ9qibWMzAFKrXcIhXA10M7DjP06xPdomYU+kZGQ3wKEbjE4ReE3t6hbMTJmY2H9hlAmqblU4blgTlReOFtZex+sJwxjCcXLbcI8y5Tw24dTwdtalgT1NiKN40Sese4Xo4Hjd0SJnw8vTXaeASj/qb+fRMG0eExY8amGyB6nl5EGj7ZqKEyLdF90TGIYqA4n+Xo5axnfbWw5B+CjJp6qmcA2SSDkHaTrT5yx0+COK4evZll2mEKPWLEvmUOyZ/5Qt6aL4beOybywBWwCQRIUXPCM9a05hMgYier7dFsPVO0e2jRTTeMEL5GiWYfwVSD/LCKTuHuMemBZdsO/JDVZ23exZOlwAXYRebOnlCk4wbzH402g9j9+gnhuSWLzxtYb3AX2IvznyjXMpMMMDZifbPJiYgrnEv/FO8QMNsHma2BBVQ8RJK7eNPc7/4kjt1PFhtQCRpDVjPyqFpmyF5CsMLLhUlVvB/89lMyDCkCSJDV3Ci+yodeOP4b05Lexaijf8gDhU9gZsyOdIzMC33CxKPymWoUtaWhNgjKGvlhm1dy7FMFetaeABgqEb8AB1AXjXZd5c7Ngu+kHqg/fQUasS5unUIHsyPErCzXfNpXdFWhRFSW+L3+m20bZvaMVz6RcDo57D+cKsf/R3HSu2nbGPsYpeIA9wERbLHQDL7QkP0gCeYQu+pIKPQC53LA5G1rXefD7acfTsKIyYBe/xZonAnZCkIX+YQLtq0So+xWyLy+9Gsm8lEyLDI0hErZifJHAPyAu016i/uISvCb7tNImKtN9GmxAg6eU3zEIPwk9tuJ36d8EJk9PO795Ww1YJAhoQ4wN/PouCG7YrTCBkrr3b6g92n0a9U7/CZS539cHCXnCfpJT1Jo9dS5VdyUvFKBkOHj4lSbPHkZzNeWLDHAGZJNs2Xwu2QTvsxfasott/YKBpbZ9K+e6sVT4CP3gQndyh+QC5u4rILMFQORotA4W0Q3CzglJoiVrGIctU8QpFkbkK7eYPemo+AeKEoG4cTTrle0OD0nBQg+tVjMqMb7ECGSfBZDWYvsLkJBb4jTjlImRSeS/HFNMaaTH3gquf5sIKDdrSyUZjk06V9HJk4Wh198hDfg1JDAtXryAmfLMliFtbd6L8Pnr5u7Vw814O6WvaOoSugVIxYQl0jRqMIt2WUbkk2es4ra6O4zGLoxgNHfrTfRgIyeNKinJBJZtXVAFYON6rr54G+kDLrE6ys1q1vpzoV/P1gWqukNjssfavzqM2q9x5iLdm8rqK5VrOLnVSE8z9+TInY/cKpi+MfKW4ImJamOQCH/k+Z0i68h6x29tdV8qD7i5ZVO8N5Y4yUqMAouc+DBFD4PfWV76t2ZvYmnQgjlbvurWlbNQUIFdartOGc5NlKda2aD9S2sQDayVck47sF6LgT2j/39TXUcUneXajLW1We/YCCVtO9dAKfkG0vQb/dibsCSAgA0GAyZ+i1CeudVFimXZey/lo4tnbUGdL5temkEHT4YZ+mkIqUEpQs+y4JPNh83dwCKCIr0VNr/bEBWXgQRoUvzxUkG8dlqIf59qx+Ua+QYAEu43V9J1JjjjcFtKcRDVmcexu+94T1+a6183X6S+RIndbyP9+TkxNseb9IiG3C+MkPnbG11jgv6B3a2AqerXQZp5YkE4YOCP/Tbqt80/aLxHCrUOl6K2QLT5+C7eu5jQJJKnjWWTvvxvhQ6qbRe//aVq+OBP5ZSelxmHdAfTojxsI137hoisYqzylB4JhMQDQ2oiMA8DFcDJYXL+GB+JTVPcjtCvnRS0Uxre9PeikNjV/g+FWn7tjyR/9CzjiC5206kCLe9vOOPLA7s8g0Nycruw9GzuTj04Y6GRGiiqr6w+8eOFw/UDSOAzRf5TPdZc/l1zXyu0Wbgqwg4JIYNgPTzPQ/NAXsmkBtdF4//tj0TNRsRWyp8Ijl0rHWcjPPsKlpsJknWqBEovAHxyTRbHAWFyqEmdU8GRHksGlP7wQJ1PHHhkXsDiSUwrA89/cSQf80CNPjsyWQRPgC3QTHytuj3AJ4R85ZgVYQUxkYTl63Znha6xAa+hc3ufaT64fv1M2p02mJ5V8b8/4hSc0ljtCXX6JkFoDZD8VxCyPhEPkMLYukNfx/WBmNIbQqVFvJcegen6kwseB/xdSEMlxTMuiQRzz1C2qX5QzPOW/izFEUumtCBJnq1kLNNeHpW+eDn+yibZrnWCHK2JkbengglB+amPpwjk/xyGQF5niIr9CIDOz06PLZXvd+kx/QzAw8AIS/onHJGLyJ/cCMaW/6Kc0Q2DLBpSXm+BkAVp7bTFuT/5OhhF/vPPFmYVHHplKqpaoy22mo6VPvVZiww2JrgzVfV8j0s7FQhT9WTghbqQmlnA6/c+VLfjl+aalgQhzQBNq8XTcDMrmeK2CR/vXvjj9dmGLiFjkmqgkssbaWpfL7W1yXVmsYX708PrsdgMHxfl/LkxaDd1CdgOeBytU2PfQAFu7MDPf2NuC36VkW8MYgAFxqY/p3fq+pOTVSGt/rMKTXq2g1pSCCRSaO/DPT185zyNXFQ2clKUOzX5saFddYUVgUAKTlyhy+WTJRz3u7zBP463YxJNGormYUW0s+mb/KFaOwmuI2rQXj3SAZdtDJ0RBtdwTYWnEHFldAvZ+qnWpoFVkZuL8MAIvgykWMTnnjtWKdmUPADV+PXcNKgqOyr7s8ulU2UEAjeT+arqVhSfeNuJvbwKEckpH1as9P8S+RQOg6f2cOvqtR9h1JnKr4xzK+xg3oTxzVpscGqfX+m4S9k/AedJ05QwD9i2KyQPrVmVsaI051xGVbOKh2t5pBvV7UkW7zUfwAZbPBDOOTnwUHWqkHcUz1u2uyLM9F9hIufOUtMlUXMyH7OSbPcyeWH+Wapx0vuo5FwBn/Qq+YjO5iXj3SWEAGWhGXuzOUARVtriJDh1YcTDudDht197Wf5NK2GynRnPKCUSzcOGeodiN3dy3ejP5YNmhzcuyJ4uRxYzFHmTZRys/eZ//kJ+QNZSa9ysSle/0u5vk6LQBOpY5wHgX0NJnLiPfGenZsHQRakrFA35uca8wPZkovFmskQUocbpNi7Y3V71bUTztqfA2VGcjqCmqZRCemU8e4vFmTtDFFqnkHJBNuKBx1sZKbTdZiuA7Yo99BTiqUJ/HAxVbf2YppOSRgR+yzJAXbpIiNNJ3l+M8+H/o1hWDto2hCzwfwmWt9UFUhU+NPmytGLNJuobHVyVBSaAxMHCVFDbGpCvNEtuJBHRSsZlPnRSqzUGXI91YLNk0kdzzdhbsRR9y43RJ0Kh3xLJOSqkpA48M466iaJD1ang5PBcxS4yZSkJM46imx52PBLt1cwxaWXFzv3FtBg/EWgbZGg+myW7ToPlafO5qISa4uvpMLarxvhgAslfBmE8OMgqaJo77yADC89ISgPLlJw9alEz/vMKWDMVLX02IUMDLEoK1eGoeXwvo6UJW5dZrkbI3UMFPobDf3pxnQI4tEF32ojrm4oma0OPsRy/fIzhrl8qL8BAxGpt22OdXm2W7d7+64qYLdVGGfK3Z4NGSRcNQRmOF6MzHfY9EKSx1hsszbCVsQI75Z1WU2Mchv5SmQ1lGgwvtXYIVKTe/dTerGrLJdtWvGdAOu1q5he3XsX4NLKyXE4Iy9mIoNtb8H9s1EF7WRulVwKWLBBzvfJL58D9xmcMQiYCl1J1AiJZv0eceF3gyqKxO2X5+DJTonezE0u5w0VVaKjrmJ1Dq54aAuvZvcq1bFoPBd4qdxpB2kp+4RG19s+mPNhQ00QAFS/eIWXu04PZSDuEQDwHRA+1sTPwmM6aoJHvuQa/xcGGNH9snQwgWlYVbs4X/Vg2RAVNb4BrHVRKZiTYGOjDiSrFzkPBkRTZMBxDFSeM8LsxuobxbVk4l/DK73yj9qEezYE0SKkdO+YcEG+4G/4pMBleckKiKP+vDWw338ibrUTqBGNWEd2gDc/2FaoGGBqon6pWVHdHMgHQneZtVYdMQG7rQOhr08rSnPCOeKtF1S8N9oZwJ2R3+amTnfXX0NY9FJ8bC5Z11sWM+twT+ib7jP7/GKZ30i0I7C3gK5iFrkwspSKg4l6C3MHW++6DhY3Tv77oisJYr45uUlg7cpFZGC6jPxYPKVUDnJzbHUi3K4TkgD8V+iDd8V9n55cQ1mrMVFofraVR5x+5btypwPnDnMa6mHgUQaxrDYYJSi6s52dIypvAvgdu6YDZKRjc84657AVaWnt8dLPgPr6NwaTgqNpFtfqjBRnkv4tAeKcvVwzElnAlqz6h7W7+K53VB/BOD96SZ4AuzLYuIT5XyZq2niE9bQxuDQ7IsXuqmPzukOl4TJSuS/VLhDSY8VIdTHaXm0X0iO6nLc1eGIu3y6L/JFqOlriG4EeqK6IMGmgiOfXQVZWWIV8JVcPp/l4x4lMD8xVSF/3T2Zgm81FHpNh7s/NDKOufiAiAH8srM21ny3EXA7v0ZWnT7qBGk7qkL+ssP4vHK37V2WNq+KDvzO3LuuGvyKWfjVTPGDQmCbDjbqLEMSXkG9eYOZV4XwRfDWr0x/iNt11gL3IKJs4v6DV8Ws9VgoO+4uO12oFegy2BeuvTVUnGEi+b5eNfTUFPoeTpseD6YwZVh51y55xi/xOWepxcmPgcVq64n+KiWdqGvPKPQ4G9iIJYem3TZNqd2elzbYFRf8myBt193B1JDYU1lT0y0AqbJlU3oOTUelhEBv9g/HXJNGbejsslIYxAxm5ZljT4fOJmbLNJBPNzG773onsyAj4OvJqVagZjjYEDa16ebtRIfb3KwHx0NSANkn57afShOpuUp9rZ3Kb8kwAmNY7UgUbcSudVjcJ39kF+9Wq+jUErGqFlTCyZib4lU5xUCu9DycgveHKdBssdSWkikEM9E98su5ZG8orceORr812ZqB8o3vTW9Il/6/Dqmjt9S52Xu13QMidY1TNDnCV2At1bNDgFB5RwLclpQqFgZXqxJghxvUW84CKYdTDYh5TDNYJPEB/IqvQCrDggq14HQoBgEqhhVCrTXac0BG1jzmJj7aTHHP1P/Q07SBSg1mYIu2VGXn5rTN/LxsD8g67w9fsxpM2qsNWYuP3yjuxsYkNMP+j8RENjUd3G4geVR2KT0tOibPZKq92RQev2HgnGc6hNgLt0Fkie43RIeIjMFnxqfvrS+oCkGsMhxhCjIO5rTKLM0kni3qz98/SQJ4nAX2kEj8SYPfpIALsgri0i9wpOYnnOpwZGHUn/hU2NemWQgBnFpPONHYxg2U9XFzYkn/T79QVuDbroCwaUB4VuCFWsyp/RQh662PeXM7Jxb+mXWO7VhYBMELYLRk8JnVa80wuRJK9MTuRduzOPVOCcAuFVnQ+2qA972C2Qpj6DrH24qAKqp4FgPzr4G3rDlga3q0rbHUHYeP2hOOm4sf7fMPPkeeIe9V+tntISpltgVV0KR3YYd6O5g93JTe7Ragc8tyr7kXlOiSBQeQQgTSLoGeNG8H77VwWPg6N/5jldijx+wPbD2siAWsmkQ10yFbDYg5N3WXPd20Hk5Ecsh93aiuSYKrJvTZ4MARYWEV3JfEe8pejLC6TzF7oEtPYZrWXCEtmpTSiI+elNmpFhWQAFBYwnBIEsYQ57Iz8TEhKdzuztuoh5fg7QOMLHrgMvTIvF5gF/EXWg5/0+VC6P07b14V9Fc3Wk+kWqJqgxyhRaC5PvnU9u8e0Z/L6bcUFnuc7J8Tkl0U9ZodtSD6PnDqhG4iYc+qSBUtucSxY8/tmCKLZzW0+EaC43UuaxwE0b9hG1IpeVjxte2FbK7oI2ljmLSmLvh5+ni563xH0IDQpmMXePm8wZH4Ta7ujm7fNMkFeMmHUNi9B2X6/iQ4HZlz4bReosUMy5MUC85R46QO2XRDlo3UsgbG4XSDXMC/uj92XlSnBu4Vf/WCrAp2O48uvDL4PqqCEYOIUnrAYvMgg1wUiMv3X2uwj2ieyWSUOxhNNxU9Ipm/krcv0jGekG72NvCdUsIMFqa+gR4n346VQkvA4zCBllAz52/GdKmAFuKCJWZIuPYqCsEAxCqw0OTRBd86w99uUi3gqOdu5DP1MeRi7Gjd6PvPjOmqOUM4XsQrxI0NCHlWU6rpJJkQ9wD+6DS7LVL9cLY8qSYnJlvYesxJYbOvErn1KBekJmTTsm3b/C0akd0mk8MDbXxiWrLoei/HLzT1OK4oYM2hjuXjPAPXQot1LxSkUKpvQoDmSNPn8trwwk2gjb4U+/QedZMhbtaMKhG+YHBP+WXayXg1hBMEv02kcuc/n5mFHK6h2FR4Gr+uUPRknawIkpucESi9toaGdqM3Io4j8xzmtXtqBxq5ujTIYrF2Sc/bikS4jfR4V5GVvIaCWkuSKxcUJzRTonY74g0FxuVpXd0oJVkE+0nuw8LjpS6GH5lVDGWD6q8hQMqJVjsw5mTMSlNUFHXBZGJcwJyHR12Cy/Tj6nXCzl1UvHNS4T8rVNlF65OUG3oeEMiYxeZVCCNjmw3PN6rIPsTBlTqJxByURZap3OOuRsrxbUOhI5/e1huZlqLxxxNoVw7wz1btpEhSPUR7Bm4VBZOLqPbB312pesObtd2luQvBCiGN6MATjeSWHMHLLzFw3wa1h3TrxcsxwEHZgsEdJmCk9FjQEzbx1FZund+58mohY8XROwi/Qm5CYaardqR240DOlJJOHlKUIRGTvWkIf9QXhCOI+zuKCdzRAoq5ssbYxHCJpxIbcNj/rby8U0lB2pNRmNqQ+FyH41V9Tuy0Dt+KnKqwdb/QeG/Wscs2EXW6kYyKtXfH4jhz4t7BiRjapAiKtGqhNfXTDf+V2DXFVohKXRfAL5uwaaL5+oTwBr7GwGR6vEAIQ9BUq+K5CNor3Baw8Zlmc7z/t3EXwfKq8IG/ReZGMAJqzrXG5Dl9SQT45tTcYU2UD9Vg+SJjnQWNqJleoFoKe8g5iXeuLaiS0UklhiHEBZPxBSgShR/NugtZ48FG3czc7cJWNjyOqUb1Lv6pWhhII89qArSgWX1QcvhiphEy2lo5gI5TfTFW+gEjPy2DL+BtE29X5HRPCS7k/m9qRa4b4jdBpRdfy2AUC0uiqbzsgAMZbXuKwVlN3ONQcC2bQNqb0wHVAB9Y9LhUdUdNKLhmH+RyZkHdg0jX7xbInpEW1Uf/oF5kCdO4uFCowvpG3lCGL0OfsG/CD+cZZoopJ2p62FEfYp+VGX9Zi6xz5uDZTDn8RP3DxnZ7lctUch01PSaK+WyJCFrtYhOoJTvW7r5GYvsTi7AbHuJxtzNujaqVyF3WLOHoI1XTcUseCxSwu5yqCKHhGs8acK4iDLNMOdcK4tXunJ7kN3HQSU+VHkrVsc5EaZ/yxCgQBlYsLIHO6254pmU2ed9ixFxU7nlOabzF/cRP7ACTTSJPVe9TJ3r8I/ELiEIyvHIwHodk51DBc80rzgSOfLxZDAQSh4vGBTnkyjGAO/A0h8Df2msVd2sbmBuH0B2H6CSt46ldAkoSqiFR0pxtbJAq5/Qtc5jDChJKlRkcUzQmYu0NcA7wRdyv+kblnTXAudLXrx+E7uo5kWchkw3yQ4o/lDwy7HxSqK4HcXA+phjYGfPpjsFBzE2h46wiZrEkgvFmsWhJM2EEAbnU6pqh1yEWNHEZ56R3CFfly/jaJNuAvDQY3uUkUX3kH4O8Du5mC+KNgFDL6vtUIy3AnoC9/IO5Za8U+GDdQGZkpY9oI/MQ7LvySvoC8dk1O1LhPnaQPP3yzJ0fC79T5Bsc3/ie2gr8ZS2/QBAKF766V+82zu53xIeRQMBNPGksCp8fpZD0InmRKZHSdjCysaMIvt6VSrnUG7GIzGGCAaqXH1NSFlxevMOg2AIVhQ+OjxFq38+fKKhkv1f8qoIpPPM0YDzC6VUms6/ontLXM9yBNPKSTNM6hF5qTh0EF4kYDH2iE8lG7fr5H/N32GCtFl7tnItHNjY8oANrz4csc+pykQnWVUuHAKa5I3zIKJT1+CrMo8nhGsuFzkgCJxw0FbSSwJR1scSk80SP9m0d5JtjvlBLWTXyD/bES0Ds2QxCXP5mnL2SPCrRGuMIDEKPizFtMTaDFZz48MKXhDFKaH6Fp1kV3aRxV73RBdadEsN2lDpTrVoqD437v9SAu5+PIZcm9sRyJWNz1YgAMVPghGlmtgpPNVq7c6ZaPUOO4ZBoX794xzKl2ksh5XX5sShjTpQYhVOHXCTGTlsiLjVNVdRM8S6JyA049PqEuousYntVYju2i4I0IfKY5ehBGPiVT3TvvFbg0leYa2VsUWvvzoqMl8blk3vW/hYuTzDUymDD+cTjE3FR8/4YZ37eleQQ/tnfCB0QLYRvpQXFNcKKCNzR/9Rn6KT9kCIMfbnrbrvcaMbn0LDs/Q7m7ghSx60qAu4f9/FIi7jqx6foIvJ/IeG72v+y3nHqErRh/IVOjIeYYuGpyRadLfc83wMrvq6PTmviBc1sng09vZ2XY8IahT2FkfBF4FICm+I8NGJ2mPsGswY7iMMUL2eUNvPa0plKlt+Hpc1m3/MlHKjKFtyc5oZ6awzHqQIJ5orUbEd5jdMa/lEHt2EOTNFgCOb6MH6MTSvZWemlxpPGUwYM0tWxsCWWoIdOxjx+twZykiyrxILnOKTHcG+5ptf6gxhGx8Bd/44Pwo5Qx4uMBPNPqcann1e8MEJMXQ+RvhddQUKSKWdC2uAT3gLZROF1+U+mUt3QIxMeB4ru2iHaUZKu5ViCiCKpwtIVUZZKEok/7duGwQrgUIHuIYQnjvcTTru3nNZKfKVgcLYMwRSuG+uZMFVEabFwi/4e6Hk7MTKPvdX4wFxLOsT3iN9GmC2P5KJm/Nte7G3Pw90Kj1ZlNHDdl3mAmtfQsTATjxymxiJC8EZ6C3DFRvt4eZd4Qx4XsFrLOhms75rCD/oJ1yA45qx/GMdDB9d8wDswxhBYqFzAKMDwp1XTFEIal/fLqJaMooS0mCHxUo8hHDuZDo2mlAOGUtQqfe6CX2i1MM2ZsxeTzjazWXITCt7G8PJ7lOmlWyPgKXZ/P8taBv6eFwT0wH0fVWIHwmE0jj8UA6nP8J26OdLTw2dqtg9hsB98RbsYKlRL8ITyC6Cz3g+JtP76CVCTzuzky8sY9eA4T7aGpzvm8mfqipze4yYk8xW7/mQD8PnMc0DXmW5gR/9ZrViBg50Aaksss518T1bv5woKXN7yIZEWDDbd18k11F3lULMEqsKx0FrOuG/GYddldoZ8O7kgAtobh3hovA8G3fG3DdaPNjDpsHyrWJfLpzjjMgP39MKuM7zH4mRsREt/W/rIC202I3z4X1fpFGJVRyDjHnZxLSlr4dn2YQL+j+Im7CpOwZ78jBx75MPymzyO9pdqOAQOqoxH0Vxmicw5pt+ASyLFImTpOeXf4W8TQJ1kKkKdkLBFm0jBsIeYL0PwY5qkLCEdB9V/kuEOiKTvweV3pELf0mjIYhvAXGzFe/i9/w7jgVHMiAzSCysKeqgM0G0bY1J3ifC6LXwwo/CwBW4If/3teGFyLme0jhxFx18CAeAcyNucVF75m7012Vgh8fH9DCbyo+SKI9P7+EHdK4vKvkArZzPemQU8gzZb2xi1VgFft9ZI9IEcgyCRkmQ+Xulwu69wTACTpav2Dr25Iddqd0hCMo9aqH1fKBeIa9wTd02CYV0+KyqhOt2mhc34iWWMREYmzIAfAxrd7zlry0MGn1sfUvsBdIlIkmM6u7HVhKzICe2VckxBSQV/pvPUr0oGb5nizDqg0CUOHzHg8s7/4Iu7hbcuTnbyF6keD7g7c16XizU9fCQAEj9BxVvvkPYv1stVq9F7l3sTRHvb4RHogX4NRqpP/ZofcCngz61BCPzh7nBRGTgVPOZf3fqp4WdW4JMnQovShE5wtoHyjeUV0F3Kpno8Mc2I7f4tDo4+QkuZzzU0YU8ExaewJjZALQk7QwCnenIi7dNBotTkjqwogguEWHAS075/5WTl4n9RPbS01NuEO6Uo9Hf3sFp9ojnVY6sQ8bWWTLz27kY61jvh5mwlmtOdLd7bEDYaowhuJZUHR0E7NduYoGRLB78aP4xsluixB2mtA82qGCL43teWIZ9Yhme7Ue/KCpT0CSIeoAhiZVJ4pfQNdKsL92gz+zta77NLhN5t6kO+CMRNtBlwZiQJm8hHkusV5s3ChtHTjeVudf4kg5SF+U55L2Gd4+x575DvI50/wYFi/1lpV7qF3Ggai92Jbjwl8TwVkUQYcQ0//Hdu89afFqaQoK0rLgO3ZWggv9TTSRvmQ0u6QHulfD3HNVI08MOhGOA9KKO9CaQh9QWP4aurfmprFC5+u51vqKfg1DiOfCro/cKhFXhKawHNlXD5jSmvPQJC73wwjcSE3ZOqJ6bjDhs8LY/HnEowMl7nBPrj639/hW4MwlPkysD5QrlOt0d/dVieymYFcV7R9t0CMfUFEUrU2Rh6+UxQ4GQnFMev0Lz2jPMpw48L/91/Ly3/f97D7+UL6tgY54GoHGLOnzqj1ciKc0C1MUKz4MAj07vScBzQtkxLKKPQRt06D2HzX5y5q+MNSrx70rB0PrTJEplZ54Vq/V/OwaUIG/vWYH7oWlXMERSSYUJX5VR/rnwf9u/Fbhq2nLxrxtLS0QTkzt8z2bx1Z8I2eDXDyDl7/VvqSWSK8kNhElhB0sJ0/QL3tKsRDiQLPtVimVfkeBOjPw9fgRsD5ScIhYujRm97k+0ReLhvW9z+38aLCTyFgdiHbYnsWbjD7Op4FfmWjFQsm4V/XiTlCdT0qMVuhmX8jNfyEyyBjVfxgICAVn75IEcytiu8LGxG4WzvZUS7CGkJ/wqrWudjV7j4z3prjC/mVEdQLAP28HK8nR7BerrSgBMybM99WwFk0KhYLPcopmkyy9pxtuQFZu8CaoSwAaZX7R9FYZP9CcvVb4l8HGLJ/hRgUOY6pTIaA3llZqQM/g6MHyI66OsRVIXba4rVTmdVAeVCcUvrUVRU9YzP6TnlyL1DfwEI7Ihimmkm8vo+WYe5bMcRm1TIzanU/OmTQVL7WXcTRUWHBbKbFKRFhvyaUA9HGGgpuMpJ4iok2YoQqQEScCLM/DVJUMGkZRiSsr4i576uoS7jqnQsrnrKQ4zuIONhp/p6FKxey9Vi6kj9pvkhD/fdD3mPpdQwHErY/OSoNeGgleyWgXXSozvYxjKeUooJVfJ/ksTDeM05QtyXgGuBAs7vmmMR8Ddm6tAHU40lapLJvnS87AErMdNDsFjravbv+x220gbGlbekp5ZdQf7rsr8Zd02iCfavxadusU0VwjYDy3NOPqLTq2ko9ERA5Qn6mGIbeg9eis19T5Xigo+lsryRv2/fqIpEACtTB77kbfWvKsg78uJaRgph4emYgJfojwMVnrfk6a620g/RLSEDmOCUSfKanyHsxYe0QV/ozGDAg9Gyfw7CYFAXh+Kq6ctasRQeMh4u+ZfoIxj3UweF016TG923daZxZrLFV7lsd2jh2V+TLe36ntGc1SsTq2FjRWfh3yDIRH/hHsJvI2E0fQsn6TSwDhtyrz5whvJqK1aU3HACrD6rEfma+L0QKBp4hPNQ9D4VFPy1lSEKuXYbxzG/FLem0fF+JB4iCxNXVNDiAjbNIShJoJNqAWZJ9dVz8Qq21vJ465IfYcyRT4NBA3Q8lLUYyC582j4Q3vflA2XcfxiFWzSELxzzt1lEn9UjMkh7N3RmvTaeYwEu4EngTu78dKQHRZF3y90QGk1vxNyFxxndz99foC4DhfP72tUwyNSAHGGFzFwztYAABfHRXBi1cHBTrB5amoJWuN3x6JTw67WnVlQh383XPM63zGjpzUgYsPFCa1LuqoH+vj9x/Q2tj7CV3NfgemXZU19ehukYM32Sg4q50uom146rgNu8ovLMbemqaunhwYELdpuvKkt3TDLPQtitXdsnay7W76Osaca6vYv3TEJAb6vOVoPVVpuOE93kvSQZ8CkmRCR7fOrd2WJsbNQ3PH8f6xyZx999RRb/kys/Mb3C4s2eNSG9Ow2h3YJyUb5D12EOtLTrebQxaXTrc1V5kovaQvaGRZmKhSRSielEMv8vzFQHsLwXW1VxwOkux8bFnFcZ2VDEC3G5yWV721inQVmf/HdfXyKvpribyEni0foWKgmfCK5yLzTgx/ZseVHQEFR+zad6b3ifvs9pLJXyzgYOqze7zTAaSRCrZMFZWXUZc+cmaGz/LHkdBb3AJcBG9YSy3ITWU6TghhOxaTO/0d6FdbHPBJ694/RcjcnC1IRmQXz/l56RWqToXHZComVuL1eDgB6aWcXAGz3kmyeEhJKQyzcxC0oKaa94oRkVrJ/iPlWrtsHYu+sYxhihZl4avwTKhfwmXzcAqzRnpbbiogPtKKKTt+8t9XM/ccZsZ8cvqAlViry7gaRT5brb0D9Sl3FpvTf/zO6j3KR+hoQ5hcyRBImviuL+835uF7OWnHr3WgquA5F1TYQTpaszlpJm3rPkH2rTvSGy65l5aJcCFVzLH4Iv3JKTeyawZpQd3R2oCisVk8dDHNRscmBsq3bnStFoLTQRD9H5hfCNp25f01DssSp7s3b6U1B0Lwhibs6Fy/rKrhHMgmZFarg3NjEwsU0cfgWNT3qpF+xbOFbLxNa0ukPnx9hAVatkTpU0sTV0/y2iVdQpE45R0ZZMtj3FMtjYvh2jcSdTPnlJBg8WyDSddnBdCHci2aQwndcKatM8IB5xWvapn6IauW6RL+7PeJImo/IDlzSUs3861Q5AEqJm9OmqS6ODET3mssaLTa5Q4/eiNONoru0O0Zglr7gCsqXGuEd0bO1Ph/0UNCTIJTgakONvBRt9UhJ83d6hhLbhjPOpnU5EaZf+sEAR1nwPIBS6bqHJm7Jw1ZoWDwO4bueiMjfb12wbiTkupOUY/I8N28o2n3ZSXzYQGpxib08HEZRw6hOJceLWkV2eYJPHfMoZW/3q/iYb/4eSQzJQtT3PFKX/TDO+TI/15lhQtmXZ+ZEDccEn52/X71qPC3rGutTY38r9NjVJt/dSIkR90axD1r5eCN9fN5LDDlRgBIdkzDszyz0sxrpMzzJ+6OLZwthha/6XBzZ530rvEM3/HG+W5xSuO+4VZwmHjIyXmWOK5d+w5UeJIu7+RVFX+RiHFbhX8fzUbY+9ENieC6E0gb7eQNFF0IpzDgmrQyforLhJ406SFGLYpn4D+WEznaglHEnuj5qvKTBoV7cZGnoxF8WsKpUQb/b1WsJTqSn1mSuxOEPVfXVDYpRbsw3TJyYaRmKIYgEha1Yz9ZfPdGY0yb7enBL7d4rfjSOl4Y87HE5p6uhjU/lYxPm8QliO1EsY7+Rk9h+tsY/hkZKE+l65oX6tPITNeoQ9oNzpUl35fAZq4O+uaiwEhyfPAco98TfH1Y3jCO+ajP6UqZ8NtEyt2QQkMtjaiRT1LKa+I8viPWGxlDMOKwxiSU7C1Z1Va6WZqR8kbQijqpODf1p7zWeuzgTAlvS4q1+ingP5NR62+CyIRxzBpRQAhQM4WYpXQ4Su5cXPgqHwOne+vDw7pXqksNr13HVdVujgGDKNYbfnzRAa43Ow3Xgc3HW0YP1BW6qf3ATcY4c2Z0b6W3UgwYqLCu1YBQpTbOjm04KMJ56AY12ZRkMUzih2iU2nyBzhBm9Aj46CrnSKG6hwCgk9LL/MOyinBhLM0HSx88gmtn/30mXjzcCFEKI2H49Bh7HbHHkdkU47JN7G4dBhYKGjyrypT0k1adiw+JmLXaiLMEYPgZolHSE2bwgUCg5RrrjMFh1LU/YuNszifb90FgagZe92baktukabdbfbEGTgwlV9r8Q+XU/5Pzqxklkym/87C8KP27OgIc6RWBtxxVP81X+FXHLGuFwesKFXR/BFOwOAIeNk1lQUjslceCvglsAxQlKlSaI7N2ulMy+mtZ+uJPfDfTqOt7DcbtuG02jqd0Pa7T8/XAJZkWIcmo+MIZUHijHxyQk7sUhyiYKtO+JwiNWUOK4sDNG1ZSchy2SX/nmYfI6RT+tKb41QItQoEf9i18MBmKjchBdKE7sqQ0PtwZ2rEajcV/mbgQ75nHMjw6H/fdw/KB+secYZT+5Zse2bkPTOKQj91L04x588xyeI/ePmBs1tP713skD9uhTbmci1EUlUZbHZOEnGWzC2hm7xj7Rhe4kgz5Atga9mz7fgz6EhfYScoFRejZXY9KvnXmNmhUKuDW8xrmzt1vrTi0nP1B65Pacb6yaPboE/wKLq2GIgqfJ/JWSunPrgrMf38e83gK4OJrM0xcE5QZSE1tOXHOw3aYbfa270CdqvIZxyuLF/gkLr5Lq9SbL4096LB265TqJl/NtONqWsjnIK6f1R0rZvIXDWXXQzSah3i3NgmyNfCW4EWv+lS7j3kpWy3DofWpWeBaq5Med/aW7IV9rhIY2za2VdZ7aetG9q03u87VEs2g5Wsyb6Izj/KLM33DxV8a0c0UBf2ZP9ZanJEBfAtRFvMfOysXCc+OotIMD4JWuLJ1SRlTElnroO7fpLZYXNxl5yog7oFowwmp9wa/+5aWjjiTXTzdOFtxGKdihOHPeqpVuS0eBRFXd+sFAfgSs8plsol6PhhZpfuiEECGU+VeLdX9+ZY63kcGTEX7cUYFOyBGkvxJTZG4YgCRuObsiG0vJJtC4r+JZRDKTWUR78xE5mb20TSAs8D0TOAIAVYvnQywe/heWp0Dr9aaG/ngNRq6ZNoRV4s07QarSTbcvvMvq72+7f5kPo3ftm/sqUW6CIU+3IzY9KjVK2RG6d6nmnWFI8LoAT9bIeUA/GcoeHl997hZm0Rb7r+gXAXv0VDu5emspmbaBc57zbA3lxmEevqIsuTzTxiWdWnEJ6bCkbt7vtU4p+d1cDpxzXTK1+TQyKiyRTA6GbWFmIsC7/A7pgq8eBNtwkar0SCAtqRnNJbK9vzCQ4UNPWyKJNUaFz0uj4tWQX2KK8oswY4/ePJn9D+Ty9C8xAPWADy3umWiePVr0CKcfv6K/Td+1QBdQx3IIv8M6PCkMCp1o17hWfg8Hql6jbkM2lpOsrkPKCXfXoMPKe9YCfalUt+HJyjORJUvInJxQtCbee+6no2aSt+CzqHr5kiYaXLg9yawn2v4Hmivxv+jX3NgpUdsxnk+iZLa3JQgVteIw86hxER0S/tgJYHrynlHQaOwy4ak5XWUnBd4+JlBG6UimtmGBu2uc5wC1xRT7DI0xv7CxJTJw3Ve7LblMnECle3+AIOA0AQZYdxv0wTXrXdobMyqzHQARECrXMCSdnZ+Qlve7P1d0a+veH505NMTrLkIQZUJZGXM7o/CcZZ6mZV8ei16yy4xIyUlTeAXO/gBxVUVWjLPFAmFB6r4rrXzeB3WR8U6F/cG1Bx7pB9cy1OoHhMiZg5BzOIY4/GUV2xgg+jsauPYBnul/vtfGJ+t6oFDXPuJhtRFe5e/w/YmFxTFhm5dYJUt1ZE5g+FUcqE5NS93ANRP25gkV+p2Ij7IrSMb98nLvnte3yBLfR3+sQ4YIwSRDswhG+kMkKkSQ663x6U3lfOtaYY4Oxt/P7daShapCWxuUHLLVR92B6B+DBxy/U0LGa/MXmPqIJXgCnmqL7CGeftp4G1b9PO8ii8iKA7qbSD8eICpTsIT4lfRBo3p5H41mRUWHlsn3MuDv9HbJKuLTsc2vxVSr/m41EJf48AvRSnA949Nm0QD7dPI5oJtnyYkvlWr9bBi+44wF5175xj8fYiP1Dbn520qo/suq4dr8vm48tDyrBUaLlQr/rNbCSV7V6n8zFRISaenJD7e+vlpL0xaLq2bh7FL68Gc12r7Xe0UO4OmvSw19scgG05/ws/DUiBBOws3JF1odtHZalW+QxJgjREanBQ9WyWtxzMxEVUB/3fkZfVY41wX0dTnMuZ+DuOJugMxcdHXON+ASPnCe4luu35OImuFd2HIOlobxi/lVS19YOGgBeukNGxvcelheorRmpEUbzBylu59T2kGtwcsLmD/9x6JJg1b0sEdIGS9UJMtxCPRVFXmCxKK2wtypwEUnXDlcatTnGeI+KdAjogHK2zY2DlvAmQQwcqDKrvBL4XqGWhMuESvSEdsu+eQC1krz71w+rVNxgW9FDsQpdksp+hve7JD2jKwcxShHVrDAJ1lmgxAiSzyoV6NGRE5b9NLQT1GyjvTlYz6ZamBMZvXHv6UvM7MtiuWQE5kJDnRlpD0/F47QvvZ0KkJi9RXjVe6ZglwvScnTXDaRxanFXoDEqbwaipmeuqsWx9KbmPDj+/jdrz1u6N0yDWR8slUns92Sr8u6TLZcErTnJ75fn4RpkenwXdctf6O1lPv5JooZaBPKvkte+eZILnzuzr2V+6r/mzIWvQ5IaC01QPsMQg+Ociz8fpx2SoFrPdFAiwaTblob+HpnJ6qWuALhtVPgq9JByIF8tGBADJ0wPhkGjbFkh8gVUSMoLOrw7NzS0eoT5949tHsovB1U75NCQ7WO3zwkSr55+4GStuWot097ydmfaB2+dBXqDW7j+0M6c4fWt2LP9ke3rdZPv4s5hvnkEUiGs+xW7winQN0zaMhvmqmBAhF06os0ghHZmkedS9w2NDBAHWkY5c0hcr+lKjZsGwa78Tj7BUEXXxWZEVWPlKZtQoNouINQ7K+wJRr9shz/QkukGE5CEg/QJ78g3rE+7/78o4iFp//QqHGDn/qvWxOf2QPNmaEyyesh/i9XCCoSwzCtsv54dUp8Dr6c7KI25BXgGd3LTMXzfliDO4UgEcH6POracxHJcLdQhYv44aRjzg3zX2r6LXIlhGD61TvOqZOYkTcAOUivJL1UM01PMqf+NfTR660rKvApmWOiyDne4lXJORnnBp7wRMD5MZBCqTD3eR56+v/ZxFhR17MV5LlqzBs98CxUydN8WpIduEj/qvt0wrklvGt4BYYnf038vr71kLTUs6bzr4WQlMmRqu2s/yCUvTQZfnZMn/T6kVPD80Fdbw0KplktYvlufugBQLYS5zWgkOpRMc0/MunZnw953wLfNO1pDmEWfXP+f6U7MORzJeXeYqCmRIHAuwggu4V82sOFWsWJ2EG2dbVddbteVmE9QcwLDOIAfHTIbmYtKfOSBK1H4s6NDMAV0kKVWlAsSekqgXbZo1JP1PQUivDPDGeynfe7+384EhqfAtWhCGuOZbrnDeHmwAEnzKgRD99f97bnjkSKo3eDg2dHTftvzQy5Qt1v/jt5TsPEzkyFFvAK2deA94cwuuwjnsRzBGfbcKLyiF6G2ZaDad15rfQ0P+iakGD8x8vTg81INoSdxKd+vb/ZH+1u/NNio+umV/kLqKgBD0ZFthsVLoRDhFbBJ6/+3psaIlhTQ4aHAVElrsMJMo1HGfmzvqczzs2raxNxjb0u4MAEPP6pjW08VODAh+QsoraHWGwppjkUbz7C0pBQDfSTaXITdIXzMFsUicrxYApJGxaKz2Um/eE4JrgatICwyXdu+Z4WxaiQb+LiaKnw/qg3NE6tun+cPYvslFEcYQ41bnVRDK3gSGrGuWrOldN1v1pkBRzOJ47NF9FdAe2v3hBv0q3Wm11qGJ9NnjXRAS9fJILKnKQ0DCdc+gWkqaRrw4od0cThdUlG0EpaWLy9INijq/rCKySwr6sjv0kMvsQhLtcK6vIUO0FGUR9aypIlzOBmRNcubkJ12YzSK3pTRYfxC/6z+3mNafxAVNQ3Q6GiZPPNjr8KSEJlQfPV/7sLS7J44PRlZdWTxmjx0D2mpY9zNfd1HZG5J8RyzCXuyuyp3euBBDzPt0nLkNXvKDOMjMjWUP42PpBWZXGLJpMtpwhaW48s4c2pAB989yQHvbip39csnTwC/IYXMbrBnRb2Tjd3aVJBPs5IK+thdpLG2HbxJ2lWavIWat6jDagCM/LEecDEbKVxxh41w6Iam8yNZEBBI+HC0rztAxN2FjrIy9Rv/YEQ7ULI+PiaKQ/X5wvngRfiV11wex65E0xYeicfyzgrDZvVCaT8RP1ABcqZ/ycBn1Jyf9ZwKYBFu1biOmU80IjMsxfuFwQ/Gp/+iPJC/DvQlHuzskJzKfB39CMYKM58zZekx1QUsstG1erNi6or1bOmn2oLAzYbRq+UFDJPXcdjsOHgGgsFWGgkooPbwmN1RijCV3x/go2+C83A9oT9Cc2N9luqARtmJNkV3LjSqzJzpoo8lYz+IEekuzesOzEHK5oNJvuqxCduXRweJGf0z4sNwEwbI33L6k0Tu+V5GIYa7RI4i6bq+k4goVCbGDtrqGDD+6XRKx24DiHPJfM26jM8vZNP7mKHwB946eWUye4QI1iiyEI+hTUmVS4MhV5aZiMcvY2VAg5eFC1oR/dMJRNfmt7NbcKpzoxSs4eTRVRrCFxJHMr6Q8LqS5INHZjp4enKGT6VCZbCuAYGe/s1mGh9whKcp4+1cZt8EVJDF9hrH5hBr8g7yBsDMvkwR1h5zhQKDHg5T7XVSn4Zc7Nci+gFk/mcSBUx6F1Qj9WwnKnig3YxOcH+m2xeXSPEET0IPVU/jxepatorwXHrDJP3DeueojCKHLy4oxBwayRi6UuN05rq8XUtgKkjc2GsZEtRUuNjblD0bfvgq57HOUXzsF9GkLUtFAD53E9lrwoub56NuKy592uiExc06pZg7KB6PjBbNFQ/Pxr/1lWUH4tjnRL3nXsXxNDV9BqQJh5k9OxCLGCTTuYYVFOXcYSlilOJ5YGWNcv+dT/DLsLXUlKcL2CWZchlz77AnuocwFzjHFgGvr2dAJtUDUOeAvqvBEaoIh41mWHvK5exzAbS6a2iK77Qv2d5MwuAySyWnjr1qfN9zbDUtufo8YinTvtlMPb9VxwZsozueDuz02mLtZPO5Cq94W5OLKbrjzZvnDG8UzT66rPOzBEtnB60N82/HiFRkCuCfCQP9tvdGjzE1ecHCkvX4OT+1e4nrMNIulGPpnjNn88E7CAOllK9ynVx39u7R/fiv/iRvGH8iCF8Fg4hzR2SR8lxrawtYB1sG39KMVaIEgkQUmKDg2tklY2soOOViJ6YMg+EbVqYoDWrWR0Y5tqXUA5Sip/F8WxoOrAUSXrsCNQ5k3mNZUzUgLdkKYB4elnuS/2fkbTVQ8IBppGSRkh4C5CNSYvgNX0X0n8iyoXenqzB1S2bLxhuhmV8fsWxYK/WkuW/8GJ6x5ElftUH9uaLVO4k7cWDYleBCijeftzJZTJFd9Y3f2Zj972F6rVglssWfYbwGJE7NmvKIRDLqsqGwPItrXdRXlDxedVe0qkywupZlKFVYLTCpfIwknboo9Ux9G+ZFLoyXWDdKknjL8Je/sx2rD4j5WjrrTw3HspoUpzhLC2dHSVPDpLCUaDJDufQS5MU9cTh9KZ6YHk2qlc2027GndSp8s3SrJUK/ymb4SyICWnvnqOAOZmlhecLWx13xjObZty/MAtpqeNzdj08KfZiiPef/rzM0SnTEfdBpJF8B3FmQmV6B9CyI10NlWjTlnS5f1ONHMtH5aBHRhhL0VvQ8cugvQqSOPkJwFrd8ePvF7dDfOWr9D1//dv+G7h/8hYrB1BszRCeF0Cp+3L3R9VrdhIyPgGcMyrj7UrngkxbW9XS2jETzd2hBkf4QnaQDaBpi6rcMm3CYF3P84DjVA5pyqb8m3o7VMRhSpEPSkEoOjhti4FwcFWRs/llWzuBtc5ZHUS00PKnVadks8eaLDF/F6fRwel1S1zKP4vBU8FEA7mZThBzLj56m5H4WPhscsEG14W80C/0GDg+Hk98Ce1nP6YtiBywk8y6PnOvTprvsoOVsNDT14b6itMqyuYLoxWDfX4MAziBQBU+162RDr1SCqvbcuKpmZHxIQ3EpTcs865LljLa7hXLvkwPHEGst0RdwnrdmpRzV4iiv7O8531C9K7fZNqhtM6qcgwaFjfJKTHhIwphMt8CoAzC0AtQwgrCnfu0IPoCpK4eW/accIf472/8M+hnXcrQ4jXBOf/082lJZIk0w3pDySkwoGshReOtVlHxt7jt4e/h/0q1My37AZGtR9jDodwP9vJfpSOyPBuOagtI0GacESg7kx77R+nWlN5yluL66qkfcZ259/OTB2WjYwS06v/sroWB/xYGBM3RMpkdckgb5yuid7GEbQuAsjM3ngATZFdticDS+zPpb8FvCqBz7PJzXNFlM7HaxUGpNqLjzn9TB79GYBKINlxcsI8qrIiT0P94DP6F1eLNBHvdke6ozBOIG68vASPzxx+YcsCUXZTr6+Z3cKp+KLW3LM4nwzK2Y5o+dmxfnWWfc7VQR+awY6hmgHvIrNflfdPh9QjWW9z9bKtmgv29x91POO8T6lkJM4j02daXuPA7N705Csm+di8KbNW9olHR8MIUX8xX2txZoREFKfu544qgCwBTdKs37nALv5iQWaKELHfs9QZUOhYVQlGf+BbhmhOm5usGZxRGdoqMtndy+g8/d10mpuyrBIF7XpdtoU9vRLQYt+F54Ve5bfcQoL1prUockKnicNMeQEsIPSupv6hMFMyS78zlpv70SphJT/F2uj4ed3mmYrZIBwPY/1FA86ys+0dqMuxszyjmuBye3Odm7v1qNo/83MkOlWU/d2B5NDi9scvIsUUQTTFYkUH/f4saYqqKY7dHkXOQcUstPIdQUbDXkLozhJxlCopElTUmXjgCKADKMzfsi08A48Z8E+hTvZy1KmpEJ3VcFOl+Ige2RJkPvtnfOI9zx8TcQfVis14yAJcW1Dr9Nf4w+8NYGf1CQcqLyx+uyhptEkCHmXE0RLM6MBXxh9kNyJJxwL22EkxV9I4zrTsR61EPEoTlCsjkEpCP55hECWFrbUgBDrhNF68xi+t6xLup1eygjxhwcKCjVB84iPeB6i5ovPECkwRZ5TAsRdPvp+H3JdLZirdn4PBy2mx8F1C/y/VKjCCYZWNVVgRKBHQirZ43j1/Mb7xZGTEe9hs8NuZeJ3xd1uDYTk2gtiqP03MEKl47QHaJP9CkGxpWVerbB0XK+TjzhhQxCEUQ2YX+SDjYdJGohVbc48X0nRrfT4/dTxay3AhANppSDTr8yU5iYy9+Pj9UDi/H1R5x1ZMmPtYBKBbqNJUtWrVzzW0AHHB8rgnrSYs4QR0u/kgmYs9u1yfevsUdo+UTxiZnlbfF6Qo/62wdJSYsNxCwTcrzRvjQWW1xTicJ6H50QoMMrOEOA3e31UTHAH9yvLo98aw45QU1hj1ar6J88JYKhC66dKs5/RO0SvyvwtWaRTbi6pTbmW7RlidwJ+XMBxRJRmXbcyxHmuvkrBW1Hsq67PF/G0KuqTCrez6I9AqiyL8/1FBzuzPle23NnpqzebybvrnmI07lJzPGMV1mOHb96tRp7timneX/b0YYQHfAP/L753gL2DvjpFmaatSURBkTlzFjUqtm2r+hLyo+1IOi4YUx/5LREfpREpMAS+tuMfeaU9qWL5FPIRE6QxHXEoEmcb0gSrKFZwWXAPrlu1UTcJwtoo62bxPlQ8kdAC/XhTKTAEKw9NuK/9PpUFvQcbL+yv4PDYcFWgEKwGO9Qbfkw3EPevm8nxoVvc3wzT4caeYYTCZ/tIscTslFD9rr4rx7Ft7WzBQv8RWI92qLj4THIrWW/ikv+GZA59+ey4HUNnitNbcnfqN9NXQupgxqRTQ0yrYDNn+afLhYvDJ8Vw0dx0uj5eBzwjRyQxAKbeOuwaWW34h2dMmeadkfp1HBP6Li8tfPJ6LtX4EqxWcwBkxjYSkqG2L05jlvgs/zVSxv2BXROwebawRJsgc79YbTzC8YoV92eSnACwPuGwCzvnCau48C52JKnoqM3JvKe+B2+yENDANBoBg+dh8f484Lm7SbxGeKqLNMLpy4uHjwbftZSsDtaFiCntWW4n75StfTuhBFtx+LeAaZfNG/H1GPbNo8u91YGDwv+JlCCi5YYPE6E6ZcNts+JfLvMC6gAek1kyQpTplwYUkEp8l/+lFfs9gUmZxeEvW1xndw2IH4h4GS8aMa2EUCWV/Sc7YFeqFXE9UHkATVfI6fHInBTKUwlt1jMKZ2T2K2ZNXLCGhCHhyf1Zicr154bkSnN4pRYIK+w6SYLiPhDaKZTGcPkAyMxw8mWdKwn9U+0ZwshMJlDEmc8nS4BeQC95H+grcovWOCXk2A0qrDqwXj11o/BuD1aiHttDPHzcAhMvGMY9HyJcPX8/p5/61TMT0oWm7WgsDWM9ORmPC2lgxnFVVvDM0C3Q+h1pYLI8TLBPDlCuZeuowuTOKOzrRf1gga+a0c7AlBK4AFX/5HS9gnF8P4NsK1qXe4a8SV6ioPkv2p/S2X0gziBlB//aJnfuUT3MA4xX7hjL4YcqSDflvGie7YhqMgTrHFmyMtApdBrnHyHJC0IoZILrxKwL3fWXXeyaakzDsqqQNeXrsRnhqkoSFGkyCLVglsjflRNYTjStVzvmpfA14l3em1aWhYLSUI23H6CB+zwnjbjq9UczzBmypwxTTFoIMggM7xEcufErxDX39uJWGIx426AFzAW/Dnrc+ziZjrZVIpNIsUUMGxZ/C0Jv3SZqzZ6DauV0CTOOYrnA4qvIdnaDV+sdk4pW3+P/LmwpRMrVqKu1+sKPsj0ApZPc2lUINMW5e5KnDPlLKygvOtL2xEW98TylfcD0gNS1ly7CYMRkw55HoCSpLRSiOU2CJYy4QfItVJDSINmAE5n9qpZaKkiMvtIfL+5jihx+Mdv2XbplqlMA+xM6xzH5csFT0XJv/D+Wkb66QqPTEsTebAIi+WFNKG7vq/2Fn1mQjbeX3ZuhraIndt2dbeyuZnFVYQ/v7nsid1vEQgDA/ZzeDngKL8n0pIqRYq+KD+Pt/qC9xLx/4nLhn1yD3NU/JiXGvkrDVU3oYnjGrRdl2O4m5tfjVTmIBVNjzEflLnr46ou+z7sSFM1LVjcZSMC5PEDYNVsAwQJLh0XrmfceqS6jjmWI5ziAAxoslHnd7bW/JU73ZjOU+f7wc8rgk44AaA5YhkZXiVo5DwMDyY5oVJ3t125RgSBOnTHeqk8iyO1AHyPrqxJJoMOklQIhf1DNoR5f9J4kDmVObu93HIykcnrkkgI0hfl2Yzo+t7Qn2sVJV87LC1Fam9T80ZIvBtc7Yln5pGMBnliyGJK6ldyHprjtqsYynk4SIFPpEaLsjj1Ktkeo9hi9flnqzsCtrRpQNRTOrrlb9SxBvxs2+BYvZFU7Pot56Tm0l0qXYCh26lBjtSK5h1CWnBASag3sVJjPOnzG0yzetJbq7ig+BtZ75PqBan8/8eWipfaZtJLgg7/WU+Y4PoZaUhRvDhsnYc9NlBc7PX5FtLSorHr6Vpl6a8G2xa5KiNhvIH4vacPPwKWsBCZheiQDhKvgSR/ru1JE0eHavbEEvY1RxnjA696UKk5kGRi3eriKyF3v9JfSxat9Clgza70UIlKZccG9+p1VCM4uayIv0VkBxPnl3YmkRy+IFbc6bFMbBoMNL/HxWA1kUW8+ftd6LDDsVOQMeMXHxxdDIUKqUnlo/Yv3BYcUbdqBrYrFpDEWSoRho2SwQnU7Vc3Sd4SrWKzG1VbBivlTg8NEAdKToLOaEgV6qik54nGr/iYrTrYJrXzhxNbsCRvBty87APcSI/w4zX3WvW1wAfm2DzrVv6PBhOsqVGixAqXDuN+yl2sOsTZ1CVOCI/Eac254ymLPLWSrircbs+Fupy4O+SA8qPncmp+KnMq/EJ8Zdwma9TsZLWI4j70foG6YFpxn7+wk1tufhXhoHzVMpP0Mc/2EnnrfyZSbYig7kln6ZKb3MNzvT1xFD0pgsCgxTrAqjBsTZGh0DgxjBQbvp2akzVG0/ForEIqOmIHUY6uF8nUYFXKQnE4ZEa7p8QKw/n5C9ostOIC1CbRxOV4MLkxiWq2Zd7Qtaaemz/rMQIJn95k6BBiXZOqvuITZHSIuyfrlOpW+3icuCnpXLablOmGVJaS+mJlWJxIbieFRrBilI1MAC+JdGxlCQfJqgRsephI8fBedUe+Y/xBt2B1ZcHbosIWFsasbqTWXDd4LfU3ZOEj6gy17hcm7roYzebVZaoojiEar8vMnTDpZlsNLvQD3fA6LTTiO6P8pZH2crdCMHwiuufqjN/KyhxcaUCN7mkqWxdO5VA5MucKJNQzIDOQ9aPNkJpawzi1qEDCiaxKNzzrYDTbpo8uV78jT1Gu4F7pgxfXqtQPq3IJy+SNrS0ljFR19/SLBc4+qM+Jp2PPNfWy9jHAoB5lqDCkYl0Odk2MUgHmZAp8klRXW84k+miTPLaWq7JXuk78ZLoxwdlwIEh8nr3ShL5AAaq6XzI4IqVaUQBku6CYHvDHNlTt5Oeb/rNvPeZ2ezVY7jTEeskoYUwedxg9k9OsWwf6JyPhT8rOMeI3jvRVXtMOpkJtX5CaMrgv+05d3vgnKyLbtd1M4Q8XYTgLn6eCxN9tjB8fUuuQ8wiR4wheLIUx5a5BefRl2L+DfeISpTHWhIUUmh7+1JIr6yCuS4t/UmntdmVLztA8W2Rz7tbDasQwqTvzlxGlLuAcMRYk6ZHdkN0JRp0WWW0Xt+0mdP6Ygh044fOrexUXmsen2icOzOe3R5yTYQB9VFrqDTlmCV2Akwe7epps+iLDkyTDZUpJEvRMM0CVSGpNzt8K1HCls91EAhKiBor0PtRyhGh6f0hwCK3indoxD99wfzi5cMrQT5+g+Wts0OeRbTJ27QAnxg6EvTeKgKpo3dU4TQgUmwsoKN55AsQ8dzbXDckoBExPtTNdooM9uobJ9jEHe4aO3hg5dhaF+/+S3xgEOUD0xvy2dJt4U+nRi06btCq61BooCR2q33lhDtkck4q6izLQvM7cEisO34quW7zutAN6BUKCj/Op7fVUg8VcAtobhbSRNObFDatVEYb5+j8Ha3UW4dP4uoLSAp5rmXZOMHEsVBjUsvB5+jKSlHusWRgqPgn9KBgT+Cmn1uH2OoOq3eRTCFCAr6wO3AqRXEkzkBY94z2UuL+Tudpku1/GKa+7HhOTArQM87qsP3fBnK5hZAfSlmfNorqc+T0HM41TwZgLhrNtbf9nmtr7FYtokb+2+++c/lVGRS4UnchXbEEOsy1E0Cs9YKE2r0a5HVtEfM5H/cOmbgObT7aqWaacL80IULZ0Uj1KXmkvYXuzHZIa7WBW/k0OyUL2wY1lHoSP32Xen5lOyIHL0S0rVSTTdktJbL5Gxk9YlFec1QK1n0ZBi+Xu5sVL5+uaTsooXtlz3EJyNZ3n5IJ+pqCgH6UJq0khwfPwkcyUQTEJOgBCwf1m4u2abyWf/vGeuDzAWI8wfkDWDtCLjdSDwx5+VsV1prq4zS0DGFKe2JZnAdST2Q2qimbF1RjmMPk5V2eK67Y+6tsY9kTbw1+BQMcbvIW7TthFjQnEPjwpuGzRvwv80OopH4CFoC0GlMIXE8D6hw8gO6xuv6MOp2Omw8gpafDxoXwa9yFAp/gdGik4AwTc4s97OxN+crdIHlVLIJqrmqmNOdO0XF5pYIVdXvy1VYyN7wcrr/mLFkAlsQrw+yF3Ro+KqbLaY0MfrsotU+isJPFLpiVgFx5BxA5KGooLwKXjapEiRwZ/2hOaHB4hlFoU/FLkyCNEg9XFN/3R+lknoLAVQy2Tbjb7an+R8kVPBryAow9lbDd911Q18yHp+dPBtXJs87EEwSMXHhi1qGX7njHeKbEYOlDR+VtxKsiwBKempMNp6Qh5tItqeuVqjY8SfBBd2DhG43lt5UYQCg1S6uFHlu/mM/HmgajUOttIUF3P8c7G4T0quuLwOVfOf5RbzXDdmriGNX/MRXEgcgX2pMrJ/PAT/6O01Q05zQbxsPt2BJbatiVgoM6GD5BdhgYz0tyRpdIbGsnlwShwxDkD3f0iASFsb+bofiFNxnPH91n5oip4taf+hKbyJleNg28bfC310v2aK4nfdbd09nEQMmFZaEQEBeEFHfPiJSMDV/VvsRHlSaIMe1kfMh6rRdNqP7iHnHYMWLHqaD4vwptfG9ukBByqqoSdPVh1VGkU0IPS2o0ARS1qj0J+y9FeiR6CzqfjWOW50KDmHHb3VyM3b3cLHWq1DER6axgI9gi1lT2n4nWteCTU9XjgORSDB8LoKj/p+FrN/lVEyyWPZTZFC3r6KublcSQ90knxtI/qkvyRoa1657bT9B4twu0K7OlbizZc7/OOacw+gQCqBYHC98ao9E86hMDRTAT4h2a4ttxYcgNkN4Zk449py5+tgHqCAAa4NTOYC0ce8xQ5GbIxzGOgeHWLb9f3bTa8wZg2VhV4ckbQTzYykJwZOTOPIK/LqLiCPn26VgTu3UBzGqpgMWC/Upmj3zI9xi6MtM1t2XTHG2teX9nba7egNPoas6yMU8iP/fTksiVARVITIQQkvQRs0tcB1k4Re6oyUiPoRmxX6IbTPHR/BvkaEfBX2FwpgcvRJZ60lcZREw3BDAcerG9y/AmJuLI5RFMnW96fMkqkBqkCf1A8OzghiRTgj2CjIxAbmfKdkG28U9ff6pNcS74OFla96WlqN2g2eqWTbpC6VvRj41GC83ojaQdIl5UnzfRKZj2nKkPfROb5UzcixAdzoPCg2iMFKR9GrFp+R8N11Ly2UnM9bDz5J3YGbYfMI48wcXQx1g1v7PflS3qmElNLijSt7UxyiZCaNRpzWmxDmnz5SQhTHMtfztEt2SPMIMHeGnJ29Ud9lEyXl+vovIOLm6HldJWm3wiYOvtVtnmTXT4XtGbdN30MeIw60qpTUXiNuMjD4/AUKdGe98+gOuq6xAYi5KZLXkP0pscOk2hdxUJzAhAdb6FnZkNJU9ey/1KKc/fcNI8FednU/4VpvAn3eAqJ45DY76SXBOm0MTWC2blyUDISfBakp3rjvGkGFnf6w9vCKd4P/6mGmszL3P66AjLxGKNI0VNHiVNWErLck+4rb9cr7hVQEDN0CRm0dCT88zwO9+8Rzy9Act9WftavoGInGys7W8No/0ZApPTGha0xWtRsoo8mtbBgekBk8tu2kvzxP50/nSAeLwZGoiqKv7NHnE7Q21m/rU4AuILXC+VoXstT2clLnaBEjJWKU5lnaH2jWpYOOw/Mlk6VodERFvi1evlyo0cguqoa4l1I7tSQz19S3y08Tp0rx/xbDO3qqPP3bwaRjycrQblrBOMfNMlx0+k4Yau+g/MolVijVOj06vWJ7Wdq64jjsgutixssj4UL2AW3AnMNjNBIw9jbbki24pCV8SmU4tdfTPxBK812nz91U54yopdI0yAbJNrRNv3frjip78bIK9f0eaS491DZJ5hXbEBc1ERl7sEg2WOMIFda0lhKGyglPvPbYPwXFYi3ILH8pIg61eIkD8mViR3u9WbG84qozergFczli6PVOSaX+KEeikBN/yAn4uU8By76sI91huXIfPmZr5VhULrlspBbwfwodZa65sdaEiYriVfufZES/ddlR43qmsg1qqvwnoa7/3KmtrTF+o2Pmrr7VZRw34C9f8Fcalu08kq1K3YtYesiqALHKOTS1Wd3jNG/lKl4kHIRIkhThy+77pEl5ZsjrN92z2LRNstDvAmdH94oPga8khROOXoNqK8FR4meMJpsTuK/41SFMjIA0S+GKhcXqLVrZZITsqagoB83TWzwNJeZwC4CBRN168pkIaufrsAwGQgP8a2Td69Hg3m4+Ic6iA/WnGOh5fGWboyqGviSrH8kpAbNFefgQivazwelumt0TyNl8Fpq8ceHPnDvFekVcip7C/jW0eAD7rKx8pj4I9aV9QpNuTzIOQ/cZf0Y6WXkMYQm9jMK2Qh6r13HhXZfl4qiYouWRXnmfmjVtsSzgcIFTEKHZn5o5U4PiWUn0NWwE6RY+NAYVMCyAOTIAu/LndzB6Y2EaHNeHAt3qSRElo71v/Z+VjGzCe7yahGo5VQbEjH88nIUNOSd5j5xquVHV6aFf1Dg6PG8+6HSu7Mw/7k6VVL9wAix9POcgT4iNbW1lqD9IhOc6+Os6BCDjkbFe4zbm1JXCFa0x85q7kFgVpb155XQhs5Sjuy/hvyT2XDxyZvD95UFQx/Ng2kL0rNGxk9NGTCFPeTbZYRCQOj0AQ+n31uOlF9jT9EdwtzYsuPYLw/KNe2hqsxS+CBA8gWsryzF+9OGumWoHfxccR52DcupZUeZhaylYY305dFXC56RCzpmB3cbRZxOtnS/rbSxGCM1KubafiUCJzeyAHwMHoiilVTCE/ubyHq4Qb+EkvOkoDbQ6OdHbtrIMO6EiSFn+r7OU9DOJ5inslqbR39U3t90nBGMAKqsp0oWMyGxj0ISFWbe0Ug73ENxMb3EvM6YDRFyN91rMXLNz0uNPbyf1r3h7Oz7kNdDuHgwegAgLPxY1GfROAbfqvQkb8YNTUAdjm20UCj6AsgBhDA7zdxZjyWGkTUwZ8yEWZi/zS+j7Lv3sxnvF/vhbuK5hWSEsliHI5QaGp2F6vZ4AoOg6EYF+EjMeKEPZxcX8qVxHtGYVfKQTkjEOrLATDRgr/Mt44Eqt6y3VY4aTHUPUKpQ2uhflSwbaD88nX/l93zsC2mxWxEG8pTxKu/fSZyXMohNcZvGkaKSgycNq/4SpHiND1Ypyogvjc6f3Grj6CIKnYIAEObFstu5105+wuWCBsaEK63Md+LmZjKIo98gLm0qVYO8zlu15jAp4NgFAan26QovdsxFzOKNRuYXJVR3ASz0bRrMByQNHPza7hXuq2U0alPjXbR3h+gdC6Vqrk8+h7Dwqa43PiisVGwEuSFHMUURrzNzJJMo6LuaiH5ZQXTGIW1qGJ+ncmYGmJQN7eHw1SMBRdOm/S9K//VO13gN+kPkNqrZwnR1tq8EvcdlUxkulS2xpInu4yCEwaW0okB9lCMr/qSZjLZJ04zuaVvmOiSoCnIp7dIWP2EfMbFIuIQ130vX16dZxC+GU674pDv96KPbrk5FL5kfTN6rWR3Zc3ok4JZxVlCvJdxEOc8zUz7Hp5avca/68l8WTL2tikq0ZoqT1NCG3f+RN6mTqriyrTqA8PZOTwAeyh19rBtaB+N5PHB/63kYeAO9Saq2cJJKEIVkpmU2XswjpyBYpWuHDQaE/ebAeqWEZDZ9PoqNPAKvXDw4u+qfH6Wkr5Ud/V3aI/hnaaWZTqdTijleuUOPPUspyi4elFL8rtClr6UKA7J2g0xo8zb+paus4gvxifBRsxio40HEfX3vWqLx20W5rH3gaBXIaniNV0KPjX1prj1X1NBNR5cT0HcXkPXUACRC+5fTRjKw5LAWYJzQwSRkHU9MoNX/fAO0qkRBIcdBAQVW/NEGUzdHrLnoaALm5o7DGhtxupQSbSwgAPmSRJH7ofVWsRdfAeKTNUmIkYYjn06B4TYhgLLwxv8BAFK5W6AGAakZDir9E8FQXi129a96RFkh0tVYGfozFJfvVX/n294oHQJ8I39r8t5v6kQAy+uLysIJMUY/VPuJbkYxVHZmdVZHcKaNfA6s7TbWe8eGxuPrW16Cw6YK1om2hrLnO1O+QcM8whVQYdjqgV+r7TpjOJDzX/zkZCgmNbJyLhUDxzW5rPvORNL5X9Ghw9v6RA+UDAM4NuUv3Try+iL0cGUHOM13B+59mZIFyW/nhrajPXAJrVM2KEUHRmpTJqeI+nU/CpHHe5Nlnt0q4plbZcbzjVLM/WAiNoZUNlyJ9qrm5g9I4kbsg2ZpPYsxVGfICU+LN21+OZC3+l6hiy0bDjL5ppj0KgqisNSz99KLoWiq01JeBRwwqkiSktNI3M58tFqRDW5Nbdr3skaZjGvdmfJemB3ctGKOYNySQwZ0PJhbrzJomDuzjqlbmAXxN9qr4oyT4tjeJNNHub89QE8DIESCbEo/BdO33YSkaz5svD/GRhKVdYZLZmZasUBbfhW3v1gzt4sWt7ZVVj4z0dKLOoRZjznwKcSplzQL/N2iNUc2C1L4wh0Gwvf1E3/B0SzievuNwp6MCfyUhwjl7ZHKcvJJfIp8/YjslwenC0TlDQuBtKIRrbEajjRhlERNrB9ZypUgSTgU9E5inqnR0rEiy73jRBs0tN1VpXsv4sx3Ud6xEedJuspCJscvWK31gzw7Hn4+IOWC/pbyhN4whTW+zW7R8zGyvN5UMk3CHE3Bva2dYM8FsoikZTayHhYQi0kgoO8Yj+h+8p1O11we4p2Hq1kb4/ihOAOdnXU4XJ18Fxk+EXq6nFLw7d3bQxA30OeZDJR/GW1KxCpAlaTdp2wPnmSXYwKGEsr6Fb+0/pqjB8pHy2ruPYRPUxxiU9ro9xfL/K8pz8av7bulx5VkGutzELw6ToU0ACwE8D7UGLAy7YyS6CZxI8SBBZyA0SfFolceVt1z8ggtfJ6wENry0BPxIQQS+X5A/YMb2L3/tAHYZzpQKutBnHhQhywppYkdSYQDaA0BuEA+dCn507jYYK8a3xXQ4WaK1zGm+13SqvA1gMZyh1YGew0pUPT2UYHO0GHaGSrlt0O5uws7lwFYqgjiaZMuCV/afwKnTihAKtPJ6ZRysP5+upy82OvpsyLaR4ag/uIrGqh7CqNj0+cDpE+EeqpSAJD9BSF1K/ZXV7yanyRldQgTEmdEuVvVF0O7vY12t0Tq5SGRVhYLKO2nXBUsVtUfgAREhkQRvgFshlcsk6fG99HqHsc3/O74HASsXRPz6Fg0Or8E0ov8PJuly7TEk3xOetiHH4BTny1wAq2mla09RO/5LrPgCsElf4+qLIR3A7nIZycDdF8YkmTHccjhApbiRes1hCP0hZjDKMSlV79Sm9b7/1VQwgF67797s6bObx8+mdCmGAc6s/OpRYNPK3qXr8zvn6Tbs846b1G9klcQiAHYlHzttfPaEU6g2Py+JRZMcS2OtqCOlmXFCQFT+Q8cjTzNvd2heivCO5ua1UcVM/+3idvhcOgc3zLDHpvaz0FLpUbYi/d0QkzDdTEyqEU4yF9NUeZ5dXVBnO4PZqkxud3jTFNOHZ8CY6XOzwhM35UY1YN+0Wd4MkHMYkiyLo0/w5ZzOwYm9ttfox9GK4pt99pzjSasVU0BV1ePRCFQ2eHQRmXcAfXovAQ4cnpWErkKYr03Ns7a64iraa5oSvK1LBNXQAWd+hNZPy0BnntitUC8DjKoHbqUsjhJ23OFxDPTqsPs+3Nt6qWh2++riPED2x1xS9zdM4HXL5q2ovwrrm0yQEaS9LBEe0ebtWKhr6ac6EewA8fWpYiGratwhWtGCNm/EigyRrVsAuix3kpPNabTFryaPsWREBCTUkjxFiX2FirZxDJEginNA8+G/MZq3WyZ8H4JWqc6DKrkuwHpu0+FkNYz+VzMtmK75hm1JIbdzgeTCVE9jb/ClG+MD3Z+dGFiCeiMB4AL7KERmlHlvq/sPD3RJo3Ax1IBag/FCUahnLQQVNiktYsqMihGGTiP+w5k1FcSKdruTyEucXzimaF2pQ4aluXvZPv9F+faGPaNEszpAVnCEsq4z+V4mV/qYwUE47pHWkY/YfKYpJYzPYKMa3qUnMXmhJZvd1+TkCcO/9FlVb/mTF5Rtm4/NRm/SeLZVkvZsi8oacU+eLoXRSK50N9XAeNYMwllYUtLImMlmYsNJMw6fpz7nGih6XZbgJj9ApGHtGCM7RnobjQlTyCUPb+s32noFNmrcPt5T2y4bhrqfeYwY6FweB6Km9asK961VYQr51HdoJ2ys+h/ffwOCSjhEd0ztL0Zm0wCgQXd0nOZoBj9o14zA32NsI5wTCRLkQAk/7yr1CVONokWfZcfGLl3tUziaAhompQ2ZJ96bLT9oQmHKAbHqNLEM9Iy38xrOXSBEo2gV7t6xRjbdxzrXpCl8nKr/FiaKDqgxrxRJxXRa64FYTazynrkQ+TnbBt34SuttBAzD23CXkcXNDmvlLdmO+841G6lVnoraObaDYnqEzIaY4LoqgTrjDphkhuc9ZkWlhpaFXFhvBA47q+0x48bCEmkov5/5KYkPRscytKOwn+NehCBGheZk21CTjMtfPm3rEEayzaVErmuJGEvDVq033IJCGxKGoCvmR+P9mqV4VpUjHzIFYvMed6XkfICNixhvEBwJNqoAwlsOPyob5u5vMGmoWigexl4nhLjCni9l0CEDW/X/YYR4aW8UQACCtv1JnhdMmtRU6ZoysMpsTICg6CdUwF3diW8KuQ2YAkHSHDMSRwLWiIOxxal0E24VYtz0VZFwJKQyJOhZTzKUmLEAvo/N/vMQq6tGONiRLNA4tPVfmFfg3a55a/RxJ/XHNzTImhIcpHm/UPN2r6lj91KayArYZd7zF9f7iI1nhBO5YTNhG8VOeVXKn6unaBKgUmvPwPZ1xZN/zyK5CDLDWU1+z8LW3qm6V+KHA1kCpjk91EIQqvVDQ+VVK3Q/4+VVg7Jpj9kA39HZd5HhkWkxRQuaQUb1oX6cjYJ58Epp9YjP6qzgj50diND2MfrtO6kBXqV5R8pDf8QrDA7rbLvHtktJ3dhjlyTqJtVvKBjuVWJ5Vr8w57NtUHFM741KR4F/+l19ZC0R3uk2cotfH/i1+dpm2j/OaLptX7ApL/vf/WasTdYhwUw0LMxzvgaOknJLHTmlQxlLAa0CS82kpmxXIkBE1tbkumCcKawIfnNTszrn4EQXgqrLvHNf0jk7hLYCNHsJ7wDZQIZPpqh5tU5w2sA+RHtCfMu4UdKXrtYBkgM40M1h8HOKmhU9lxdaXQHBfbILshrKrcPELMaBYmU9+fzA1nwCML7ZX9zoofZYakPpiNpuHxQdJkZ6EyL9FOZiELfTDqDfIrvLDv5bjTvZl7zPr6S9iLzSdGBa37KA/8J3/jRfY+El4aRsBDdYHJ22AXrQ6L6+A1os2k6cP3CmcUGi7rYJvLen0Q8uN5jJDMZ3bxlnDzWKxSx+t4Cg0PFHZQgZfH/fb7uuOkb01sYoWNWSueaDrvFyy7Lnso80iqi6mzKfRtQc6sPjzK09Tf8pPdClqZuWj9WXd+O5LkNbFqJ9vndmZ+ek79MegaFsvROlwlxJXDgy0D+84nwTpmpLYFrbmXrr2HwJBRY1mjOOnYxa3EgB41tWXngT1JdGoGJhWixDFvTa7qHZhH2KkkZxSJDUv/ZG9/dfsAgeW0uer72V421W1pKKCIjdQzp4lJI5jqzDrYIIdAEEQhOdeBvM302FnpFrDboYWBZAAAvejWTrwuztD2nL7o7jfj3YW2CbV734k0/hYLHP8Pja5lxyvFe+OUHsWY/t8ZoKuKmduFhEKIIVU9cVLm2MFvUJiyPtytcOuYptDbZNM//iRIJes7zEoVStTKFcc6nsYE3YwillR8/tEiFdcwkMOmzlKIwA8oTtfxw7L8b6gF/id/5xS6u/+Ydtkn6nY6tlFnZ6h+p2sbdRND6l5Srw02H+Bh/s7hapuLDRd/xn+5k+1W42/5X3Wkuacj4lMSuFQGynyW9x2lrMvJLLdeb3v/BB1ypYZU8Uz5UYQNNm+f3w8odbaYWIHlwR1jk0YmyHRKtxnfoylaGdEJz0bk1I96bwjaLWQBNQcE2/J3iXhKadnEkRLsJSYpYI5/9GsCkSp83Mc/LexiiVbM8slJzgf0g+X+wxXeN+Sgx7favxBmPJms467RRGI9S1SRyUohPCt3+x8nUwZpZJM11eu5+uL9zyUWtUtVS51/+Ictr+nwYwG7KLvv61z81ew/dYkjIOgTLM6EZqQL2xXHusjomi6KJjni8E86gORTKJv/lwPQGTMN6mVw2lH7BsQPnm70KIjLGHF96WXGsI2jEjvTyXIR8xklyMeplF0MW/KsTruqASXoIqir1YWmeleK1g58m1dL8Gpxc5gmioJ4tm2iUZn6+7bS/Pj5+ghl/25STYmkFZGbAlrrF6siqxxYSpDPtaDQiV3HBshWzMNNGoM/bGDKaVyV0uqPMs2pPg4cqDvqfdvzr4fBBTKIiYgYX8Bh5tCe8H9YDwCfmmRXEYllC6oG5TUsrKARjdewqI9j0W5wBt9uXgOAyJbleGHBGGKJVIVAeuE+ClIPHN3kIn9q3J9GDmP4TOXPbbz1BI+e9JZtMc+bNbwOlrsbPbzLwpW7GrVNZY8SXApM8YbnDt5+0yv+SVr81dOPpB3QXDQDxnCa2ap5CgalvhLVCgul8CZQqm69bJ/PtI4helyAwqLtbuogzqrlvtYdsfxti5q/G3LoCI68hjuJ2GpjMEwNh9Uc/BQDav3hypHcD0h5uLzb/EU/2y3fcYqjoA/52JyrL09li7a6tl2nSABnQZCCiVx4cZoPQ4FDoievyB3sZ2YK9eWA+d+JuYLfumRCHMuZIPbPUezNC92J1J+rkq5bOjvskjhLUud+tfDYPUAgXeT56q7lvZkfefA512F9jnyp/brPVTQ5xzrH/lJo8fg0AM2/xIicm9NQHGnKpMrQbxUKrRUcLq6bWqIflHSoqXM/Ei6tM5d4ncfx/nWIIby1UjIO7iXDwG0pBVKb5LwxtG51MJPIccao0Vt17yh739Zwt7BEXxQgNrZepl3YEphBRFNyAzGHEaYeKoQhi0JekA8VTxbNkGoxFOcLolaCVUpkq/alBKAjehjOQTCDb3dz3Fa5EAdEkX6qZj557uo/aKjlP+U1ui9VrE1Jp/OOLWjlMYiX0BuHjO2NresObTgjSOIxrMTWpl/TgTkD6o+b8XE3ecISLsMfEwo3FP4IFDncowVchm5IUyvmAJCtbiybJgyTT9kkw8AR0y6KiXnPvtFeOZdIiyJd4LI4yey4fFZX4Pv6z/4KDxSjvhrfMAwFj3GVfqymgeTmMc4WULWP6C0rCF0uaoPWcMtLaiNkem6L2spywgvlRBNRnwUpNH9nvi4BKQZF0a/qg0X04OX7eGjuCBAt6R341TGxvrtRIpsIcvCzhraBf3HpJKrvDJWen80qdcXZCJm8ZcrNwPJ6MIsVd45vYYDVEcISeDlwUdjaKSIg53Kpnno/cGM/ZPoEPReSxCz92ehHATAIx0R3v4/6fdf9XuFaj9XgDYaDFs5bD3i5F/R26zqPoWcqSOKUsvGXn768dDyj6JLZzzcFH4tULn16z2duTE1SbzQa79Y56VHDgua0FV5+lJZxRj7s4T2ayKgYlht02iWDIOe6//1nWcEXAhp8aypqFZwUW1XV4T7pmneK6BIHcaKj0HUsK0exHgUhwW/t/N2LvOERPxCKbDYMukxBYFRYCI248FbSkuIYPaukN71scSeS6i0yhFjYtz7pA7qZ965wU+M18EQAQ8Aic7xazXvfSCvu2xC73AqxrPPIYZ579u5db/JIg2BPnjF1T5qjKLcXfC7jTeqxXCCVq+AALnfyLSOBF3VtDgB1wvyDR5wuKLeFh10vQKYf1k/CFaFYVQdspZl5vQcA+U49W3BwAjrsP5K0E8W6wuNvFuKk0Ezg+hcVxbgSnPOCcy0OLcYoTaeb8O1lLm37A4/evg1YEz7reIDiA76SW6+IezzxU50n23CMbq3jCP9461tRKWtP32qpZ/9ZU+aE4r01KuCnJV4Z2AkiPkLn+GZCM5pi/IX5E00ztzJ+pA0dYKb/QKBRoek7MtJUYqaxFDNIEtrzzx6+ppuedcb4rDxC8p2yLptyiq9facRqHLs8e/V5tidl5C2qsA+5zuBf4GJb6wfmm9HwkdVwr6SrFr6bAfnlxNaSrP9RVPTKtTcJ7N0IIcwPsqP3hBlSAWVdVIC7OKSiFhfhUO7vN1b2mG/hHimbOC07fF7PVb1y5jIYRZj3X96lrtnuDuhHLsCcBG7tew1+0vsVO+aAE/dxvAjBaUyzPHTFaEGiIWGHi04LkubsXvq/1EQBnYecBmKhqMeBzlSwRKD4lB/H0cFzsUE1s6Rm47Vg2P/spKxWbKJfMJDIg8hn2pUpVPhSnnxXxi9uX0cZLJDDEm5qXZQa09ngChh/fXimDoWoQ6k2Ehrs1pdJqxcE+VWqAycKObDHESEU51uXPKbYtc/IgMGwcKAkxX7m+td0XqL20HpRiobqRqTrdgTd7v+6ys9tXub34CcEXFNbySUPoo1s8B+5QzE+0ZysYpVv0NEEhBOZKrgJFr6CdwCMWbNw3GPWN5qSK2FKQpksRNdlPwid/JmkwncKYDYSyTWkW0132SqBGrNE1n6eyRAaE1uim83vS3wLdlVGXVgq92uzA67Yku8tsE+C/dgVAmfFiM37r6IM4xbDb/K62FuWPEzaZqa6tjpkRHks+c9Q958nECG0="/>
  <p:tag name="MEKKOXMLTAGS" val="1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2253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COLUMNS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iWcfk2RmY+GE6Q6T90sFUaYhHdubK/b9WYMbiqTQFZNRdTaHJ1Coz+gznC5J29/l+uni9WCTqRMIgVGBy5FSCqTCP+Vdrf4pg20L7fH6DBLCUQPEirnQtbpBHNoYBczTAjyI+Q8sdgREG8v3HKj7eJNBIgJSMWMn0emcwEVHj1u6frAMlnit+99IngQn8QIep/Qhr8jUi1LO+/o87oAKNdTM6HxTKJKukgEon8U9FN9MjiMGwBafZuJU+WqCFQVdev7ARK70uXYwiD9qBOT2xEJ53xs00Tf/E5haV1DY5Jejc+G8rXeT0UMHAoqTZdF5PTimqNMQ/u4r2K2rZiVAy65rGTsAipTXkzOj+LqzfpFyxzuHfdAgpd5blrULJEbY3qpdIUzvO77uPOqZui+8jANKorFIWX/KMAlc5SCJgaaEoyCajY5TTSCNxmawIgjBq/B2UP5L8+zGoTl6wk/0B3xMvzx0dsZ8Xux4e3xWxirSBQoAG92YdcNya40FwiPCMGdld9wvnf3BH5Dkqx8TsHAOZAFANKbAQvGiSmMn8ODm2uU0XXHh02ntm5Ex2u4Sr58nH6sJup7SM/D681FWViSF9JvbxiZ7mHs++7E5+XfvoqjuId4qpVs2k1tOKGeXATQIwmq1Eolvtj3cFlDTvK/iygWxn8jCh7SApcOIWeXV07BnQugPA4GjbrTpiWTFSs3vbBT2lQ5Ec9HvYEAGVn/hX6oj2mUYQzcz6pBkyubX8FEOU2py6vWuOXr3VOF18pw07NWG3MyRdcxMk5H9vHM3hgL/I9+m+/wLJ8vB0p0QtKAUgCYfYOPs5DbBInqNMUhj58g28V7dgo7NWQm5NAz9qmSZr8Uh1ucUsnF8sR2P7melkODKkkEYRPz60bTcDqiZAFvEiU2ftlHW/CQEjL9b93E1udycibpwEtJMhdq5pX+7izphOUWG4T1HEam6BlYcQzVUXP0ByQFgVQiC0WlLHcwNsCwCKj3aBxZIZwp/N4MwaYHz5ZHDZF+PiMRTjIIpjpgxtlDcdJ58HOEFU/zOGp5ePPhUUqNNU8sYSM0ZwvDhPufxeHAydFwLr1a3NH53h+uXz4P3/+NULZAdzhmuRCCuIyCapSwHgvZYu6KkdQ55dEyp/LJdb2G7ZhjWMgziPpnUO6aEerPaVK7YExyZWvDRs5wqBO8BWKjjQEwZW3hcOizCMUJrjEvhPD2/HJ6h5B3k6gSJg1q5v01nQopD/P/xGRu0+4Jlb1t9REjudMVEZOjEtA4jklZx4kivkQuRP4PkVBmno/X+f3My+TyMdhcxz3wN/4NsUTzo0UKa9GGR6VVFErnaXSj+z6oLhqTIn6H5R59ANKza1t2nnVujyovnKyiggcBlrJnOrimvC9tzlN76nMGnuUqtPskIBNQco6vl5Jz97UaVMXBimT7C5K6M146jTEn0CtVW08rjdsWTHH0X2vOyVFPR64VN6uL2UyjBFGV6njv/Eox3UdAcx/i5de2g5KBvbVY8reOQ+xjnu8uziu5HbowGj3uKOgfv3x+2ALNh1R3/OeRNlcP1YPOsxjdwHhNJFU1djYS+DrphniAM0RvKm6sJsM57XSFvf/B/i/7mdqrGv3N68VH6whGokS1R+zkMeA7lcA/6sacaYBg30YjXfU6fSa+YnNMV3Qn4LHMvC2PKYkyNSYW5gbau6hF8T2DZNklEiLcjI5OMdb9XH+UkwDTokNBsrJdX/zPoniFqS+tchKykpJv3UtZt/rRiQjD/mo5NHoSHaimgzJkKICwzeLlUbpw8eqQhxQ70V+nnKdyW9XV4GX87z6MKy4os5NiDvVnZVueFpIEIH6HSY5cNWY+VyqvwyeAtkKxqwmmw01RJeiQaQxZYrUjAuKC3FjKOWJ/+22Qs1A4JZK4gXNQgecahpN183dPN2ufLoKvAd5k2nPbed90pN896jh3m5nl9gy56yn3ELkzPYhEm+Qah06UpdTJP3FMqpuP9aDLzRt40PIz8GvPcACausuzvaBa1rOIKBaRN7ilz1KmNsm5KbriAsMeCBQXVeOcO5C3IljmuxgKLG6v9m9fT2IFAEUu2IWv8qfuyZPXPPO1nPhlvfOKJTLVx5wJKZZIruSJ92jyZ76rymFvlV+ITZ8w7iydPtOLrLJKFRDoo3YWSaI8uB9jhYfM3rbisX64guWkBxXUw0dMSFmPBFSASm8RpwQmpZt9OTti2TkIoCeYxZt+zAWc1bYYLRIBbIH1vrJcbGx7wXwT4e8gMP+9AlmxLjahBV8uhwkTc6hWnlwqrKDWAdyuCUXJBWUFcsTDb4aK+GLVJ2O7RiPCDJM8+0S1vM5FhRLtpbKjD0/Uf9/RJ8LmJeouI78688mimjTpb68+ZscjmWvz4JcjR3tdXGAEg931/kXP5MZLEWHTN3VOLEzHj4OGJyKcZ2lRyXzRF0LN+8SIsp4PHpMZqdW76Fb9v8M3uyhvQFfWwnextKAymsVQ7zcIXVlqui6hAh46BZYMlpz0qCaSI2KzeZgOA98yrAEjMQonrK7PLrFRFukvFMUGmIqLFL8G4QtPJdAPTkktarYvNhDCcyE1sGYRjqolZjv5GVNMHI0k0Z4ixGUYK6AQTl+JI0sIXQtkhR3KIGYJc7o3pY+WJiOLBTcLugPc3j+tf2dBFbfywSnPtix+BsxqB3ajip/lPmRjH6kSQwm13XwtdaefDgPG9wz2GealkiRgEdlmwj4U9x9tXHBc2gsFEwMrXyUx1Ip9QDy3ND6Z4h4vGulPdHuVT/CTk6NyJtUnTkAYErd1thVoyvpDm6gOPXxLCkDcSTXYK2SrDxT3SxvgPrINDn9Cbl3Bk0YFePywJLJVil3LOUeo2/DUjIMUiafyrCBxT/0ekw+dapiU/3f0IMb7+dE7R+PeCHPFw9v0zMJ0nbR8Ecwk6kTHpTtmr0aWjN8otWJdIAv6gio+M16UJWb/LzP7DJdlWDojyH/wXxNAcvRdic5KusGX5cKt2J/HJhPuy9QgdapvD5KC9LBEH5A2ZlAXpebDu7DNePTthAFrqlJqcupfMSIyLeRLxVmGfE4ww04Ky5oGwENRA1ucCGYTGGbK/uqp7fvvDwowNSIJidWU1ByHiVefivlNCQ4l11DH0GbR8WH1dx6ka8SE3dhI4S9ktJm+qzLLghKmvInEwlWbQUJ2ZoulbmEODUZlAO6Ic40yC1n9slnVRNp4tX3UXbNdcO5PLlgPFgkh5AGzZZdCyhDuQOv7zB4jsnGl63KNSDlBiSj02uuXCemZ4XqH8vAxrUASZ/w5QLTTtegRjZvBZiZHcpIfJ5HkcCKKkj9L/sUzk5suUNt822T3oh4cDcYz+bACoae9mO3LwwNg/B7fMBXMwMzs8QpJVYEGzMT05aO5AZWAjZkmzt27gMXMcsoSOFdO1228xAZ+V0kKIQAs+Q7O7VhmCFWippIulhI6jfK/uGtE/fHZ3lzTfVKwoyKtZ28xCCjODVQFyJ/xi20G399CaeCO2Zk2kQCUK31U6y0SrLz+oubXanmlns8rfChmhjN1by5fRv5Uu6CyqQoA/eblNmodgllQy98nvUwOld/1PFPCyoeCC7gZuiJXf18vkOa4rOWlaI/PPBhBbl6ysnRey8TRYNnWfWfQR20MGaG/DOM1NAY19jR7bmTj9AiISRt0CtA+aIYhfjzra5jqDY1Rcllyv6Mu1F+2qobvP5LLY63W+KrOB2pEK6QdTYB72Kast5bJ8YFAP5A2gcRt5TAR2/sdwdBYyWI11E9U7qJGS9Yi7AB2NO+kTNIKwtcQFrGoVWFREkfqHanaZN2FSPiP6VJJnb2d/GoGCcvG1kkmAJu/LcVuOGQ7qFUIaWNQmscu2tneqIz4ttCR52IOeIgj+OkrUVnQhX4lugxWFl+ZWiuJSK52y6FTVHHOQyrank7YS5MVxlyogh3G3rpTz/rE4k1y7T4hvNqSbyAlx1HlZJgO8krsI1JF5ZRcsxAX8XAvjtfZ20eMDNOrKtGa5hgsYJiz3UtADPRYQ20MpiKps6DX2jKv8zFoVDnz5KhvxPjgaN3d5rZ4l36hFhrsq+KRCUvQoNA2hv1m+IESDOrCB/8kMJwr1woumI16Lzv9nKRDP9i5jk9ed4CV61OTcwKpsP5nHGcx7JHY9kv5xWwOrll4WxS1h1ELnJQvDdToBy7y5SOju6uOkpeKNw2in8GSp/cAAEoQXl7ZwbDPG0RkA7+t1t8qEixevLvaIorS+e3rKRzeMYpMHnlgXYkKiV5bkVR1Pk/njsL7Msb1KaHRw8rSSsxCg5bSvvBlCMlQWND2RDdPq29yL6WVbf4CGpA4PEO7yQdkJ2bLbb6B4VCQ7eT7HwsBRXM4QgVJDMQrNoBVy4KC84LI1mYH0w+AkeKdAQIhFof+nkcLWrPouKFnyz5j8+qdzemuX9o5MsVGhLGBu1Z5T3hbTtn5j23lj8vnvRh6PwKGRaf1RMztlXmOzz33i3tlB35aqzqXgfefCSGX5uox73zxy9JvTBztYTvFK3dVwjYisThpBmp6Gbj/PWYq5nYUSlBBwOXfj3cEmFLf+YpriofFISma2LjCJQi2dZMkB85CU3shIbf3NwizmBNrPr5nF9TEiU147l+s9cCGwG0EfZ0g1wIxTJketp8y4ggYdX+t6r2MYELyp3As16CuELSSfFbp+t7CLoLOyiZ3+3atDYC6bM3muVpKLWjS7UWvSFMauclUMon7b+Tp3ksi9JV9DEtGxdorEzAuSqK/qgrQog3lhBr600FFXm5TVstGUnlLJtMFX4AczWkmLKYIQN85UUf2bUzG2RzOvGXOuAskNXHVJF8iXpNHzH4ZwJY+utsFpmqdF9yCd5+qYRRT2Oh/qeUEvHdNVTGGMavHlYxxpikPl3yJWJ/a/Tj8NH8RZzFELU35FccmCVtE1oPULSLp/l4js4BWod6wUo++KJykLeaFGfNpk/NqbWcwuRHvvqWmCAzOgYvL1RMzdI5cq9zqRV6u2TF4g1Wsb1bGr+uRFiM3Tqu56uVZKQjf7eynLsy/5iin4tXH4CPg/FZyiIDupsxNVgSJbgLF2uJDC2sqHShsJTkGLc7A6xWjx1E/LrsQL3stJthmEnhVOgT5KY6I+pOm0GzFvFZwRCb9qnbHJdWZ1A+wetzFH5wVTn9nHJiAewTT/nwietZyX6E5CnSYHseYfi1AbBnBBgD56OEd/p5Po9/SsOQuyk47AtwlIvTZtP3ECobK2z82I9Mdg12g52V4ZbpfF3nUKmbUkc/adn3IOOS0+0QY4AORoHccPMBFdKQpXoLTjNS5PN+ZhLPmPTSeQTYHImbt3SlEhfMMJbTymhaIO2euoN2bDFQ3Gj7kCvc872bqG5sVZf9cQbyGNWckvM3tPw2ry3qOn9Hy0LmvU5yiOEpPC7bkC+PuKYK/q212P2AVLDKmY30cWCHw3ssVRv34cGspAEWEfqxbdnkbRL0EdNdQy8A9dGbLpRTEWhz6pJpD+JIaesWd3ajq7CKVwrW5YEswQsWyhhF82X1458G+HARXB0L23xISFIYg57TzX1vinBQq43Y/QfIPc70zVevTq1lg8jUe2g2oRCd+0imOk9gGRJ+2V3E4oVOiksp1uR19/Fum3o2PgPttCb0yEyq4plbUxslRsN4IrNFoFhJcRaIiWrSVFdzlxR4wXWzJKdZYm3WMAAh+LFQQ9OEhXCgEaeToLkTm9ruwR5uEpKOla9K/vKguCswpRUB8Ub408zgmapjy3tt0xW6IBh6KeCNj3eiyjjdNAXiXrBZ4XPromKRaOzndDm1xZsq9n6aSE/xa/p3lhQglI+uVt9D//pVtNC7Ai09bjHRpEPkYvoU/YHTBfxgcUtVbX2S+CmrJH7sU9mrIqHE/SmsYhtU+NFEOyqFcghrbVyFaOXa8ISM6L5Gzw6ljy1mPWixsfe1XDc9s1/SjTobPVEgC71kKPi/tD+S4aRMSzfhuwpmvQYs2AaOSDBONSbjjfu2bHayJu/wBSa3QInfnCXjYEd8O8eNdX5aH0cKErSwe6D3SzGX9zlFUZt4IDCj7C97HO/zKK0XiYbHhXVnBjG2rQ2YEar+lxxgixXW+7aOZ6lubG2CEBiuDdf7lnMjTO8HboY2e7PxgHiKNf9axL48TM25sAvAGXQRpYWlksFIrMPTswr062JAjpH+BR36TB0Jk042QW78MaWmZjxVE7WAsun9k7nO8T44H7QZ4NEv/Bf/c+WtgOYU4uzxlDeq8hdx46Roddvgd6J5zjDZcCtushSIAvpwdmFsiTWwcKw4w5CSzFLKkainyYCRGyY1HqkK1ZbcgJCU8JxdgrbUdy5M79SCN6oba/dGu1tV62xRTvwizqrmdrje+Mi3wF5N3OIB7mGvGmgbzqtuvn68pdQ5cSc4s3LmvHtLnsoIVf2NzyAFlGJJbuCOa7KHbOAK8kZ4i3hJgFy1Q8VoVqsGdzbv9SWBObLegQDk2MO7T8HmhYyCrjnBGkM4vjkCFfriPUn6j/FDS1PR/y4zLXLBxRRmRGaRyCOwHIgsY5JROVS5DLFIVv68BqcrLJOm88O3TnFTM1qMneMr0VvrwO3QzfVjA9Dl+4Iv5r3T9wicXmpAQW8SPC9JhQDlHEyAIv2poDez2ylHm8Q/Ej7BafDcYDCBTd0GkRzyTmdXL+MFv4ozWmGLcyk9IeDp7LWiMEEZwC7jaW+cMMZwrutWqAZcIxj6RhuSHFTHyiF8nD2ltRK+9/GUTm5reA38x9VO0Z4XlOOBrEGtchor4a7RMnYAZzphcQVvFM1X9LLfiqvYa5oyYfJWpx3OGg5hSHyaMEo/Cj7sloi8dda2UNxI8vOHVO6ybx2hS9kWPDViorD1zv3VPE0Qpvjm/whoY1l4vHZtRd3PUbh9cMXD/oHul5WpN0vkIhzz04akxyuH7PYJc3uOWDV3Pa1A/3/zGBjVNX3yHaAFhAX9a9ientgXo3FbOv33K6Pj+MrnxN6Gj/dl1GFM/8VJXNMFhG5ZDXUBG/E+ckusJgE3Vrc0Lp834vkDBM8Mi+cH2xlFwZqYfWGTJKLOq56YaEc0kI5nIjwbD+G15tsPAOcsWMvzsa6XuO2eQdwv3y1SeRDwOnFHifEPtwRY5oQ35zGv/G192DgCvByp0OZAjMMjDkgX8ZaZGPie/1k1mccx3QD2KS7lIJuPc7BmCa7QByqrj/4LqHoCCrJG6whg5yixAWxlFihkFgzFnKI+jElTdRbOHtorX8j3evF7tTpNihkHJM5QOqtRF+M1BnLacwdIuOeOvFnH2we1qjYgnoNEKMiwR0z17kmAFddRw5p5H8S0q+bjlj2obMvDaIX9MTL7hX8hzHYvBV0Z2v0MS6pQNYgSVKy8y7dYfIsoOwG6lhTqXAWod57+OxdEpKkhFxgFR3Wj6Z53sMBpyaUp+ANAjROqNfRy8f/lHOqr6UdV4t4PNWDyuTRY04erO8BIJG8n/EJA4UjXglIT7QeWbzC4p9yjrbCa0awSleUCyDlJ68ajW0tlDnXG7fb8lS0KzH1n62W/dhK/AXIxoRH9+axnpemZRQfx+QEFgGUAB6GGR5ogQaggubnQoZnmMtoQktLPKhFSlZcs212L34oBjXcxBPZSv7DrUPSOyvq1Iz/C5xQ4GqpJIv4bWnF1aOLWlLI1wZxa1CeNsVMrQZOwsHTHpw9FBqQKWIsZRk4PClDHQFGTXhfZGOSl61Ng4qzikjk5ZINJY4dZjUaDNrH9OtLMrr4eiplq7loVDHSwbL6hu/GRw2EHNBjPxm4q/WPpR/FJLA7A8VDqEVQhqAEfrIWBNr7TPncQg6b/pZnqpD2Zks1W7nMcM4o+6dxl4YK60A+yv7etv9QI+9Lt1f3GOzunVdslZOLYmSAY+Cac/WwKqaaZLVUNPjXHHTYQvzgmz1qzXpsab9kK9Kg3WEl1TGYpgjXOoYTKyjvQgd6h21y3WqLbJMSq+2BupycxKiIBUEm4KuHojuz4bNsVda8dyRHUCkpGwOV1Hff1I1Erisw6rCz1YzdibQBw0jWgxaB2mDx2Rmc1Kt1/6VgJhri0GsyIPg2TVR/YnKvtQBgo8ljV7FrNmGMcUd7oY5y+p/iAu3vpMo9MadeFj0o+fFHITCFhi2s/dMPDCXqE8aXBoXa9XliddCQhLxkAoEwsflknpGQGaYvagSFgaONwJLuUBIvxf1LfKPsyFUrBiXUXszrm7dx6rlCCosy8PJbqlginW8j9fG6yUSMelbNxd3HLfud/zGHxKaAhXaCiI4URj+DjtUNEq13zazLhZduDe0+TUAvyP3DCUue4bxHRKZdV5Ko5Nva8t3x8wCWGZyL+W/lv242U8ro0GhNOFMWi28v2KrMYoMn7B39Sq3ADA7+o8s8FDnmzEaA3N9qMW7eoqyXStQS06sGRI6K6AAe42Ibg1RShbCEgzXstr2l75fLSEy142oebe8Y5WGXdBUju1awnTxfMZj46rGn4GdsihYr2jXWTv1LiEO3D8D8AYEbClD1QqvL1CDKSJzn/zHsRoDRgGDGAZ43K881QfxpfNWzOX6qitqLlo3HqXs9+8b+9JCXCmWHrWVa14eyPYp+x44LJW2ZxwRw287pwNMYGiTnQh1gV4uRtP8ZrJZZr5ioTYxDM3r2liLcGJk2A0gTs/kFcFbtAISmffeS+FI3jFoj5rBIY4jJPx/cVcvDbjHwHr4fpEBIJPNXCrwGJ3ktDYRwkvTrXunonNWvQy1hthCIB7xE2h4BEJ95n6W4ycg135Brrh36jAKjhBEan4PE3Ph87p/9rdELF9ixucRbFxa47F+eLxmZnI7HpbXHn8JygpjbkBZEuZMQTxlJ/qw6xtEHd7Ff0+TcZDGJ0Y6PyeyOM1dfMOOadzhJOlA/gx855SgPFfmWNNfu2FFt7LBBsL/DsWMpoeg+7gHvsJyZYDd6yK4IwaU0f5j/FZNDOpwNY28JIZKF0462VpINlMJD3Mu+r/rsYuyABR9o2+MWZ9QdlZlKF8Hd3u8FRWQ4770f/kPmut8olEQQDv78ghVCyivZZ2W5suBHYvX7ggwx989ubqSRofLJcztzZ4DxG/TlMlQirD7mPZVF6HaKAVYLw81qK9Lz0k9bZyNHk6zNQPwNQfRCPzZS+gmyZcyGdYbmj8cXrxRuG7s9tEZwb3qTwgyLyWXad95TDOnMQlJc99/5WOlfxC+WpJ4cc/jEqOOo1iMjK7hrTr8QKBKQec7g27jK32X2zi5R3KZpMsHnywSC0wW6JZutFelnnRZFRFT3Up8vlyVDWiP16dbiFJ/BnUq4KtwCnqBPTxonr27SaTO6VtqDxI2sMZtYfcOqIMV1PaG7dhLeztmjpbe13ln522ss2MLhlRWYuA4Epiu00uzCuY/vNXAVcepL9y57tHrpUAjPSTx9EyYEG4cZ1oRgrcfEPvLhSrec/tF+eUgqO0xWKM4aRQliVSlNqFcw0aRnYg/owAe3Vmyjhy1IegT0YJ6Qo3i1E7yZsn4D5P3Po46EIiSM5CtZcKL3T33r9tctbLD/Dvr//InB5acbnKd5ZRvam83wUrN7HJlHrQWZR/QnW9Y2VINOoqsO8pswXS18C+UrmWn7Qslo/DY2Jjhq6vigt5I5jJ4YHWdWWrpYJgqTnoP9bg93CiIsd8XUeNXk7F8g8e/dbINB7aMiG5WhX72tADaofMbN1cnLlZ5Dk7aQTof7sdIRWt83cj/FsRfdOabuH9Tqx4oVIXXuarUdS6WBZLJLibYm72oR2z08VR+scQIIM9wO3xLtJogsKwPrSzBIbV7lYTyL097l7RHFRfuNsE2XtM5SMf2KEEoHcEnNEc6jE3nT9O95kqNh90MKUL/UfTdZ74xRUX6S47ACSy2SrqZKXdw03Vt/Vkn98ej/fwQRe2rAqYA6SoWG/TGA/b7mVgKCwUiJvBF2bFcKBxBbVvXrgwX/gMOpXw5Gspo28jD/bz/hXMpV950fWgSXidVtnBfluQgq1RbaFivHdFKn5IPcpbA73FHu3WelIRg0VXFKfPHroCHkLSZtrPD6iBrLvTo00W3cFJb2Hv47g14tCQjjwZGilJU/TAkwClfUcB7HYrMA6q1fHHL7t0vHhfc+JzA3rl868wCHsCADrDM0e/Co2uld/1r/Z4Zb44WlXYLNHYxETP6vD1ciX6l6N/aftDyJ2MFVa8Unj5P6w/Ro4IQxVj2PVrk89PczLn8pfvZbuueFlcrX7sGStGG0G4BbqTfkvy6D4yhWyHGDKMclDh/jE+5zPRyNKETGbRQVjckAzRVslAdG9nTWIakMBHjZ+CKyuA9PWI0B6MYY6WeWsq6RNZunn570voAALkOGmNwcitXBT/LiVJnVRrKLXQ8TMGPqBnSPPmm6rRWEQ9+2T+E424bkktCx1uBWDKQ6i+OlTGT3VS+X6tnjZZLKYory7bTvKvy7cx/PRR9AblL+3hkAvb3suTuShP6tx2qAnBqCP1U+xM/Tl2ECy/2g8KOvvig4bC0q8QNGWUNGL68Jtxv2NV0yFoIsKBDkhvvR0wFp0teVjYlF4mzzdBgbn+XDpewfw2ByfT33jxVJxEJyyeiL9FKA6mDFHyTKasqCRzVeVR42voxWfut1chPFTk4mTnJ0TcX5Ptj6ReQEdoRjsHMhzk5uJi8BADDXahLx0e26XORBa+1dVMaN2i7vzzGmTmrj0zLgxup7TtQmljEo+gg9Pu859BE9FN2u3qV+DGbyFX9ZD25tTi/yVjAtdAc+VqzGAvXnxLebXae9yvJGCH25fJu3OfDCk8G9mViuGjy+wgh3oAf6eexo++ipnwA89sOsJKzzVGrN9n+6EIucibGJZvYTqlH2a09c/HUKKfuYwnE/vI/N57TZcNZX/Ii7h3npiLMEW163BpX+rZIfGHeZ7sjJKMfCaOYgT0XDkMlzAiIc7hKT8A14D8GIAZNIlbbhdsdxUYq2llISPQ7TLYqzRcElaXUQhampk0PJ1xQ0SzQfza2ANEitCHiDMsbkvM583wsf9z+6J3zG1u8bdoD4Oeqi+zQ9BZr28jq62BI/prOdaqKHiYfgbEQpfdANzgsWymjZPHHnBnHfoVrF4Z7J8b29Jt5sMORw5wm+CqQ/RURJMIwCrop/ZjGUuYqD+iUpJ6e/A6GLNPtM/3KQmFPgjaXotQB5aXKpCIip0MboZTCJcR/uNnVbKfNf3u2yxmmI4Nos3k47b6RPcV9RfF9W3Yoaf8FqzZ2VkBBEcEdcSP5D73s1men+OB7/hSGuErVFEvgKxtVegKtquTT/+RCJCfUdmPsWJilbU5FAqgK4Lr8YlSt6ByDSo6tVk0Z3kBdgnzwbdWjMiP1QqfEvZBgjBMoaTGoPGIRvu1Vg08QH8yZsFiacDAqpPVNNUpMJMutmYboje0WGGp9rznmnS03k+QUbpWUoSB7RdqN9ObK1zPC9VTM5BDfYMN2bWKeCVIS+uJ8l/sMsrFCpsA6m7LOAZ4QbE9MgXhi4PDw9fWVRRyMjrn6lxMlXYm4aFW8o9ucpymJs0YU3ZqM1OWvZ1pIBcSh1CwD3c2Y9G576A4XFdWSTDL+qZNLo7E1KusI71lG5MF7BRjS8oSd81TPdnIRdPWgkIEUcjYAY9WuPssGAInUfJayb/OYZEVB7uHN5XWjrCc+TcQ4cqYM3GlzNjeNj5yU4ToFSrPvpHpguYe6NBcPE9rTK9ZYqy7nG49pZKOQA36wN/axz+KCe7WtmhxYGfZleFIE4OTu/h8ee4CNWK6qTLlPxnGgwFYynnXhywMv+a5uLBVGGdL8uPkyS5wpoRZWCFulnKTihVeAQA5RDYGMU+dX2LxChKjrqomD9J8SMBGhUQ17YzGGgr6zTqXDbrUP0fjLDRzkFRHn4UKfIp7uxxouHfGA+kpRC/hRaRrzEivqpm9AFTsiERaybPLThLixxRmTINFTC+eZDZwHnXHZMLEV/uYzzt65u6CTA+bLti8BuqfkpMYR0/QxTtVFZtPGdxEqQd3QXxZzERsnoN/r5LZKWm/XBWSM5gaIB4DPGORmrTgzflddf+L2KDt9GQUmPi4jWsNYkc3siYRF4UXE95evt9JAONQyipqHV3zUQf7L/bPqt1A3Ln8T2LJyF/l46W3p9knbsqvFlRf+HolHmxNHIHZBL+OOjyAef3ihNTmPhIMkfRX9mjIcwjm1xe6M6izrXjPczjzanBLVottseeR+v2J17erMGNgsLbIRkymRw3oCm7Ck/jhlDxZoMWxiTAk2zC9niVZqzCQ/roU7nDcOZQG6rkREAMqghOAD2SDsLiT8myQ5DPP8uS1i0LP+jwIi/jRGdnsp931pZDjO2+AaTmJsv0HM/+FrcPfg4bS4mhxaSLR9aIS/5d5fnebB1EIj32xcwoTsfwycmFucBWXUXnF4aAg5aELri+HdI41q400CJ/tIwD0JKrsXMyxPbicvhBVw72Mm0mALDtVrPEt5nEpTQyeOckqkmdlLrJRKoX0+ncYk/ume9lowdEM31C9h0IjsUrOlB0zEHPb8ddngSG3Gpy7QZJXprvz0VGqI/pso+ZrykJxhjJKQSzbfN3/FSDNouQlpp33mIsQpGO/XPTkui28Dnf1wRUhAqray8qQI/M8Bi4oK/pdhUjTjppykgUplBaKAV+pj+Ci8F/DNGFiaOUxrPfAPDMC5yWWfnpeFrWLduSEVDuzs6q2IJYx7Ch3J+i6e+g5SVHOYoJxQBGdJoJn2j3WqkVDB4qJeg0CWcBsu0dkaAv/0ydkWjuQ3QVfbZ46Kq+PbKQp0DCpfEOskuXYLuobrU2qS8RGm2FnNj3sjqoY9N+gky2StoNGSFDbJdKaKGfPAfi/bV3qHTGYvSEfSWBVxhhpbBNeD4N+/3QVjYqq0k5meL5uEvT82DodTqY/j3eOYKwJbmVPj22RX9fh9dWgjDaPRH4/k4/jo4u7PbzsgIPkgJrNeMMbAI9FAM/gcxxqRYFbmacD6MlCi2sHGBI8qsd4u7IJ3fQwJXw3CNtCin8o/9R8EJ3caQZVpg3fIPkFUefq4vJzWkRc2CEMHhog0HD3nUsQMD14wYNluvllbPBGyPPDgoK/wrbs/mMd7HEXSo4KtJ7lasVfiqmu57nHyPDc5pPzUQxj6GrFemsOjfP8dtvU/wcUVdNuskXKjmQ3ONfyoO8ErAZdazTkA1F+xErJkgH3fWb07CRWgOBaNAIEzTBYZYfUE+d4RkjzfVhzF1n7yc3dD7UTY9k+DGfhvK6fzzOOXa6A06b9Vd4t/JWLc9q/47s3zgo8Lq2XkGKdpRiSHyhK26YTvfpGLPf7rG1HXQ34sFD2syA2Wus9o94L5R1Ykk4xCNQDJy7EDNtq50uLWuAMhRNXCckgyuS9MDAsBM1g8baPSxHNykjI/O6W291POH504CVIZvroJOSWKenQlp3UvnttOzrzNEN2egd5aFbY/Vd4uCBP80ux9Xc+6NYHH38Tkv7t2NmmUa8UgNQP8j9KgwNbHdLTNVl376AaKWwE+R35/B1IjQrydZMUxVXYtdVs/FeijgDfb4B2uggg8Ai9gDyU+tf8GQQ7sI30/JVEkZiqH0qJ1cjYYeBdbvcADS8iWWemNgCFwGAhKdSxjoLp6DClc+NIayHVhQcMYKwffjpyxluAAh5vAcFtKvxBk00Ie22I0QW5lO/DkFq3vOFRXPETpnF65ussW87yJQr2Zzord/4hLtaTyYLn28x7cRHlKg6Na5qGU7ExQXu2XoFmuKmumOvkYLQrEvgDso3KXrMUvc82FtwZZb821GCnPkuvPU74eAHRFd/KBEH9ddfjKiXMLldvOZq/d/NIIv4CV/ffR8y1+uq/ygDZCUxxQzYsZFwNLR2v8f9QMvDiJgeY7tpMvrIzVIy5UaN4N7z9D/TWlXi+kuKwSrgO0fPUQiw/cgBmVDutGJsSRCgvS0RTn/0z8ztGWMGtn4N/NHKW+d+8NZ613aj2AhDvNjN94Te1ePra9j07n5GQdPCfFL+nXXixxRef9xZKA+TJaqc+HI0+aqZW4pj/DyHboaWPrSCovfyM8cnoQvJRXg6w4s8Pxpf9niPGPlp+SrwvJJoaJABzTo/xKhjmb0TSpLlZvAONWGQwFn6Vj8umR5kEo6afN47E7vmZp9DfccRCE3+D9ZwqLg35ScoL0h51Sbfza/7liTnOB/6W8ecAKY6hfS20vrnykddbgHwF2I3OG8WF98OvW5KFa4Fjjxc3c6OEBWEb14WKka/xUq9S2olnPC+qnnERTglNVI+6J2m12gLZGEOn4Ohiqd6oOKKy7yPAdIm4ejUryaHhO/bFTKilsdlUevLYWsnsY+yGbMyWR9wUtAkXh+gGWvEej70ubQnwUMQr3Fr4ltFBFAxjblJEbw9pGka9wJGvGuwPCqfXcZ1gP6Gnb0kCDbgV10B19dDeDhPzPKpFgux7JWVWJp+EF4XAHuLG3ByZEduj+sK1Ibsq97iLbdv4bJ7mJ868+/24zNGBP5REg7/0tAjNuonDHR7RIVMrTE2HkCI+sU+OCBFRDPh22Qm/zDRvtJ33V1Nncxq90Tn5RgSus6ILDvZsEbS+5ggoebNVrZFezcDQaTq1twJvzW8R/q93HLYcL+P2UzoHx4izc03PIViemcxVn+kLQphFQv94r0N8j+EFQ03irwxXrBYIXA+sfuZrwf9C0h0zxLxXlVqNn5EnDcmBTmkdXv2ng7kEJdPv2mx5Mtn2zLRVlyhx3Q5SQNQjl34QrIh0zPSnkKHfsHRw3fhMNqSWVtR0pCh/XgJ6eJW6fgb6TGBpWvUNQyCdGyyUN/+S2QLABIZTAuE/0k9WbxWqPPEP1KcJ/J2e8Dc9osUMG6XwpKYRU/56U4NM9AHXpr9o+2OjiYhj1P/v3HO6cswPZHwtfQBKiB+Q2VOkKRMVLD45FhIiWSg5BZy32GKHHXXmrQLpWvcxvIiZWVC/+S6FraOqIIeC92rCxkGDUC7zTIKKET+GiIipsLF/1vmzcpf/L423edeE3S1iy0r3Eg+YTCUicMgDLqFjSbsIhoaTrrA/chmvmNbD3tI9D75C+afBxKe8Ccut9NAeBgJxgo22LCkPuNxi8+stbkIbNhnZxskqI2jP34lPzyef/ClOrHoPNAwtKUu1PGTFQsaw07KILNPMVDAK+/ZdBcwq+/HpTO4ls/Oxwg/Ck11DaAEXVyRBIlIveBj59doe9VxOrAtB5ZVTaPGkKguZhw56YXh02I9RKxIXmwXaEnKXimKdE/j5wlvpaT1cwGsi7km1Jmhr++y8IUVN5UuCCQ+QqYGNjF0z9xjFFsaByPEwgLQLmr6dLt+lVy23VToNQwyKLZ5Mb36BIDGAJ1MRoYzcSUaCZ2elObnJGKJV0UkR19Rv85B3L5k8dMzoyhKXjlNYJ2hjBd2S7W3Xt0vFadqdd6D/gIg9VwJLVZHTCOkOZAR/wohJtLvGQAJVvhbIbUjxccioYaetp5ONlXj4BD6tHV3w6Waooha5EkRd1BCOtEuTKd0cpSn5VlSaN8tDZessgVNehhAO5LfUEyH7mtoCbu+D3X122Zlvm7ye8ive+Ifjuq/Fg9mZc4P+jAHEVSfYYIK/I2Xdrz6m6SCFaLZSoKrzDeEohJxydD309VaOR1672hDa0Z3uYNnzCMWCvfZ4WgzOUFSFpjh0ZDGfaKQfnTWLqrpCRAN47tXQ8aJOTuPr+MaPUJ42dJMbHmBi3oPi/so/y7nQ3fR6tnA55s1CX1H4eJvPNgxz9IAD6MKG+iIfGKkUIOdp6MyQIQQVUIy7dkn1N5UJ/8d9M6VhgHvm2fpAYotUE4dbfNJZJRRlKZuAJ6yiH8jOHYTHOfBtuAb0cMiUXgnXih3JWBI9jiCkNPzUaQx262QLqQB6pCtcaah/Lqd3v+v7s5ue9Rfv8ufbbCvBf/kblAeFnmbI291h/gOKtXstU4CclJeor7dZeH7oNSCgVSWUZG56Xtsfkqh+XycMb0wQ+BtO5dTZvSRWkJQ1Ywnw4TWk9gxLx0jGyA2isgcylxt8Om6Ge9hFJkIF4jU8G8GbORzv/8x1JX3/75Ur8eymwDfRkOMXevf0Z6A+LCccg5Imek4M2OXUrdnNP4G4GBv1sYvLQKOeKU7Uib5wz0lH+oR/2uJo0mQNd9wklTwAJmeTbicJpAx1e5McfRt2y4R4zRzWOxn9S2nNHq3NxwGz9h/PnVkplwOGz6ZSCv0pLmBs2PFOxv0YoYxaRpPOT9QEFQNmDfpkzA1gtRavu2VfjGmW600pYdPnV4to2f6peivlz7py+BCxF1XTaQ/LNZpZItVjkQ292hC4DhNh/Wq3Fi2yvV2i4F2a8Bz27Zce04ypyhcAoc5qie0X/Cg5k/CRgzHb5vgR5NAPxjuFgXKxY67NGiBegSL4DKzwqjAPwUKJ/UF2Hv7nsMoHVS+7DVRA3u239KlAYYCzYGLTQUEULOWEqEepGW8OHVGQYLnh7WGLDW43fjbI3kV0tG22d06fJUZdFhQ8pDVhLz+2zO0gWMae6EesSOKGviOUVqMzwUCtjY0n5XrIs+EYmhb94LH3DzwosF+a7WFzB9MRbDvXS58e6248Q4i9VL7VziWqWoGHum0oK7PK7FpLow5B8ODl5efiKFrzNwoOaX9aPeDJsIptVFEj5esYMnF+SYSISyiTHEbblGcPweYQSJbcu37WPEybKYECVhlUwZr2W5UaQsl4qFOCJdMKt5PboXm889a6bnerR2KL3RLaNX/TkEQSM8Y8hms1ljuJFyF+KjFA9xww/Cqgt7d1bJu7xu61NxUwpINDVLzeqDRMm+knisKfd6BmaQx8cZ0Wxq4B52ZP/eN/eoA9mJ3dCFUp7rsRZ3wuZnIjW7uxLrtrB0/D1bGpwJeJsiArdKd12EPvxTtL3mh6oVcsPTzboX8mnhsrebUO9d0mbxzJqI+8sgf/4h4g42DN4f3JqCmxpc8kkEOey7G1uWl0XHO5JjXZ+s+iCUimzOefkZiha0qOuemg55oZO9i5vLGLEquhHGAAnfsT1GOV/qSTfuk/6V6RnTJQQ2U/LxchQMbLGiFosgkjAtrRsMDEqfwgwFPqV+C2mJxFUweyBg4l4ivYFlhw4CTz2Gk4t0D8ZeGLjcxAJqsFdAsLMfiNo9TFy1M28FfJ4aD8KEQ0zT/ztKY0/YHLQC1X4dyyqVoBPxeM4M2YmCcGrDusd8KGqa/r7nddtW8OGE2tBN6eB5eB5ZfLmhTvW4WG0R8XWaM7n3ChBbVChPDAhhOQLzIlPtjwyEUJm+DiY7vHytviaBOm06HYse59iX8Fj0W9R85tdifPPb6qcXtClLdKIQgWitKcAgLPOd6wlx7AgOEtEJi31YbTLKrpKAW3Exo5AESSSqEvAkmfjnB243TLXE041xC8v/tGUk2WdvcNIu5vTOuiE9691lPiNBdUhgsORMW6C9FkEhwcb4T+tWuvoxswN7K0l+WxtdMtgExdFkMvt+eH/PoV4PFZeBCtPD79WbGIBuhqQrEpsDzorMJkwd1DCR6/VbI5BvG6grqxn2DOWm6x6v+G1OUcqETVKaL+dZKCkHg3tF/xafjZCXkFvm6ciX7lFciuIw2ijShc5PsAV4rT7xvQNRRV1Qu+4qNOycyK/04AV5R4V7gr1AJGkLnkxdJh7fm5ZqCZhd6sGcfjKMq94VZP57Adh6+zpwmiCqU0UPe/WvhG4Q2Qf7vJmNHzrKRRWyYHEy6rXzwpQ5MFBbNI5bIqOHbrmzhVs9g2152Xr3W6fdmvSqihrUogVlpPHRjN5rYtlkmcUvAORZUe1f+fqn1DiUGc9u6rWMRtFdBB19hOkpsZ9ddTjlHWJXyYm5D/LTANQ/j61pEEI8yotjdfcxIpe0htWdTBsSF3w1QvFRBdQB0Eln4MDfr/09LYg1lGRnDMZRADr6OH7mp6mYUtyO3dD62K49Lb8kDSHrqSjGduatchmvt4Cj4DMvSse26imvCvTTK+r2tngNt/YTXuPh4hVGor7d0uzGH8JO4CSSlvE7FVbutrOtGTmbjN+pLv7se2VgHPGSBI28OCcwDNZBHVagqGi5s8Wvbgzj1ybzaVZhcfKiNOPe58O3muTgun1Ujhm8R+2h+0qTwhiJ/1wbPeDt6+bTqdJ05+6JvYSdK9vDpwcjby0vAys4UaVyntLqeL7En3/LSDZ0D4LEbygo3VpC/zgerfzmCO2bQJg+ebQRm7+h3E+b9YUN83YnxSAcld7LxLMhfEpdimtqAmp4vWScPOhogWrZbeTd7e1Q20NilsoHo8HHZ2621UzpJ0htpLFoVhJIJ1elNk52jyo4Uj5eqcv6D9AQcyhhVHsFuq7uc8fHaatloX+n7dYT3dswxaPYKoqTshK3SeqdgfpDS+6wrreHi94mWD6XJlB+5ePk5UgrIRUO1hYwmliW88/a4QLAs48lkzGPjiug5TjO9nlyc+v10EFF1G6redu8Cd2dsc0XZCuWh3Aase2S+7JonBDUb42BcpJGXEcnX2EXZf0C7KH/FD6NJH5jQSQQyCJ+j4rNmvSAWcrA6tNoPy5JjOixssc2GWJUp3fEOMocE6n1oAMvnAbHaYTTpI5N+XIplqjwlFJ33BsZtnqeLeX/Ilrcw0t9FdDjBEemGafls1nj/K8t8cNJoZoPx6Bx8xDIJk9Rgz6794ekYUlm9uM12hcG+eAcxAEh/uc9NSuf8AnVWCqGRKFnoVhWHA4j5FW/k9RVRww2M9BhrFG9k5rKDyfD2EDa+k+yuyYK8Wn0mKs0Ld7vfkzYHUNR3CuYyz3PFiR7Hu/tX7cdWOlNQ3ExCkzqVOHVWrIWqrWnFfEHYEHSMWTYbjxBn4sbUuipZ0OnR/o4ngrrdsUp2rxhZwArI697p6iU/+1WfQR/VXtA6UU4IqAHM3scxOLMH9rnruhdld7A4ZbaZ2J74AbhYHZfA9mL0aIVTxdTkqZTj8wnCdDBX9N3E91xqTkazaUqzd1JAdjFI+q0m0b0ETDO6+hRnBMsV8L68sgT6hqTSvjDZ606o/hk8PudsScgUzQpGl/dAS6RFtrQr2r5Ge5bk1njT1w5lJBV3MGRSza8gqjwQLL2tEpnBR/SoZeheWUAieu5HziFWbhLGnWi9a/Zqv8Ae3kiQkYxi1LwQ7e2AZ4v/imdLhVktT/O6GEcsjETtgmG6HyZkZxcQ96VKGhYwYziRSY35b4BOMaha0/x+OxM0oet+mTw+aae5rSgBVbbgVjkII/3G+qNzsrxYNzTSF/l/M9/lFr6MMDxrANApBrOPSo800+RSNtVbp1Q3AffE7glsJN9Iy+D2BY00c72ysCKen3sIM8VXRzTe0pnp++hwVj54ojUkw5ZSL8TVRsWDstjOkEneJxFpkhBpkMUpi3tVqBvhlFf9x+EYGfm9Zk5drQuLinajm/ElZwLH7N+6kahlV0Ban2igCxg6v0iW60PyopmsA+ZoFLxBk2rY3zWWOK4RU4MiFHn7N5scN0vKgqSrhWbZZowtKE3Z8UAfFX2nJ81aWCLldMWlpR5Z/5q+tA92tmU5SndWQOgjZlMziDw9tuqVzbPPsxFe7NtZoBxFL7vhXu//wjF6EVNV4EksggiEuNX/Wt4VnSiIUYjsAniR4YmDWnnYdhYG2753txXQF9tp4uSCyqvng329FVAgNq4vSFlMbMrCqDgG3JM4eZO1Do6UwfNBcw+6/P5mNEr/2UxFQaUyGvndtXl6qJautpznwGPy5Py4MOCGpElv/GKYW4nQ7ktgqz2wTDqIftDSSRsPekffAYdeFiaIrKKR37PEWj23XJopidf0ojcOv9k8Azz6z0ZyyIlsvA7zPsWGxW9zFNORSYwCOZzay7Vo3RAjruKzIl8AfKrfkZvZSoz4I20dnmJRcdhlU1TEvLIhnFhEm44VpVrhUXL8Ak7rJ434O+TcLdVfwPxZ/BUzTllABW5lpXglatDVnMuehjp++mdM8xpTEcOz+N7iz2YSgTNn08gGvEq695I91Zf1ErfUFCU0NTdmKiBqfLA+W/whDD3xY3vcOegUINrNglMiZ1vd09l1s1mAyUkzB6TVyn+Gmk49CY4Aue2zZKbX8MMNUIgktaO8PAsNL55ktCJUMk0Dbu1DbD9omNf7mBHtIup7ZNC0RtxyX3NDvd73Rk9hj1VrvJpQMFVxGAHZwnXc0PIimO2JEl+ZU3CqQXekrnZQjb1IY9FbOAxpCCvtTqyvZyDpFbIz+PvinVRr+LwAxQmhQPCzZKEW/U0dnA9Hb7eBzjRtxcX0hNcV23PYkrjF0nIvxKOh7AdK2FLPFylPwi3D10BCaK1vEeCc+4AXUgcYCmZmB+kPScZtAOJigUS5gJcSdwkARv8lvpfDKrk/tIt2+V9371WSe8vIxt+EIfebBaUH9xg1sCEVRW0L72Nt+c5ggwIGWjXeSDlqis5piwrq7WkTDHehlB8AtRVnsIV+8XPr0rAofsuRyiyi5tyann5qPm3gK/4KP2kl7c7WGohFtJ5gQCjCT4Plbsmh7HZmyF9UoRlET4LBzY7dT4YWJ/QByBDAM7vnZLwXGA9DlTzWzFnZ0zm2OSCNyMUd22n8cG7BlKCZEMgAPulGRaHpXbuSHcwFkiOcGAV9L0YZVVw81sAX8zZtuFsMP6BaP/WRCNOjqa/jZrPo1+J7RjG89C1vpHGexX2Lduua3dxgMLp7QKcXtBG7MDFq7GkfHmiHyBYnWziZcRs+uy3JED5gdydPOEjUHOx2Ub5oAXWpg/NWV9jjsERp503MhrivgqO6kutJKA96tYjr66Tcwzs6OpKhii8Xu0u/OZns6dVAZrnR1sdVPHZwXQ7ZoG9IigBjUje7mkc8Pzyu2OsnNIjJWzv1HtVkATSPwBun7uUfFjwq+PUs/f5DgzdagwAbIb7aTkrIlliFxh2hBls3JnK98nwpqwKt9AsIOWVCzfMMmEgS6z9hfDlITEcg+QG/j9vedPEq7oIQtTOLzd5UhExSjmbxa0jD5ri6ugJJwfMAnwZ/OU26hak3Tx+SAZFVjRtDpVDoRVhAr1OfhQlr/9gJ4YKO4teRDhTCTkaQQ1JyLDyixUWLkkdr2lcw7Wjbhpbf5qxAlk5ibcC+PfqUvdoVEu+8GPt9uvvFNpQwvmdL0NyvLy/WgeNj8iF+eV3XqbowzO566PsdysDKgL/e7Rh7S9Wgela4IXNka5gXJPz/JVF12jJLTuCPLecM0QF3rX1dT2q9D+F7p7CpXGV4H41oyefK5spV8ufAY7TSDJ+zJjk0SQzpoW9cImHB+7Fn8UdaHtmjHYyGZ9JMsVuAwIGEoyjvaJ3rfSM+wm9Y55IHBV9D6pTEKt6aYXPePmsQmSFRNKjGCKaY1XV5mdKZQBlmBKpS9I4iVqZlCoSwDCB44C+fmTvJPD+OzcmruCZK/Ne/GrYnKkM8MKWrat611GQiiTl+mhqAYxSqLIlptQk0eBEt8xX6IGdtuKmVpi0kCv9ovuofU5jaM34qs4V9FOt8N9wn+5vFLni2lXW+CwcsodzNYLS4/n7IFczuZ8l2Gk5vZLDo34U05kF032fB7sd36Z9e/T3QagXcCqx8GS4c8fYT20CNnP9JPkEX9OvL5e07UPP0oMtsxwaPMQwzt5K/l5+nD8XGeopmZJe4sDs1hkaWo5R4ypLiy5jUDZ2JgwQ8Viws3mKdps0IxTdAp4RiLemNwcYQkKCRiDXOymINvaMwVvwM6RNn+rq7wiCL7ELPuHO62dSUrivNAIJ5MJ3UKuCA/kAa3AZKZOHCnxvHXmlYLdePbPAEE73WrecwpyAaO7BHZDAnkX9MHSaUYm5/Fjy1agAWriCf1nKRQkPfR2QVhH38NWCjdpttaksOUOgC3X3oll9QrHtSdA2iViuQAsyMi5lXAbea6zx9HXVs/lnHFNHuC40pNNTI2F9clPXk9lv7zySF3YCRtjOYn+aR6JTnypfk0wVgZpIlHJvX5ZZq7U5Buer6io2ulThftNcsNvEXSX60rXyfjdO+VSw2dMLnP12u5XzWYb81Qzn/rmxaXF8RuuhPFZsYQ0/TYnmAObNxzNImArTL2MVJR/kn6mjGOw5Gu2CT4UFO3iVIQatipiCahOTm8QqHJBKOzyfg+xtHIHbk1rXoAXzn1HSdPEy3D4Nlh7jyVrdyDuCWR4wSMqf097/U+zwwA5eSU/hYll8BD/8bj691WqSJCvzbERlunGJUvB+MvqRtLOj0pto0IogM8yKlfSPYys0IbdJ5arVEpqiSLd4u2Cg2bTxNRS4sXJ8ChASy2JosIwOoqQRFXZRDOTwS36/wupg37mfLRVgUjPITYLP2H16azF9AybsUROA3mH1T9AJ1x1gZ7kGBORItUsykAV4CK7iAhUreKaUnpmLTV9oDhs1WSsfWOI+mRwxrDzz3xwrXtkl5qn/Buz7Wh6EvNwMryWSGj/ojDN8qX0utAfacN2B2e0hqWv2dOVIrtVHa5VJMA0Q6TG79v3t4RtMV2FkosT+PNDvZe0fiVZN4KeXCmVIZuXpFvse+naXoanTDVhCHY9J4s23J/ZfHY8K6VLKiGlX44IoJfoGjuCzyIrOrVZ/iwUvnvZnfi0lBebO5l6QXy1krqXySLCIT6XqScvRGZR2o6IYM5UUmN1LircfnPbnsqK+4MTQ/XCpXAu1ZOnCABcpB8w6DCDoyntICNodcD+qrSLg/oIXHwD7pmC/NAoeuOzKZMhPW7C0trWxvxts8VmfHQwx7jdY3pgaXIyfbgwxBtuBgawwsIvZKH9KwVgjH18CYZVLvdotaGE6274bFlosjOPpAFuAaZDeSzOAQOcC2pOQl5yX79xvBsqEhY5DLldYm1q+oS9hvX3ALP1KhHAVASRzKJnXXutC2vLpef3z89Bg2Z2LcBx+bz2jPT7Sv4bOIBfp9JuIUQO2mcH03oqu5JZk7xpHtwf8iiAmV6IdqnlUyLI4LauOyPTufvfhHeLCcGySkmCLV80rphjASuGA9HvqhoBCcoMnwjialKE0Lv7Zwx6kNIfMkH1cASj2DffBe23l4DXxjg5BmaSdzVe3Okb4xe5aHy0YwBlg2G3YI7IFPxl32LVPff2fDxjTFvbx+PsTUqP91kULdfYpeMcn+rIPDjUCcKAlLjnhVDMsh4qH7W2luh665mEJIBtZlB5KCtmOEe0TOE83j/1wNOhMEzd0ifxm7SNl2SZXtOQi8S+V3XFuS0psIATWXo4UxKIeq6RmK16q0rZnrSXOB+Vl1zjuTbfegScGBmoMW5ifUCaGlBpAcqdcFVfLa7yo8/fyB4Mfn6wJyJ16f2G5YGP51zKrzEAqOdPtErPbxYD7gkgQl7P7dxe+8jw7KIA6w3z7fVm3GUVGEBFO4UqF9VT9yM0nqwU4WIPIWGJXrMFDig61z6yCCDEzvlATagF+vToOrVTpR+lAr5kwMHG7hn6BLLhKRBK7Pz5HqzRZzKKH0ErIiDD5Bm6W+0dnt5B28l6U0pLqMXsju6GrXPAy6sIFRuvQjGIclYcqfAUnyp8aX231WLOYXTPZSW4kB3GZGURfOy6wTYQ5g+oQzCdmqkFFe7qFawcixC80jj5AEMiNjAn0PgG+6y11MOWjiQxx61PRiBE6hm6HOhY4d7MDzydS+C/c4RB2bDdSljUBoSo4Vcd7kvXg1vceYcIzUzB0lFP7+AZqeVQEw8B5h9gBlob+cJBhrHGr/9Ku1+C8RwWCemsMyP0l1mysqH+pkXGAaPM1yxOMFGvEVHNAgdq1mTOIiZBbDehO9MNixNul6KN9zekKC0CLLdZ4qZOb8+VVVbMVbs4KUdV0fSmYw0QOkjK5QtgD3SWl+QRcaXKRYCwF4wwbO2EfFOfmXGbvh7k8RBUyQRddGgb3+5ZBTpVgo+l3JEF22JY7ijzfD5B6Tx6FWxG11qLbu5P8nKHliEKgdr7Pwky5uOaqPp29ltzD7PovLe8gnyRIWILn6XMgdUxXX6OlgVUqHLhCtBU86hhhjtPiIG2t6d5lhl7dY+JQVtgPFzYYXRHzsWzcecmWwDcBXQg5W62GECkPGPctJZu6TaNxfx72uQOCSX5L5X19aGC3VDr1hsmYefLSQ+1/wvATcQG1XFVuaHUkYduBa7yrScFPk3ZjRs/Xai5ultEfauHb63kWEB/jlCpt+n8fphe6MqkjkakRDjJ+i2DiAh08o15Xd5bupD+6y0m6dxkvaUdUMZ2UfnYCYdCt4MF2gK0I9uhrb+ibXXFOAelHrwM7S3BmPjem5TASoAITFlnyPsukzLNG8dHVYwExubdg8W3iE2WNOz1tfh1ErkIgvrrG17TL0LlH2iFDoV/chpOa51kZPeLKfmNRqip09bNQPYYBR8MaNNxzGPRwFA4MGxux/RHwx1Wfw0IhjK7db5pkfhSeepUiwd586cGJtwdvZqaQpTjYtFz05Qpfbw/atsAo019OHm8yl/z8K6K0S25DO10gmbSAoXXWg/A6eXBug5t6xyv4zdmMRoi0D3nsC9qmS9Xc2T+UhSyT6tb5Fptfe/SU1rRQZZdaw+EDe5geSkKkckyVmDgl+p/bZYnt3jHN25tKZ1Ceth+TkOE/HZCkz5S4LWDcylEjS92oqrjkQ+PrnWZoBvnk8DlaEgiCQA2Cb/JC9RLEDWwkqMYuKyA4ly+pFGbALQPrQIYBH4adU84vfD4DpByqFRgyfCl519rDjliFpUTySiQ9jmC4cxPtMAQtbI9ZEWfDIF88699NTRtd9dpBkEmHl7/n26FJyFfo0TKbOoRH6GjXuxN2zjgWUl6AlyNlbaRohQqseAx2ZIA3SZbJc6cGr8t5SD1rYoRX749TN/2aZjxkRRduzVlNTj1neOvRiBfxBmKu+DnxD2HcDq8kPDw/5XRqoG/XCd20XTHXk3Gop4FCMbpcHnoobWVSB33+gaOM0qVrA96mHYsIfF9t5NtoTMPBY3gv5H7GA2g7oVY1/hO9nkHnfEJF6Y7qsjhGpcrMlaoA4p9PsWKY15feKdOVOal7DNWY23xv88cFMK98fjKJ18cO5aNpxwruqEzEUBnNb8rOc6URQOeHX2QW/u8i/jzHiKRerC6hdVbIvDQuSn1nNul8EoHJKh56chaD3GYjnCXBS9dQOG4/bQYHC6IB4hcoFapB9nhQVOr9IvLKhFLYdUKrvgW9dCjuMZU6CeOVSsa32PCJ+XRkrvoD0AEVC5EMjoYwZuI2gBt53+dTm3xVgzFhI426c1Qh9TzCTbnjXjIX0bynkXeu2CgYnyA3arSiFCbXrJChELXJqdCDZvwfRJsYy+DXYZ6o7N9uwY8pSPKmanQxXkOAAKeg3oHbS3AAQ3GTi/VwH6spIxGivlXBSFNqDg5xuGf8Uga4A1qCZbY8FxzL/q6N10EKtT6ilSx7bbo3BscjOaG6lQGuSCBu8TvospjZ2w21/qUv9/zlz5L7qLoWSpfmVhltV/whhnvZ2OGlAiBGtgv8rIkolWjlwWTzNPQ1g7tKOp02/Zjt6EVPlPY/T5KTcwuQFhepDd3MUyXl9gUOO3vpFwmAbIsEeQQhcHuGMU+KIZSVfjRFtU4bdWKCYHgb+gHjIHgKuJogSP3/9lOm6bDQ1QrDeembIxSZRiv9N5RemYwQww6diUzXWAJxFtwDKESR375sLdz/tyKZuIE1JgsYUgBctQtWCGtwsK1W4EJivc542J9Qa1dyCs4YeqxdhlYaWbmpvByRRcq5TBRBw1OAmUq2rTAzhfu+lfamxRtL7vhORYwaDvl/fiPgScBWa6rdf8gKR57xPhYwNL/2/QdIgcYmhknERD/NzY3Mh1t/2ISI6IJT6o7hhRuL01E838UBVAuOCVsPUuP3+GEQAy3GMCBLKMQ/CXzmmo3nq+udbFxTonQUfR1hA6IxrwBZnSXwYSQ4RArzeudWvWXkvK/WxLs8Hgf9ZOpAuyfXgrJy+gJvWBkN+g2Q4ena/Kqdr+ohkanHNqSepora34+Ch7IaxT7sWRxfjtPvg64+/tfDQoT1TC6XvKjJe6BWPVclaim8vXzP3dqWjhSMSU2WiSj13da636xCvz+fLxVSTqGzDeAYxbc86o6yIOw++P9Gk8SXXmmQYCbEGS2astF0iid94Z2pdlNGiqc04TRmOQpQTgEED85wlNoXNxj/E4wVYlfmjQl0vdSqCn0FLWRjwnIAZAcYH24dBzGTIvEQUYkpGHmLS+4/SvLMqh4XJvUYKwAYsivXbWpLlHeNY1MfwIeBBl2j+U4Vhv3fLOPOorQ9l0sM4NOIOm13rYiGPHor1/kNMJsTL5Pn14whywMd5rN8AfKK7nWbtiaTZMlk5UMo5j6cwy+6CGtLJuYueEQ+pY5n8ty87OLVONtqbWrTUuymcIBTt+XhlqZRPvRbS7tBsv4Ji6+9O00oWGW4ezLCxfCE1hJ7M3++Jz4bcGqQDKCVOx/BFPFdhr4GrEM6UshWH7pErk1Fjjdu3btt56hz8bbzpO4olY6k3YyzGs00TeBNsVi/JnwFkXS+TnaYA2O9zKdGFItuzLPJYe8IzylN7csfM0RWSar71k4qSlEWYdmsNiM2Fud86k7LnDbQ1ijTGJOGStx4ViZ7HWbQd1pyxComtuYNnXQutmxnc7mQuFWsLmenTu4Gmgf6KPwwNrvKElRKddwIwDdPPyqzbTb6YkzW00PQEYOqvosaMywbRNeo+8dXz7qr0bJeFIo/440a/66gegHLD4PDnzt3plxEH14GE75JdlivKgdT8Afc1aUBxQqvf+bS9UHuQGoq4fYD538zLOO/FPtL1/15nYXG2KUGrjhurQx1mq4SwJXxrqwyUFE+gnzwzPftoko9HoLl2hwrCaYp9EB5/+IEP24BwvhsYYmKV6oEsFgnTbv0H5E7tzZmInse2ud9XjJCwnX/Bjw/WUOOrLrjaf2GAQ1Grmsd0mX0DKoq8UtmWRu7ZiF12vwoM2iR1lWsD40Nyl9MvP8S4/Xz+Pt9+PRPRTC6/koBniEV5u4QkgPFXX9GpWUVMuumzESrhinH4KQkkjvIHc2bmnA1/YMrIBOebjEzMV3MRbral+IqLvajsAhUcwM7AcKWJigVLULdO56d7GMLlGZ3RPT6hjNIkryfS/3sD3gZDgLe2ZwZQ6bviSnPa5w9oOXI/D2+a7PnT388jQOlL2VQWVuU+QkZTShvTFzg1dQSp3yNlN2+0Zljzja7fXAjvCUeegHsOKt0+TOJO3fuI+o/NXNl3aB2kpVuS+3bPtRu8gd7q6o7PvE4C201wcO4XslSiWtNU/yOsKcuYc1xVxF19SB/DrbFw9l9I44mbvbeVbonYaP5SRSkxHteJPtGpUvGKwlonh9BarPAHrPQVSBknSPFXzl2ILau0usotIuLjTRCljIZMb8GfMwKlZQ6rtZyhk2TeTXdEWEYENlZNbySYweaG0Pqg/jaC4JJEuvyN+SGfupiKfrcV5d3/0+jPFeCqGAVxAJcDhCMkOa9p5kIfg/P7I5oAyUOkbZSioBxhJUJpcate6e2kTVB/O5VVPM95SBlIbu1w23cwJ4LsQXpNXxjTYaeTryFqpFKT1FgVGNJ1SBtcvZWl6hKmdx8/iuWEDNYIoIQOiwR6UBEfIFWbnT7Rd5CfXpzDpSBeOXN71U7fHr542ME8AldIFfxvBAB3zjNynLwlkjFD6ZJxsbztCoSqQPUMPU6k7zh0oiSktda0nEdAlC9hTUDGMzHT8D3ywLsRjyz9afIksbeKfCzOBL2QYqpJ8cUjwoGP4fXjoFpHhBpapSKzgFwworzeFYsU3XQFpE4DdCEaHnIRnmWEtRd+i6bSI5D8mk04fE1iIX7rwi2LTXYS4rbF615RpK9eEWgrsrQPv3eMx3VK1dRd09x6qqt/i0fqgViDIAgxTMya9Q0uNem2eQHkCYgwkgzPZqbIfXzzGeYlNUCDxUaJDOPyHine1ScdS929be2+35qtmyRMZdTBBV6StB4REFqEADBiJSRJJFK+JO29J/MnSAmwmLD0BPTjuHGSpqS608+eWzAe1vfN4vHVcuYvqhItR4zR3dDl9LGChiEriuQ3KuEPJ80KMkuTRrvISFMetObPBBOJ9LoPCe1azyuPfbg6Y6GoSKMo9IS7DRb7/ELx6knKvXuVLhJ5FREROcv88WtYmeqKUEWHge6qbuq6yDliLcvLa77UDhR5yugZbrZyLD5YnyDXXZwOzSmLs3gAA/DGduvKR0RcjDViA2qjCXFqX0tSHUCy3e+hYgyD1e66fbBq4pkuFguNqqeZBPZxn++0LaVThOiLoIjgIvhMkqFHHJ7gP3+XTTlrB/ZXdAUpWmMbygE2RxxGVbk34Tuokt1GP/McGuHKAufyweWqV+V5zcfdx1/C0wNUbAmN5ifoR11qvaNgxh/cdy1s1qdL/cieAqLnL/7URmCWIuxhW81foKKTYdApK+Sn0dVA60RBI1E5F/wB6h/m99YxINUn32iPOfRWDc8VlWUB1nHM44vnMXcy+VRW6FA4nzG2ZbKpQe3HVcb/Tlol+xoPW4nEUAe/wCIOsYGXTVVxnmGSNYDI6SVKjaQjxKtAbVHftCFbGqXRyF3ZR/f2jrkzQ4/e0A9EgX1LhJz3s2qcCYe7qfQUTt91daF4GIFx9G0H3D2hiCbkEr7vmEwae5j1erurEWDKiWlJrbXinXsHKXuBQRpqDgvC6f8BXQ96vmDHASbAnoh+UcEY4NvraQj6IXpPkV/Z+ioXd6p63YDuWRjkrtxe+qRqABNkzqiY+rE2+znJQgK1FIg7uzBK/W7dJewLCMz+Nu+tMUd3ok+L7YIvDavVVZ9iDUSePpRoIBM2yFmOW6HFTuPFYGuxYZLDNF5FVNGv+dZE7Lmm40foZpN85CagNSI/j/0InEAJlAgh57BVq2pWtlNO5QmDmDv+ZqT50trYY3/HtqpQzgPslhxfynzgXlBB5oX3VW9M1qFzDNurGCshUrvmbtuEe/1tubxyJcg1M5RRkmwUxUWwzzUjvdFOV0nddEYMaw1TKA8PIO3LcP4MmgcwDMBn5tyWBreZ50ssmR/nrMG/uD7zVQ3XFtXSNAeuLgUCROkE4cXj07yVEU8M1ygfwIcoH3n/cEPhOl4qnGVVLdL04l0Qgsn0Q/KURV7I2kBjU87vDla+UxXAzNSmeVAYUlSYwAZRRMQT1T/xBIr6zNCb9p+ZrTEryGTonaKsl51iK67Sic4xXvvdBNRa4qYvXYOrkkc0peZQKFl8Wm1B7CpJhrm28q2NYXoSRdzKHeI+PQ41Emtx75PR5biheGN+tYqrYom42C1qC5cJCf+/VVmyjnS4+W2XL+6WI06Jtk/RxdJcZKrFtineSeVAXm2Ya8f8YSaPRa9npG0DyBMliYE0h3wmUP4hxS8XFR+tIDumb9KwADsgC1DdXP+W77i9kn5KI9mZ+dm2DH9A2FqlZh3ADGig8tNRZvssi3v5B5Z+ejNxXdrb/Q+oeaWN7QwKQsdivewGq39mrT3ueACFwJeG9811IriTh+oTA8jfcXc0R+frqp3UiWLQ7AgYd2xvvqI83KoNmxz04c9tWLso+4fdlatj7XduX2d7t7Y4eaHxsagMz8xE06DKJdkii6y2yED2/86ZBetjfNa4dLu9B0klOMMjyaU+yHWe3Yc4YZVQyeiDQSmnvyHlzXt33ldykP8HOosJOXvCMHSjPAROXrGT238qrlDLBfQW8TD+XPKT6hgKLzhm9PJWB8QjHMzBX9uBaMyrafB8t6GI+cqeNiwVeG9I5omHMP4Vj7dVo2vUK6xkw0qe17uDpiNUOSDLfpUA5yHgJiGBorcuDq/m42rIS6y2mdXwtNr8x24vG9QtwT8nurQgoBh+/ApfgZ9KAiBvsUlZ9+/fdmxwZixyS7FiG84Nqochd1jeKgXHRUfL5/xhPifAJWbknaAaCNq37geQJoU0UvWQ4sxnMkPhxG9MGy4xqAKaixw6bpbrF6vjD0k8bKHaWCbakXvQv3hYnrSkPyEgtVP7TuC+XDpkl0KSH3Ui5SKa3Vw+Y9v81+Zl7/vKEM7FC5ajuuAfupNbKMsMffkgd2iR3FcIac+gvhN4tz2Il7UE/nieY/DdpSt87RsSs+5YTpk4Mn6EfosJfq9eygGplnOKcVolBXI6FPlHSypBgqOtsLNNhLr1Wrp+OtEp4OI9EPzxfKTm5iczTL+2o437zF0tUiizksLnSnKJCukjFRAe1strvnCpf0I57amuuciT9UMZmk3kvsVU/zUk9obMBYh5erPWs3k+hQdWXf1loNNvuOSv7GlT22jPQabTy57S2C7GDgoxi9hn0T5/jQaWYCCH0KnBf9AuKFdbmgZnsr0EdrFa+y1u1KQmfY8jtPcQ8U3oFT5p1u0no7jESoBJwitUqNjQUCRjytmAQ/EZ+PJZ9RY2rvFDCSglU2eeL4h1JJGONcCR37OvOghNSJcFmUho1dQ00JYvU8J/1YseATGY63T5h6rNH4USfBEIQvF73A7YTqvEPyjCyfDgAHL7/wOp2P+qGd6K7up0+MRu8ahZt/GgabHD1XNVY5QeMV5SP08XEAd513UPz1z3VOjVn9auwiGBSHp0ihL1Um8lloB58NW0fB6tFma1UoZ5uMUciXMCC2vLjvA3Y/zBGNlNugFbmpXV0K8Rou3bultnS//b2faZpKkmcFSsHYzwsO3udWN7BfC6fofJsjIVLrZ0JLuhqsktT3+F6bDhLVvAsZpc8mOdj30hMcOtjSb2b0oLCLo+vRzWPrpJNkpFB5QHHevXueVlqJn3Jn9a4Gm0EGCJ1TDz4HAJCbFqFvkpI7MsqxopSpExDt2y/rkntOLoHbqVO4OxoZdSznDmDKaGG0UQ/U51tuKm29WFAz75Wqs2bvHO55Ol0/JmRkdNPh68TxaMauf0vBvodw+zIMYT6uMbokhgASAnk46vAxPdWs7AdJB74ij68K8mCLnQMSekzIO+fC/v/n0ebOqAYHPtms/CoOOXi7pfYcT8JLqXZbfJCjtI6clVuxArL4pBkwFwlcEg9TzOZpaG8gOKfutnPQijoYR/IJAOXgUsuDqKy6a4kjlH1NHzcrQCTBibRxG1kfVaZBbwA51j9aj/OAtz5Th9Li2eo0qdhksuFoGmQrMRO7zgLAtg93Z3+DhWimCjswtG6QcR7q7rTCvuDJPdWa3gTmlrlinAYZKcwErdzcMMViKOZUkimFrKsuKJuv+ADrqguMjHp0E9T4IMA0FzWdJO7+PWdx6nGQaNsBJBnk8XSi8VP6E3l75u/xFcgu6OOqFSx9XjyMxwJqa0/nbJzIff2OTt3aeIjMkR8c8eMNWVmhI8MYKcL1StyEMBI1tycC3VqFYW+yJlTt8pZREwII3QtR2MX+78/6IrAdsDRKcpfgDUOylGru8iZSybASttw3l2cI44Ce2+Id+p/C9tnji4Vb9SxnrDWmhGw/zz0Ovvwgv8vKzCOuFcCpF+opHVa8MtpAi97bjyWJpo6uzUtxg3xuUXc4PyhyndB1zZWFQhDPwGLV9yxBmkBMIc0tsHvB+YBHJsCzYSpDMBAfIEEbCTNwda9bzdazAocIPMPT/5xptdPaZZ6iZliqku6z2yJukMpGvkB90uC4mb4avCkqfOG42d/K3nKCsQaUfISFf3aGVlcO+Y670fC6NF9J2k0LrBf7gDgDqpuHLXRlVmsHNAFMt4E+ZpfcWutOGtNpr5dV4xCz2ogHSWqTmqXif8DuuXU3rOFyM3rECA+0dB72ehCNn1ibFbK7bKI8oroJyyUjukHjbJqzypdzfI6qfn48tEkxk1uQ7jDp7UPLaao/fvxGQcjRS060TqKoO3g/E+iFbJDHMymU9ufvqU1Vf1s5YtEz7l7vJC30aSwOOwcwFN97XgRd/1X/zFOfKC7bQR1XIP586GV6BKjEyu68GTW9UEf37nsX+TUJgwImLEdbDAE2xawDSAc/z4gzP1kID2502sCqobf6fNvvvC9y0tCjyq29P/80KACkyt3P+1tWzewTPL1VsmautuLooMY3f4DFy/q85GnLdb/HGH5RCEMPaHWVoAtYXL811yEQlTKAWZ7G0cj64AmLgCBO+J0bPjRSJprvDBv+gHEplJcGRD7oOPqujIS6gGLUDrDzg7ZZLXZELBjYltTVIl47A6VRyMA3J4zWhZStoYqB/FLYwmb9uipoTmZGHp+0LRzeLYrBmP0lUk/YMrsToRjmnOW7dyqej3uTVdvY1vqqZJHHl92xxtqp0+DcqsVn5IcMcGygXsNAJqbbzqjMsesbtfgtVNe1ZgZSHZzKvLTSJUx9nNf36lS+m2ngn9jIcXxdvsvvxZ/A6/bJYOOQAtb54TG6jfmag8pEm4/rH5e8vM0lHoNPYh/OTWXEGilh5gac3dxmBuLX4xXuFg1U3/JrbimXR7gUU0uzY4MnO1xYRiZI1xaJBnFfFaJym85kEw8TnfEEaY/JjIk47RoyxNjfhVd7tmGml66xgUJRSJVFYAeR5aPw7YhBSQBEcwBO+IlUx+bp3GeExGJzFaUv4OCEbrhduwy/3DLp57baz8xJd/3L6go/QdRZ1ON4cqLu2EOfupq2rKb9kC4Jtog+8h3+H3c7L5dzyPcNz6Z/FqDH/nQpnStqQM7Okdui4sVsV/cAlTReESpp89xlxRxt5N5uy+uqUxUfiTisruddUro0QbDfEsSpios3L9LJGYZJI3o/9PFw3ORGBwcPaqtTd5vzTZCLu4m+kpwQNT2+ciY/YVHo67wD8yRa/IvUUsN7+Z4huzO3oRVkgnr1JrN3Wjd1CLuUPYSGHsx9e5aEep11OThR8UrJKYSX3+azfEQ/AZPBnhqopXaiITx3WHsNWk/LvRb1pe9pM0mems9Tzmu4bDeUpcEIO2k/3IMiqocYPaZ5I0dombJstH2iwZQMgaSZAjyJ4k9A9CVjeljcTkl29DctQ5hXkHoTy/oaGO6vAYbWgoSCjRKewd4c2LMjkyi6rDnHotnCofPGsvShdCSVAR8tLeUbqpCViJH+IAlZXr4LlZ4QBV8WyZA0iGtWncepgn8X+GX64+tBz1vkse2sEvVGA7hvu/r24W01cuRmao43vjpfk803RZVzFlWwaRYsq2H4t/wjW822mFVmXMaFfNs9Hf0b4TxABMfD90NHfI3+oUB9oLVdwKcc7q3uSsus8NCx9c99Jn33GIuZuPoGQZGUXTCKNEVN4g5PKpzY7PmJrPjr+/Akadwk3neSFZ135ZQjJ+UACfNoZC0xvJZnn/THgRblZ7HS34PzlGOuP4lktwp2WAw1VfIjP9G8iFQ+DmJSkUNFPaTXPahEVdUInP8j50z5znjZJ8xkzFEdVsPqNwe3FucC0GIhzF2+T2AWiOh0XeLJkDB8hNIcdfEdVJQjkDNsBqiMwWBiM/HqIUku/i5XtwexHIz/IwkoW+0O5geJLEkW1d0mfF+rc1ckUnVAefzLjQxpyl5olPMEZioIwi52DTtPiLj073yoWV1Y55B2XsT8VM1iJt5B1xC2zaKDSTBczheNFNzaihl5TuuOD50ku9/Po4WXr5EXceFWNn2A2NCOMXNZxnZBQFYqcBdG1VPsqAmUTlGvlYLvBXV8jm/kU6nqAphZ6AAB0oQWXLvPrSnDR4wTZT2y9QkfQpws2/bf0cnpLdOU/+RbpMlMcq0ys4+J0KisAiMjvLVY0NxI8N6G6TJeeDJmG9OvDCyHUTWwwbql4+Yds7SS1TM92i8+T8KL7qUEBjJ8MBTVB3UL1DsGoQRrCpKaSYJE54XkwZrCmvJDmzlZKSFyKu09bcE1kwN4wbzsyC1ESgX0V6z3g55I/DOQCpmy+A0YCp3VXOx35fqomKUgELaPgMa1e0rybXoNIzUurbn/maddykoWDr9F7QkAkUWXbFE8kAzYPFS0uAXjG8rObtLB8ZXYU3/sJ2GINveOpv1xRdYhswVt+wIqUWHMFy11fl/QLgepWrOiLoYpwoHa4nCRqFA6lmRtuY8xHXx+ehWEHln2Gzn9/eYG+tYsuDytmg9z88PAAUPtv94cIBog76NRWdRUs+Y345qkSeJ8YPXJsL9pEMW7ugwowjrgeCxoNp0LlhBi0cIPDmS9a/ynYCCM81NP5VFMqAsELt6EYa8KLxtzL7zyUcqxcnHxU8o4sEEGr6FMs52czyrMy3vAip045Jm93EFOssG0mkH69o8YVELKFL6PkRI3NmofOYhknCBjIn2uNp8jUHuPlz2+EPOoaOs+pLqS3yq91EsdudrKBpA14OAecG5qi3urwbx2W4k4ceo/sHrfIXTlGQmLKHcC24ciiYFzgl1Mrelg0jOSlveoUPviNN5/oITS8GTd8CoWIChZrxLZbWjKFEtvLAtVv6rwfGpZAdvIaVJy8kksPK3vC2RmFFDHlNDWr/nKfsEUMmXL4UVVZ6TsuGsJfHm5b/nGbYxQ2JgTbEjDOyYu7cqfIG3y6Ba31C2nbxeujuqK+8B6SAVcBhSECcA8rDRXMq2xBVZtLh+wUWJ/Sq/0i8V1pDMcvhx4/N/NSR4iamn9SfAAkGmfUnl0bUJkl01HkJgJdqdk7FWxQ+BBRK+oviAN4/fX0Y9VxFKKk8Cxofn7XWhpPTErbiGTRY5m6pwGAy8h0xJYUsCdw30aHbcStVH0a9n4qoYXcFlMyKeATLWNozdCk2xDLOzxp9PHIX9sqA1YTA/fXwO91/m7UfDqhRy71zkluJTIc8tOK2+sybJLjui726zEL5mkXbTdbSf6BpGjEBuwQkfa1VtqBBZmm6ZC7qahgUpYS8E9RuzXFj0W5v6PyoqM0I/ljxNEybIDzTAlbUhngfd1LcdrTLM6J0mmhfP1307eoTiabCqakvIhtr9LFhtK7oOyG76gWLW9QHXuyKGRMHO5Jzjme8sKsvouJHx71LKqEgTaQExn/pYZkzLLwycxvFVOwFyfwLSBwQYQ62vaMsjyYnjlO6nCd7vFH1QU53oEKXajnn1wPTdz52+2HieZ3ZUOYlCXqxaiH5/5EJQbPdRPxNVN6y2IbdwTbXMqhMfsdy+75BK3labQK1ueqBuQ5nJRMhVbJZMDPz6aFym19uV34h7hCdyhDYJiUzlgCiT9uaqU1tCcbP72h4LbzOiRDXLdHcFaPODLMs81lJ48FKXuCUhwlRhOMOUApt+Il4LnwlRvmmfsoSQxUwG920wdq83X5H9udcacOUkqkXA3iIjSG4VFQxZV9up+1kQxw6ESCLcEQ8q00pIgbAXt71QC9eVdzxUzQN1S2nD/bMQB+FZmiNgIOJeGbr8mGMt6JTIeA8pjEz5RfXYqAau400nC/zlb+bVE5poCEgknsWIsaJjbrS2LTvcMuLwhzj00cN7wTkkEfGFP0au8b+X/gauQURdoFjiAR+fQYQjhdf17ynv0SLBfAH2hv1uCmMP5BfzzOAg7RsTpsgq4SB2jKHOaHb5NXFNt25K04dWhunJ35KIaaobwo1WryEo7Ozame5+zvGfTlR0j8A+0xHdNuhL4JseYq2odj5m4y61mtu27TrztnNI0Uf70y6tZvdxjgyk+Lo7Y1p9R3AhVQdEt0jSvj2BqwFw0UuWThJhIlLvNS0Fdq87xb8V9WiXu3J9AOAVq/7RH4CNnrhiOVCf6iQcIFzkEOc2lD+wh1WkowjYD7ETX1pI9zgojyiFPyUfPZZ9W1afKk7ZIbBxfH6JOCzJZZaXx1OUbAw9n6Zxkt8EExn+djTX/nrm6zrYyRCnNfvdcCQ57PNoPKPJfY6uOZ3g+I0yLUBbP5zeUK08UW5BYqupQ2giKdhMIiar73aor79JKoO3ONgLdjgpRa92xfyjsyS+o2utprBc7g+Jcaj/2y1iixalk+whbO445hCM0PQ47H+H8H6d3QlcPJY1tfdeLs5Rqn24UATyvHz6EdKK4HSGPWABZSunHBZn1aO+xktya8g5e9n+ZIPG2eNoERqpiiHrQAacrr4/rF+Pw9X+g7klGzhqgXC+fwjGEUm/MwWJKjOCfWy1s2hxHQrytrSJV6IabpMhfwUuN86+cDWrHrcxn/eh09Ud2yIXKEnQlKEjU1UAMlf3+1DPnVAZuMa3Q3YCrBloTR47qTe1zmoQmJKOgPTzowY2/v/Av0G2gwMH4AcSRz7PV2qVtQVP0PXDbJYsaLChursiEwEClIeDKYevw66yxazDF3TNbKhexdR1iI9eh/OynPTtrFq16Gzbs/oRZK0xpJmDEAfN6O+VlcuoCK+1MOsMwjk6ZHumPSQ4YqThUt3laiR5LdxFMGNQYpsnhgUTGVMQNXqaVMvTjEbvOTLZIBoxVMkrRNjDufS6tiHh9Kej1KgPYMnHFCafG/gGDtFJvQbFW3F1Kh28POA68rvmizeNvJScxLIurSjnWCUjTef/66sjPQTsSWhTfGEXw69y72vc7rK4RJe0SF+oXOodyBM3CJN03S6lh1lPiufJeZPiaRN9ygVHNYvC7pEr2Tdf9N5Z4FxySgjM+BRx6fHwBYmoO2tzQ722oHwXTxJKKIBBv9ckYcqAKMkOZMfRdHj7QG3YCdaECD0CD46uAnb6A/grWXpdV+gvShndRLHEbSJuHbSrHTMvu7ZHQExq/G8d3ChSzTbveKH4k2sKQW3KOAXVf/XtizGqOKA5/B/otU/qIggZ0b9WIYITwFbTNp9LvVh+1pm6zX6I8sfgAANCo9oWixpbR1A6N5EJ4SZge0WCX0EePuFKo8mpdUZLRozpncKgRVRe85EjMDreG7iICmR9sAIQvvvUc4c3hiSs2XnuAV/nUVIePnB+isq6hlzXAyQQwj6aTAJBAY0Ny3giRY0n4LGuJX4fjhe/+7MD79Dfc3F46flxCDQ/2bs/mL3DD7T0PFkeBhrVsTt9VVv0zdZmwBj6s8MpdJTByZcwz9NpL8ioX/WgVgKggueNTr/VfLv/HrQBtkkODUjTX//sSP0twztR+4pmV/hI1avQyO9TH0FR77cVqCxaPM8Z1GWRaP5g5KY+rORHddBuSJYj3e9JDC5Np63Rw/HFN9mvRpwMqrrpB+gy2sm/KpinmuuxxWhC8kK0pgz4bAunUhtwpdU2vwX8Rxqpj0Ry2Eiq3eAsrr8Tak6l80hasVjcGbiH0LIRZaDP2NkbvBeBlCuKHsaLL9QzF9LDfHtsSxfcfT7H0RrJjq5akU2VnKNs545me8nQLbJofvE9fgjj+SotIfdLQ0Zyz11ThxYMYisFp96YiKUpIkPlXUmyAi0+xuPGh0irhCIjHcCESxU32rI2qXSGxNhyfVDmsG9LO0rPtrbsx54oTcMQwHRN1p73pQQT62nC2SWVWCWszM9yiKxrPHFWibyeGG5OLjibr6FesAU6cIilPM+nRiTNf+oMyTnKRHNiix074Vd9CcRLX2zsjtoGcVThaNuoCVOxYqU5DIAB8viM0z2hGDZz0vz4APsxJTLGWNhJg5mdpCKU9jNFkjQlInOcFuc/HDjI0u3bpQPuvFoAyFenidCGYEA0wgTPlGCvWnjUXpNAZueiCsfWSLhHdm5pwKYz0Ud5MiBmAjCD64eiV/VllUHqLrE2TjajAHR1EbeeogNnokU73b4/OVQOgvtwzdK1DgQgqfkn+6Q7UDzqSdunFRea0CZtDTPBM3Czql1XYRTkL+DZgii1I+qiwlELaU7xxpN03i0aY5btHUAQsfCmC2ATzvdncEFe0JJRPrLwvo+Rrq3E5xGgjHqEP1Be5QXGq0ZPdPW4Uo+tu1QBaqJ4INwectZ3LgDG2FFi5QTL+48+cKXznq+o8mHLHs116weyrM8vZ0IaqkLHx0VtTP74kurLbuu0gyPUw/gAA9mTqlTsi9zR7TZFN/AWEfhXarroAEptJtWLGan0X5RZNvLXTzMQwqoeTjEpuIz05lBNHAmez/hGsNOFB4F0LhcF8dt1HvwLBn15E6wFilj+/xYxScEeMG56+unIp5I9DmA8s7vfuUrrmnqx0Oot1CA/RaFrSUIVYWajdFD5GiT7XAvguL3nhFauJTQmCCbJVwwEEm5kyrsTjwFbsQxw71fipqSYE3Ihq7XB5aJ6TsdhgaGH9SO61vT5dvyySgvrarnGhBFM+LyVAHRhlBmkZMJlAguG5MgSCNP3jn0LSLr5Zq11pCpp2uKzoxwXir5674itb7RL8HuuwXhP8yUMAQn6Qp3Adop0rkW8PRGxBvzzghBJE3s1mUeM4/kdgpcw6ZQVXPHjzZgtZAALC5jl5Ynor4ob4hkxU0elqzzyhrLHK+KJPOac7BeCJb4gvhSKxQoX7EsBfPgfiuZGcXZixLAgEsq02hiCJEE+h7Zz9iVc5rUzTs29dwKpSJsVlQYXE3Uc1pQi1TKWfK7uid4tLCHqQKNpUSlwg5W5keHLIyWXK+m7Ik3vVQwSip5gyqMNNYk9DbX1WGTh+khCl6hznYfxVhZps5u8Z5HrbMD08e2uTi1etfpGelsg9rfY1BuiFzM4f8LaL9F6cxtcZbflti/T6XDHckxyEbcq/Dex3OxuVXdQI1tUfx7zpLeX11EQT1xV7z3ci9br3qkMdZ+5sO8n4mHnWR/itKPWMtBTm8dBuqtILVl4qnlCgRGi++JOos1NHcp7Ea5rKnPewNV0TNL4JUPAMnYIHy0ah6+sOPjcuN3vH5aBs/cqzKb7iqYSFaCypeiaTpI8+WxMoKcaBZ8v5bXN6VAp7r3B8PnyBtkcvE6USshIlqLhahszt4dKs6qYz2hKWLYvION597MNpMoPdZq/1YJz8BTZ9/8j9udzrZEKIVp6JXTCp92io2VGCFbZ22YOI9TV4Z0XefLZmE79f2qPxI8wurgshey3BVX1ZVRhYIWzHw7+K+z+OVgHstGVIj6y2domOaO1BpXAlh0DJBd57WTDjhapBCil1WAmwiuV4gu1T8YrmnTnJDNAakq1QURcFcbwgy2sBjdvJFtS/V9p5ERFZO5MJBICCPL6HOi4FA9RfShsPaQuIpO3VRkaVYEwGcoehjKdH+wvay0/+PVvG4Ch045YqG3Y2G7eeEULiiZq0whUfcJ+7rOwkINeCI6u3eOJmcpaik6QYMtrAChrWjw+YXhmomhzymgIx7n/acSO7r6Uk2rGYmQ5S5u5g95siOMInAGtIvviBerM5Er8yXyaytLZOlbOKyv0KudPOE8sKWf73WjOcAQd9g495l2OvJ+kuIj5vcrFJAd642ZhbG9887VOKwnmQ2HHrs0dOO8WOYB5St6vyDj4me/PZiRGfcwuYBVQG3uxWbG5X/m4gK7cFXSmioMuh0zWKASc4tOrGCHJCzwyCcNuUV0GI+3r9JWOc2v/w22fS25+QXAajamrT8fR+G0jgWBv0Zp/OMCDJUuryEMQ6WurjbE7YSLL8SZ7qYsCCEik+b2PO5q0XeHsAHJGdZFqpBmTnI+9fl3m5hD+sHO4kh3OQxZmh83mA5jz8ioaYvR3GgTnyWIBP5u0gWNG1sD+/HvAN4XIR6VOeNB2NbIA1hn7WjkD9J/UaZTgdAutcCddbOvDtSqZOzC9nF0VARHdcLTPtg6wfR1R9MWFJABmAT2W61QRqTSY5IAMTa/6enjc5D0kcg6XqYZa/Ko6UHyYiImS72jr86B0hAAVoP2ouBREQde7HVxt79CNyyezCh4Hk5v6YLotpIWp13j4qwAyP2duEWGMHmkTa9/JwqTUgWs6VfK+xbeqn/r9frKmV+cdEfiklR6f3JOs9ynPfzK47Gq4/6TM2OGZ8lR+N2hZq8Y1hTwJN7lgAKOpQLnD4t8e8294peHlkdDomZN/I2blHg4UMgYMTymi/bHsdc1zeHqW17dI1ME59vS5zFbWRBiaikgfsDe8bTiPtOZqhTDmJSGrFxGrtrLgedZyJLQFbfiBWfAPuCE5XqiXCu18jRhg+uBfj+OmmnRAztx3WQsuXaffG6DxTsD4kSaIqrGXgO3JLz0OgXfh5nQ2MLFg4fucs3VBYqscdU2qymd9Ys+xMOVTKTLjkY6lFQ6pJvf7eqJj1CxhOG9XT2UezrnbquLjuKbUekeyXgiUPrBx9HJ0PzWVi6bSQQXoU1dx7wRG5SziA0pe/2qfIWF9cUMhqkLy+TLR3M51tPVe/U6HUc+4oercSe7+QZiHvPUMJkXoQa4uUKWSpeDken55tvhc/9glhrNvm9zZMk84hpZFds0YLFJe8LzfM8SBdFSrUnE0ZEHOn5T0ztI0FQSV1S0fwnLX2F5Lm+oSPpNRDVz9coZFfK1C+yvGt2jT4aC1yVmTMAoDblt4wV1V6v6UiVwMXC8KuLxqQXba7efwuyafGO5hwaPxNcyS7JHp6dw/jXSJ/K7CLyqrydarSKlgPhA4PG0M6PM3erI6zL/NgP7PvyE9ENx4RCPLhfMf9a9KojIoqmRZ69XzZA1ZvmeVj3FcIvNgjBr7Ab25abUgOFmW1Xfx248gpBBJZ0NA49tSFShfS+qIAkfMoNxtJW7/hwxAM50BbT4SxLSAcJdHhZwQQiQfCQxJqQBLBJ4dOULFwCCRPe9Ck+NuOd/Mh8bEwE5u0mcEcBCtejfNEDAD5tJEA26JHvDJM2Bro2OI40DIcNf62FMs+rL4JcqJUiNPxWGREmd91xeclPidL8fJla/Wm6piSha00ocLCvqL1bhVo1lwlP8BZXCtvAqNxs0qlAmulvJW+PQdlbsoqIzbEKzQtPlHDmXdxfAC4tokJDQlYCNp3Y3eOqkiCqID2N8orLZGMVOoJsfDsqiks4hqqJlIqGDJ6zNyelD/bQ2c6dGjxaeL2nV8aS51R3RqyPshbMYGrs3qIQQGEq+A+2jQyop7wt/UGAVW044Bif7/GSSneaN0FKePwYwnZeBickrwU5Pu2Wma3QJFU0x7OWneWRDyqc9rkkCabqMqjr9j0XiLE673p+Wl9dMCYYjNbO7HBHJtv/KqzYOLZS6V5r6uO1vJZxKf/yMyDObI6OXPMh8CYjbF1/q3FsVdRlDAobIKX/97uuuVn9rvGy78WFxL6KoA+crp/AaAAr0F/NCkx7FfnpgV64DwOHyUYN/0k6SoSIAKGVKqo8XhGhtBCCojMExtXadrrSoHjwk8Q40Y/Xjg3pN+aavS1Zt5Tc+2RwYNT3/H1umui55RQC8QW0D9Th1tp0iHpiZuS7vXe6uF4TBks3IUGaKIAIKpv5fvDkKuq2GRqY1BdPTv/xLeuKHeXQnT3v84m8M34eXV2Y23q3zFAYZC9XH3p1JcimWTrQf9p/qAD9RjACKxhL5EKNdtW54hrT/mgQJiOngMoutljGHRM0E91wuZdbjhVZofKA2zMEz1twC0L2wER2pUPJh6WpesfbryR59OS1NlZ0x/9NQ1fhDJ3XMVO3xg6hGb+nhcVOTRjljo/8gzd/RV9PJrB5ZdC5VEVZJKqeDmEZnrQYp2VwT+ahBUF3GUCKHp0sZm/FYP8ExFZDiZK1fM544O5OZ7qqQShuR11loRAYKTlUiLWvVu1jR1055w/Z7ugM1fbBV2vk691eSP50AvUva/7UQ/8NG/zfEdDRnkuk7vCe4eMSvMuZz9l3H5PIIOAFFiDkYPsOaibo1qii7r1fCey/wmPq/SxFAlNxZPhq1CAkZOynITAXxd7hlKa/J38Gj6RvJ8/p3jOxjHdZqQUq3HJ2KLvqoUcbKIMJetJnwOG3XVDoSvYpVynvY1bssY9NAhHhyHlxksuJAVPSPtAPwdpxAWuVUtXZrbgCT3Wc7V0lsgrw+fmSJbsc/jY/IV41ljWF4IvXFCgdYLldB8N0xAkecWQieYXf014q5vGYZXWT7n24YOHgeyXaiyU5uBT+aUzY2XHkbsG3kUE9MS0UKQPblW3CmovZ2bHUsLc0ch6+HhD3l5oYPTw/jhJoqlah3RmEulvTWor3YvGfbYRtx6xxsrhtGltNZpJggFsTq4RBIB/QLC9q6mb2OlTc7y4RbSuNy5Jokn0jrVQTUuF3zIA2pvu5eORlmFQ67wTY4+l2PY2uErmux51LosW28zNd6VPvNdslBs9us+sjmGjuMACnNIPTgNWPELQgNMhVKGfHY4x1ZekiRVr+4f6hg7ag9L+576hbSvbflreEnXkcB3nbsyW3/KEaTMz9TYenRGQTcbBwIWRhK3YAUxVKH8xreMq48u6bjUh2UGWtVYkgg8dJZULS9TIRFdGfmwClI7fHSrgUewE3amh9DWSx+4Qe1glAPv2mRA9HyFsAQH/zeQWFjdrLkAdeP4+FM0iRVugZz92IuMrmgBsJK9EWkclBwdpO+4np6eKfPodhq9qIfetpK6McZVhqQ+dSQWDvOuohnN76C3ySKIV6XGY3dLz75G/ZAbgr3VAXR2LI6s5mWv0wGyKe+Cwhj98kKj09ucOyWPW38mZEKhfd3yGvTzu5IwM6wnzRUjf4H3m4KoakbNN1U5P5z8zJTf6mameYeFcvaGUCfWfFtGYWHaM7bk6bH8/B0nM5DJtpJUX4bPRhl0qgELfOHevAxT5Fb6Bs4vu7/77fQYB6qfS7eW+4kfVefxbH2ohksFEsUPasU3NxgmnbTBY5MrHECOkSjRV/CKjzSa23ROrYu1JGq5kgSAeaA0nz5y7eqOOqktHfXEXfOgDUXzd8Vhwa0XspzZ1pWOwyRbrp8T7KgAE8K3zg8iqLmiTNPFHaxXrbY5iwAHhvBIwInknS9AJEQdDD7uNzwd8Q5bRZ7BCDhbg2erwU0VN836eGyupMzBJeFv7ic5L8mlN1bwVu3IyMOz6z1Ec8wxiaSMuC7PtrfEJ12UODOkaRRG8/Z2KY9NyZoU03oYRiHnSuRYVlnPmsaUeq9q7hkiPCzUjPqyJbAn9ZGN+CO43LzRcnAAtoazsvEhDxB10mWSOKIjPiBeDpTdvrf/Y5nerWpfbhe3MdjF3Umk8q+UCyY6UZ+a3BGChKbL794SJ6g3j7avaCBQMjZ2mTiz6FsQ2pCH0Gj2aDATf0tKvEEo+gH8ljvVZkKyG2kUt4oN2RdgxpUMcu/HPGDpABn5GwbFn6KAIliSFryab8oSk1fBrwkeTf+aOZGNq9q3OPl66thXermInT3qrWfY/SuMAewti4mWwjwAegOIN/Ou1EyKRqBHiEoWxtIbxAp3cTcUOWJZKtzevBQNvTo7eNxOUdrNkc9uYxcBemE21KS8E51N3Lw9syrwZz4+BST+9qy9EhsHeaDsoDx14fulCM1MU7/G+tJthm7lAuS5ibHyoRPTyR5Jm5MbkCbl1ELX6Arc+J/fOGEsulD9ots6jRx9KoMtmbniei9rRIe+hVtGCtMcvk/qpD3Riaj2HHFXFMoWDipZRmHhJ8AnIM6cO8ZF0nM/gSz3yO//btBU3DD6aAG9+wDm+cNxZbfZjfji5WIsTFlw/+N8x6r74CkY4ScQfQWBF+IA7CoihWycnXYucLcAOP+dQQuTQy6tfEASrDzPMxDeE92Lpl6jsX7CBoJxKjvDyfzz++71GShrkO+2DkbG/PWPcdD4Dy3NeECpg0HQHcRm0KTTpMUL1RxFkKrBsBZuIGZAOwWkXZ8N6KOdHMymbtQV5/aeQm9/J35PrvuoqhDYb6tlBANWseWb0l3pcQJ9WxjdsnU3qCJPfE4OONLD62/8gmgSpmWvSQiRxBE4zQTZDYcyKy0hl/JOm6KE4/eIzTfWMTlrDmxs64+sUNAbn1Serv8LY0sq7FklSA1mEQbgIp61LzK7nM7nPebbgKA7UW69J/NoGd+S/CGbq78vlit2KxTrKyaUsltptt/CSsBrJJEc07Bv9O2H/onFLilOmLvDPPZQ3rSNHm51fy6EW4T//y16eQKw1i9o6XY6Fn2dWH++rT2w3D+FuULPSpvcGH/4JvAEXO1qTil2jIStE6DZwxmA6Tynt4BESoXqULGucU00dNAVKNaITbzgw9HW6v+yINMQ+cj3X4Kh/yTSvIbZ2bayVnc1jRki54312b4l6FOnnh06Dr9RPzpgFR3Lz5PbcmqaODgnVmfDiBLhbxd2ox3ok7zIS/cH3MvQzfKZvxQmNXhhheh9u2+3/VWVpuPWyWK5LDN6RAPBjKbq/we3A8uYx0j1m626zIhNYGqClbWya600U8BC+0RdHKbvPdlRrUwbc4fHfNujurvBF1BSQut43xjSA2M8XN2srtsSECyvsbcZWJREdpNbwGVPvjvDMJwd19uS4hn6gQmN/heO+9qp5GIgR+OF0pCmRWrlE7ubLBmeo2symj4JB1gV8KmaHRiwzNskhLtZ1GduiJTpyy/tjQlKggQRap+QiCy9mHmatlongeLOgZ8DzziuJiBp6mYgFBDiuiqoM6KJREpKsmA3pDA6awmKhzRhUZ7eMRzkIyvTrsqJ4I6eNn44zYSqMMLku+MrzuNb+nIM1zLQDuxuZBq46HQ7x/EJbUa1z5VwidmVw5khA74ub+mVFU3c1ut1CsvZynM7K1/RvtvyaDMOhUzwWMapS6ZqQVP5VL6JRvumERFM2+GZiJhAduRgzcldYfs19SegTWLUlZP5ww9R6BbSbBBC2kFAjGYvsbUPzIwVpKE/wvyM82ImMlpuuPxAzxratNVhz0KOLhhWm5BGIld479oyCJ1OHxnnDFvwkGFEUTFxVTnKkL3rj+erHCBsPIXfMsF8HHhvSLAgk8PqWP2f4SkiQ5AqV/poBdaUx1Mke2flrx+iqIzzlYG1DepJ/n+cwU06byXxparkMTAW3VW/qnlzAV9HNoqAqPgOqCrhlvyjuUIkYt8wx3Q9wVxIDgVloGQ9bhT30wpeFXLdMmxSPYz/QDzpGctWezSrA46QeCK3ufEskuMMvcyRnLGVMyGuOEgkwwpqYLv5oknJpewktQdLygXE/PNFWPY7aUTxjJS8KAvMo3aM7u+Y+6syxHqVaeg9fwqlPftnkoCmP+xi24xww+x0tQ7R6pegcKP7cFBLulp+CZln4vWIKSTyvgsMIsExJ7TWOKjXPNBdGnW8x9DhbCawBDUNcvwRrxhlW10JnNZAdFRtpc2mXXWSwYYIZjK7PNoZfx5We5XbCkWJRJ0aua3gzagCJovVeLtwmNwfLxsqEsJ6qZejFQpWvUr3Y7o0VT9PtEfkgBfP3skU/gzJyM9lNLhioZZ0Yg+BbaJyaKA/w4Q44TXPGoqpXKSBVI8iisQjnMO2LjyT/FGYRcTyEND2ii9qrdgyAnumZqJjlrlrClkcMmTPt4x8u3F07JmsIplqwpxuba12WKMaKZqwHkE5QGt0v4Z+lOL5ZsYwDl6gpCFfwRxK1q0RF6ZEfQQGF+yP0tKyozOtGNSwhyF50IZEytRleMXFxWBVEh0fAGRulyHbG9iPRKHT3Ktx9SVIWAFnPOLil1GlvZru9Msh5KftHhULEYVhLaDgi1h2nAtHaER/EAcyPIo0IquI6pFSbc68M/dzXfqZMBfKPVeFPehsRcRQqeVAG7XRed/SSwdRXYqi42dLW0BFaCb8yVcl5WYe+ak5MCO3baUMDfhrEtNnAamLRnrYgLMPevaJce/xYlx+2Glolsvyx8yYzKiMnLOA0qCXexdKbUwpGMbBYyoB8w61abuHH7ZHBLVaDZz/qXCtNUPFvIqb/ZFeXVkjMFpjutQxtfG+TVoQ6DnPJ+SAtgi5CbJITYrWRJgMUoJN6lfMCH3iyBphDnPoqCkClHEGg1DJyjwTid5Boh4D8N2E5JP/gHcS5NvISNVqwE9E9FiDNZeqIOroM9bg+jktEug/Sg12Qd56Voh4s2ElATToLkySJU7kUFrPZOOSseKHOI66PVXtMDTkcePpezBCVbYeo/XB/8rEFUhFvJ1of+bwjqWBBfugJTGfPhP8p8nsZdYZS2hL6W4undYjos5Rc0PTFv9lHzn3qUB/SOqxJek0Y7cFa8E5zn/SyxueLfPdMReYyN6Ckr4/E23KKPyd4IIZndVveEtjoeKfwca5VjoG68NGXyJoijQL8yCPev+yzCenBMHi7c0IOEtM39sWnlFd2Xxhwbzl/v9lev17cQcKqs/Y1kx/wNjfI17+JbtBXEdzp9P1MjvZt7F+hMATftzSeekC1T0TPcVE93ClTBX6CtmAkD2xmSE4FRCZDXdrU9LUB2aH5r6sEbdAmp/hjgAcJn0+uDe7+7BKmErmtK0TLAGAmKS/3A7wYQfxv4Ga1/fkrM8iu0RgT5CUnpZe7jKIlFy4crcJEE25QtpjUEaurFoyFLU9p11mMYGgcN25x2zIqZkBr9Ezuua7WC+xMH30tADLTaSMgd+CrtJQdzBkfTTsEtG7nIMuO5ecvuCSZK+aXA9Scyh0klwZMUNpfOFSbrhri4P7nVyEkBFFmzQMS4ApYTJab+c1C3J+u4EBeRxv/xnMYvbaa1BTQxuNI8On8YnnX5xOhVWKFETEkKpE7ZQgFMzBOiJRETgi7AJ5t7BDf/JSWsjPSUDAF2nQtw87JU7917WoNV+9cmxldX91eCSPq0A+KKSewqQMIVTPnsBFy/rurmxI//ePntNUMsq/n40LjFq3AEuladyCtj7BM6Pa8tYAW7X7VPV9KctbJLQ0vdZtN7c2mOXz4VSW8fUAYTF/GVJ01Z+TxJqOaqzdOJfZ3daxsU09PtQZJ3VxFkcmC5dmr4yWohMtq5E/dRjLrRlgNZRa1PNqh1jIrE1Ub6zhmMbOeXrwXUpv0nkPzLFcTSXOx6VAROnHNJpAEZX42ML2+T6Rn/av9f008w6SX4SR69Nc0jOw+DUTKhR+MIQgb2f+OGUGEVV+nE53w6M+hHg+q+LXWYGhqRnREMT8Gegi4Y32XGhqs8DV5G9rLLgRVtWH3tZhvxZYXDZTlk3IqGmrlNiHmA/TEn8DXz/cgBGuDuZDosAqGBirMAIGRMcKDftyPg3esvLfJozof1tVEivszTF+PIo6o8D8nY/oyWB4Es8QEaiMCZPLncADeA0txcuDbRxdPGe4QYaBuFtur299OsfPPaBS5AeK6HDUO0h06HE2s7t69806/4RIDGj5P1oDYK/arI4C0kmZvjSDb6uVwuy7Wf7RI/YOC/GxrFtXUOg5fRcbjLOQwF9fy0x0EMpyhU7qVChZ2jNkCILHd0XOySz9p92a3FsPpsJrtVcMyzkFmSxIgsGaQZX4DiHINCZ60VY5TVD6u/DU6pEJqarxkziWWH5PAFb34k+OpLIjiaC4QYe60Xku66nKWf2DXq6JI4s0NH755LiMLmIFDqEyvCejMygV+TuWIX4/y2HgKfKKShjXNtbQJ9ZBkuCWAxCRz1C1ocX6LREadVNdRxEdoB+OEUG1zqI2ufxQYfm9N8dppF2eq9ZUXP9GlPF5FaHwS/KaySSbVWM2kIoZmNABDYoH4sCozJ5Jj2894jDnoTx+RXD/rNwYTKMA3ALsyIvqvOiQy1eFjg/1jXIHEQrHjB7ppsb73cDddYg2/ELvxV9qO59EAPBPVb8JTK8HH3bkPAVceQ0UcZW5/SAblEbYWQU8AhpZOreHjrCT0z7tFYqtEuh8c4GF1y3u7Q0mMKeME1WwLmi+jYzlxXHxx3Cv4259hskh0+zC0LSlgneyZrSBK4InBezZV6kh/H9wpaRjfN1BLhvEUXK/ZIc4T9FXgJsQoa1nHVl56gwN7oqIEKsglzBWIBBf59VxSgCl5dbBszH0jIc1gALb6S+3ya4fcpsTTlmZ0Fty4+kL9PpbAjoLjQkGbKl6xTNq7H1fBRASHXMISa5XRZiYLEzqspk3CkfF11goQ12yCN05J3eG1Ni3X+ky25Ok3NX3C0oS+MGTBSC6sWj+GPuBuS4fs/1rCSzrbkq4kHO99IgX5KCc8/pULMH6HHbPFBOZgitnvALqI7qe4Flc2jqWzjbIafJgGJPOUsbgvwLE1KZ5PLYe7v03af4DR46eVsIRn1TZ6nUjk3SF98yVEhnCFLfM4kTnGWCTZthUFfKi7DwY9V6xxMx9R2TYeXlkpLu+oPvhjqG/DRZmYRhXA4l+exLMZlbjIQF5mbmvHGCOFcj9guSwg691GLupukuWW84J0P7KtQ1//F2lIy6Wv1gG+JJF/YqmNgH8/Nxeapfupk0lPut1auIa2P3ZPRpp7zp5AwMzB8E9iiaefrs+ggCDl/ybdFuGpmSuFN5UWsxXI9pqQHE5z1gAcAXRkgB/d/4BumA8Zf+ZfMlf0Se4YD99jblCUQgNCPmmkeBHDMNi5akjmwjmE5pHI9KmKrrOBESrqCosG2qUeRqsHoXx3jgsgNGy2hn5YFD7LiMM3tnjXxbW5tXqP6i2qGyUzrXBycByLa+y7z5k6tfWDTnQlHU+6UZdwZpylHSkaNvod8QRzS+ttyZRsmlUnd3bvTeHdWPGNLdikK5w4wwRdsmKkn9JWZWM2SCeNshSn6LGqt3NDe47spoXrk0m3aGgZUcd7bVGpihU+nR3DpBrHT6Dk4MPQ2uKGnyYEfq7az2D9T5dajMpZMNFZZTgnsJP8s9+4JbPXl7GHdMEgCFgyi+0dS7iEqkGsQpHSk9D8Pi8xDkbcvkYoZHipRd3m6JKsW3QomOQ1Ocmp/P73SZu6U5XxMlexmuaORq6grr9Ycolqtb3VDl19tfazoTovUeWbI4l4UcjA4UiI4mhO3syTfCg0daggbDDYDzaDMd26dIt4VrnTHzZFOzwZ3Q8iwn/yelddrNaoJ/+xjEoxgU4+r2WfqGGoj0BYge6qnKdYpArloHWUXZwZxIgq+bZq1VMpmDuu0yP6dNA8QdoMFaYuG35ZyxcYJe0Mx846OaIOTr0pvKVaM8mP3QwQKGEfAnvNngQoWz89W726p65IKpsTnyJRyvX3jmATdOL3P0t+pGrU9ZxnlcX/O2PzlHxT89V3DajPSIytT/Et7xpY5MdUTNwiOxdOz9TcZLR7owTsOoXvVcAS6E1jpOZ9mTr1Z4bjNu8pdcx0R122jTmNQ40tFQjAiYPm11+UsNM7wxZZiA7FIGPQ7sHk3jKPlucJhx2bYEVr/xBweACW38dHZ82ZPMBlGP+FcgN4whcBgHS625a5jXMGuUR8BCrlDpyr8saFpmh/GekKPpj2cYq7y29lKNGQspNCTR3P4gPKYThXfhkYK0pPAsai9hXBF2mn67N6xmAzT5Isqleiq8RNfqmtIOTX2p+d70Ofy2EwqbYahlBSRNujfugBnlgbew4ootngDZrcEuymT23PSBcNW8nTdXEC5ej+mmK254f/p6fkLyCndaHoD71htmwtdLMgKHrwnbSNNDj9hkbtNPoHgDNI46DSvZd3diiVquD0907xy1jhQgbwltkRT+qm425aGAGcwQutnn+s/dUz1aevU717v7Uv8aFQh0zeplIBt5L7WrmiE/d+MInBnxTZClxfMDXemsdYgZ4J7IECrv5TpZxIdmqKVJxsEVjMwKcU2vIrEG7FauTuC1LfLdguvmL2aQTmAIUtSWhFIH30cpo1Z/az53vh/YdNdejISLbl0vhXzYLuobpEhApiM992IZja5GbBmVpriHefdc8gsyAWWffqx4/H9BstQA93CSDeU7ZHCOsgsHwQfItCsZfeu4F8Sbz2rsFYnzvMb+mEacwetcPOqUKrN8GylU6YrrvA4HA3WCCsn2aZ6viEXw5khEircpdoAflMbE6bm27arkTLxAreEW9PYJRVHw2ug25mdsnCEND5TBgFQ8QJutGFSOvZIuiJ3GNytL8LQVheaFOLolqRcRWM7h2WPsCg+0AoroLpDHcqkvC/4Ql8nQTBwSpiQ8MVl97hdG0u2/+RLiP7wj2UUFpX/10QJeX2TyAOD+RBdeI2njPJP5zxD4mrF6LlolBiduZLESDxiZSX7SOOTRlxIVwyhbFls77ynwV0okQ99n7AtBHuYbHpjNXovV5sICbmTcMwaXr/W8cZw04fO6Uw8zUi5htWXxXgSXwaNvGcIS+uaCgrqkLcw0FcSnUv5CsqpTipUZOV1bTBLa3ODyghJ+NSaW/9CcXn17WbmVggIF3YkQvdEbPG2jxd89YWftBHs06Y0GnlTXc9tIKB+2VoUeh67NXOWZy0yBmnZtFq9nuLRV1DU7qwNclAgnKdgm3mqn8UYtFA1DaosXfXhbH/JLdV+xyD2U7bvXD9VbagcxdVQLxtDYL4MyCSo7LO5zzhZMkOMxzECx2RUUomSPFJhAG9gAVHGE/5gKzWfmjFN812a9hak6Y3kQE3xE77/wcpkRb7vEoqNaj7QBilW7PNk2oGjFyPxnmqyqCwhZ5XD8qlLNRtLsP9NXWh0zF6RxN37ba1l1VXxqdqabxPSQos8iMSh/TmUIo87bRoUVb6rqB3pS7iXImlAGKNbUK1F70nexol5CpDXrAKPkNPwYftzbjg8WDIw3M8vTBxY4TrWXdGPxA8TSpEGzcmV0mDVs3dc5dLVVK/SpevaB5LiUr2y6xM2A0xlU3m/6lAlHXIYDmNLZ0YAPOY05SVRbUaYsf7tsNkbWVHTDZeKAVwlJAJGwvPt6NK53iE1LUO338ODof2YJoOBSn2E7kIzbb4FNr3ZNwGLUIMLcehfyxLyzVxsf/ik8OH9BJWTdH9dMAiGoW/FmZh6eWR9rSamfE68bvu6VR7P5gsLHz7BeepguK/UojVqQRl0ZylFzrbexSDIs2xnWSGCOdJG87kWZIXGqZeTB3z16/9oIe2AF9EFdI1QC7VD23ES59nVLec+f8/mkLlSsykS0ehrHBeM4hupjUYr8+ZbpYjbi7AEk29eU38OPq3E2wJyK7p29Hpuc77fW9yn4ek+p7/xoszW7WaMwJMsvXV0xvgpeEYf3RQbMtZJvCjJnJwiI9BpS9nTfeF84UkOv6aQkxiIH2SyWeXBtWg0Q9laAIfohpeDDMX0qbYoG3gfI/ehGoEf6/nB4Ju0J3P7wPmkf54woRNPFpNfG6dql2IV+37xl5Ovivgl3H+wvd0OsKnVDKFta3tg/UiUM6IJbQRl6JdQtvQWVglbkn4i8w8IR8pE0KBb0nc293J3cppq5fBCzF8f0cfxIxAEqqahLX+KIcwqqqClx8Wej9Lvu134kEzzJce3QPzdxqJhWu2d3yHOZQTOSrj0QvNJbot5GtnfzD1Xd1JCSq2pnoos1/YjvM2/qiEzRut4D2x9eBJsR9ESWpSvZ/zkAmyHgppbBZSoCLuGLV5Z5KdPSOrUeXV0S3cTmZ4TzRjDUQ7q6WD45vH5QZ4YmsmHv3uTekdPh3TIhl1vUkTN/ryKekP1nmzXsUGLtg7EETxObCZhv+9KQyvUkJIdEEC9gqiWXMM+H6UYo2rFlNtrujJnVc9TIfAcfrN5zN+IhVA/BjFNDeXn0lpufHNUCNT1bwGsJdKskqb4potzwkjNORtIeo/d/jwcSoR+rUuLZGUteybrnGlPaMJ3XDS0dgMt7oXp6Q9GsPOpspGncZZ00qhzwryPW4OGllnCTe2eFYQSWqGli6I7BfGC7TmP9C7w6i8qLxUbY5lJW8RK0OSuJmJY/nHS7I3T8uDzU9BKqGyWgAvpu5275Z+meGEua83mdbG0bvcWrF577arvefeB7QgrprsP73Mpf1Q8mtrwNFb1U48cXfuSwZk0rEbltzMdO0BSuEviDGYIdirCUG0u4/WJKVQpePStJLhAW4zSiN7UlUDXSx4udzN1ljB8mxedtKGD9qtyp9C5anEbouxj8Ywaj9/tah/VPDUhs1D0TxMnfGOZh2bb34HmY1VDZVXrwWOJKKZjJCO1ptlKnN2PlOKvX3uze+y+jGzOyz5j98fNTfbsZQYmcJSn+Nhn0q0HMUWsvfSrLLcx3X6h+pIHyCrE7bMrO6Eo20jjBpH6DdJK2nsOYr9TM21q5y8xx3JoNYrin9vLVBWRdq9ZtPI17ZfB6EEBBx+M/b5aAU2Dsj2y5RFf8fx8H6ohVxHOnXdkFqpDOn7y48c3nnjMNZ/MyOxpqK2p0Lw3ljacgFJmvjV0M/aUyX/BHgqOe002UtdK2MIxmV1YUb5DXpxRP0xMFyWjSdt8bHXBnDAoUG/VYmzCPAiiQc6Ifx3kgzJHvsWqSubyiHDUJFDokdl9AwWnkLQP+i5ms2YIq8tE+lGGl56mVMk7E3udrs28kw2GX8MDXdnO/tD7qJuZ4k3a91jKOKECbIRG7TalY9mMLmbDbTxDoEeSb2wEXf7P/edKzcuhH7Eb3qDhlOroKzGWJ5V1UTDIQhrEx4gWbjq/8PQF1SinA9kOqtslWtJQwQmrRRTEH4fvMKlP8v/FCTEWfCXQdrDkwm1CLWaJ4EpRAYXMZBl8abaoqIh4u7CZKhP3vuDoi3QGmVTfgOUXel9kkf1UxQny4gitDZBuTzjt7M2r0gBR6C4AR2u/w7sqJgrm7NCUUfVt5qM81I01ARQQNRN/5i+zNDTztHky9ZFqpibdcT5DmgFOBQIFPYPqTwppbt/0rPsuiMkAaItPyhFys4juuE435KVb+E5j40ip9SChw6FnSppn5/fKkX3UA3HjGJgZWBmN7wGWW0Ue84BmZfZmyVjdkWhq430ptqKAeAtyMeKRnzsi6fL8s64sX26e6XZKZpCdlCNnLdblKBJ9HAW4DQnQaw++JV6j8KASgUUEL1M7KayiZtTVotDUzi4rluh0KkrBAC+qB+l3bIrorU9hgguegpJhj6Or7kxfYVt+kJ495IXpx3oONqnHr4aVpCf++C3TvSQ+aDVzDi9Du6/2wTW10fD486lgTJnNM19hs4tJ0tjzB1abnk/KhiLUhgQ0ZVh+ccfRd26nO170DGxeYyMT6kbDliuKH0Qrx0lZLqXunZhJmldBpxnofQ2vr4b3h8mLXQHeZ28QIEM8Yt22FQ+pcNtKTapuTR8BwQ9CQWKg8e8+tz/DGUoWQ+kU5FRNuwT7BRI/Q9U7DZRsmLSL3EqLtSnGcfCZ9ab9W46xu55OuCbctspWZwjPjVoQLQHAmpODp7zf/LL/3S2VXz7xoB2Pnka0cFb6GvU9oniAcsARaJDsPAIYnxicvlVuixdw3VkAVPn7jtFL9YDUuKjri1/p/bs02vP2vgfU4g/ysZ3s8fvMn6UvGxouZ526Tuo7IOKzFVdEYznaj140SD1QQ8Yi8ybPzZmHX1G4J6JXQ1Im9I4H2Zp7w7rxS+BCB5v+jkkMcVGTcMnSFFbkXNODPmkeAbajQm8ApDFwmboIzOadiR7PwUUzTuaqh1Pb0c7E1uLyAb7Pim4IiJbb34HUbn1LdfVEUFDOH6J1Z7zHGpoiwUaV78HgBzMOIsK71Ho3g6loX5lz9MfE/e8vQ2pq/w2BHun77gOP6BcmN7UYA6/kJZfiE4J5FQSV/8Jkhuym6hjJkzVM6SQSYrkPcBj8G8t1V47tkgZZcMBlnwNQhZ+QkeTlAFvqgewvFD3zst1L4C1KTF0eA2U+AXrmWwvDnr+f/ox2pumnfqKGv75Mic9AyJHgBRTvGqdPmQVgsYgF4go3+pqlWTwe/Acb519uLYEBMSszIn6+bZYflPeafOEQ9oiCVrEM1Eyk/87miuSjNIuoYY1zs/9qd8n0Bj4V0aI36Pdzx8rRlfn0h6G7dm7/Cze4X0ez+gVhkgKasY5hnQDC2Cyx8INwuTdJVEgiHZPSgQLVUUw4ogM8X1fOtujPRFsHedVOMziOdDkZ3bFLFSvkov9VFG1eig7MdEidO0u/wqfa+1qCs8aPrjtVO2dir00cS2rTG1sQFO33zjCe2yGuUhaeIxQlyB4FELLFoO5GacdUh4mpsv4KpVuIenE5Y9yYkOBVosRubvFtF6rr6DjydOnu+EiI1/KyY+A0Npj2KXG9+jogazHp09wbxO0bL4VtniCgJhjmKLPE1ET0JCYtanBNNZlk9QYXuH91PQq1bfqN3LquwjCQnFbam0XTwSyJo0ZUEiTaOWlkoG3JJWYqOoy1lrKXl04obDJmTS/ImT0cerA8+P+rLvmSjWL6tJAwYizUh75TWg2tMK7EA23HrrgTTbDRF5nc/LcOmDlgHUuBmR9CAmCvasvznjotnfaQ5YYICbunO87gnW9AxetF/9Zjuvn6blbGFBRge07g9R26OxYElLcrr9IbnkcSxbcavf3v3P1fciRrR05yeYhyrzUons2tUPKLRd9VtfB7pDBMbiVb0bQY5v84b/pAlwYJzY+LS3HlaXI7aNKvfhYuVhXJfoaalAK85quV44fuPP0XhJF83ADNxyu77yKiWZOyL0t0dYLsPvWCBc3P6b8KzpsRPKv+baQ6fFHtVLhpJBwqHDkuuOAIG2IK0ipCLejnDtJ5xsQlPbuhWgJgTOULxLAyFIRnj41z5Oq12fbta3jKQyrJ9BtHE7jU3ZcLWr0ptO/TkxRB3nkHVZGwIRBC4KBRy9az0XRUwwYMNg0PCcjaFwn7oC16xQfvLtpx9nWkmTib3GvGgfS8JdZyfYRxRDlEld5HLB2ubUOMeAwAS48Fr2h/XG/8ThxK5bvDG11mI3UlRuHtEWeR/R7GZU947HCwLJj7KvmalpGTvk3Zi2HEaKHF8AGrpehkmoKGfizdy+/7XcmuHv8euiAf1f5rRyXVZoDawW8d1LUeZIIMdru00ZtRGGvu7xjgrG+egIqc43DoOdE9VDeJgNWORD+8J1MsNEmsvxtUsxM8zMVHmzw4BUvnWMK1Z10GvDK9IxPCN0ntGnCxTRwQDM2QD1MFaejn9Tl5cb8tNIHJZT24DV2NUmHBq/ayusxxj22E7oiJXzB8Vpj+8fFSrTA9yXcA4qca79wrhdZwJzjbRlUYxg3Ti+qQIVTaSTWe4cc6o8s7qtbJHTccQR0t+Z5iC7eEiQPYzl0e3IZW5kSLQcTexrH5fHeWNkp2dsaJmm6I7XAZxcBs/NUjJKpXmvDDKj7C5/KfYByU+6HpAQzRtTb152h/3xcXwoExJFvgwLa2LiTsq94h4nDQ00YccYPzFvpr9FXikxi+1KKovyG9DeuqOFBGkpnOrONlQ56CPF28XLXFNn1s6YKYQZH1G7zuxeaCECaTN9O7tETRxjBqm3sriR06YAbzCN2zkBPpt229svyh5vmSEnxXeda2scN8iD9cKomH0/X7T30NyCV5XAR9Xy+gLCM2zMh2AwXy7hXtOfxFoNvCaWfGTMXgDVrr9Eouuk59TEkw9kVTkDSQ9cPOvBP2Zg8DCY3KybKJMLE012iaJS5g2msg6lio8C9tQV341bgWTr1nULZGzLlHfPrb6EqgHo/PLHVnxyf6M2VzluG2+fzK160fpXikEPtNyZIeuYgDN2cmtTJF7hskANyt6iwWC8IVH+YPHvMN9c+9lW7ATPYsclZ5y//5qRL9zn3S3EYuNPnmi3Le/n0d7QRR+GAKLD8QeW6knRTKBTLWqFDVJxM0rsjEJgyKDQrNbYh2QmbXdI9fBso+OzJFNsMjWF9nVI5B+CdR/nrgz2soty8XiLwVu/0YGXvFgghNTwBQbjHeuM43Kv2gn4Q1vHEP0Ar11uhu2DP1ECb4JVWo5nUJVCYdXoUFTquoi9vaQZ6ZuzEue/3U3grAMVjiFrscGSIVB3FdCJ34IgezuVnbE6wsc8Gi/pY4NjJPyoo4mGUJNxDLso2+3NbzBWVXZRHCalbuEXg0//Y5Q8DI2zidWeZo9WLVvSGgYQI08nP1TgxuwkyOy3OVkCPI29L6X2fp/ENuN06BJnBcUJ+lQjqsReyeCcsIQq72pyfOjEbTzAkS21uXe+L7eDEnnqlDACPSFWh5lItgr/dCPtGTjMN5D25Cv0vZCQ0kvopb5kVhd3ASLfAMsJGl+/PoOA251cT+OvGsSEn0wiMNO2QxT7stoSKe6cd7Pe+VkbQ8HD7Pygv8I8jMqN6xq6aZMGRSajyn7z+JriPc0HpeXudSWK/nZ/RXbx2zrz+nIU5tSoSinklwcBbZazVGg+mkuqdQYJY1nW7irV1td6PL1/QtOKZHzJ1O3CFq6e5hAXkBlRV5wjK3BfwRQWm6/CaF8wkhi+1lZWAUA6z0rWas/kEl6atu3k0+26DjUkhKRYqCaWvH+HWsQJF2JBTz8GcnOsBmR6EPhCZN5NkvLh/KiTtbwHSdRSWwPxLGO8OY6H/8GYLp1HxMMgIRb+JPxpSKg2wBk3psspI6bS7EdXeaaOJx7Uyz9NKvf385XJZFnRVSa9McQtZU4u/u16m1H0ZfNgqAMvAk8ewPyo4Ly/kxDxq7S6I1sbMj/fjmjqd6WE1UijaN2/a45PyOlG4XA7QznzpEussDyjjTOYi1aw6Z3NkMvRZo6Iq2+w7rtBt+G66Q0oljwt3bQ63nZ6S55c0PX+/HF6DDRFVJ5IaZcC4O4jVz2U1/jsCc5JrfEKjYUneheRaUX6kLClHoBiJrIpYeZhJjis5wlfVHwTacfeh1ZLkgNgpOGqWI6utsatd4mZecUFBSTs6Rj1kFFa+HhNPOy/k6HunBI0YLxYSuAa3yq4vkVk9Qnk/xupEiEBQg2B4i6FoUMdA8hoOqVowyNM4YEhy48hOShKn9MwRMj2KA4GSmVLFgnlNAFwBKx2PeALwpZjtFFoMrk8Eh5je2DCQ3T8PoTcPIxnPjW4ppE0DRzPCabM4Z1Ob0cG1t74WQLlnjAGVrhVHbHSL1O0h03zOIo9vDkioKETqtIYc7e7lu0GOUNhwVImGM43DVp7Ktrfb8eJvhl9kYxPVdbdZIFRQgbYAGIxyrC8kJjGkXlp06wXukTCHO47vIXlgdT3UX9r8k49kLFD6CcdQADnGkZEK6n6jaXGJJG+50Gw4/XITF/oNKdvPRWGqO44YoVUZvxd8RH+A6eGrUjecdZAGetxJIWNw59z/xE2px3wdQNjOjGAJtfCTEvp8duPsjyrTozErtOqTOc/LgPaGHIpvqXLO6PzXENZxBwhbQZ7OOfYOxd7DYiL2QsBtX0NtMXQmt1/zRxBdoS2brqW4s2pt1h9bitWQZddWup8J0jnyawFHDZo22SxwDY0XZzdVcMAa0RHCYmr+BdxbSKI/GULhWKCERYzyuu/od4tE4rP68JMTrFhE1sjI4huuqGEDjQQ105PooPw84SVl0Ep9t81vaNQ74CC5Fshq2/aHk+/NwHC7D8e4+b2VjI3ydkhhLDBvYGkqpfZO5fikOT83rZ7+UjJcj6ity1h/7Mn+MGOefUlg8YPh05JvStQLVrnSF1wAygu8yFrtcUdZIAJ7u1GISFLitrhntpau+UbZlbCIQcZZF2Cm9UTsiOUE4OXTNSzWlYuk/sa6gvijDe5CTXFU3i/btjNB3427MRkVoeCYGC3MKi+xDX4cwir1kgU/uguflrtQlyV12a2UCYHaZj3GoYrcAJAuOv1MXguJypO0ST/g7qBdEtEJiLdeTjbs9w5LTVdlbznSw4Y6VmliitYxQqQL6l1gXZL+PoYCJixAgrIm2KDB0xF6f+rXScSTiHthhDCQrEehE8nBk2lgGunGJmuidLxQUrFqW/ElW8QP7HQNqMILabgLQbeUROMkjlEIKRcKQTAAu1XwhLrVlst4PTE9oV9ex8o9X1iMEChe36FSUAuze3SruXNTDirZgGmApNx6jRNAQ45R2VVC4EDV776UdRKgFPLOdnoD/Qxd2hZ1i4bozw6wmpOpAndQk83e+uYDKk45sfXkg4VN5F2JFkttzRcYxKIk6IB1iDt7AgGMRsNWPgwi2ieArJ1arn20qhy1UFxq4gyx7zlOuqzoKsz0XbY4IXIgzyv/fjXsfXricIeRnCtX2kCROuh3wkW3mk+dnb31nTqt4N0WeGLP9vIjzpyQ1k4ObWmnVczoXEtlYsv8F7pNGaFoMoDC1ZBIP6kcwJ0EFFkJKEmvkdRYij7+2z/wMyMSBC6W7T/ipc3i58pbclMynYFGquz21XeS2BtjGSgW2hRUaXgVoSWlGe7A3ze5ExvmVvpWNlCZ+Kq2d6kxcOuAewOV3AnJbQziFQnB97r9rCokG1rXdCjBwDyjfO4HTaNpfiylDo0loMf2fg4XIptaZxwKW2fUo9RVNXNnm2hHt+Y4/RZ+mD/WjguSHdv8M0wgCCSEHKymP/sl2NEbWijXEWzeOM+xWyN32gKNFJaZwVPD2fEg/0W0ye5tdvbTZxUrPLu9HSs5ZPYsKNvXq7pWvcUUoYbMccB0LZdNSw9dWd5NZO0nKtbYVaNG6gUv5FnUnLzbUDqo0l6o+lJzHZuZZk0K7MbrYXBJTNZPLGUG1QciZoaWlyjF8GLHQ8Q2uGoE3F30myXyVKGoN0uUSFgCbF8C8a9OkR53vn303NQfTTrPTulN+tQEzHrLeFeG9sTx1tT9/Ww+xveFRRvQG7woP6dxPTx8pV/Niw1HehSqS1in9PO7ES0sQ6RJOuRplXrjABAgsVQ8v3ZSKjdYXW46lfdHawiNC3+/zNJsQCH/TwkYyguXZK9yZbgR+FNbQG40yLIVJoQqKWQFzQPwPLzN6USJA9qRlaqrNvacsK4h/Umrdnv6tUWTYFxQ3tiVQ8NzLwCnIfNfgq5lCloVCXrT95wUwto9aiOqCNgvS4E8hrnsovXtriCkHIvHPkVTmBqAXJ0zhL9dYKxlKbADOb6vPu/enJ8CGDFgI1yN3cCqE6ztElwaSe5VwBlIyXScCGTempvLM91DRlkikY/Z20+3eKPTjF3fR3rfBtbj/MsREPfqRsdRte6LLsZWfeZMmwQC2CUPz1z/CCfeVDkveUw5+uWRHghP9PV+VrVzNAvgVuvX6kZM/rxdS70nc8/OQ+gPL8pJAFWrlQB3CIDLjuXvwyX33PlGq1HDiOzoX1jlIxyLtR6+VICQlyyiZ9FVy4HYy91nP25sOwQxvZpBZnn5smx8n1O4Io1FD1Um46aRr4TytMWBx7ppLDRuFhI1p8zan2je35mBgt0td51MC9POa4i+c9sI7I9olME9FMABwtAnG9Pft1Ep32LJwEWJH0XikD/8N8cCLAcrT0RPVs5LR6QxbbaLYJoNiw4sMFwuy903oy9fsA5RtAdvShLxUwJ6AQvjkUJKXKQAyW7wl/sSOpKcisDp2WGS0XTMRUd8y6AMrsDU2GzVi29yKk7p1qtPhtv+tK41nDYPugr3ChS13JNZJprY+WSunzsililII+8s8fL+6LxKXRrChNATRzRZjHYN2e3m86TViF1qHNB4HlKmqg1OsUl4MpE/eRc9Vsf3x9y9pqf9yqQfB293T9+AJr3FPaGbdQN6VMlVHVp9RT2CxyHd44IkmB7DUSsnUy1fs2GXyE27ijhnjm2P+Lw0IMDtSBS4vINzIT8MbHEOOhTcTxtMCwqtJIswCZjBmNLGSBBWdaNVSgSyPprWYjQIskFSAticav6qFdGiOq57kE3UPsAfKjbB0zGABxmASb9RjmQHbbqwNZsr+vFeekUM8bOhq33iUTxRrjltrz3ZTa7+xRm+nAezqISa+wFEofsREMj7zt8h3F2BZ3s2KvEESQ7uBo5cJrWQZHBMyfIjn5ZdY9/TWi1zPxinw4Q3UOTuaAS/ypDxwutyIfuk8jR+zn87y6OLTNpZahQTHEi8qeeaGSaMoDNWoWxmZrptbwt3OYaiwE3omnty94OQdv8nX5W64NQzmTQfjkRTxcMkdrZAx/4GKrBECLEDMoPBMpwY0RHnOUWMRq/Lb6/nBP7Oh8uPYlMxOgx0VBD82ojrUsquPr158kjberataYkMU2Azx23TSFlo6omxQHTnJ9Pt20gn8qD/g1/8zfQ+z/5/M98H1BHSe1S8aB41TxfQwGD7QBtMS8iKmmiAGeBhz0AmVHvjCUlhoWgTFioomuPe7u77vtSHwW6I6kNkGhJAHQA0Q1JEJ7Fpe/rlSDv1VhWGSdiKX940jibiEHx1f7NsCooN5KvUshPxxW74v/ggU6U0v2StnvyZbZv48E4u7Hqj2qYqUQh+wjHl/Djqv7ESixAJ+h8UjdR4fxSxuppUS8c+mHXpEP9qjeKWKul3kNYLLgXyFavvT9eSCLIjY+BhftZUYfawc6KO2+DcIXS718NYaMpdEvlugfyXlOAf5zfvabOKNKYVaW1CaxxBs8DL4ZBcwhc0iVIG1Uy93uAZ0PSBpeEMOVKo8hNnnuXES1G/0fVR2bSaTN1HBnhkLEhG9FAld82mVwnMTZ2lnMFl+UwjlZLOW91khxZReQuzarB8IDCJRHVlBBesqVntEm5vfIJbp6hoAjmJ8bb+ApqcTS7NyX6Mut/c0j/dv7w12EcM8cvfgXWit35EdHxVyKVWCjx2hPUFsDO9CHAsGdjovl3Ws+WvCLprlEUEM0IUGXcHYKJS3fuJQAyH9jkVwGrSbiB7SX/sjTyCCrfEIv6y5OMWilCBUIL27fayOwxSjaSysMsNQd8opSv31WFglDk0gREUQQedfBuaD9BWgPaMwsL2NnYxDPj3bPq9S8B3USYjBto+Wrc1J6EVYeNEsMFRx5wlKg8xPdhWs7aQw3nlgtsXuHYO9T/IZ6M5rFa353uRDsAb4TDDoi8VjbPdsXKVbSTpxoGKMmn7V4FHIaeAFP6/69JnUHEM2e1H3UcKQGNsIPEQ0ZpRupmHmVuqkqUtF9GqHGbiIN6JfyX7u3RLLy+lmwn776oH3xYBYPXm9M6l/r+TM8Alsm3PRpJ/F53HqYA4MP56l5F6mxMp/snEPY8aOB0sfC9PRkIX6vU83aaO2wNv2G8+7AFTtEf8AWHJ5eZRW7JLxupSFW7X1fGMm7zl1TTIAvqs3M43BICgHJKxUAv70dwsyfWdmmxTYGos6cirSoXuXSh7yddhUAHnDj78V+judEWlNizx62jZra1gPNRZIkednE0T3z8eRWWe+HfYM8A2iIwO9gh5sx6Rm0YVSLeUsYJsa4JIOymhiuuFbF6eshNt6cS1WHoCam0ubr/oDjMmoUeEFDNrFuaPtratb8g0FxQzWnfr4ZwgSABCcWmaGCf1/30IyU6YP1LB7/1+0WVtM0sjDruJ4Ac0LBcLy/ZTeLkX4+wXYGFaTMKtH/rW9ddSft7D7sLJZdkSIdW8xDWeHBBVEzmJRmnxhdeTjowW9O8nj9I1a/C/FzVLCxc2sHzNR2tobNMFpxHLHTi6hgcVWci4rCtnwwtOMvunRZVsFVc8cavZiDm6BqkfVThFfYxmVi2dPW+rEr826bFVnWZfMuA9AO1Y9cW+0Ua+XOJiISp4745+O695+TJCsLDiAWrQV9BdhAITiMJxujOdEh22+cf9plr8zZtkR7zYyIpX5lxV6PczP/+MsVVH5w5S6JoEgcCgSO4S+s+8DZu9J4JGATLCXAy/7pWZBnraPUsr9+bhyCqdVhCGWKH4kxTnfNUHedlIjaB4CLCnsm93JZ0LpuGdTaBmxSiesrBM4WPKrOwuytMfWRLfeclynYbTV9wssR/Cvm6Dj1vZK2X5UUJJg+r7KI2PwyxHaMkBsWyqI3gGtWad176C9S97SeyA+bQPWIII2JromL5fGrTshzyZ69WpbXnDNiX+859DD6W75S6H8mBZT02SxuP1rQx+u2UJV8C9BDEtTTJTnDX7PRXkUOrD0rnqgGlsyxXfzP06fwEYH3Eurz4lltpj8zEh9QmWTs17jr0RSVCjIoWm3K3yyCeKHQh6enSkRLVxo/6vw1Af80eJhZMNgP7JVlYP85z/wNvRFeQWIhPUrUgaqA6GIBWTzUQhmcFauZn3CoHdoW/u2X+Y5WhFUJUaVY5ZKaY1hGd4Vjpnqeedv883MYJgOwHgsBDVzrvgxVOMCGJ1/ck4IA1D3IpXShNYV3iOWrs2iptkxx0LlvpsBWqLv+vSTnLQ3lKdD68LTfimD2ihjHP63B/MJgHxZRJRao5S07r0ySvRVDUkbT4MHBksnq7iHyZGNLqELaz36CcVmw4lq2orQgfwRl8Iae9x57W1ptcWleOKytGPJ58mY1FeVxF5YqY6+hSDSi2/mESGaqZcu82ZK8Y/Qj94FYqynXrCNfbFPR0il9lOlZMFZTSxiwzVIdVuGoX+w6teMzBuqhbFU9CHC1iTd1aD3XUf5UvKhWSC7xS4Ax//547CbzOGrznxEoPAHZ0BImQQ/efxltVtGRsP85UvWhLwILpcIxO8KZqhRA9DGbeYu0B3Q/FbKG4g8TfwcL+IDhkSwN67FniOHKBt2j7MaZ8Hu0fIq0Q936yldOORynmJJLfX5QcbaCFopHlaXP7qw2mfCWvRHzcjjeIcj7z8nYztWvDqUsIsxrwu0PtRfB3ATrkTykzLLjpHuKjebLPjd2qpQWAazqRvljzLokEH0vB03ouLRdjuwYtAYU6oGMHfN0ZPNtQ4CMyGLyBY5jBgIC0wv/2nsUxfGhwwG1r2ZZrg8MMmCTKL2FQ6Wg8IyboijPgVfp7Gc20XYQk7h8Prb1uWp+Bh+WdVgaceks2Sd/gfXmfqurPi+3cLEa+QioCVIiAcbjG0Z7iiZoCJx3ad/SXdEeoqD6WQZss/j86A3l2UgUQVsHhjkj3KjO2tckFfZBK17cviUx5zXmJXG7BCx0YUARns+C9SQvz0aVMaJTacx/QLLwH6lBtawrrsNy1viSQbQfenJHfgw5XjW+N6zNoqaqwv6njw57nzFmiL7vm/6eJhNNFVXYPGn6vCunnPPsHfQGuf8z42ott73Q6zMkTON1thb/1N9Bf0wjzEsQNWymQCvpkA/KySGAz2qOWBPtzHrxXUEKRzCx7W8mR3kNtJvlAjXX+LOebOiRAXDvT0PLPAEK3/Pa6WKlkSPQ7Diuc9sTCid6Mgo20kXHhzZbWv2rYHzKdEumUtiGu0VX5yQ/mpaUBcdmt/ZNnSLdc+bsk7qE86U4SwzEAKGsWZjaCcv6Sm3fXemHZ3brF926cxL1y7OGpnpqJgMgAjmzAZbyC816OBz19nKOWXgWxFfgUM2RfNu/2r7v+xct34BxrFiDShB33ffbHoe4ZBtJit5Flm6gBHsoNxHATiC9Azya3zk0Pf2m20Goztn7SuMJEg+KRBTUGG29MIS2AFSWwZzA2sKb2zlcnfcf9iPiE49vD5+aprck6KHClJhvaxy3Ga9BbsJa7hoLezrwPpNOsgbpBDfuYO8LUO+nrR7PH83L5Z7Qkpkq5TYywF44xHh0XVzcFMtZ4OT7Jdet8RGUfq0DntBfafpiGbOociTbaAfbVBWsOVkzyRBA81/cF3e0MN5nGaR+Ry4IzPQdk+ePG1RVgB7KsHsSAmJWJHeTtuyz9/ITAROTBMj1fca1hmcHuCDOtzeNR+PGtNfIbJ1AOBhQzFh8S6PfDb5x96FfBupOT724AvrFlZBznnXKq6vIZURZUKFAv31bIqhOynjVo9eEt2NKufmyGxC9jcmgw8nx06XxBU9RCwddh/jFfuuxWbnSzn1PcsrCPLRX3wnAFzHnS8L9BYcYxynDiXE7MB3UOqwfDKL8R8LpmGkq4W5K4EKjDl4sqHaq807/47ztaK35EWB1ygaJDTNmqVxC3l+lqJE6QaJ3AX8nlax1kWNARU5jmrFONlWDCTmv1to0TeL46QJy8yDbD7FW1ouaEP66RLqHUhlXlPHDc7msVM8s6y/4ci54aTHYPheqS9OFLmitd4E54+LEW0hJPQJhv/Wjo4+tabZeTJVz60jVnfiO+rYeD59VYJyOlUGnzna1XMtaJpAh5aKRWYN8qo1NB53ZkTG7Q7z/5+Kq0fU3lqtIMsFXDN+5MazXgzywXpA/rwZvQkIZ4SvFmo36WrbP/1nwF59Uo3RgubYVprKDyfT+Bkc9EiI/D+mZrkm5r6udZ/LEXkBys9+suJGyBzRLmCjCv9xkjw9Q0BDoXg8ko0KtHKlTur/me9K0T5PVnrBFBf7xKMylRXKgWQW+PIyolPN3SEzKWVSfaN+vCuwQUlYrC1s8fX0CUthcIAA/XBA72mCVdSSv6ilsLV7W0QhQMRQqVU2mgtISUrPgTjpRvZv7hQF6bSYPrnnK2d764BElpmt/jnPXxVkCysNqXuk/sYi0uFVS3ahiGuFzsTVAIFoLvQ1JYxyTo9QpIdUxcFoRNfFHDFGaaiZXbfzUOyOqbzI/mxocNYTqcqoNwdd7djSNgFEIeAnnTd3Wr5xhrGoCmMUpfxe3detW7NwKBFT2yqqpHFQhzBu85R3iGmMDw1ojgS96D4ox2rGlWUgbkJ/Pwa/t6yxvQ2OsA2VjvGvu4LuN6zpRuRz3rDxRSMuSvW9FtO03EAxMB+pEGAY/hCbyanI2Ng+EbucGym/cJOKUCvQDudHQDeEYzTHgJXNq74IseRKkPdPPqAnLmf/sqCG+0mztRdWA2Zp1Wf5dZUePMtcUxesUC6T+2aoehCF82MgAx4p3o7UNy4tmaob0isdFZMHH+0jE5mpPHJuEp95306+0Ln1yARvp6Hjd2OR5xHXsoNRK2VbdR30JXPkvC4SJW0Bulp7uWSbjGQZAu5wpcIdlC/CUExsbI5CSia/PnmMYGj2kX3wVrAwQQw5sKKaaUurIqXaHeTdQ9qpaQxtl07hLSMzK5Igs42CcjyYk456fY5W3LQFbmqr50wyVG3lIh6nYZrFQb8aETloFFblT4LquukrKRGw/NbShhBX6LLmpMM3CI/JxL1BR9nsDn+1zn31QzLNTMB1lO7hY7BjM3v1MiEm97azxKIwBDpHpdSYfC4pmwClFs/ML5KTRrgHy8TW6fTl8uv29JZQyUZuyC5xwXUk8kCKngOpVetN+FdV/9E+MvFJxInydQolPR1e+H0xtBRen6KLwAGIgeKI0pUs9FvlGU5UgMLXATOlmUDT1qXTBcuc25Mt7tCDx72/7J0aHIONP4dbDmEqvKHOyogj1FNAr9AZNYFEVPwYkn2vVSAQ2UyHyPia2XPcipkDDDMuOnpzSxR9O66o5/zeumxlNCY0X3y8lfBffhzRWUA2Ez4ejKX9HGSf1814cxpNS7jzgysWuw5ETonrrUSL5+od/fyNi1gQTIZUJe4BajvllOFgwzvZuQJI4yFasBpZHQb+CD9qpC2NP/8jtwqpyIPugujsMEmn5yYYTTI2SylMK75VBEUPH084Ma5ZY+mtVExe1NAglQ1eTKekawmq3QFEhySJrAjZ6rWTZZJhnGo4pcWuiri1WG6wqEMxAeX0c+K3MBj66x/td4+tP3kUMBaOi66wCuIEmV2tuYPdq/VY6wCPMxCjJ00+C/RVRHAd2rO6IrtzBr+bEHEf7i9/lXGH2Nvv0in4TOb0iEH8cuTuC5JV6tsjljvTKCAq1CmhP233v4KA8rh8KoRxCQTqvPnxHE9cPO5q7qmBDgsJCxyMnlB7YWJkuTrJa+A57wPWkrkd8yH/aBWevexTKMUT4rXZxKa/4rvpOrAOufC8j74SUK5lF0Hm+Jb9vNjlLCQI31nNEmBDIy0K5PaOQJ4w8kqrekoMMtfDtsMhyxaKiBrj8SJPn1lG4qAlCXLW6cXSGK63bLo6C71xzgjG78ZFZHbV4A9SeqPpaWZoDrp4HtRCi4wZ2xSSLWPmOwnqhFs/yMM5VT6RP8CXjkDSGjrlSJ9qq5/WTnWJ/zWzBQcXx1xkQG0wIFZG/If8B/BtxfFiWNWW/Bjz3A1N7QTkL5tPBwauAgE9EClVKqKUyLYUzCXWgM+bkOZP9OrvyZuOHuQ0AvwEs08nyBvAoQbsYLPT3QOLYFsXIHsTndbdsszT13rJOQhapZC8tZDS21KShduc0YB+DR0WHaGc7x8csgXHNoRxIldKcaeS5MUhcloEzf0HsQr92DA9w0whRBPDeKc45W/GLdUm4reclM8eRncSsXMfGsJPgn+PHboc8C2OwUN5KRIe16j+qt7nEebD+8YI9+X333XjaSzee5TU9Rp40Ome/O7WEewsc54hSkr6Kkj9XqHh+FYdAtDa0t3RzDzOafO4fiR0Z+DB3IU14jFbuH/puOT/WoOol9vG74o7j60176sgUcrOgrt7Cv9i5txBUuizdeQVYBRoZTtjiQpVYU2GlszHXctlDzws1eYKSvJigFKA5MFs6h1l6dsyYnnzIhIaDyRkBEgnrb17KVX+SmbYC6x0Dbm8i0Doj/5MC713kYygP1n/asbYDp6Gh3m6+jkke/1NI8iEvssJZywVT8hCMUm+BUphAe8A3gOUeU0wzWCP0dNFmBGBfMZY9eweIcWrHt4RKeOy/Xe2NxN0GChyPnJ+wePM68yiQ/AI2y+XhtF1vySPtB9bY//6TSv2JhyK8y7M4x3ObOo6qRR0C3H8OhzesUlRWs5bjoWRtKefzozbp/GPE5jcI0OCREYQAe0UO+1Wlgt7ofwVrGY1Dvm+6GT0Eap8M2Da1y9whIdybXOoCmK3G5+Hyec3Jg5eg/yZaSk+r3EB84IfN14I7X4IrVPjf6/JNtEOXS1GwhCHWZtwE0OVNCsYPebhY6s7xf5rw7+JHeomxNdtyiMJ5KM3p67G8GQ0Qc0WK5bVLytjw6F8HIsRPGtvjY3HjtmYH7bW66E3FmvDTY3B7jLd9Mpc3lF3avcbm6h3/tdlIgYIgqV5OBncCn/xWVrD1YvBkeAvN/snJKV0kfGvRgFqMD31uKofEnTmbxNPJNjcTXOrEa+3dm8tXsR4QJmKoE9uIzfcM/30mMH+lEqqxl2PvFCOda4JGeNt81fFstL768eXTL4DnCHADH+GSZQuLRI9pfA15oHmvoMhyNyTTiA1iNumZfBsqo5DEh3ztK2CrkhXHtVTluVa1yLCOxwW0gpTq5Vj5QBHnRBQCFy73IkYcBdtoFOF2jyC7l+p8QXy94x/Fb0lL+Wj84EjulzGnLH+OKXblGmUBQG2f+TKDLvc6I2wNTezswpBKS78WCY9OY5LrDTjm9gqrKWhTzf5mRFsoLLpLtHMD9oopwunFpSklMbBK82w0GKTjqChPWgFyT0+8d32rILkBBjdKaa6B2acUEXPodB7tvxrnbXWSw31upgNiF1e3mWahhfc/hSwNrGe3uyi6J7lGdELW11kN/gZBUv80SU0nmfUpWKw+GdPNKRCdMe4HWIAWPMNadVd3OkSm3EgChg1dwWTfajqA4PNnSDTjKXOZdO7hmAAMxmBbAFzQ5+jzEvvkZkBoS9jenH4qwGRmXf1xnE7ZmBERuOohRTiff5alBPBV/MX9oehTX7D0EV600wgt7xwBbwijA+9zOBIRjQzJPkGT4E3VVzmkZ59aQmv4PPRg+Z8toSTmqH/wcnXpiMLEnjeGmvnSJFN7f/QLb+f4FRNPlR472BAz0gMczzotZKqiLoCCiupUNvS+wm+MCd7cKMsftpp0IePMk9g2Y4vZ29yEdOMrkVN5NBpLyT7+j8tMGlDjdlmqHsYE/pgN+fAcCIvTwsfj7ezLn4a9o6XlIgIu0O8URke0+YcsrNUZcjI8lSQJn7jCO5abmvXnNN4wqBKHz1XcgNV+TE+LKAKQTTlOMIzjlko79OsNPZCCIN5fG+byCCTspxGEEWgLiYUpYLerU6j+weojzT4mo/Smqm6gWFZIIZzN/jXnTAIQxHbsFXWc9LQyJBrDSS0mbpGI5h1paMRdJ11LqhTgpTfeCaQP8dmfX7lbfqeIxsspZh2Xv0GUzL9xQoqg15nrirf/er5gI6o2qECwib7cxT3c4Zj7Gz6c9c8sdFfE/zzogI12W2HMVI8LkmEZMTzXWtF+3RtwK/E4kEqVKYFokY0mY5+dyZ+5m7hm1T/OeiEgS8WSO361QaDeh3SEW6QLRrCws3/4gE/pdMs7XFJvlRbAxXTT9Grq5jgXVIAueHa5+RMmHeN7rFEJv3NtSMArjaH7/sjAY2JVinvMb8s69XfUzYMYFYsnAqcgI01zjpNrYJ8+jz13Wo7jmLKRWzAQHU7Bp5ZNWnmzVPMQFrn7nI3camQjE2h0Zij1i/9YZ90zYk2wySBhnnZYMWzNaHRpm7r0NNDBAjPQEQTqY94GQ37uy/fTzRp/Qpx69Imeup7Mry2ALwOjeDXApaUHJcNNDfCyFC1sSo1bx4cRFuMlNl9/hM6FdJbolOVg+wYBKNqaNHqKTFhOaBEiLZyaEn9Z8j8/p/ifKKFPqe+lxbGmFOa1XcFvEBSIE7a26MRHoXyzInXRHF+k7BtzVQ+bR/3Yn55Mc20Xq+rMhICeQLs0HO1d+OrRvIoXAKiZfzG2i53rOrmeafa88qtszShIafdE6VNHFV1Xt5tuyMnhgWnBHrLbdWobaYygGmXcQrK+HjkHc1702jHLHk3RAuLx5CAZ9iAlnfqTDaFrvVxOV3lAL53yiO8gKPjfqZfUZKfx/qsWbkz5e6OV19qHxUg5eKK31b9LGGsdoPMwn01jCTwXAoVD8LFHv+OtP9otRC3CvqkeIxZ9HJvuE+682150mD+E87Biqgm+cACue5Rp5RqZjbycJYzgU3ifRoo9P60M9/Wi7qkshyDIh/LF9YWwLG2nSd1LmDLLYGHoKAO9K1oHt2UrUtMs9U0aXGC2KHf6u6/d8vcsltlJba+if1N7eFBJvYzW0pbuJRhdSk+FaVET6ib61RszupGhmuBlPxdLtwgNofpZDgfIvJxLpg90yW45lJLTRLGExayW25zhlXHYOu2X473/ISHk+nOjjIZxtt2US6D2VR3hRl9pO4VMcCqz6KPK6ZlbW+eeYC7Hi4RJ58jWDDjNt1+6XOKxy7wEZKQKfO5tWEebcvdi3wVcIjf8z+HoAxf0z+vFqyYvAnGXzxd/PHchJonyyX9q1yA8MGIZeMW2et/7T22UFRMoLaC8gPuTHvl6rJc81K/9D0SY0m7mtInsuLDQ7eHVxaaSDFtXQlBGafSy9okeRE0TTwohwtHvIRTjxx+ln7qTD3i2ikDoaBYRCKLM6z1WC+ILkcOyU+dYhrKKjZVuYwu2DzxgPgQt0GKbe7znWObURrmpc7jx0Z/8mA7VhrnbJDbB3ttANSixbMrY2fmCE2kcUoxQMQK3CukYjsMPO9ZEBXUim8q9vaQlkRAaW30S6FEkznMXWbAk6X9Eeh/DwOvsAopzBHAHpjKOuordppptTDiCEKPKTSxmBNkIcfRC1SL3jJhkzgT8vccLEEq4Q2HvBckH+vm3F6/P4mNr5M/xxRGvrfsE1f40Y8Oce3ZxBVNyE2sFcqPP9rAMdtICmLxtYJdXD3ItLpYH7baqgP9g14Hatp53+vGjfKBN2OOb8uteAyMNCsPvY7T+Ak6hJIz+mgA9TeFbQ3z4Uc+orW9iORc2n8Ws/AS/Rny1hNk4K5GcXnI5G7TDHyqo9GIhokEr4qL7uADHcxAQanujcMsTwFRenKpfQhmpSHXaKGi7AQAVOILBSvT+nuciYBSqKfnycwSPF0osNkGpDcIc/pXzLL+yVirvcXErPO9ooM/yXo+W52qLEja7EP8C48+cc7hPINVpIwzkHWz4FO2c+9oTNKteUERc4RerV1ZWDXVO3LhrvAc+FEW89oUDB+w3G+l6cjoLTrMbczq3NTNlcEmPwdVmXXIY1j+d5O30laQCdPba2idZFKiKNF+agRGFlxKWEOnialg2pQ8OHVHSW5XjrAXinuWXhBcPGKUpZDzTzxVn41gTFTPwHIyAUJTZvMcRvSQ23gWDsZdYg0pOGNXhDxrjjh+nAzWCOsEMgkmIu4FfL6Qqh8E3TMHmkdXvxddU4xrsd09hu+RIMWKx7nMJPFnscYRH2QKTFaEwg4RoprBeEHZV7UuqBocKEPCnJB1zEqs2q/YfaMmkPOu8WeM09ERaBq0kU/IWIMhIBs4KxGhjTuZl1NTPksvdK1cLzKiq0iIMcjh1mVFobiI2rSA8jgUdYF3mDzwZ/0I08FGeDcMQjsrv3uA67n2wtoHnnmhIPjglqgXSwcJIaSg6W29QVCVFw+HEJbVH4+OtXcO9XUs/Ki7onl0jYblCWO8ZUGLrK9mDrJTNLb+CBPbqfyqh2ARvcMy9mvBLICWNHYE1L6ZMVejZRH+Ime834jHrLdwVCQNNrveRcOS1o0daoV9ptFL5InwXIvkBaRI+peG5Vr3hsq8mSJvc9c+Sf+BPSIaRdwXddFwKUmwbpEVZsic/dYhkWmOeS15wNGde13C+35kuemtNf0747NBHV1psrq+D4nOAE8/7nkByy1slXhRU7gyu34WG6yE7Lu4rg+kZjX3d9EsMSZb3wMcHxXE3yonF+QIyjUhp2XX0q8S+wyNn0yXSjti6qKyQ3jSfLHDM68fscptgybOcYVovyooaL+Tf6yzYol1XqXpPM358zuC+u99V7PqnSLV8GiPUDPbYkro1lHszUVAW02B2IYrKR9wV1mmgjz88g/OxPED1Eut3UWjP46YCtJI0ZkAt/Y2eWeNDOaJMDmhJt0R8qD+N3j7eqmR9S9fai71wE7tqHixiaXRKIwaimJro1zqRngVlGVw2TASyrv90G79L/DWAGKkRgpX3fH8ntUvK/RXRZbLtZn5a7p4di9I9r2tjRuEEuCIAXpmyNRat/aCPbYDm2vQOM4vH9gxxF26lp/7CJqJ/4CsC+ZSlcXgodifRaaUkQRreQ91ZIbVmVGPbzqkhTh1cYRWXCr+V6p7oYaX0tEAQ5U1IFx865abcrau2kUCtO/K3Hp8BZaDsKUdOLvADA7plKRjNMVl8gux44nFtmnKWgZOfufRQeyb68NlU2fqzIb8ROCZ/wPVqkXiZmFxCzxtvSSVRhNSEOaQ3FrKUr4uhT3nOIT9SlhSS9DrBf2TjoJjs2L233n4rIUCp0IAAOGYlx5ZI0dgseAqH8g90BifWVFoxmltAh9nK7EBy+yaWihA7zsw2mOIPKrpDh0/2+RGxc0wPqXBNnh62dmZ9PcR2BCtSE5W9xP340PvtKUHHq7dO5nym7biRIORWe7DfSAJQ0dvhj42p6grAPmsEEgEyIhpTb9NFIskb4c+TKQ+7d/tjNy4m+qjxhFLe1luTuTfS7f0MIuBDHdEHtaErMZiAsYQKPurS0phY9YUx5Gx1pQNwQlm5EvINE9kUNuj+jNNMBWRC28aG4r+WQKhHyiW+3VbusC6NBW9QcSo7iJFbSHYEyheIyShLtcAmJbkC8y+KHFtW8DfB8B/9vBR4MkGTsamq2aOiIrjBMft6BjrqtR7hvogZc72qLD8kVr0bXlS44cpqnjkMPUUg75GtMzh33kkqCSx0IISgxZ2yZ/p0KWTAgUwcbk4QTrELmv3zD+3nR9wAxwgzBV7/8RgPUnmtuYyay9A04upDnfBIvWe6FXbcPeiMnElLDNbjMyxuRpvMFylNrvpTN/EZ8LmI1B+fvANPUtlqbF3BPpCKAWoWvxP/JmX7H4voBPbMSHOgSb1IKZJO4z72kaVpXlv/fZXqnE/AxKfv9MMgBF29M59r9PqioIZrnAEQw2mVEEdj7tFCbmR1wWhGK7SKBU0eyPWfK6E1LZm+39F3bUS5WbKB8h19doULgduI6mTZNNh/PUJorIhubGWz3QvH3WaMUSK10IQU/9AEFWdZz97yzIxMY2IWRDfU9773MrQspznqt7+U+IxzoIWIOpaBNROaHvj9BF58QoG49WVRSf5oqfISnubmwpN8JOA3hJIIT+5tuNNBygWTgl3Z/surzgbQGrrHPi1mtBVt9/vm85PTK3iWgFxcN6b0t/YLaWtDkzwISCdnVKKtbWBxJWvfjrkHPMoJylKbPGTeK/mLPuHw3gcQmIbLA1+rSxPW3h31/lTwSCof5EVh/iZSYWTH9zWc6P1AJUSVIjZ5RSvDLi+4C85+azFzx+NSv6KSvIoSSjHxuMcjuMSRLGkyEmXUbk6z3Ooby4gZ6qWzTD6x4UfEX35o6XNDt07TUh85j2i4GrGodwJXCtv2oFX+5tkeRev5KQ37EaDY+WbTWUcDvYBsqeOv36/2Tsi/0juGVMTI8Je2Xlu3LF4cEi6uH1VfvMj3PC2VD4mpcpiuXJCqpHa6pOF5lgc3hkWFjOkNlUH2qG5DYnhzpf7n+pCfaMn1YZHO5SFA8ZC8tLkwjKBKtZ3qAX5PRQ1iYuu6d9pNAt5vHAKUrA1fo/V5cp+holRyLN35nTV6Xuhr3yGgdbG25GPtBGVwRISzmlVPq6Utx0/3qX/ApW/FGyrlRQVn0pmLCu+TxVDYvq2wOmAHJOyzp+EVYgfv4gFMx1XMzC5J4r7GS8cBi1uFZyQ7geVZ5Zk9x5fo+uQycDZx7yqXMPp7/5uWVjYXlnilrQbi71SenYDWiWui4ZIO+RoL/6/bbJ3USv71IW8A5Js6marI27rJsvJBwZV237diuby9Cxxvv54Vpny67a00k3h4f6bXI7UyWQL6I2cm/cWdxab5cQgp97fTxUEDzVuapBn0d7t1ZVIFFxtAC/zYI38B+CONpWbGMpAOYDPBrfI4qFixnmxK9AYA+gYIvnAZt5evJBntvCzqqJDH9NpsKiJQcN45Cp/bEioBrdzN0OCqzXVyM7ohfG9m3Kh1VDO2ibW6nJUS2BNQxbCJtTHLaFcq0xs8wk7DuWPl1bSpHMdt9GgcyaNYzttrKx7So7sqiLjUDGSvxWp3TCNqKf+xf4BcKcaxGDHJMY5aH5X+pqVsS5CHNOef+ntV9iPJdKSvfsckHWEMuC7VSwHnlxgsPV1xb3WzQjdIQYYjw8Rg5JznPo3AutiYomMrAInzamIbYyAt0gy/t4j5z1gTl6qMqXHgF/t5iJdUtBy4L0xf1oglBzpQ6tXee+lSby9Q0kGUdpjMXVQECB9zCYIiQE9qzr6Vy8CEVNb54t9Pd5gti9nzjfnlx80S9hd3bSNngR+mqRVxeCLh8Syw2IG2zaHkcAFggFwwVXy1XZ41H0ShwEedTuWUUbiIz5OCLVdjUL09uGIteV99m3W51U8tBRvYZdV/+Sy281zDlDiHyasMtTdyUafICD1b4s1UqgQcuL7z4HBVHIKj6efywcX6N1Qshh5Izmx9wQtMaWNcb10NuLxUirSxkU/3c97YeCdhYwJXyIaGTiHmyBtk+6qqSH+rNd6LTt8OfFSoO5Ik2I5vfXi6T77vMDFONDvCz6lttq6y/81Rvdxd9nhv52RRFpUXJph1dZs/sRh+AVKlphoAjuFlAP/GtybasGmYHwLfi4SRlq/2XtI6TnvzXOuLMQ2Bdsqyzopvxd8Id4NoL1nyg93670Il0GgXchkI36+Uo1uXPSSEkCH4eFRx1cWx8UxjaJ5af0OpSihRtFbmH/UrnfU1PepkQTpaWhsTHaBSG/eHbk7IG5wvggY+MdYpElXjRbp26xPwhEQXr2McUq1o/sts6K5QR81Y5bQSvXTr5yOEakRnakTSoJpaf1aNyGi2Re+RjSwzqk1p10ngiEqo+qI7t4EyyZcRhmVqzVKQEeIP+qB7rWL/jI5eDZtw/6xKrEwysmDMODfdZ8nx1vwTJzSRfT86xwAsx/bKsfqYsndxtzCof+7O0atS4AudsXy2S7WsjAULij6+t9vbXbr+F54WYGQmFZbX4Oqqa/3/ry8rCEvtSwfbWC0y63+Xhj9VMnYYwZUy/1QXrhvl87H8eXfVQShV6Vh2juwte6OuSfdqFFKQRsqs5ym5Wy+VV/VYIglEZh6JM76/mNFmMzEZexsUxPQnRisybMLSIv7KyrXOPY1FQ5+1d32LL+1NUuvoyn1qEKDQCPi7aST77/dn67JOjUPrUsuzudds6ENCSezH/Bsakthw+rVXipn9CctMmbuuA1LghuPAjv8FDT30TyspRNwgH6/rGzml2Es8HEocHNuWiKOdPM7s/u5zB/uRIZo8bPm2rRmWLW8p3OnflP9k3sGoyuBKqs0Ur3mUNlkAmtuS3OPM9HPnIwdy5H4iYC4Zj/Lew2bh3CpAmRpmdUVdarhLtztsbj87a6qAhk2Msuzq3xhpJ9S4ZWCsP+JKX//hpXMBbsEjswComwi3cQKdEkQjhlYkPo40K+DkHMPSKwBBWuirGLIy7+y72EUnWzaSgsPeUR0JrWqPGATLR8hEFJGiDTEpdxqpQVQmbNg28UKMJDXJ8ehDCt/6IwhrpUcMQA5/SdSL7OQ4+f8jYqPuOKQt6jsib/hKVztnQyuPx+xO0cqbwWEU34XikpZ/+E2C/+I50xwtaR8LbfvKRmJovJBmLELB/oUa9LgVnx94dzb8e47zV6QCMtTbQ5jzpJKAmUDwiKRmuCCqIlSwE0+waVsoOJeHawOzBNuhfljW0Tl2wI7OxyH+YR1SB2pwhd83ddTRAwgI5L+PBT+ts76zSkxYJI/ddMn5gligU6Ei/nGR/Lol1MxKUoNAcyr3B6Mf1nlQKfqm1ItmBF67UD6M1dJhupesrXZG/ayLG62nO3ZLG0/L4sP7Cw0ZnXRpNgb7x38SHf7zkiMbLb2nnKet5nuPGwDb+gfyL9LYInBOn+Co6UqDLrVfL76hyuF9D1S0HJ8TkO79YXtJdnCSSRF2kRzBRBED/cwi12Fh6HQd2l6qwbcaxh/jPpuhyBE0gRA1NauX/Mhd6FAAgQQ0SfNqIaPeV6Rd8n+ocporAMlVzbElzTZEmd0ERm+HcswvefgiWQuwZIedKfLDE++yfy4mRS9f/S7HgarSEHfM2kFqX57rXGNvPruZFXpLFDh0dLGGNo5PZ5QNEF52PtGphXBiKtrwGoTazxjhqg7U8bIJeOMbzHJ6g9/QHrVFdiMn6DZJAC2mdSi+2ZSzav3iw/32O36WXcmolerBZ2jW9dSXmZlYxe3QxwGaLXblKENxl9+hX4XCCXJWXNF4Y96Wx2zza99Qq96IfpzI+8g3aHNq/+l79NEGrDODX2LkSwCsczvlPWbVCJEzjEx9PLg9NgpJUQ95rb7ctESpWpwrWBH0R58Z4mbnGU3ye8M1NseFCioRK8akf3y4xJazwj9fWkQds6bo84ImhofgiYlofu26x6DVqmFdVj03j5xVRZdjKRyIy1gjEy6W7RxfhpCQAoof+2FJBWvxKIbuv8zJO2dzYL2wdBOndeUGVrMMoRAASDAnECOE8Yl5mdAKnw8YgbILUgRocBAwvdtS5HOrO0rPE9auEIkZeaWTSugm9XdK2881iVdhQ3gHJPu+iWA2DPSRBKcVPQZLlGxiSA1zAPwk4TovCwJU+zPM1Tf097hvuZFXS0J8D7c7egKQxG0mFCCS01pVqjQAZw5nFkS/zM4HVnaBKtflecOSRTtFP0/NAMw8WTdH3/i+aiN0qW1JYCMXTnsGnNvOVL79EzT0uYTLHAaJdCWOrbJ4O/Nb8oTXOQcLE/eAxsHWyQlUovP75FDvp3gsdbG3QBqTrhrbXFLVNGi3D7+/ruqI+PJRm1OemRBQ4nMV4l+O6WcWpV70upP24t5Dg16HnDfn9KXlbBnEvUg7aBxuHWDWTgtKRhwPFKNov8nIZucQVk2TTDoikwa6ShGU8eW4RSId06JDMrB0bIC8DYsJJ9MB4+fQb3rqA/a6yceXFx1FGqR2LXqFwjww3O95YwRwfwYSYFxD9G4ttXerVEMQOaMjcsNOwi4TW5LNzGCebpSNjwVLbtYOVHwVsYlsB/ho3Y3j8ceLLMTKs1LCn4VuRRh6cGiPSLRDh/ioCCQVSBZphPpat6H4LoKxbt486YU5Ep9yMU1fn2xuZZyWObtgEbDbUmwm+vzF4Eyjz9YRa+MF3XyuaaeLJML7XwLRfgYYBDjeaYBwdOlLZbSrKtjFvFzn6y6eSTngVX9UwVHdDEEcFeU5st2/SPl3ujYzvKCZ6vq6PZ1VOv8xtAIUZAYCVfmqtF3gBRXuatPigTGUkTKlA4eBTNoVGx7M2GhSwuazoKkp8uRXp8PVWC9mduzf1MfJ1aVhL+8QdBuIteYKghNJ1xMKCofYRnMo/0ZTR5SAd/okaUm/RXgJtptEpnXbBfc4xknewwuWZ3+HwW5LWqRmmdFOuni936eBbOJ3HB1aMDfo8VSxEzSissmf8kAkj5bDGRKyyDJbm6uBJ89ThDffLXkmYq9tQbGyU9LXWhawcR6P9afCDI68KYtH9mvBDTu2dwpVNnA9OFIi/18ruK8GbUWfHp6LvnYBw/CdmacFMMg+RHkDnlo3u/lYQ6xpOTnq/0WFILTcZ/LrZlhou6AQEfPsYoCI/dOX7y75F9zSAX+7GBwuxEg/+zb68O+/lRoae6cf4q+O+g2C5Um5mcSRvtd5y3lYpNIe7jfq0AGD8E8HKUXAYaMWA5HjtwjtzWTZ5WYijkiL59GwtkImcn1xv6cnQORt+aTLnVbPNPQkRa3+1wjQj41ZvaUcuIa/HUylOY408A4sR7QjfpN5Bd8z4uzuFPSNLDg4q/kRBEh97Bi/BKv5Cb6EQhTOqnDv0Y3W9NcLgiCd0iU/tWJN4HO+GJLPvHnIJt5tzxaZEbhsZrQ1i7qloBzJzcTTt6BujAAququqetPMj4520wghpU96w7M2ypuODbfLsBy1VisTX8TOT08q52SHDQEMGqnIjZCp/xUdenoHGubYtpLgrMLvpDtdhbEf3tvJgWY1Z//ZotMAQKM4Yu9yum/VfmcbclgEmH14vtykD8QUECKnJnrirTFlxoc2J47Taawy5io5hhEpXgRzwLYkRUmaHmIODiAFURBolcBPlrE9Uw+0uW77KNhH9X16lh0V6//4G43jhfdZ6d6u/dYnApV8B1g7/9U9FUOqalpsGZ/JkrcGsBrMw0L7cEE1tY+JuybIyR0XdcopyqH+ajGcdUatDXTIyP02i5JFNZ3NG9w4drJIqhNPoAcTOi33lbKVEsuVgOW1MwOVsXu2880+8wW/xI52HMQi1hoQD524JZXYrXzfPJCU3efaVtLK313pZ1TYjA7Zxj6c1dxeXkvan4IJBOynTclRfzdZWx7ei6UMo9I/FoXkHfaWJFKmhMwt/k0NbfLYMHqZ3h5yDbF0FFlbGjqfyP7E2ZaYcQadkeLouLkMn0t6S8989IhocpVzhOZclnM5u3Nb7pkO3CkS/+uvbZzoulG4QyR/WLhxiMUrtwC06fIFEMyV3gWfSZF6PjEJFL9iOMyECB1Su3L6sn9puLGdoCfexyAJREYYTDezdLWb8QPx/iYmCn3r2dQBIWopaktbiv0zaAgn9scJxDGnRb6mHBzWnKWFa9RwOABXzhUT1XHxx9LPIF5jYu57TeLxt9NTiGjmN0rv6cgOsPzJ+xfqvaAudWwIBSVOOzYKBQz/MVaPvzuZKEUIGvG08OY3B4JQ39m8LT8bqhoXj5a+E5rPuLGIQJ+YVF7qtNlQ1LFAA4ikpGDQHMnX9liTEcFCmCQSPamXhEkm+/pTJD9wk6gf/Kun/cvE3QJZvTfEy7aPQlNTaXdhxxwBvIM30j7OLX383T5l6XcV/CW4yJJbhoC9EadsWc58FPePka88sjOKT8nMPOJWRUQ7F1yvvSIcl2JyqGD26BeI5o/lE5bDGNvwdHprt94VY66bHqjBrx1KTImoivodJhthuwonh/9rxgwUA=="/>
  <p:tag name="MEKKOXMLTAGS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iWcfk2RmY+GE6Q6T90sFUaYhHdubK/b9WYMbiqTQFZNRdTaHJ1Coz+gznC5J29/l+uni9WCTqRMIgVGBy5FSCqTCP+Vdrf4pg20L7fH6DBFZNwM9n1LsUHI9V7RaFmsG0sNQoXSeAHwLHqm09MgcFXN66rU1JBmjj5AdPA9rH9HeMv8yYIzdszzmfS3kUAUZ84ZSOPVl7UlEjx6rw75+MLzc4SLp9Ci5F+Jp6d4/4dTxXpojeD+CY/U6NfngENab6z5pEgfCltXWTBNh+62+cZqjnspSl9gI0RDf4nHe2aTBcjnUADSnuY6Ah0E4CIiiNkboPutm8WDAWbmoouBw/ecy+rr8RxQilCUIH1y+Mmjmkh9VJMClVJT2BabAb8yh4/2Ta3fuMsDjYz3pO1A39BLNoHJ/jtY9S/OCG5qzWbAxy1OZvS7D4a4cc8WwHixz4ARzkAB2Hnj3O1YeGgbA9i+gMoruR3zfQ8hvy6H0K1D2CoLrqXqZuSRXDCA23pwFU/dshXbLycgHHzFewLqfpMdODUjz0prkqV9oCLb2RAPz9M7Gcfpe6RM7bcIc43wrTgUZHXo1sZXowwGf5/LitZMEBnjh3IziVOMi4qDBuCh9K5ihBUfEPheV0+mgOZe5EjShrYH1Nsv5b4RFO6fbZAeRjwR3pWvchua/NBIiA+yxHHxyOW03enFcBkm4cYSAvE77uo0YV0MRGUPO9Dle+UV806D4fggSIO4t1y612I5IbEgwGhCqmlX6ctsKn0WWE7NYIng21RO+eDo732QYuGC8vPPwoWwsYt2EVJVKv8F4o37E6HZB3Sx8Ah4PVrGJucc9GQK9w+NH5gfKw4uCu6a5NfS5WPfRvm+2zeVgVkvKHZZogQEzHHc0Ol+VfWMxrbz8+HEoEG4Oq+qZYxs6VV4lO62boZ1U4hbgbCM0ZGLLor6aMoKWy5O2vuZVco4jkZ+QxN/d45SAuOjZewP3SvAcJJF/hepR4o34kdQlGs3lIvsQjy5z7LHHwb319kICRToJCsp3lP6eDKodO+lTpBzNO/zYlTOeHdB3xwNRcF6kERqHw0MEa953pNKndb5b2NJtdsrPocUvB45owMNLLSqHNzFnXEd/7jVqjdb+ELXQOc3Pp7kvmx7DMgYtmczgIOALK39YQzhLPGTiqgQ3R/reex7DMF/sxJ5jvP7I5rQVXqgOsdCJoM8iJvxRJPanxhWY5y6f8pEQ7R1sKgqQQ5leRsVcSXsjY2b2F4WjVNWRH991L6ny6s5gdwwpfn/DQeIB0KEcTbYXfEf8jXiQDr9zNa7bSRuceY2Q4DbpGbtAvfZjCUjXf1+KECl3xoZrmMfz8L02C876QRSCPj5cWef3Wf69vCXpB+zAlXlyEZcE8MtHHj1WvhV3KPUXZGKjzS3w2iFiejobyQhPlgq3HP3Wx0zH0yR/rtkB50EkBM5+rloMwYtAPe/G7/IUfT+6im0na0krIbcX+Q6yjffvMEX0G8RfCoGq6DUqdoUiOiGUyBmgiHK/b2q/x9SvHgYBscafUn2p5VfTu5ExOlRQ15huziDcNSLMz86Z/i08BF2Wfg0Q+vyv5eaHbPLOxxz4rif287Z1BCNUs5mA9orRXqXwtHy/OWAZBUT7VddhH93KZhWM5FIgO7kxy4zpCtjb9uVB66DhIc1RAA/G5J0N1sTkeQDeHsrQCS2qBoru47Ov73hKQJzk96ALeom5YhEU5drjQu8c+uqoV4U2n3Lp+99qkGI5Zx90wZq90eGmMZgRa4dZGicEfBE/rmNyb5p8dGltlRPO07mUHbhlHvatn2EnP854xi31jkts6p8yB39zwdA9Y2HJ+r2gWfo3VhDhe5X9mKQ/VEcOzItT+N4IYHd5Zuoe8xN8+dUx87o6LUtJQxzBAV8Pe5ltbFFY3DH1fHgr+5KAOGMCKohlP5RGvzW+OjC0y5vIDsYt94Ml0085sqBFAk9dkFk9kXP7TSaH08TF8A++Q+UR6HR3/yPAx6d4Ua/HyQ/F1Hv9nO9Hz9k7/R36sVh997bZNaak1tDJlanluP7KwW23QvN8au24Qq9eZ0B58drh8fLuGW3S4NuR4JHKdC3fyRo9UE1kOy7Xn4jViIUUYCe0gtI2cBAGAA/VuSRvL221a4SI6FJptD8ji3KwrYrIEGD+rsx4ZwbaImX9TA7SY3neb4qIdZSUxSQzSKth2USaaOZxDp/B/cFXqij30Y7eTuBOHy4Fbvbo1L2hm6LaMvCszlrwUfubMak2iaPdjo2JINGg+KXVP+RiHi8yj54y8zceYH+4WwkbS8cMobGxJvXWWkUIPjRW93H6pB6x9ZgseKpiT1GaXouf8ibPBdZXQg3/3U8wE3TGFUGEEMmuzHH58PX4XrCu0gdjsozDBwMPAw+YSqq0vFpeIQGlvkjobu1BVClAdHsAe14eISZZ3kVTow571btB3AB2Qb4SWF/i6RVrnflGnKdOU5Ou7/lVVgCg8GYjdfbgaBLA8nOmq9mSnJIXmIeNB1Gp7O4EZQWmBYSmcG6t3IVmOD7C3ljBgQm7VsOj7egyo69ggSRvLCXydgWRIK/y8o9a5v2XuZJyqDVmFWjXKZFoLYCh1KZsaj3MyB7raEZq7ECZokEn+Ja51dNjjXi6ug+VN8PFkAVae+O2icVmqQ5bbaaocUXA74SyKcf8JtdNmzT5yLjJYPdhcM3xh4lAbOL6MwAgc4v+3aD+I4ua8uT5mntpBInXau9miauPp8lgHSz2iboQwd17kk7wo1E+Syc+rYyyrsuMpXAghBV/UdZdouUiAC6935o0ulVs+pRKwu29lHD3dqh19u/101cml2v+E8Q8Le09NQFjq1LC44q8yWhd9MRYd2HfwR2v9XBqzslDEQmg0jri1gpbtyN6TxnuOrjUbd/iAA8lhOvHM2smqLuHOi70Iy1fc+Zkn2bHA8yC3qq8Wi3mjozzA/U94kKAnCecmHDeruOVfv4rWo1IAFxNF4i3cFAN3COMJSi+xmOP3khgfewerpcW5CRo/njXbkwRy0L6wfeMhy5jGnPqp6pBEjHHQ+22fr0P2vSilzYXtQjUmNJcMSnl1nN0+eNzaxEI009l4bGONPGb84appJtVeQrkAFydTQdBkTya+hqlhEfCCWio4MkJMHm9J+phhntRn8nqCEIyI59BBtCJlyLId+5lgfsKqsNKpiQBH6EGiJDmyrC2oO0pjyrf2L2fz99tR2yIzk1+zF1WJfEJmzbp46RsAOuHVyWvIETiww3rBU87BxDMhUSf0PsrpN4AbtZptoJmZkEjKJGP0C7PUAcGMy5cKU1jHBmSnY5YoUQc33SX7OMNir17qKhz5zNsbbgFihNPB0sfiJQ1kztwrU8VzWDI61D0E7/Qsx19tzRIbBsn4CzcSK5prLSTkLJUmtEymTOs3BRS+vI/5+KCIQZsS40Aan2bM4Ks/FlRuFRx+tMq8l+UxIf7uXiqMINhIXd9/5CkA08o0QGKsVZqJEjtvVIwGX9cgUPm6szVN7JGozz6Gyduz1bNO9e29VKMR8Y6x2VW1/p5OtFP4ShVdRaw/Nw4xeSyEATTywi9yCjotMscfcqLjuZtWOsk9VLQXGZTbkg7Jl0tda0PDs2poQ09csW1lDFp9FJVXIKf9AHduPnMGgweWwvarnFF1iZSgtUZoaJ4OPXK0xOTvHlji/oWIbili0TtW2vq+i1eZngWxVP+B9Cyl+S6w34CdQqHBkiYY4l1TzIm28sQdyoWD1NrF5q/osMlGc5ObU51AO+YCo6WxYhWMVA6VRxWjXvnLdATGUGGbp6uXhfNRYOzey/r0Cp7sGXNSrDfse6UN5W4afmvotBK8dv8WsUPHwa1NTXlUGXAb+3sQb9sTTHgC1Qy45laGhOyW7EsvMQofZmf3DiUfhlJOJKzzG4subqgwK/KdrdKXc5JUG1SeS7sxzzkRZNfqCEeYx3a9w7eAggdTI6V0qKHN9W03pynIaE9W+3kgQNl6XMNkjvEDk7UVwwneZ3Ooskx/UHZOX72vURzoT0FfJdg6+dOFtezPrDCtYfPB0K5dg+ILqMIOJP49U0GCgvr2edeKbJOvBFU/nMqSo16I/e84RJ8ba03NBHT9YRXp0EWAk43NxHH85/EU9U335qUQIALD5I2OXtVOvT24vDpHt6uugNLYPjRX2lsNzqKxJeZP2eDSA83uwCS///+tMXilI5Hh9AnRE/1zVMpmQCV49fq6QJvgYZxI32CRCi1U+dsPBGc3kzg6TZ4lOBXonSk/mqwvWNa176MhvzAGckZbgwMDxeARWIFgQ/yOJXq3PzCxacSfyzOc6hu3CgXVzfmUwvm98cGS8dqQK/SkZaxOE/aPzWIZjhr794l1fCBqr7+sy/yK/ICV2oa6ywAkWFR5oILwmaZBLn8uCPBeR0eIePMI+5XzQKiAwePnMxGqxSD5cdDFT8d1kXSAiDo1kfWeycGctFkRa1gaLm3rA0Bi+RUdSqU+E0ZF1ghQxDBEHA9wA349KZts+/nG3o3M/zkk5qE6tYb+Sa4m8MerEehUveSbLu+yG57Py41O3srwOvtF89Do4JPXO85a9to+eaeSAyOMAVMsgkgNAL10TmfrJcgADRXzz7plDJjS5HRHeW3enOdTL3meFFysCPwYgby88eVoJ2+X3+s/ogIGagSJ22//DemNOgSGqdFNqueWrGRZ1RAjFQ0ibPYANuwxhgzXc3Yica05yq2oTtYUncNEJOjLpNHRPnJA+hGhYLgL4cl3HFsxUaw5jUQyRImZflspdQUnkyqwjQof+3Nc+vssLpa+i3s++qacdkHHFR+BLjjM+sK41U61JFOhFzzQbLURZBw5wY4isOcAU+jSX1piTf+r93NzU4G64NrSOM4pKjHzex4UKFaPGmG/XLTtjgknG81GMYnYbWIe6C1XdMBHpF7McBo1IHXUS9IvgdE8LTO5heM1zv4pkhplifNdxIEDr5ZqDf/t4M7mESwWARA5HrELtprBFOBf9x2tHErWfuOs9v2BQ9e97F1OHSMFMus1f0e7a049+7l2ZPrkM8EQ6z3sLcelcEaE5LcSs5+ug6VyrBQnWCRrlKRSYWvYB2M66T7/CeMbM3JY0Y47Zs7hEsbRY319kKLWfDx45YRWSQT52NceLEYPsswPBLGBQJx6v+S2HblNT2wETbMhYx9TpS01x97yToy/HxIo2Hvz5ALQvC4vTynrcYIeSsLHFOVReD9GIx17fkjJDVIrIPW73AH2o/1tUm1DrfVhio58P6DStmTnLeZEfVCu/IR97ESp8tj6FXeH28K4okJ1wMJsHEMaLrqGBNy7RbZYZ3dhHFvEHEroqltzmAnN8FFa+9wNG3R/DtchtTiaEWcq0ioaK5OiJn1R8jcxUUDdt6xi0mQXNqiGFRvZzLhQsLHfGfoGoKmsP3MveD353uIQS1oUPKY3ZXQj2J6dCZ7gDjKh5acGi2O/O4BGQK3livtaA1hUOV1ORZtZBgq0JlWYOfHpEQ0O24vj2yVGeFQ27ZV5hP0gz61bq+ayvmq+6LhF9ArdpCkauA0QuZDrf7q6w2TydCOsR/aZnPQaWHygwkL3UCSlS2eIESxyoG+kvbd0YIQ5PbrYH3opDnuV0JvMjbcclyq09ysAcxGOTGWS78SeasAcYCi28s9wmFeJ32/zWKjq2Ds3sHjfUmaBmBzRRirIiIzcWin9Tmas8gzoc7MRuvINCI+8Q7c4WL7gPQ/uNSwQNjzhqTWqIjY5m7g/jtNbkXLkBiNV6v6BiKMNvll1LGka+J6oZsoMJIf/fkrd5PWsbYdp98X8eNEHqOS9gGrom/QuzBKgIczSUNYeJfA5zJR5WVgj3bsTh51V5BhplIniTy9ePANF6jBChdJezfNIELQhaW6QJtWMPXl/SI8jnvpWwLKuwRn8wrdZS16vz/KQdfW+XJngvHTE/GTpEPyi6ztfxMay5KS1tPOJxcsnm55seUMiYzU6KjSwG0ovAgszAIFCS8JA/j5s75g1VArIrZaInnXhtRNftHKb6+JXkWlknwKubcQv+N0oL+NeFoC3h5JZNj3jeP3WxhU+CoUmqB8QrPMY44BXAE9utqNBL0xFY8ZC0167JygJpcXCrcZP2lNf61QMoXBO5Tggq8W87GdSrdmjBp2od9DKr02yESdRU7K77bwYyPixThkDfvrRNOnNkDn5UURehoJN5yDed76rLyr+X40W2YNxM1GOdjHpafvNpYOsepqypTOwGzgFY0dfqemQ1Ylv4HsFkqKv7WNsuwvMacABboo8s3ZH5/6wxsUo078khw2ovklFjsYCvGdMuVQbS90RD4+i3PBQD8VvIcal5x45/bOHHuystEUV3ECDo2t529hG4eNGJpbUtdMZzJ8naJrizoCsPZraceKoyi9YTzT/On2i/2EkN6F3UhS4U/jEBgNnH9sHLbWgjJuvjouMmQ5LQI3LuxmawtOcDUva00LT8CwnM98rfk/DbfQPse3B5dcCuvFTWr7v+V1NHtCb7JQGYcCmFTPX6vs+qpnLqLS7PLj9eM4mZ6OIyqu2pKGwl53r3Z+cSrA6bJhy13RjsNjEq79jVYYvvXS96dJw+ne+BW5elM2fmBz+KoyhluPl9xClQIeRbCMh29d7dngWeVCAXOux5IXGz8DLIBvKOzbVztgJsTiVsB/jzAZUR4XSlv07nUATdig1iNVj/u0Zj6yEZgpgTeaXXd4IxrX2uRvHZe9K8wTcwwB1Evhfy3ClT69JEcvIGCJ67RndhRCkein0uiIDB4S8n+de1UYyuJfJqpUoTNAtNNC0St7DaLKR20ujoOtPCpGe5ucUTG9KZqxd6sIREyeIYbMY9qXLKdijpbc6tR9RmDvuq5h7O7xPViRR0JcTQJgtnHBMZ8VZwP5ENiXI/Hi1z3mGWWaoc3oEV/59nx+mOxZS0iUScXInPDY45RIIZKLlNeAYHgGZ51LbE8CIcJezSwk57aaP0YaO2ZjiYl3qLnx4DA1RkbeeRrpxMfbfQA/i9Mfa7Xorms6mM6ReNIKq6vwxA4+gOi5lVkB1D2IeeD5e2exmkgPNJb2oCO5MCPtHxfa0es4cLyvHUZtgKPioY7ETbCvjPPS54dPoX9a0DS/oehxaG0QwLOMVrh9Z8p0CdlkVq7kbsRKEAy4+/hGi4Xh2MskTalNpiexrUWNw0DOpY2NHSjcLJ9p2F/8YQs2Wfgt8icsWU6hTQ3pXYH/yxfK3Wn4CXOx9MNaTsVWyFAIJNMBOPD0nc56ytCZa/q6mtj1Oj8YKtu8EqCO7YQKMw2bGwiTvLgJeONQrBas4leatoKotyF4HZijJuGNYmKMObtFhhG9HhiYMYBLiTTo/zgQbu/wvHH55TU49XJRR/xKUrF5CbM1oMtrQAX9zlYq/vRDbiplC0TPY2x4QrZhmsfudnKI5TXUQRfjWTb9/PDuJoIqw7RpwU4kWZJp5ZxvR1NzMG+iiDmFiw9A9pF8RoqyvwR6RA38FhxNzasY3BSBgGYHtGB9TK6jf1t78BfBs7vqZ7okCWTs4fd5vwCqK6N/7FZFYA646vvfOW5F6oiyq5qlcJLToGmW6wa3AFs4VNbzvfjNd+i1GmxhQbAEADx33yADJlM85jr/5pGTmmHY4haAKNNqvL52Iz2arCi1/otZLFo60XgvpWAOHrWpatHAgA8dv2yofE0SPVeniAkOIFRT9f7KSR900QCzsuCMq/W9JfOawrRmjHR4BdDi5o8SAdGdM3EmxvnKcvmm1xQJX7JekgqKGApyLMRZkBrDDK1WA/YNPguZfjICj/utfOwCGJHZgELmp0QdF3Zyx5gmi0aClagk6T+UgJA7nlwycUlX/SKI/Jigmog7eywwY/Ew5qSktVmHjq12MMkHBLd/oFSX7Yju2kzCRYqr7Q/gBtth9R91HfcGsb4drOzL8bdIk0w2vXSMItZAfTGxMAXYmmMit8aTiPzF3BHNTuHGloz6sO69YJ3BEt1hmd+AzsUyZ5BL9WH2vlbTqDt415YSepPCQQYVkJKeyH2EaCgWcJxzYflBFQqysTtbotUaCxPD9AA0TaqnCNqBZeRFBen3En7LddtQCRn6giN92xkcfUkZTPgF09hgvdZHLnpdtVITihn6jR0b/OGv1h8vj5K7icKUqakZRkzZh5udtRJ6yoWpPCW3ILvaXs7SGx65C9rzD2tmddQJrQzyscIV8sHN4MN7mXnT9OeNKKogrqJ+X/5D84ImR5ElZ208CXz/1FQCJCrCnPHRTxfGy8OViycGawk+iFuO7C613ad64/kkqrztCXMQnKYTZtDfbSb9VmMo0eYl+0CAqmULUqksDW7W79TNMaVb/LELtVIjf8Cdk6qKoWIRihYa8E9Oc3npqd+5hl71zto36dweHLQ7FQNHyDzWxK4ARPNVWTqG4Qsr3ztVqeWIS5zRsBdoobMDuKJcD5yII0OipTdCKai/VTLuaXoYKKyuYTxVZAFiltS/mWgcSf33v1uBD1yi/uqwcp6vC5zHIskcAUZr3TiPgGJstzeA4mQieXauFggp0+5zW0mF/0jI4oBkd/yTJOWKcJ9+Er/9fL+AitsP/7MJaJpWeYk17h6dn6pT2zbJX12KKXUCP+TwgkqlU9w/M9alCbBbKp6iEhjtpuMb3IKJ+XAKmvEh073XGNCc28Ai6OwELmUGpvNjHQ+yQ/BN9K7wBUOu74JLK7TqJcqsrrzHVhamxajgsl6CEw0f4bf4tEg3YldSioUHBKZ3qqUgpgUvIwL8i2UdirwBMlzDCL1QOVh2VtcJ3eiUeMnrGrykoYqYomTb4bOcXKi3L8My8IAMvudgnlSx6pwlxVqTnrgu4lQbQcepIwU20Mqcfx1EA8s7NGtfesMCERloPM4Udp8WpVwSWGU5EuzKCuS6Xix0hApSB4u066MRtMizX5vHF6uMvIfdIYyV1WzUNBAF2aucbL/lQShNbmfMNbn/1liIbXyxqY8lqt44QS1eT/5O4A9+GDtEcqVWL2D49JA8nbMo/bhn8SMM7hN6T8y1UWEz/JXorAtmYxv3W0oat9Mgl3OgMPWsdnBjxgM4udzPu7gZvRoPNkVdNBCPUYZYo0ZwLaVuvI2V9pEZ84ZXig6PBOu/NAk5w5h4SkvlMr1+jJgp4iDMh/M+wl+2AB3rTPcwVSIzJBDf1Pp/UR7/xUi97t2OlQ89zcHtpgcGJWOATUHacXFjc4j6lvjTsstSRjY+iEqeWVV4Z/gZ0btJfcZ3+1fLIJcIVXWHV9loz/8L5Pt+CN+O9dzOZUPsmuCftgzuftfZ5trzx18uEedPdnSwRGsGuduD+tOwgopZ/hO6I+DFPuDOJ46S9KxpiDITb7Q8b57WhljJfFwWPEThxRqee4n8HjmAdwXYecwx80i3bXn4bUZVLComn9t9CtsHwypsTzGlmSmUyBGFPt/Rm0lmogdpRk3t6CnPBYMJ8GzNubAajl5vr0Z7NnSyD6FUZDJs+T/z5tCcHf2kWmKidfbj7teZv7+EsHg0qCAtZhK3hM/Ee/bKLkfFYzFSYEABPISha5pVB60i0ZFPZX+BlUACwqHWQ/7oifJB522XAK2uABWKCL6HvRtljsk60VFBVOGcfAfAUiQ6vzZGbgvouCtSlYZT8LGmkdF9MB0L9qJnqkKhEJWgdz5LfxjqhwqXHbg5lQxtv9zd1i/2waQZB3zKGwXZ8occS1XsEoUNN7DQJzn4LYNiGfwOgshx86ky1037JaL44LSkbNfReQJZZFicAMCfjttRFkxvHh8yel15zYFhQ5WGQz/HpTfgsUmcYcLw58KiXffA0AtpbAlSDPpGNY7u4O3Hmy5s1gkTqu4HHf0OATD3q92k10WS8sy/W6yKeegttSxy5MuAKJfW8yrTpKn69PXcjPDh2fzJ9E9rkitS/VTsrHCl4xHIJN494ntEDBEWGkpSQToppNRGcxELK+yhQIFlQQ+sVMiHS4H5yQeYbAeHbnTgIkACq2eLix+LCbbvyjgiRiKzgx5HNOAQPyTEmNe5db9tdWypIa8YKizl6Qulc9rauWB50nVo0D9DCXHTnjQfOczBjMAo6TkhyOI/1HhI2u0na3M6gHC4BTqPdK4fydRogUaX9YzX1i3VU2B6MbUiLN2cNHPjQs+fya9HXoysrSa4Uv4sRae3usrdxXfVJPY5Bhpa240zmWfi7yCHCK97tlVPwC6e5NlzpO5EcpVoVpdAPMl0oi7kIyEL2pCXccoBJGY/eRWRq4JfDGGHVwYaSDsJqxUwqLmx+I+712KuKQBCQ2Pcvu6yjTXcADIZVZAZLHiyFvj1anGUqKBk6CftLNNX7YloiJ0/KkqdVkhS0mYyYwUHm+qQFwgairVQm6oTYmdrAG0t1XwPH/Q+Wvvb4i9nFYlz0MbxXxyceBDZ80mm9hKHcl9Vkc4hgRE1bM+D8RamqRjGrhTxOpB0ykKPpBzzNbxov/VxMpBqZ+hPwYVUYzGdIKzwCbbsJMqD1lDUED8KE4/4ywfEshEi4dRkjVJ0qWgmhXSkpj4cdBFf+HpO66JglayuoG3Psg/QG3MRq3nZ+rrNxMCLcHUcKGNFzZvNxRhb8EqybaPaCfi8Lbe7cfAPXhHhQwuQqzgEv6pzIvW+Qh6dvRx9U+38VyPoRlfq/3qo/8cx9eNjAH91pbUdMt24jjii4aw1hldDgV963FBaMaOZegCL9KcG+ONGaUL6iNnEMktfmFh3Wh8KFiN8CEpjk1RDjmhBkHaHr9Mtr7qJX40zhH6CcAP6oD+0suxisxJDUekEJcDCV6Asc3IwljjaFASVEa5ViLputKAeIsngX7/Hm13BjzDtwakFK/waFYJimCSTnOVrJKJ/Q9Ec38sk0BwvbbvpWWQu7qaIKHE4q6bCxwQk93PkAbvqQlQWNyw161Duw8kw9UBYO5/HzhGywu6C8VVFekikkilaKpbXyC7xJVEhdeo89eEpC3ccZAYWYa97fGQ9JSZSs66rXM3FkxD5iA7M2qMOb8SxAEssq/VwbJ5ZWcHbrON4YNNbMamcni9k4HoAyNpHi/iOK2vkt9Y1XC0N6Jgg1jeD3IxbOjI8HrkYXv4e4Q+Dd91cDBvGldQhcJtiuMHJsXNWXykgrUHGPkOAHj0es6DEvS39f3xMgVp1ZJxXh+/hkd4z2lZTUC7+S3zGO1DW/IfLB+/2Kx+ZK+RJWhPAu7ADVJtW/wa9tTSkqQzQvVh91jLCap/G39FlcgVRf0O5iUM8oB6O2LUSg87Y6wNuaHlQjOs9H6QibZUV4Buq4pY/5dqArvUqFjc08dyDGTO/ORnDSXJFVnJbFJIzdn6oHLQeYoZhr+gNBiHmIOLrnV/8+pq66zAStbjJ05KGcHv67RP1GGz7xDV4XSSSNn4xP8lpo0qEp8uw3XKQVH5Aoq8oj1ohv1zXEmG1Z+5BNc4U9sLCHv63/OGD1SqT5sthsLd3UPaaQrBUyYQ2UXdxX/2UT4GHgXpf8x8PEmYIDiNOdcyHcu8VtGYHMTEqz0ZTPx1erSlNfIra+9vRkleR7n58pzCPGO/GZ8zkXOOF5uNc7jBjQ2KlPhcOcztbw2niREc+te00IopNDMdA8+58uGOefaEHkYEmHBvT/eiZN1vK1mRwXESb5X2a0Vx355UIr5CqA8UwSBmYoXH7EViWcFmwrhfcJztWa3E0Yvj/76sDAtZuNaO6KzAOwLbcIsN+jLJGwibunUGmnPMtSNA0cWdUFkexMAUULAwMGbZ/LziyvV1pHNPhZFMJ/EyXcCYx0V+hFp03a5NlzYjrJTvlrlO3zF96Cp0Y4Lge1/LaoT2Edc/66Ynsby2pQTVQfRCCWg90BMjIA6OEroiF+pI2QsBKfXBRX0nS2BX6HdQYGtBKnWfGP3VGh8UpRP7535ZrDEt8B8Y2srsDA2LJFL4PURsUL0hyZj/1XXx2p60+YCwhqOf4/BVtaTK5x0WVGfgP3GpqURGl2ED382UFOfcROOxPhKqlZ2gWor/uwQYBCIpRAVVkfgK+R7+/UTbAE2muJ3K4nrwsaVJtcqNLJNzoOf/hCgf8aHBfwjsteefqt1cd7wt65ha74nFXiFrUApUnerhIKhcBvtaHJCIm/n9X9fskG400ZbqsfOEMPmL8J3inGtUW/yW4Nf7fN80yuFNSyqM2C39OOpDM2AJEYUQsq/IMo21ZtKoBN+NIMeBgjY1doJ3TXIJnWZAvqC9wmthFzZLbFNWKPnrmX9vYFBzdDAMsEoFGTv1lF17LR+/VjmYQjEMM8WbpD6U0I7KS5K+hbwUDE7VRYuojj860HjKlWDoAPhhlX87dWwNZMbvE+QmzV21uc8h6C9BK5YZoiN1LhsClmNBYDL8xXL+oLJqRxkRH8OTAkDfqG1ADemOlsV6ibKUnTPFQKtPEcA3+Il3HGHkGeGKNxfARDLSe9FIf5muk/OtEvEcXbd/MvtAlMPX/YQJRcoucmiBB0CHMYXVAWyrdegZjYDUICazKEopngKB3dyZFIU0uXnlPPFT0wkTvljsjE6UtRdCs3JldSDci68bpTq/CGLarfB2QapGrYZyWXy2IiAChGq2eqg4qy1NnXpG1aOAhmeC6lwji4KUfzkBCcpcpMYtl4eLlAMLgwKK/aQ+e/fSmuYjp01KQ7fGKvDy9kS1fd8MSwE9LT0CLGSWuG58lF3dlYNs8KtTx8qm0g7bQ8w1EW6trcwg5m3md18kAqxxVylv2ud1bkCbJ7gBiVrr5A9Z6WOQyRjEYSoTmPAUjNnp9+d+MksoSe5ZogMaTCWJ6xj5iJ3gPgzNow73X4Y7l2hckaZzoQr6ZoYTIsYcZRd5HSbK8ZeYZJbLI04O6vFpiZkqtKjr4Y23Rd9Nj85fvZaVFUu+CRv6KhG6oYYdL3xd8ZTURSDoj3o0B2GJ36A7dhbv5ecyWIvxcmlTERHwpuZfpYk+IAP/S/AeuqG2JYg9nN5dYxBwabFXES229KU1EqgzFPXV3KGn2I6EN7lOi+FfsOi6B7PGjwVeEUIwiLLA1BowxO90Cq94r1xCOvM5oT8HMmZJ3mY4u+RPtvnRZtebpK99Ld72Cvm8o4aQI9An0USST8U+oWktDaYs5nF3AQpsSoPHVuWL+LKSGNOI9exp8awxYWsa6jaHL6GHpC1RJ6WqwJc6cPIrUjgk7zoxx4oawIMFuRi0G5PvDCt9grJIMZRbw46RrzGFyZWs4UJMhdrJjH2ci2Seewy3GdNwBALcjZc5q02WhGyEY7VZTbGvxwBk11rn4PrjcG7Sf4VSuWzacOSGE99P7qY4FDQAl5J43mv45QOVrPi2K3/LmWtG+s2lgBAm65zfVa1bMh6PJNu0j+6QizRH9ubdkO5tz7DxOdt3cSTjVHRAbTh6eIYdG6HT7cHaRuXsv1OwGMwE/B6HLcyZ7wMWiZ3+Gxok8WQMAhv3d0ybQmK0JRfvhOoXX0ghcxeBTcFOda7k9UAF6yQb0hjaOR0b/f+zeyZ4bNRZZFFk/b6ofargpoPR6vT0CuJs13Kpav/cdC/hyIBo0HNpomeIPMtCvDw/pKupzfdPzL7D42Y9ZUG6lsT5Wwh8rn4mrh/a/YoKMcSa+VprKPxBu/0PDQoHGHU3rPRhEp+ahhqLvI0V760wDJiTGvmptaQ7L3v7NeB08tjMNzQpoPTMZ/QQIsGxwmFN43p+1NK7OjwCF32AZCpuGDzhb96NhHiyjVVLiqfchP1/XBunMyNgiQ+F6yYrsCpPOrI+n5KD/K3DVZxnJKBNkdaBuK81inwDj8MdsOrROMkMQaNwbOBDe2sddnNcXlt+LV0g+HA+G3UWDFw0NRg19btBTDHIYUjawok3yV/ygHaC+IkE/b3XPI72ELsuNQkEB254n4heqo5ElHP8+Q1sVldAZLsFWymNbCabMPiP4Q6jQLQahCW5rlKixNEntc7mjwRDaDEHmOnI4WkAMUophFnCCAd3Nyha2ZK3wNdTPs5M3688H9fIIU5wacOjV5uMHfx7UzstjxK/Z6nfU94FG6y6PWhURJ3rfhMspt2YnEXXvcr3nXJOfDjQTq1hGRlgOelor8SulACbEFtB41Ufpd0eRXfAQZxTQvP3ENcvcMJeRWl0NECx9U1suuOrRKqGO2d9suc2CGaggD5t7r1IcfvkNHFJ9YidG9AGRkxZarsybvch7sYXk9vlfuhXQybd+LkMsxY+rpVhE5ukyDH8fvnEiGLPVmHBPMjfc/qM7ZPZsxSLsPHBs+llxvWXVokfFQb5KcEnTSrVGmzeOkf2FuyWwe7HdwiAejWTVqclKlSHttV+b/m9eucJwtKfkurdDlqvo9qQaSYsTQvN/d1muN4qJ1A7D1OCpzaiCrO2l9aABTWO8mHTc/gAxNRwoHnffWRSn90NkloFA0234qfj/ZX58v0fV8tpBz4FRaT+uKAtKzq1PAon8wIZhCLPhUv993Qu9gD3K4hMt1zvciT8DZCyQvpIKEVriM8bQi3vrcG3XCLe/b9KOiSWQV7wsS91CMu4xXMecJes598srpqIzoDpcTKlwRS1zlUEUfsgqr4Sc4TvUjNdf+YARK+FbOlXAz5iLnfYcxivn+lZPAcizNTj7kC0t/pcDqGA18JPDzt+1MLk+7GGtVHBMHEPR4xUubzA3NLLOQSP1wrofb57AcU4f0IzPT4UBGvMCLi2vm+H7IT/RgXGac1ol/FY/Kuzn3TeeTVgiIU0wVtFzNrcIMxcqbgYsNioQ+0vqIGx+ycUptbln2fPmKww+6fFv0SjzkLRqFRl3rB4aIp+0gwJPFr8kgInZnp5R/V83BQ2pslH/xY+wrOJ/1UBg13DY4utqMQH1UjM5j7fPu0/annBLAHSR++6VZzt0oq/bll4ELmEGlO8Q1akOAiicf3Zm/rstXGlscxIocvvdH9h2F2k6G3MFxf37N3UNow0IySVVdCFyzO2bjqHwFy4QMGVV1vf6BCY1cMxqawvb5XBTlHy0HvIZN9krec+KueIkfFrnNLGvQDv3qHO4Ql3HDpVCP2Rjtf82AjRg3DbqYYseox0IfCWvdsCkQ9Mn66DX/g41Ta55p46g+cLbXIQ7yorzxc+2ncj4k1beorzjqLqWKW3Zld1aw9ne68B6psQG4IySXh5KLfQ/JrgM8/Mi58B3WSI8aSOKMOCQl/xzik5Grl2gYNlp75StGSf6TViKHUEG19202mO4geifad+HNo5/tPH6Wx6kSTqK4ZYBA1XZJIu8qEr9lVApAOpls2OsyWfIyK7BL7I9LTcKruyABDzvdI65FgEL+vam8Recco/LPyhmNn8rWjPuKHX8A10I7pfs8H31V0/1BJcs1XQY3fIq1HINVF3D0UyOGYBypksRbA8hY1qn57BuW5wKrYLI/aBxEOx24cAS/EVOcJ81HfgBjhtWcVX1l9E2TwGf6ANKaMNNxfp2J0NQ03ucnLog0r0QJHXIrmM5sEmWyuGnFm9YoejMv6IoPsKdqrwzZWdu95vGQKD/W4b4B2IksjNp2KXi/6NScy7mmqBZJVDqWlmZnnY7PUX6EfswRMt4Np7rKnTpxqC78shHkve6z5uljHlZRJ0w4hj3CRypiF10pUiOIDyqc9U4ebvI+NVwX2U4ddxtDhjFdJSGQBOmwAYzYpLDbBiGNejVUN/1fiYvELE4yK0WxBh4rVUOS4E3sJZWMsvb2OZ8+Q5nnRGO+xNffxPrtvQlsFdluP0yv7PzejAERs/r4Xw/KS14kEfZhnSpoNynxO2jYKYllUYFlx1v18p2d8PgCM6kAgiYzTLWvuf9vMsnqHYUYDkgpNwNs1Ijyix2DRhm/ucLo7FejdOpRCbT2jhgKNWj4k9TcIi2oylWkEzmxHVirhCR97L53ctk/hfQm7nTmAsGRuoLE9HhnQIfitKvq+dyahj8EkRFMrAdUiXVvOMebcNXhC/43stdFW+65ddGk0BM/ydudfjBQX6U2dyFgcPciwrUmhop6pPEhHqk9vlLj1uJMSn6hvYmow8ox14NG/huHrviQAJRP5EBO4wzvMnofUPK4FUglXzTG8m9eLSf1S+LFgRB1AdJCG2v+7SXHGyr9mJJpnkrRtHLx5rBgFrexuZ2GEFj3KD8ros8fbfpYCkVHdsuWyXEy3qRb1Oy5d2WLYdI6QP75SfbWTOfhHtJAmYLLk5hg+4KG4mnRDsqmPaqQHRAHL40pICkAEIx0cO9M5Q3qSOxsvviaTkhNJRoTZWnZ+gMWWx3+69PmyWhhzaMd2PnZuQJHPBuHJB6zssTP9hSBR3jLM6ClZkirG67trlCW6AhDNYLuAoiTdf4bz34ODVONsUI7QJXEBhABiqG2J8sMpGK9balffA8lJDia5IS633TGQrYvQMQaaAVZYVMYG2bSI985jE37iA1asMpYQHXhkMP9myfw8UX/taxqcIDAgYLIR9PC7SwofNwQoWxFCxT0l5sEUjgN5GBZ175SjE0hBV3GHSpxrM3qPyZRTiecMY1yUVynydciJIqchYBtFKfT/g/3s+/y+udTnTDPMD7DjlM6kuRUXN3x2ycorp42nsQkOLvasxeW/KhyXyMN9IVv8VVc6EXjtSFh5ICHZaB4oBgQl0+N47mv/cVZa6aOTHZTEkgycKVfq3TUk0Q5PI+62bPH2C+XMAYo6SfiilYGyhb1dViHzV52f56ie2xz3H5ZAvL1I4aRTOFGSJvUrtv8fjMjZ3/cZZ3tep08eCZ+5PF4ZHaICB+NkkeQuBiemjsu0sy7KfFw+23dEYYCgJSvSOD15DAGD8xTmErAnBPX0DqWn+33vuZlAOt40ZxwtB06lc4bsLa5V8ZopHqmMPeicqtYMMeoDY1Q0lDmL285BS9ioHrXLzjqgiwUCLUkiWkKAnk/RbLROBMeUU9Roqv+AfucAgQ/oJxJjL0ipxp+R1vFuIVVsSCbbMgvj7iwio1ChdyXxdCnCyMM+tiV3Oxx3ajVWLd0KquSfIeJGodU76jUDTPfJvOTr7hrHpoxnZdAFnzygz8gqVbSTmYPDDwATkkNZQkwiWtRz13ALYmG8ci2BnfWPjKwdqiT1q/Obim2w1tQCgS65ytA8r/Sd1dIIb48XTHq6DY5f4qdflVCj+YxL+h1it3qC73EJ8btKzYY8EBWmXM3L+GgXzbjbmk5MHaN57eNSjJVBS0bi/cWB0T9IRL8DKg7lq3AL7gCCT9YKcFYhfySYo+U4Sj+JPgmCjWDC5wwBT+Bwu50T350TQn3XrG0S1QaEM08KELQViJr1vQapBBoImJ7Ak4TnfrbTYXTYg/+u8jJaAcXENcnnmRSEXW/ej8iS1VgnjJl4aOWwyEce2RD0I9rFBfkEe3APlKGhb28rvWZUa43JT7ToE/0Ou/BqywiEI87/zWnhUV4/qOpeQ2e0FcwKIRLPY9srTQOEckYWR5OTtfP6XrtD8zycmUoii+qWqzzKxbKrRPBsl51y5OiL1/4m0DE3awbXg3SwXP79Smjmddic4lY2KV8q/3GG+cQO8SKJ7DZbwhTeASPfg5RaGT2j0DBT0ws8U9pXVuVtyuOjF093eHauPm49CuUWwIlBMaPI//1/asDDAFtaZaiL4y+5CaNfwwtBThLUQ9nIBWOFPYwPfWlagSZvxYUZQppDNA6yqAfks401WflPTv7H86qM+g59DiMaU8IUK+iahtWQU6bNJDYh9Bq4ZYJUSlq2JNul2wmfQYNYgjFVdhECNSHgLI2VqYlLQ1xFBzyA6slphPRgevKbBOY+rib/gAcbgDkA6YVZl/sNJWp7NFxBvRcMD8mSp7CU6PVqxc9r1KjZOWX66iElQ2MyGeuUgpV2qQl7+rmETt35aG2x0v3VeZ7fb8x5lKaGc6E7cJ/HBRto5DeOllo1BfXAvpHqHjwgeltjBPiQgAX82BllOPfySWTUn+O7xSYukkl1frinNub+rfLEgLg4koDX9pWDUYKUbgghXyS87cM4sYleCSmf6ARQQL/Kq4YnfI+LnWHwMvSIBKLT7vPMD8v8JZy2Ob7/ExaE1LgxRPR1C/zxkaTxBhXq0U6JmR1zVD+SpBbOOgRwyYvE9FySpt6JYZS30Foaqz0HsJJXlUj61j8BNuFkhGOuO9/gHCxvCZPbsANwrVaAm4NRPvB899Tdzpd0nMgfv+rIU47tlpNvBiXMEXMHfoU7Z9UT8SRYW0LGvDPSKB1jrb2AuH1BK3Q+SZFSyWAa6qs9NVQ95F5Isi+9oycNErrI2LxDHBgeh5QEeHawgHAHzBQrI3bj1+yG4SEkWU4Sn/OvggkaU/44KSGJz9Htvq2gTX4NfpzC/SHdnpAl5ruIPFuN7dr/W2k398AynBpmAbt337Ig/zmrkgzV1zlB0fTCKjApQwAM/fvLmHIrtRUnCXVCbQUlceXuBlMOz2OLQYmCw0/m2L8sCaFLqWjGRq8R8jvDQJiZJvztKhCRPkNofMCO50/fOnOJCtawW/ih3ojo2kT/EtnUSU7B/rffX7T/IqQeU69yFUe5nP97ZZCKz1Pie8249CcZBrN7KUStAXj1MMu0M2azW1yqjwu6RaeZeGm+CeMMkHUFX3aPF9/hF6XL4M6Apdi+JbpNNqmTedcQPGrgiUMJsESezeELo5nxa3Ig9/aBnVApIq9ZnoCt0vAM3b5IVe14z+ireOrT9eAlTXW7oOHAy+bkQWRYDuRKCVFrZC5lisNl67awqEw11PHM8/avkUv6P3znIe33ySjyKeNP5jd8JTg1QzU0f8slPkbeh3v6i6L4lkuc0x6aR8siv0MlyuJUCbklo0lkrQMuVXVW+nHDJlqftxQgfL670Fv7tu8RcXAGoeoxXIlmkfsi2MfGImtYJvBhEF5BJHoXoG6mgnk20Q0BP0VF03J0sgOv5Lbujr9e4xdGbRS0O/oPYZnLyp6dMlFFb5p7oK/Gvg+kXpkJBrlep4A/RlFHmWweyj53VBp1fb6LLtp0j3Zs1tPO09AdifMWruMi9vvEG3Q7imOe4JBfxMHt70nmyWiXexXZKjlJ4LMctBFjwTnW/vgQ9BfNryUiIehxXqtti3+RWFA5Qkvouz9dx6tSx5gnC3ArIfIFplghCvN76MuNkZENXaedJ9a5A8eawDARq+K9vtHdN/ln8NcbQc9KqyLrTRw+x8XFKK6U5UY6zYiuuRD6Xy6zybhn66asxQi0xhHOmspzwViu9KMS/F0fwJUBwWEVdefz7UCCnlbpw746xLiqulm5bG1zTOEX/WPLid/Edbu1kNV2beVax9wSWpPM8UZMVAZbRCy0AKqv8Mg+R6Go21mXkgLI3hD97Pq72ifeBa6M0fgX+6bod/jyFJ3er4LtulvPLux4a2VU3ZnmUO1N0rhDCBim0vTk24Mgo/4AIWcuQWOZPRyxAsoyJXLrvseVyMMxPMzgXelRtJtSSCW0CKdHrh99MJVkkOjNX7PNaFzw9Zu6uX3n0XK03TfUe2fbUW9BX+DZTtgMWvu07RdFB+TyCCUwE9E+46XBqy/203Ohi2g/3wsyWw0zMarA4LHsTp8fJveennjmJaRv0hivTi151PJnakPmIqITx8tUX+DHHz35OSXP2aFhBQL1oHrgUzprUguhHegVuqlhHQg2jiVnXbmH8zXIhzPAKIexTPxuV0tIfhIB42XPUozMOcsKQVcfeqhv512J52CFBrZ2qHVWvGfYBcj4hnyEAMnS9fMtY0IPr5DGFYgSPt4fvCuvKteAZVZ0+K2yzFpMejbLOLqwLt+R6CnPCAY0uPYyFdXoI8//FlP2HCwUU50F8RqX93kXNbd4dd86zN13LuU2pDX+TGZj4R1RX8HMuuNmgT8ahJvjhpk+hulCw4iV2Xe+46FT5WOAiJ5WV7tzwgmzVtUPFz7Nsx1uqa+Kim1I6zJoi3EbOB3Ww8dxTWSsSo2vKxuBUFgTr4R2UjaECctW1AHRg4vUF2w5BENDJ484nhrVCLqPQ1bBWV6z4D9AKw1laoq1uaI5E5gyXgVjcBlcI62qjtW334PXAgHrWDKiAu14nlSHNTd/2YJ2jOe+ihSCTeYAojGCQ0NYcSkHUgkH98l9LxZqvXeoGU5UO9/d6FmzuuGMPk0Q1SiJJ8IYe/QG0KBjVy5icBUqJmQk/o1RkVONiPkxshBlhpsh4LScVTw7IjfyNlNZzZdUN/hQqhEJhR7XaYGNGrBozLFpYAQyjPsOE3VtiweTbe6IqxHrHqo/ARZvHV39nhUHNeFkIOaLHU75kUlECYxzh34gU1W6nxQGiTMwkZ/ahSN6M+5Y8CqBseQn8H0QuIi8wveB2dTUdN5NFFolz8iRkw7Mw6VTBKlK9/5mNh0mJHXdIXeg0rNCBoZBPQNPCYlcjOWrYD/Yw0nAGDRivSG6XEL7t5sAKhcHHnzSDyFovMbDYRyzwPMoRhkR4RC3IZLbry276LF60QbR7us44119Pi7YPbrnvXws28yKOzCj5tLl+qgFy44R7/5eUxOpTRoNcICsMEi02LZtEPmXckCrC2PNLVRK/vy84GHIXNPJW4E7el32zEKcKSUKCbLMfUMcl0YqpRLpilrSxclz1PHRYNGcfaQ6ECa6fAPwvqPDx9Y+Tf/uwk/4bPYjo751QwKQvXwondF68hnbuth3e03eTtStedGp1dnuVfYsC3L6Z9OwPhXnbohmWABU/X/1CeUMnL+cEeLrOWvqJb+zQhA+dl9n2DLsGTUz4aiD5DKWP+TPeHA1aFZyUTYsYk6iTH2HgW31Aa9VFcleEHaQigYGnl9O9t5cShXll+nKUFFsHXBPNYQ+Yy1+5Ru2MO60lQXEnrgq5JZemzZyKkaVS9txuForiQMr21PirbgsxotHszh+NOwSmKbiJFYC9BvdqYPRYGtYPIe8J3TF+hMgUpQgCX2GIhZULnsvYqNKVBIEe1uvk5SyXo4I6vVAty8DuorHY3pauacIH/XcsIP0S5XVn8/FwsYsOaEimRWk/wNzwdHcC0z2G3EobxfzbrB8Yz0ujUl9t9WaM+wxmw//Wns+1ETCkGjWWuqnsTasAYaYELzm77fMdrGk6exZqrhbPpx/aiETJTzK7oq8WrOqNYBxMGhKzvPJGRMJrFheiumExl+3Hv2VDB6iRgJXzPdpxIRUOcULaVCJ+L2EsdUfCRmh4YrZ8LZ4GPShrQcoScn82Ru6Y2cd9AVZo7Um2cPqwDI03FInUtXHayEuoLss+gH9KOxteAuNVQCKTY/BYSziWNHPLw+ijmrV0ZqKTev2Q3fZrmzZ0TQO97adLUilmpGBgi8MqipDbSDOdSSXileHuhq1g/nzlMndmdfxvCaWL9W6cat3n4ve2QsFZZKWg/P1XOpBdHOACnWhUmXL7hyLYyH/2Q0I/nqaVKo+Q25OF6LWj1gakEsfNlq71Z5eYqrUZWAh+rkBnhM3HJaBZesh8m2rEF0goPxhR+imBjSUtu3PjuRhnKsWKd1mRCok2GENCEXnu+fC9mPO46i4eHdg9LnEPpfsHp0a1xxOIg0KV8dCKtM6d4SmyzDfCgvPldGrmz6RStR0wG2KqcZ1w8GOrvyUyrzIxJeUrF5kZlj7U2MUazTH9hcPspjZf0dywdEmqljQ1d4BnKVbKSxDh0lctfST/eyQ8xbHyEW14cSmL9y0oNwzrR/D5SX8V3pfw5Xq+w/yj3xqtGwtHVXXtq7ExosMnq3ElZFhhSjWuzgkkTXHhNlGahoZ9GqnjG6hGONV1t2yzGOOkuJLp7WP8/bdtK/0wyh/TRVKf0Z57uCz33neDOksp4/aRtNILE6e9z6CcM5qiHoRt5uKNzLlgtpzWAU+Jju2+nkV5Fsg9zrEFM/ZYhBypIW/VSLLLZCiSyO45qhJNQ1DawfnVXhmg+zovMTRgAcn8XmnsMeQ22AYI1Qvv3tmk2nwvKk0FPD4/XNPBwdb9+oANEEg95/dp1QbMeQKfcqdxZTqWu5IumlxcNeYrVzedSDnYtCHXO4LOsNuXdeHzT1tm2AsJxOuawqJiLAAPu4PdYQwvDsf9WR//Ts8bLG5/QqiQRm3qRSd1TAUCgKEP2hGVCTHaL4uoACo4ewRDfxm2rCEScp3tcEQ+LDG1WddY4d1cf6BFwwAX5rQxOvCxfqIBicQIMENDPO5hCfZbSNnWzctC5ECplgT8VHZP7ngxWThx3JPkmG91NHEKodqSyKKwQrwWI1pNovCFpgNw8/sq9+IdqjQROHBDrMOw6JpWb9gqXGpC7h/4i4vsgJbAOKjnTnIlLXz2hgg+bf4UtslDLL6XZXvcjz1twNl2nfixn4RAPyyKO1sJeqDylGpjMswIf0Di7ZXssC3Ts6txHV4kfEW49w12sx8S7+yPJnsEvDnbkslpO3pzwvJGHne9qD5S8SkQAhuHvPbyAVLrXv3k91ZyLgKNBz5NiCbGrkOti9R4hcyentw0H8mRNPIY1qkaiifKeBFyuz1MXtlpr58cGJa6MNyraCVA4yQ7VFsfWAsbvY3eCpShgIyK7W+Z0ZTPgNChyGTz59+wDSTJyOR5WemsPW8ZXk3t6lzpxDQ/ZLUTxWGwfwjenueUKhWaVayhjODYlRYhRzNy5dXBkCdPyVxaG58tQgeDaaQq3qSlNJLQNm87Fkk6HDxrOvJDQizWMkUGSoA2hh07WZjLSz7B8aCajtp0RX2+QzO8t4ikbg87v/fCsYWBxmNhYbuV3csfg2ZWuwOsKF6mDxgHJqWlzTwBCVEF3CRFIm1CYSlUeqGh5AbJ/+fmf935LQlUiXnyDKAixG/LsZGahnOG2Ti2E1yz1kjj9H5k2JFETuCdYDlywy2gM9jOGzs+OkFUb6u/c8YlEYhULq+XyFYAmOO+Kd6eVrLOHXtwI6Ndeh8pJ1lGgPqjhq5jURaUyjPAfKhVTo4iUjroldL2Zcq/IaNqRtRexLOGaaAmY5QguDTZgqDcSQG0+1pfilzyvCSPr0bjccj2IZ1pvcPYCRZ/ifiolO3i48pdhJhiZXxGlYwO9atQJECEH6xP5zboyN7cTDeTCZTeS8/+1s8KnVR1fxczfYK5IZ2gAeqdlWSG6lBHOTxY+QY8kBgRpHJTLXFyYngNcLZG2dlR78TsBnpo5N0GJO9c4HBSkxyB0kqGDlyUWTYqGTZtvVqtYmj+fuKbuUnNmHuhXuDW9WFuXIDfilYJa2reF84JZcoD2A7sIRjI9t4OQruFzuMeU6OtXeip0M/DTC3zuDIGouomTROxe6ICtBUflJiVsOZ2Wr7QYIed9oIpM4FqRpTDp2clsJR8PpeHk9vI628pJsZUB0axfA87NThKBAvIqgA+b37gbmTIIuvSl+iIoSww0NO0Xm/aDiA7PNrKvPyYPL2PkljdlIhO/n5fPNsHJDlzYfiRqqy7Eyl1zUqtL1hdI6wPs+s/6+uR0wUhD+2n3cIvqkj0wp9Da0enXwATaaK3GAibHpt8f/IY72y7gi/QUi9ZJQoCNInwdHDlET/F7mCvYGedGp17Rg1KoW1XjEuheJYDaJ1anHbb0+ls1Fq32z1GisHvU4JWyrYzA0u8yelREJNSYPiy/sX+Ls3LB0HfSeqQ3edI4M4U/5V60Q/OiTYU5aSJex1nokgu++9rqS7jOfV20NYc8kO+BoWM7+bWfWAkUD+cyATD0Vzlfa3d3B/Z/lZs7z8VrRb4hE19wIbXbAx0JP4QFcTppc3kJV3bbxhjJbI3xBwK9JxyXfg4gHukCmX6lKGV23lOTUfKk7fnj7kQ7OBsSx1YCnXXquOTwvLyoprEf/UnCGGw1nk8JZznJ6zNQej9EywiI66wttbbWKViUlOWbXp+Cm5RvIqTHqAAmQeThYV5OM5M1wxhKJhAyNZlQ+tnfvvMw2hERZ1be+AVA0MydQAXZapZ60Q0wEMi0PlxT/KIHkhGnY+7QbdgFgc7TVvla7ZEjSHqZLa4yHbmkaWMghhb/cNOXtrUv90wns0PSVS99HQGnKxxIkZwB+1gSr+OGaeeQ1EHHXvzpBuiKJUQ7CIEkE4LJu0oXVmgNw+mz0GtoflUx2i+QyLKwJeI9D09VRbrSyyxGNtSEI41mF880HfyHvjZSis4EGvtoRjqOnn8sRSyozv2ZssI+WxDP85VE1BA0Ft+VAwx+Wats93rHz7Wv006L82AHYtVfZ+8Tmih17hb/rKIJV4ej5vtYcDH9b4OEYIA75HWjyJMc2SZsVkVCPbXNpyiDrjc24Ot8T6tnJ/KscE/i2XLiDmB0ieyo/p4bB0mnVpymVUhwAm4gm/QhqXyGV+HEQ7jk5RW43T4VygfoGSp+ZgYIY7zJbRnW4PP5CPI/Uwt0kKZeMPproKPdJ0GzHm3l+YCnmdV+ZOyzkZSNJ6Yx6p0oPguH8UyVGPFDkmiYcPQqRkkJ3IqOyVHe27OrCDf5KXJTJ06fEOONUTA9NZCJQrHZfLM88MKZvE3tQ+xLdPr1MEzb3oFVKapFsgPi+N6BAs0vIUAR2Yjf7ccRR7+gTUb035ioV1uIaUJuAIj6ViKapyt+V+QpJbmSzb62tJnzjEMiGmY8b3SITPx1vHfNMjmOlrg/KpiKBSN6u5pFnjwp9goxaIkODNfxd2ws/RZooTt1zS7FYa6l7KQBaSmtL2KUCcv8a+WUBv4L6irVXYUPmPkstGoLV+WfCguf0ayh2T1jEvefhhc3gmh6Km6Iwh9Kuk0ILgrnIXWZknJFawiGXlYjEOOuL2zMR4qwh+ziQ062kuuG0R2fpckqN75CCAwGNavHvdZbLjvK3kuKq5krqbbtlKyzoJ7G3eZrGiw3T7q4TBDmWxXMffHB9kR2NoxkeUYbX6p5aMNLupy1FNG32EL6Pw4rTOhyZ7/VniJAEWZZykiDVsw3F4XPeyX/+PERAHbJdBfzYsUlKayvrZD/JpTMEJiyRBCKu9qOMyoo9jDNCFwXpT0qOWEiSP7GzbeiYMjSwyj31FEiNkBcZczRsUStyxdMM+6pg+kzxZhppd2noyQ7WzMNWMoklLMrk7kvvoGSGYBs009OiMBNoF1ArHTy9gissnF3lzhVWlqZWI3Vm7IlKoJYCjds2kXaspFcEi/2xjNs0J4vou5K5TvcJ9bdHJVdBhYnKpYafTPUZKjN9IZffyZEOWpujZvwIUMYfF3WttxvTVgmQHmCgHodMPCyj5Van+IvRDWj3c2PLJ+P+RrQAhOHfJ5QPYOxqtHEdRUW8PtkPd/VuFPb0kS8Fg1X09k3dspUwGXqbk50nnpxAIadzPPK6Sg815onDVsz4p0YL91JPKe3S5M7rmbthcM6a2UKBaWepyLiM506OMoObPn/BYhyQld7JR+E+i/+xU8+j8V5/gug6+DuaNppd4UA2gDDGs+4PcCsPjPs+mY3YG5G4t3m0THp6UXl7fXpsrj+7YnUqlBoaLvZ4Uich1g5TLo9ppqcPGbKPzzizwzIWOruQva2vLwGF7fsYk6hwTv9H1Gms+FMSO1oCGM7fNOkqnHJ/jN7oLQQUuGrz3fy5kYGQMHRWy4xNe22qUitLtoYBx/k/eYaYlQ5fatbIdwiBWCd2xxZiDD9+fMNcmLSsOdjoC2NpXoQpGSjjdHIMdJZt9CwKmVForBUWEkjMHfixPmUuwx30Q5ou7qOYSWz5qsNVYnA+al+41vKoKgTuNXW7y+0hJqZI4vNC1IRh/WHBgUYmSTcHI57HryXoz4q6ZgeiWMP1YHRiLEf1EHW/0RwgU6oSZeEgvjuuTGOxMe4frfPsPJSEjRqEPfa6ABPnPiiyCE2phpTiNzcmYKKfz6SmuVPPAm7B7yfWTeUHUkg4+tud7juXIpX8rBEQXykJxrFNyfeoQQNt++mjPBL2AUetJSY6LH9ACPDeCwnT/owI5+jH0NyDU2FB4ekRrHaAzSn8NDJVFn80oB0Ue0FjMVhD6LIeRq29ISw4IonRCgVFBdyX07wgZrIE8t5hI0vK0jo5YB2/V3CNxTwOhdDXeW4SlgcqLoZ8/y+UDrfIDAsZiUnFzuVuXYzUwtArfdIlCvk6y2JT6YctZ8IJIAggjUpRmbx3QSX9RDSxGwLVDOj5DWsG6WRB5g+zRaISlNr/2GTlZ96qlz9W6oCvi4y6O//03N9gPwUVUNr95/UVSdv0lxhvbEGsOHGEQsACPP+PKaWU3tK9nO8VCSrdxrtKCc7y8mAQPn+V3w8cx3baEwOdbeqfOqstRLlhrlfGTs6zxB+UNCCixXJKzJ34J2pJosQebwFf4qvcqI1yVFIZeQtmjU9F+qg88UBnao53Z1MGm0y0FFQgdSKwkEWmuuhKEvSLJVLkBh5kKmfS97ob2qM98MeAOgKOzwyFBUAbiArMhN3P9vw35U2Resn86dDamAyHqJunYoE3KD41oAAt/V0qlqh8CVQsXpmiJWM/nm3aEvjVEWeQu5/hLUN3omkF+pFfMcqArdbPkGJYmEufq95eGKwJ0rOGPU938PDxLIjx6zXHWK3EaPDhHjLJQVJouf6x+S9E03faVMuiV4RYksWqXZHuyssFBQEFFnU5z07n8GyeXrQERdtxYauTumXHK2ThccwgYsTKWXmNqxIgCylQrtATO2jlp26WQfThssa8Lsdi7WsawSl5F1EAIK4yyNkhwMaYqUdT9D6PcAcPwrcs1ttTwfpWhEChBDr+vCIWNy4GgjpamghVenC/ov769ej3gSjgOVizt4IiHzgvGbGn2A7DWLsBHilbV2uCTncnB7AUztan4WO/f/4PNqqf4tj6PIT6m8r9zmU5sf7HoBBSJ5VU1BS6BvWY2wGqA+KZvOycfOnRETScAoQxZY9PWFf+9/lkcSpowZ5wkJOwhkpuBkAFPy7aQ/CMY5QO3vCvUVGnSlKKiSo8Vc331VcLS0ykJ9ewsB9xlDoXRVnpBLVtBFQ7CBS4xVKnt/3CQLsWf/14jbB2GrNS05L5+rLem3JAmH60czpwMKKT1ogUaXWsZPC/aPbBYDz9+S1DhQjS7ncdR+knrJp/ROndV6+FmTubIspzi/vVCTwpio+DoUDdEuXL+ms0LHCydGTjadsNe+rLBUcnclXpDCpaF9dQNXJIOYDJ4uF79xE1JL5nZMFEeIL0aaXRsl/Ww1XcnwoByM2Ki/lqxSM7QocKtNDJP4nOU6Vv3f1lnLSxXSm9KaxyxCSfjiry1832+HxauGpp4wAJxFo22ttbrKzSasxnZr03Dj8MrBGGANoEZsjcxL5FTLJ6GSFrKbJqkjwuOlae3DZCpIR2UrUeKpIPd1b+zEydWEDEFcPmLw4RhsDpTo4jENoWsa+AOzJFaEN/XU2p9Krcadmlo2baSjNAMfbkhEddvQoPUmA0kQy3zRLvL5UsZndh/8qfWzBTW4rX/20a8jLSqaEMcdSoVofHuUBWUC3pCfnRPWxORCuy0DEuXBcriIxCuednWx7qnB1zyurlauWcb79/Jsset/8x39uUs5g5czChvckSVHkay0teDlmY27RhBboFyIW9mFv1lSuOiVF77VLGJPOJd82BKYdscWaP/jc941s4/dnDIijyPOy6Orc5fO2raxd1Ljli8xABcNKVEe2X0hCdQ5SBik2cl+9VPQvxurFcEIlzE3AlmLsvjPY9TtpiAE7aptlMHjYBttajEgwyp4WPbwL8VU6RwxddL6oypWo49nQMwMXjfaXI/ODy1cI7Z9yKMy1KkLjuzvPkySW8UTa+utCOkdWBkjayidl2eNi5TIlqpd1k/TXjmogr3dabL0w1T1zehXQ6LgvtDi4zr8ZPJz8t0NcLddl1+EikLNDMGwUFvE3/ZIn8H1/pEVW/0JsioQ5Bad0ZAf5SA0OtK1nJcaaGqmmB2kvh+9oxwX+iHFbAwbvnGdUvB+Epjo5K/Uh9Ms96nYsWCOrNVvi5Jb/YgU9JAAurkerbtNT1ZO3vigVngWlRAY3Wk5RPnHvOQWRvh6RbJq5zVg8n0ivR78k9brxq6tbyCiAs1WZFvWN9K14ft4o3O3QBlWUaX8LKTpLny6NP/9HrjEAbjvvT2YTEqorLyN3hE2vMoCGao0kNxMPRmWvo1GpSHcqrbbXbtsf/gvKUVws6tfK6WyPUIgp38NxzHzdcs0bIUv1xUfHUNMXj8XoCWdG6OR8IJDe8Sb7K+I0B0Y3uegbI2Y760BYLEJenZ+PbQECoco929RciosJoqpq7h1oFCawKfnze92P/Mshd5yj1Qh5tkF9VSRIk/r7uwIkvYkKS03l2f+QJ/JieuGAdgbSVxNqQ2o2wwZDnsfc5ICK4NJnvPPaM+hQwbSU6pdgtwJB74lZ+1joLHBbCSWrK1lJ7cIyH7Da3eAFEb/ZaCziF31K2HCSZ3mTKIcRRjpJzIYt62Wp+xJLB0VTWpvlhMdS1I9geHHhaopBfZaTzJvu913Hn3y0LMIIObOX/MAK2RpN5VNR5ab9bDIyAckAIIKsiWlwWcoxITttYfyUGlVyycARBuQFvzd7Ewsu5ld6JZP6LThMMKNCeRox7oQe0KcJg9PJ52UzjqvI1o4gZbWuSpDYnMrWVdrez7lPCP0BWTHkt/DGdJLHbVJNbTx0GyV0FUFs+AXBMP0seBwUKygGGkfyVyemJpf7mC9svRPjUJbldQ/XgMQrnOjI9uH4kTUaDGa+EWMSiIwKHAfMbWSXdySyNvH1aFju2oZrbcuKW4vtUpyNBzAM9n69yiOAutPdOoDE5Kg/hTeE64Hlv+Qhad+LxWqP+CoR817u8pdZJWUIUqRWANiXIgkCC83tGknei240YT4Q90wzBCxVjWuVRga5+D+gFb4Vsyf/1OkNxG0yqBgmcyyD1faqgw9mB3kZ3Wx0O5hDS/no+wEPFGO6AcVbryWeuaunA2Q1soGA1NjB76ceZ+LUuT2pDDcrFyaMa6ydyb0cmKikjIU7uq9LVr3lY/E8aiIlc5pPH+sxGWvU2536L+rVT5h8K/t3xitddOC432kLkpMJhRhwM9OXMATIyoXMG0XqurpaBTr1ECnfJgjDeqResEwzlQESvUJtseHr0dC0p/Mf3gceaX5UQutFsvJ5VJq2WNqIXWtmhDnKeIhgnVY4i4DlbkjmuuHxZWWYef5o46e0qIShKQIUJPMkZmTOrYJNCB1Y3mRy56S7u81+mlpDugi/o7nDniJG/8VS4fxZNQUxyEAJD59VHG0mkAU6BUN9ybJtpEGUIdGxBevUmqTPEvOe6jQcOdSXXCqOu4iHBguEXSBUhSxeLyaYaDjbvwig0Vkq46fhdVA5ww4+U37fOfaT00WvfXXMigOzXBV6mC9m22rH+z6CN7OxyQYC4r48ii6OxtD0kdqtH+tnCF9PxXpv4zYlNh2J38JW1VN7AdFIT7PjweChrcC4AL59qtAkbkR+i9+dCWFy8sogFppLViTusY3liCVmT5eYXglgkDPeB6Utle0HXaXM6dx0ssOBNRKxmvMfoidskqqJ2i115LBhAVxreAyTmEQjHyqkWQ9RRV5WgM2trJWxdPgWvb/LL/gRpYCplwqDOuW9w3Q2mIws6N8SY/g6PPrdnZhMkuPj+Fdo8Na+3wUJVW6SZVimMQtxjQ+va/3z5vLlbvk7oduo7XsNKp3eM3LD87pvPHqSUMV7OuDy1bwStn3svkMRn41mpAycwQvI2FKLE7BFJB75DtR9nDtxBKpkIHRXeNL9fpeugqyo+NvJzfY6YTP59FCrW8wu7U4HC/J2uT2d9E1dAPlnM3TFQqMRFE5o4QyiutWN4fSaZxgi1vk4xBnJeISSHsvmORNGrg+Pv5on1riCPv4778pdmv5nziIZ9el1FEoUO3z4XBek3a1yRrMkcP7nALsWhzFOPG0RSeVIV344gmdp0c//cUTCgmOT+B5he3qaYY0gMcV4qh7CAQrlzcwEjGHbVdWqXcavIx68o3u9eFs7eZPThsU/qfKPsmKAZ3SC2vGBew2DXsjnUJRfsjLRIfrCai0hnSVDZ+UsW0+fnVAu/NwUIWFVM6y1eUj0VJ/OqlseMY3Afw9oHaOgChRFA8Vo4LQ4waWmoUNEYBnGg77N8seqNLz0otxPjbbVJwOSk0uaqpUo3sXroz9dSqkkTQpA8hdw29j/fp9p4Dvjdewd2ZVxnjz9trlrOZrsr2v4JqtRaZI88s5k1Q/Z4Rt64D6ry4Wmr7gytlAMOE1pjrbmdGsDKbMLpxwtC0JAtn6GyLrgqwPJ4XJIJJ89qCfs2PBMQkyEAHtKRAkGzQmGg1gaVi7jwvrsw+ntKdoi4O5MMkHHv0BLU5PEDUBM7VImGczz+AnVYlYDqLxkZVtA4nuMn2mV1vdfI9Re7v1SLnUk6uay/57lGxUFrTkVl/8pBbygZx25AT6Au/PpuLtURpxzSDr5KdYCLjROHPujZSNewAPEkGgPzS9DJg96vqEIphlk49yvRdiSIQRpLNIqKqFQ35P18snKjIBKTa6xH8fSREGxhshd9kCH6nNuzv4i8xTWf9YNrSZ3Q5qb9TD0AzXyj8QWf2IS/nej7pUDeDkSriIOWAahs0TsSFG/nZQexiB7sPjTXY2HWyw5r0khTnddolqOPP93YAP0cXWKD/6KXiYi+XR8pIT7nkNVxAu9nSKVP7uJjEJVh360pvLpMwlbR1YjORt1twtAGqrBa8NZT1DJqI4mVc0TR/Ahh71R4zWHZPahH91qXaWtnhGpnG3Czfeo7T/5fuGHmAtbiBzn4nGug1uf/f/AdxWwXFbLZBdXSUZlz8YB8hBAFU1kCsXt853/DdbSqJ7vFuia2K2ZSarDCpneUPALqToTb9qcKOYgr6ZkFp4sWDxMAbM2JpR+O5oFOpZHCAtGNuivgREEenNxqmRCptkj3b7KlUeawBjvTtUcZ0jKkF+DSd7OVUeSMe9qez0uEtZVPQm7SGyH7g85a/lvIw9S6L8rYit1qU0xmALRcTj46abITrtr3gGQ5DX+EZrULvNX/YKgao/kIhoIw+/slvinv4SnIXXX6PL68yTledkKE4E3wbHLJJkdFuRw3dz2QE/U2gTdGX0sxGePoXr3Gjzbkgy0/Y1IKdaqhVsG2p48qrnKc6xyBG4eoQ7xIiVeX4fb+CcTXUw6FtltTipAS8Oymv/SOZmXWBVCrYmDarhcccLB9+Q0fWtrwjjMNDvPcwMYNJcZqyLmpoej7vqjWIlrZgs6Hh2DODVgkQdkjf6djkmgh4L3BrJArXXklhJdag9wACJjnuLKfA8cEbKzXWJo5KNYJn28UJq9pekN5/XUEFJVCGmAIOyEntsRM14UxAuRiLv3l65c4Gj9jnLJSqOQx9iNFR1QNQzbAjSCLleYahFKoiqII54kesTt8579hOHF3mnZjAnFAldiFJiSzvhera/Oq/R72M0VJg05eMp321XehPhHZo+JmHWoFae9V4QDQgbOf0bf8NXAB03l+Ge85TRvpv5D7EdzQArIMj3rYfCx0SZ1PCNFd1hkf1R2jGW3HndDJcd68VxfoAprw31//i2PoE34jGkZ/gHQOdgnh+mWXSCqr6eyZU9lMnf3V/hZhwbr3S+F6UXkVxF9CPLYzqun2jemryf6oFmL2PgNhH6aqoV4WkR2iGzsjdLwObmUNAyNjWyWSjRpWNTKcMeORG/umJ8L7OV5nhO5SVe/zstCtoATA0wSiGHMLmqh0ezkTUnIlZSrveYZqNN05pt4Ia7vtady90HZKU5MunyIV2vm2OL3uHIO+MWGpTPZDW07/hSi1Qhv+IVG5SY+CPkI9ipOb3KdB+sehCQl2/kzdZ+bf/4RCVIGoFD4r7Yizr/rUIFPOW5Xi/bAb1Upjcvh71Y1LQEJC53RHJ+MxmFZix0HBuMYMCsxsXnVCxaTRWF0LzZAej74De951mDZWY5Du2F5oNR7jo6n69DuwwWzFnJtVPg4D80fSoj6YJNX7K7TOVSc6EOoR4xUxqCZaldsPCsXLFxPhOcz4gj9uJ+QZRnDd5VN6AmJ4ub+3zyu/BxQdUEefEDZJ2WtyWJI6p1INvO4ijnIjeOjgHCNAfYgiTaANaPKSIihdOufPKre1cpbbhRTXK2uNWemcVDPY8VsDElpnlpT6JobgxCwV0zKZ09KwxNveR9nnhxPmnTP9xuTdHN7j/xv9fG98WuKgw+jeZ1Z0w9yoK0gUx8UJ+HVPBSmLOQU7JH7Bix7vv/AQz3HuQxm/Qq7JClCHMUqnAUyRbUzrnVtGCsHjeJ5pWjjlAAGQy6iegiw3jpCmSrovP0KAgn51JwFK7SOuWD3heVhAuJIGAoC7jHspnhiZhOtxPzudkr2LgEkEd6Hfm3WpAGKT/zXhjJ4iNMXx3AzRAc+rXAzTVPUdQFE0SjPiBLeQ/Ox+p2TbpdeeEOR/vbBgYtI62mG3A+xCzH1q/eV5mzbyzppuUcXpUWL33sTjiyI6enWGHxf2Yrbjn64hjuGTK7fS8zIxIN4KfvMpDeinZJ3lzm7B6mHkcp+Z23B/bJsdSRPNwXHTfzkz5p6aZdmMTKa9yZlOVCUSukHwwu8l5CdEM1Ge8tA/mMNoY2h3uiAHsl3GLoam2NVFKvO1U89sT5dxbnPQgcyvboT87bbw+GcLg9P6cdKcDT2fVn536/HiRe4xJMDy2DfkAouUQR8c4NcJtt3s8HB/yOHXGw4tzEc8VcgqycZCy6klAec3Y0zJ/XyIO5xze769maFePXSZMI+yiwTFnECtEFQPNc73cT/aRD8GxWmvvMhM4tS38Gm8dImwUcKMlLNKrqNXQjnRzLkMHl3lYMfJRJJmp55J0O2oLLAPH68ZMuH/8knFCEv+MJBpyXePqSbaQbf1aBU9ex/b3Uk98v+wseg/w0WvUxJCulGAb1JMD9tZrdHhGEYMEN1YFmQNo53q2iU8XYaRCG2KJUZx3R/6UKZzffpStfVtRmmB14DjYJzZp6FNqxN4lhtxf169pheqRRdBCckX+YYkRkmsG76FJBjt5szqt1oi8lsbxhE4nWTxnpdPyoCUMtlCPMDei3/hz2AyJVVBIByW33bVYrOG3F4wsS7xrbav3MVBwYdpRPNlPl/GbOWNrSM1zfG72HOWf9IdGEauvyKjEHjydczlNwlWM0kRccx7zMgJRuWKlOZz28YJ+lPlsVLKV/xQE/IB0dbeJhAT8gMopAWJ+X/zrswTBnHE8Rf42VeoSLEy5ONyiTE52zcAzyN5paGhQf1EjnCCiUdo7p8/dDDdzNOP4dEUYql5kGyzy88Y3fQBeL62lZNtFI9q+3Mq/BUAuf9Ft74soxjlS5zQlV1ZdZ/VaxUx/dfAjIUlQx++uZHhoaFdw+NuLLLHu1cJFG7NRnWTnApbTrx4Avkr/fAl3zYmbXz6Ax1q8IcODAAaO2T03eK2AJ1uV+kS98gsO0FeRkxkwdhTw2ha4PXpKO7Gc2GtXyi+KPmxYe0XP0rlilbGN+BvF+26Eb2khiHtMoLdoFystz3Lnf424gt6yHpTij1Vd2HfH7uZCKcW4SEltint6WBrzsyQXLJuk62HsX+a+bAKLiNARh3OHldDDhuKNg4oPHIrkYOdrIwE0oF/P0eHu7VqAGbJeLmuf/UtuKK1c9n1rfhscjtAJwps99El7NiYcFmqCKuthCM3dXa2ONfjcu6t8O+AjOPbLahHMP4ExBB/KiviykyhX/ZcJWv5Ek/hAhBr1clAFCXqgROj8QFz9Pb9EB+lcxfWaPCOcqE7MYeQ+Q53ymWWv9gZWivGfF3RNJd63v4MOKzlRvLzCEn5WzVX1wAUAq4iLI12gMRLrbbeqM+Mi1eztTchuFhu0fCwG42kh/Pcm9H1eXN+QIgWLCFZVOymhjwh467aQJp3S+ZefiYU8pQwo5WfDrRh3i/Xu1LJMJEmkWSbexK+DyU4EwXh2yLJ7OgN751QI98CgdX/vS4B0SpUw/pFT9pUWk67sW60aeoz0121Ri3jsGr+oecs1R3fbYnRhO8nnNvmQaVPk2P9B9eOfBUb+8hTnH9EwraEilIg6gOj/q75TPxKynPl0QmurxJHaa39f67NYXGIrNqhUyw/abhwa0WQ0rR/OIHYQE5UnjoG/0RLPw34A5d8XVO+DikSMkU1QWSTaCEl2Zrvqt5mDqG7Wd+jCCq7FUBIT6sgdi1x8NkykXs+2GRP6d+eRXtb7Siahow4OeGjROuNrO4gMSlu2SRZR5qG3CWpapqhu325pIdnt8zfc44+zUf0UWw64frdabQZJb/42VYTo9UotFvuwRySHmJ7aBBMMgqA/5L7psZ/NABSQpvZjAL/wJSoA6hg9cWOkNLJoBoqpIE+bc74S2bKhs2O88d/8l6NxKJmdTwk4u9f58wfrwDRspbil5Ptg2YEAgL44MOIuPDizuxhRjHE4Ui1Y13C2gUzMOE+ZJWf2N1OyO66QiLvTNGERMifCF41DSN3hhehDbzNFKht/w8nv7zi4eHO3VLMpE9nT96cCS4vknXnGmfOGFfqzN5oKiPTORKkg/VA7UvFmb1znkwBCQpmVkL3/JJUJQPT0td1sGKu5R/uHE73lSHvhsDkB2ZAg1A8hc6TUST/X6aPCaxVKa+5Aj9S9KrB88halJkJyeNt7rG5N4QhE2rfwLQvvsmMSoqydJOFfnoGXQatg+c5zH+g2+08UT17+MhPUbI7Fvf+vNvMtbPxEpwWcMtdBNR5ZUhiV21t0BfUXLfg3nYcbXhHtC5RZNEzYPx551VC+XL3s0HckdyCyNMVhcWBiUQeTTzoHIKljjl/q576oC9rF/UfTfmAm7pl+aVdlhYSM/dXSovdtjYa91AxbULI/tbohqNU/asVdiqb0xwNkqGWvrp0BY0kVHrH4QVsFNhskyCzGykl8u3vKSWFVwLFL/DHUHVVtyzvuD+1w+kzSxIX5boi90xZ+wd9rF1HeRReFWvx2gdhxnmLyEUzJSSSr3zA19hmVENfCBfBXcg7PCy6JoYf3oX22ypl4oUddNSwh/aFOq9/UCHrEMX201PYeCu4rKcwDR3NWTCavLcWW+HcDtxhu4lxYLyarwnzFAOARRgediiaz3sdSVX8ZXAcdxFK6l8C912tCqBHSgJ4UaJvkKMTNNgenuoH26pcN8ks1UALCVQPYcGh5JCGwgnPGezfI6TkiN4fdn7AfAn+ygDRadnCwwIbvdfcIPx2nertUCfAug+zbHMYZyniAkYzK1XCOvHleyPF6LpoRsVHeU/q8IbLcky0HdAkhTed0HSjrmN42cH4BvDnE1hE0rggk16MX+rTda/1eOg9CKCYyKIFgt4ML0hfGpW3x2cD70plL/DHukiOrcm1RfTIZkRVYh5ZZFyLDzunRC+9QcjAUy1wSOLK4olCUpeol3icKEWVWwEHcL4r50XjvFQKHnnz5+lGZno+EfBWutIs8GI4Z/xi8TXwcCJIsYiAgCo8C8849+7wYUCj6yNCtonJb5Kwcnm/do3lRk19jOKwF1UA0O8luVnwG1v1r5IztKXSkJiWWZT3PCYABP8zsso27CPfHGrXJHxxvw7Zr6orkTYRcQx3m4o07gPDA42qT6Fq3mECjSMlnN0+uyFjnRyiSpPYGAHv1yK08bgh6OnHg1uAJux3oDxqTB4yb0/uY1+sYktSQsKoxSpBYWtCI5ZntgYtFEDqaPwwVy2utABnko24wo+VVmmcjaKuD0tQJ4M8RGwnT0Lx9hRb0CJyvNQXzj3M+W9SncxBxkSHIlFL9nJf80dU46LoxkHSWbf1Tc2mNRBhlghZMjLxKUaatMaR8fudKQ7bssi8Jxv6LLZHUH89ojh0F7ey9/iljbXj2DpRIfj6UFyPZJABf3Bjyk4IMw0Li9/vMs2ZM1HtX1XzQfqEgqFuOyAap8mMpkBH//t4UTliVj/Z9YFO0PCq4s/jCjtcOTZdVixm/ObcLRMbFffkh8m5fGSkfacDNoXNVcdw4a10Tod0YFYc0DTRsjAppYhF66q+7dTIhM1N9xmfYMUCfgZU62ppML+OUIhCUkRJwfohKgFSGa+oAtgjJeoB3+exszOA3BEUPH3S/a5IdI6H60KFEnfvC5sdwttO1+Q/XfMOVkQqnDhVuom1y6f3bURBsOt3ZaFT17BxY4SipV2X0jzaE2ncK0U5mEPjYElEOud0aW4QUD68DV9VRcjFfbyomv9Xsdww/WBCGGjNQ2NMJEKEftf/TzlfWGjF7RYN83+m7WNiF74lLnn0UWCez04g6xa6FWwCmDqEHeT+to2S+zc3kY7PlMUl+w+00hEb0ZnQB71jRWRqrL7RvzMvGSMiI+GXPa2oHq3yDAVB14w1HnOsffHaS3zkumyveRFKSoyjZWfirV6rPMELtlfIAAoCY//Ab+j4WN1RXibaXlZE2+Pk0qwT1hnoLPEUHhx8PQAEDzfkMrtIl6G3uo1YXcrjr3v8BaZmnnl1CiqNbgoxQZ4wc4qpaY5Ezi6lo3A96QbwhmlWYreqK193GuZac6Xe7UMoHbAwfQXSJq0h5ZG8KXD0ZOr76SHzeYjNbWKMyZl6lbVcRtSoQxlX1EwGjWSRpme5RgUfu6iIl4JVFuEH6kWqb5Mj41YdjrhByu6oxh0mtGrltbQut8WVbqvqkJyfN7WgjngbtQxSdHEGXh9kTGi6ZSJHWUv60GFMcJs01AhsDErqTdoBDdI9mUbnFkzQoQWiURj3eHhrg7srw4koPxN4oUkShXM+ypi4bOJ/1iu1q7QFg3XIcB9G+gTIPKQZC8ThY4IZNo6VgHjuWW3Gy/8gMv8GYTlNxJSg0Cnf5Ty4SBZoZWMNjBEZmrCKRhOIhlpQged9rnn69lVcFi+myDOW+saQKpJhQTW4Wb3dpNwZ/0rqOzncuWJYHZ0Ph6NW1Cp9VlkYHuGoclCKga6wUwGz5IJ2P+Ku1Ric3WpzvaDPpQ7StKwuAFakQ18KX6+9XRJLCwk66lk7EyXLGHwUtXya2AJ0EqvdAjf8Hu6nGThkaCD1+l5RSotdFPV+EgZnOjqSdI+HsmqqI3IpiNSx/y/1ZJmo90eZZKPMS5OOJojrKeF2h1NAkMJwZ+r9GadZNHhKsyZLtZJNXzx+VdNaTgeonb8yxdo1826yZigeBqKMlCyuHwDtSH68JhrlQ9EzOogjjhGSFgzaia6dEJRZFnuQpnurblCeewntfR41PhU3mvLSL11GZbsG8uAEPlgvCgcEsBjmWJP3dkfEeRoOm73qbrg/kCn6HS5N19awR+POOgE/ePrlZ1beFlh2D/bKANJ8CQCnScsKworWXtBC/bw7CvmhScgrZjyvvrz8DenSWQI17MXmWilSHLz5T4d2h6IBZ8gEebVI2hXFSPP6qndZwXawgcf5MguH4gu64aICC2XyIBkAMjAW8drrhxp9ICsevhaMM7e8h6dA5l8rp6YMgdwRR91DzwNlbpmLJ6NDiFECYBuqQgFoLrdPEBjbttnMv0N2a4ZC3ZWBXHd5m1ENS7d02UXBEzjxMnd713eW4P1BNFPP6xlaYtveBGrTGIuU7m76cFwziuUfkbaqDXj888oER70XM081SpurouAXlDLZNZFwFxGr5WYXXI3i7chx1C6ilHvHgjGeTm8uK//CloXRRtcxwLnQ6KTtqHIFCIa2N7A+3jmZHssA9CBXNSmLbAM0qvC0gVbYaCepjUh0CwIbgOqmhiR/BeoJ6WYdca6NvM4Jyw+PPWK0/XTetW1r4mCvf3YMPYvaWWjbJtjXRE4lx7pH8uefc5BC/ZnFXEhTSilMRm9/CWVKXaRmhht52870tR4cQGWUnaKISIrUh441GOBASX9s1dggXLXB3VTI/MI1dA+++238AHBzkWL9BLtU0M96XKiJuDfRPEZUrLPec6kvfb6tPMQtXdI7aLgDR+QHXJio+7VCcKMGpAOGI5d4lQg8OknlOMdZ+BpxZbpYwCnKUHjd99QIJghtnk/b0TR+bwbk733YGSK4aCXdJ4MqA08N1qCt7OSRCqpTcpzbymDq94r1PtE1zLRn3Huyk1z7HW5ZU9dShOeWjWmBYw4RiX7e89NAQ9gBhm0M7kC5Llk0z/peT4KaXpphjCSQIzyOB6t2hHGuSJLeyqWylBKyL3xKn7fNGfS6O6COVMSYDxQUzNblcgtoIvqLiyoH/g5v4oHkysIPcxWariAYFbwZCdhZcx5FI1vBN1hO4zx33D+wsEOC2jkIx0YLOfjclWfYE8E+crnU2YlrnX5fSPFFSx1W3urPQ08IgFo80XP+Nn3xXHGrAsnpc3yBcHK8m4CSvAZQv5Euxb3ZURa1aINshoEfdiLbQD9P9hIpI5rtuN0SQZjSl8dqgDDfrw+Siz2P5ZAyIzeKFtCsKmtpg5sl2U3e6SBBpnfY4WxZ9H+6vZqvsSeLI6Tdub9dtxG2icfdphp5p4oZKKO6pWrd8C9cqe3w4XbGRjBLnFKeIFrV50YzRZ8JeR7hoHaM0/biWbGMNzzx8lNEjXddBnanUm+0AnmRKuRFWockiveyPeakph3+Z+Q2lLnQRJZ+NN9I0ZQowUwl1SMZVAsP6HnTBtFlyMRo9VeahA8QfdDlVIAiJVY/mVldInY1LUKAjYqJt/v0JW4gai+23YvUOwGIDR/3hApZGbN8aBYVQlFJ/4NCU8UK4yryec0ps5qpNS0S92lkuxSTRiiZxCTABAq6TmyJqVkjAGM18acSdN8Aqytx4OUf8hfkvUBAJEq1CJ9utsaGM+bKVsGMzDweh5SJ3R5E1ZtkgvYWHlPURYSRPj0m+h70Plm2ysYUu3loWVV2284mm9G5qHAqGnpSesBKJNLuaeLBM0PzW2gW38ASayG5/764HOYKgFOkq7Jrn+em5dHjce6wxg4neWTxc9PaWR9r+QoU0Z3CQLq+4ZeksY8Xbr96LfDzwUPEj0P6Xo3S0Y+eLqnB9PK6y4a9GeUI5+JT5/eV9h9OoJglyNVk/Lb2A89ALEePJlW9GX2UO3qxh3HbYxOcgYveG5H+GAE/a7HWOirxcgiv9QhAVwVIMPDhWt+mwlH4CxuxUpVdr5zf9bekm5OBIQFIDxVqyggR52dUO+nsvesgqR1AYSFwHpF3+LBkfb/hUVK5j68Vd4yIxADlPATxJ1n+BWYrcU/y9+ejc1jeKyKTic33RMxp/6bF2+KYtoPVjM0Id11OXOtFv0UDqSizKVsLMGzyoVwil2FjhnYRobpK0ygxHS45iFFGlRamO1QsPoVAdjczONUP3lj+DIFCynFBUh+zQl5IHPK2k2eZrRnQnjANewaS1eNFJrJ5YxEScEDTgXueH3YgHInQ1NKoAey32nuvtm+llOU/LRlgCSuFR2Fx47OIg9lJkJmOXUeQf3BtAGmhio5VG6r8sR3q4GxMfE0boDWPtsVjh/+wEt1nt8wgs1omh9MTKA/h2YEKLCNaRfigtil/y1LbyLNclglHbzfpW07W+fLfugPl3BScDoeB7YrTJp3xuA3mHR+CxR9QI3Pkxb96H95EC8SNIruFIB9LXgL6s3oQ+DKE8czE6xw9YuFmcpJp1FsKPAbwmC3Ae+TMd+J4NLOO/SD62fR37V9ZS8xUu0xd9ImZ5C9P4woV7+hndSFLUQkagLKyITjpdQDB9jnYBITQUoDm88t1TsBvjWun3Y4hzDcEF6dNS8sq3ltp/ImXRu+FWSeKbcNF9IkJMbLRZI8j4u1egyI85X3Hq6HPhLVz/nGB5pI9SSi4plakRO308A1YhjlH8j3xxsYUXE3X0jWGoxcm3xrRIY7AqrSpSdAkJb80Vw3PlFeAOqAsdznk7EZX3npGjXWu8+dO8MtZLh3rc1GyoqI7OKed32TCV3xbwFrmrwXc31/R0kWLJFLmunr43Di3IL/KM2nN+UnT+oqJ5F3OxoTZImFatKmXT8xq1rqJt4Gt+SggW9Trz7jMJxZZwARJibAFj55saNooZg6JnkRzUdL5nK2ZLeZFmjKHCku39eiuCct+A1U2YvDo+hM0mr3ctzZ5d8LbpvNjpI/BdATKy51g0t0QdK27mda+i8YOqeZIaoMZioJgzBZzDxO9cGF7xdBTZCHhMTDEDfDxPOTVg3+J2uareqgMW/32O5ynwS9S20K3UVwaMb+06pwMGZ5enXSwpI2RET/jxfGxhNIrKvA4vFdC25EVifR2vOhdKGhHaVEY3WGsVc3L8hrQdUmWD8O8EHMmF8qnZVP+0hyoSYKFX3D8wJYzJ55gM4u9Mt0L61U0O6Vm/XWcmLedVwYW5szT34cY7nOw9t+d05/dLZRW15qkhrM2DvvrAAT3xgUaXdhE4CGj2FD4mIXr8b9yEET2yp2j6kyhLh4emhfUbLAonSkUbooub2Wwt/QOP5WsWpCZM4yMDQkH8PjJlp5xjy2e5IKLSy/mpsj8BeUcqjcMMf/sFWQ6ANTamaucihWbQqyu9IPUu+yNAGdNVdH5L0OOibMztkWhsv7eg2FzuCWD1OGZ9KZphlUWhx5tLAQM7uCEZ5cOpLZgrJ99QgWLtn5kw9gYkdpELbGAHDUdQ0fiJ/1uDPV/FZ3ckcDmgFAOQRMd5ZxvWipHlJ59+lQ+tlNQ2g3IavZUvz62/U/ibyrvAIqDtLCiGS7wnfnDfe9YkDcvPh6Ppc9qTtDD7wH7OUq5JjQdkW+pHmWd3kK0wSEHAkhXy5QvTY7jo599Q1HNdvRtdehZASugtctg1jaPcfqhGa7UgkvwdA8T+BaTpfM4j/FzcwBRNabNP7OsiB4f33Lp6hGpURhTtCJpFOxyqzIxpvNd9cjcshnh5h+Pk/L0CxcpHC65uF3nLkPbYTQwwyxGdIbtDCq7r5/Aik+pO3nwvp/6tefmOtrhgapdx8ZST8+D+NQoMtXLCLaRUyVkd2WSb7eqdfkbB9Zd8BBwnsHSke3uIEUJfMuhIXyqdXtQNJDpcCQt36yy7BLwJ+HLyVj04NUPD2kNLjz5esPsgFNa99b9ztBoUSHvJh0dBrxAqaEhF+FiYmeYICCOVDf6i0jznlMFcgn9nY/n/d7WRjZi1eSgzCKrx5SUXx9Rz+xX9wFLT8IHi2nbXdO3bpDxP1SY5f1ZFHxe4Bio/WMH6K/hPHJkFFAt9qW4RkGi9eXNtoIUUEVcaYmZB70L5U3kSplo8aJVl77DqST3VG9aEzppl2WLu6DyK/0gJziRdqzcbw7/L182vFhULop9+8CDee59NrPkTnPPDn/jx/tlPTiooAdX/EboG5NFc1ubhXxMUU975POT6QZ0KU5T+cIzJCMseRvRtaGInmMTTnFGg0vfTvA7+eLV43O29VzIHcOAww2LMwoc1h3mO9Ir5GnyLFu28F92dYZmyVpM+CyiCVhM4O+uuiUh5ZxLBdRvUemZ8OlCXOu+oH2ssQ9nm3Sdv1h7LJTo4wb13PtdsCXbb4tNvEpHfSJjxo/5DnlvsIfw2qjdAsIC1oEqoggghNWK11l+E7PXBJ8ptqsW1HUmqsKs2zdtj2vlfmRTgIeqJ2sxq03nuchi/vdVWS95UKrzbrUBfrkUJz5eP5a5F2P6LO0QMHIrmtzj4SG/m0Y/AtuUKh14DhYo5bbpv+JfYMit6FD9hY6a1BM82mrn2oMpFsx5HSjVif7P9TdMQmTQbCUcRE4ZDB7qhVKmURvQaYSeVfny/SeXoTpMpMG5IzKkTVsNxVz7zyrfltWHqcc2UKCfoispf6mmfJIeI82bLiDsKkRToX1mt/UFWSEWfaeJ3exxtKCEDXL27ZVvl+EEizwB84sVVAQa78QqMN8ZUT+dpbXFUnFzg6TFB/itGXyweG4hyprcD571Q5bnc2H0hLJEY7VH7bLxcd3676xWSmdFX5ezbbfkQK81YiU8GiFsb/OftyEJ9E5tYowmyP/1jMJBDqBghaylxmeffMpgeTwEBkczTYKTFy2MVzdw8kysVBC6O2ZEgFNPnmSg/NShGbtzoUfSI/y/+aVMnnCVDjEP8K7Y75d6TMPMrwzgqhMYX+sD0LH5R9BY8C/rTJaneXfSn1pDqT5X6B72Zc1c58fIsqECcXtL0n1S8SmwO/cYt5j5HnQrilo41QAbbq/nBKGd5V4Xi+x5EgKBgAkK14Gr9HhIEc5duMGkgwdsMW6XlwY9QTq0B/pVelRqixFUhB6jrQ45NGAl1Y37uplgpScbKR15zGirgpQ2+OpZ+3J55kywjoLohphi1WT5Zpz5vax4xaAuUFi8h5ajmCbosXF6WhHTmJlrcq4ZzhA6oICUPXATEZeTJqpH6GiY5ck3+UhHbquJ1pd0ywk5SKovejq9KLRrlQZVVknsqVKHaPTgb5wKjpcaZeVJzh8IjNoPbTcCtdLqL32L4A5xflVsneA4kxrnBly3b5ATIVFOkt/I0YJAol7a5pIlS0VoSM6ggCMX2cMLKTWVpjrBhy191wcjhZgPk019PvJVafV1R6i8Ib6GMLcqCTnrfobjvvMhN3c29GRHNDSzEH2JMhpByRMEZurtyKhQ5RXVmJ3wZcSfrhdJmVo6FCnbVp0imOtiRnvVmwbhXhoQP2nu+v6gSenJEUywQnxhbRM8Rm6OeA7EoOF0CXg6MobpnVVWbzNRvk7uS9YUWLlVqK2URg8K5XXYnRnav2ShnHvlrQZ6zE58SINx/SmzZ8cA+7FQv8BUyeUfIyIP9n7vj6DFZD2OMUcjk0F2bddZnANBaEDwLSFSu/k2RYnFQf6DVYauAnXSHstAkdvD5GqhVM/p91J4Iqo2vCA9leM4KdIi5i4h+zEWKIJYPVZS/3TUHSvXxR2SwB/3teVnhMW/srV7or+0FTltAJR8S8E0ZqGe85vUOO8XYC9Ou+DN67B/HpWEoSlrD/WUP3dMXBBpY9YlhhLlk1UQailq3eaDuBzUyLzDLKo9rU2bKNA3lNEycTZTZmVyhmXzlHsFs2M+AtPqFE5TVRNwA9FjXiXifHsqwIJ6sqm3DoRYS3cHPml0mOpA0Ki/JCLIgsT5scxaJcBcE7TmliD7f2E/kH6sAjMaM4DzRCZI9pGuXJ9/WpFL5qaM/P8MgfTMfO4rClVQ6dNM8M9iAe9BXquor6mlMwn4DZxZe2Wn485NbGxu/M83JWZax9fQIPom/KW0mFQsSSj8iA9FcOrnyxXmm6ptdWzKnxQJJhjOR146QR0yEoTPOtgpqx6M40bvDrRtLO8hwdriGE6VYV3kj0JuL32FUbzIlEvGgzUk/pd33Du5JnavAvHQc7lojGi/XdGN02N8XqbjajFBgRsabh2ZnOYEVUbQDBYNwHbLCqFvxGoRYwg83eCCAa5PZeBsvJZt/EQKlhk/AxjLGfkl9Vu6gftYfBd3z8q/rInw0Ohu6BzQHvDCn1e8EYLQDNOb+wz2yAYZhJ/6ESpo0jy8z0x2jLgxuhmNB1VWX2zbVe2NMr5xhEeLkD5P1+a++QRDuNIVbHMaYSPMtV37TjlDEw+PjkN14Onnd80zsb+EtPwQcQvcx2L1JPhRlavFPcYPm9D+BH1LcI66E0v4NcJ/etfCjVw6IYuXRaGTGTo7uaz+MERV8U/1lArfVQC/rl58rN5s6kCy8HwgizQb9YHirjsMdsoQqQ73E2Qu6nIA0fqLYrkIwQnFZ30Q0Pra7muT74YF4g8hCJNzrbzxmNBnObD5VJ5ywonctNJyrakvxtterUiP0ECS5xZyLARJBWBPTN42rlHy+zLxXBtA8d4KN+YG42yU4xDKnZtZnDLbTa7CtNyzrFevoy0Sck7TLdcYpq5ZN6Ff1eFOEW31JDqvSOKaVyGMn8AYkklY6HskPYt5w9zPbnFcYjqNi4kT2hxw7l6zF5QinngW433JwgNC96JGP7HuyCNrD7opdDcRN+/HNNRGhwqCuFFVNcMecZzxKVixFFOfriwASte7oBbjCpdjZctlt2CYvroHJnltbQZzDBtIbSzLcYcFN6a2jkOKt6Q6lgXYKFEO3Raytblc4Tjar8PSXX1cDr5aGSUyiNhrWCkSUXvmdTud715JJr9DfOzNkBocyrPYucMC0CEEI/VFdTSFbD38KS7DHB3/0Z5YUUAdJXlFSXzmnPswmCN/LpPzsluMOdWBGtvQ9cIfUdjVnayn7iZS7P5n0rUGrrQ83kCUc6zHHZMrNXjxvxW3tb5/YmCOjtN4GHXFUYKFUqfHPOPAJUFcgh2Z5nl3omEy3tXKqXckXFz8Us/5EmTK/HmrJEwqLmiSCJpwAAqFeEiUy+Fzr/71TD8gGOmktveawgQkVAm9m2lw4A1lfnJXYLWWY6zRbMZ8orNOcH7WE+xjCjOh4NRqGsKQf6IARVXxeDg9UGkVOnBlvFpUKFdow/W5bHyIyaaotaRVQ3EZpnt2ECqKfAZEVJjUhARtrzMCSmsihONEtyQR6Sdtm/5PPMQsINnMXPFHfhvJwWrT99lh5++r72/UNwu88Qe3isJ95tBy9jc5Q1d71e0CJtqLTgpARw+UcG+81/WrAKb8IbhVcsG3eBCoTHeyd2ts2SCpC57HbfsvHFR4Ma/3l0ikrIh4VPgZCXRNfTeeMKnAQ6mta5eb28CVKT3EWIT51PqdYwzlr9FZqXSIFkDitjDRmpnEKVundmKZPkS1bqgUSWmDTBs5FiFxegB+azVboVw7d/Odtd92VROAopjvo6fs+J39oCnVf0FcvMr8NlzenWTKNjVdugsSkBNOQERPWufblKTqARjaW02M3WF/rM/w6ZNMCk5J/pOiZsyiE15tZUmderRhGMFWmUXKYe0hqYEAj5FVxafTWc/5Kj9wRCiO1iJYNlQjXYdJ/DLMwLJySHFr98ukpGsf+49JEkXpnXCyxEv7fZclLMS4otM3HgcZObSwmR9q6EaCDgwIXNwfzAtB+F7GuUfNaFV/4/I8nYiDIYrhSPVKLycdVbtpW8+aNyhxc5VfkoHmoqGo9jm+mmFbB0FV3+sL9R0xW/Fb0PkXiL2hinZW6J50P2J74H1SDJnfu6Qr8i3S8kzXAUcJWm11pM7DSHnsjCxlAyHx8FysVxUrImgxa2CRdzh0lpUfusBLZT3Br7M183hRvImaLws+xYOvKHkPj7yFaCqrbsA9tXNsveYXyeHRAE/7hmHbT+Dqf5QwvftTkPi1Pdh7zuEEzlNP/3HeuCz5RzCs887FCirznuwX4Bst6qoT7dTjIlIVVKOcjyiAYYUam2bvDEaaVrSOy4DDisEL+vsth1dnrW895UxI49oWtZ3DkTPpzny2GOCc98LYjIkq/d9g7++7xyPIhPMf65UEQjfn8asztM4kFk+p6a0Z0nBAux3VFEseYLiJhPbvdxB0JJSsoCmol5FAGC5MGLeXcMmmsix7wbNeZL0nK+v8gZmCYiXc+kw/Fwk+eLiaveI9vIGIIAPyM/J316aGqxaRsm/lqjVVPA+Ch0f9IR0IG23TmMQde4XM9pa3klLaWbRgzf0cM4d5FRzxI5NM7VCyqRCrkCWOhXUUXuNFLw8GgRG+u9jpQefUsQx8HwIuxLz4tqfCMhip7qbl4fipWxT3ywDMr3O8a3jlZkFLut2AyYoapltsdhzhqvcnIY6QvCGiPm8SNHqjWGIut5J4fybs0h29RD7aRHCZm+Ar3u9ySrNbNiAsTR5HkqVMFtDCggosCw4LRYgpKYMSEXdA7DVj/qemsHWzlr8VOeeQUk522pAVrzFBCJS1/Dax9eKSC9OL/S0vjpU/X6GcvVfn7ROQlTQ2T/9IvN4dQbybs4yQ3QyJ2O2yD2wmuu4N/JgWabKzaCilkWnLbj/vKk2mdin2KOl5RdOCcu4dV7CuqAec0bs77pEO6CnxgWKOUHAy2yPKbaB+LGKXktsXPsZE7IJiyq2FluFm8aLoHRJYFOA/YND18UwwHIfQUDC4IhMWX6b5HWu8qmDdI7+SU2FBx39o1VNAMRBiNvVpwURhK3Ur/s+61mCoVsyDxA1winSqFG81cBPGy+doChaiN6opWloURklHGJ5YdSvHvFwUdmylTXPgNKwSxrJ774rjA/KozDahaRRYPmJJZx8ujNujDDuXzSL4UHmI6J29uZXr5fM6NpFQuCYPp7FBMNwMCPUDIGzYrTuIwMj6gypWCm12fahDTc90/5U7Rl03bRMVWYfcaECQGamR8hEHQIgkesRVLczxJDb+rVIAd56N8D/xifKaRcqWX7KjHQKSI6Clq8BrB2HgfuDycCCpH8/fogkUk1K3iqYHTVlV77Nlg9AVqJZ0EPuK1mpMyNVewEiG2138MnAuXRbcW13+GaM4rBf+Y2K6UWT/o4SsSNfEsxoR4hvcWpEHwQEvZkBIfW7CGrCNFkJcgxXbeLWma6GSK2lEHPF5zVwkXs1L2bDPMvanXBVBMbhcX1UNdSTeU/Mn44u61CPnCdWWxkfsjyCD+Lon2ygcWYq+dVPFbjnoW7rYM+n9N47irTwP/Xy+Z3RyL/00y1mSuItulSoV2FrSq64glLZLSMIuv+iwBCHBkGf2GAURcyYDSr7O1SpffRKI/6y2mC5VddYwpiIPAt7j1G5jxL18RQCqziAqsqBVAA+5Pr8YdiGNJ/+MLvTj+g/58GUwX0qilsKZOQE+m1wPMZfNAxc4fEddFSUYMvYPTP5S/h3D6B7Jf6DO4QnRpB4ya7aUMLOa7q+9J2FaiHfcYTSP+WCzTnIGZJI9lW2fy+S9KHdof9wtcgvLFgDuXr5vbKOwdU01nxvDHFhO5vvk25rDOOoZxiou3fM0KzEIIsK4pCG+J+Xb+wCmjDxpYRuL26iEiIrFNn26lfsgPWs3UxUh/jD6uR7De2cZMlC1eozIHMpq+8ihCcODQ+annlf7QiXchABjQiGzC0Bsdb0eAL7Uf811N2H5nzqOgnRaRgxro7eK6c2OvH4fBfUfJyVatiHZ2WxlY4YPN+VABRLhz813Dk95Bk0JZbndgLNhT6o+N0ys9PCA+kXOvS621CEhujZijEslQ25HOkt6QCchULmzVrMC+hhGW2Rk9b+filIDT5X2PCB+R2dEibDoiQwdF1Q/BS4XDxqTxr01IhzoUzzBpgZH5P+S4H+rLisVQvJOwFdePAOsyH7yGa7das0h/VqW6QF9OBj+0hHu0WHwQ8EqrIPYxXOnMVuLCPKC55M9QhWD1Ii6A7uoeMBNVZWOs0/FJSNW9bVgHb4rzfl+xI71I2/RLqhroJIjhZ6uXYF9bmI/us7zsFMwJEwfm+56YZIqsqzGyKEtT0akpemdQ1EoGshPNRv9D9ZzMb/y6DBgvfs9S4wRzOmlBTpcgoaNoWHmoJAY3xcKFKuWperTMBPBgRLVHdsJVDMPn88LrnOfWRBaIWxil7Zdy9oE6t/ZhW//4w9sphV9q2CX8W2fJlFOswS38HTTfV7Tm80MP1YYNtjh2nQA5I7MwbSaGm80EDCYhEXnpdmD2JQ6qSu0EUEscJOlOGXMf8mYPpei9JCuunaQGRCsu6XF7cr/bDsGGcpAM8zO3EO+iqyDwHZ1LhSpn7RcdRcibC1ovbi3Km8ljtBzcg0POmnEHKS3slbpVM+p7U0d1z3gScl+wayB66/GlXvd5TkcjTiiaLz4LpITmiDVeiIsGwVfI6zmUEyBm9ta5BRz1lRF+U2cI4fVRGSwKC+CvywMFlQEa/d5liL3YwMvIhgGkmAfetZlJdjVYtq6622aIMlxwK3xpXxVeGdfVHWF7Db+Grck2ULN3m9p68ruIULFs4kY0Nb7gyww4xNT5ct2f3VbjH+mtwAfdntry3gEHWZjL+Qrx9TMCYQmMnSuCmKRfB4LjSwjCagm9lP/mDqXVWfzxlsrfeU0a6mpZY0Kg/5szhDumxApe7XpFCW2eQ7JJwpKH6OBG3BefRBWo2Pqh+UK6TPaJL0Q95IZCJ6bGt7eiHU5MgtMbA0EH8pYExSeeaAUz5tMvRLyxcOkCJUHpnEGnm0yalzeW9lebMylBufG50Wk2D2WSSVDLqLA1JUblUSA/RIUw66zv8wAYv3lZ+XTMkyeTSdofXEafbOi7nLqYYnmhzxJe66gdCiz1v2ZEugpiD1DSbhMJCsiAKIi5m9fikUpaLQunkYLr0XJwfg1HSiL0j0IKoRPLEGWRWGdkzZgnEYXRZhRhQHdsZfOH1MXbpY/yXHgpwhHT6qmGbDsCb5y0wktQTR/kcO+9foPlht7qCMWzjvew3nVQNI2TowAsVZIoVk8EvTK2Ym9utQOSy5rA4AyUcqVrGK9uCkgXi/Te565ateONW0YXjy1dZ8RkkxtIpcxXT6e/RmfyoPg3cAU82UheAfxVaxWNNAXoq0VboSkLqHx+XjV3tmBrFXxJ6SQAEHnD/BJe12uMAgeEQq200APUay7kTkzlJd4bcT6OW1E2wZGHqTh7wf+ojax/EDOo2b2Psofa5gUZ3eoUvAKXa7g+HteTv+s+LcHxX/2D3eRCI8BQeupbrQqeQ3Nrl+jytBTMOVVZT/zL8ihz0GybNpqz4yOETZm4ZlsV8DpTS8gBlieyhULDAzryM8nX0FCegoUjUBt5tSKVWK9jXoSgAlfG6BSy2jIl+TWvcM/axzXr0AWzq2SPRJ/t0kEFAk711oeqRf/oWK0YCl89iWFsfRFCwiAXum8KnkSITIslDEBv91wwc41t46LmofF0+TLzl2Sa34SPqyOllnwzzUi4s60q/uUKod76YCrRUvKfZPDOCENt9XavQaAb8cErafNt2CUkBIs7PLVLn3I16ezoY2J46ZY11wWugoJZt958RaH1/nHVQE2fmzWZnelPqYAimZcTzicnlFN2VKoAJs3c4DPNkdGUimMm4272zP0V3Vv0oBF3Fjo+IInR67JwFz824HPQSF0Ke5YWqVQiqXATyoR83vc7/DrF9isFvYZw4IMSC+Cx/IZKOsCmm50V3cUujW8pDzue1DHcVdWkMN5nBoa8cdOsKBTCPxxiFjzSGQv91g/VedvcpTqCWqS76IlLEEYdewxCn7h9wM1htFgPvELatLwYNcCJXqbSJ2qd7XbssnP7IkX6OOjiI2jiRIQiUEw8enE/gXEs3x7YMbCjeQ95k58wYnsFkpcKM4e+QsHiKg/NxgGfTXX7FCU2SIHxEHp9UYuFTG4hPmlIJaebhHkzMcsueUVTYddKN1+1RpzdrMLlp0o1BG1gY6aGuK29WSPKQD26FtfwvhppeHlEurauu38ZZBJ5pmqHeOuP9JXrmTRbh0YH1MEVzg+uh8xFA66cMslM6wDjZEgEkmf+CVL4t/C3EO+T/0KADO4p8YpeHzDDRnMw1nC0tyz2kWQSN6kAYUSp74iKgxz9GoS5EXVYf/PCnihqGKK3pE2qKe2jkAcPOVIxfEqJY6eFm0t//cmwqsP6q5Q96a54j++EZrow9FlOCjJE0GScTXdUpLSigkinalvO3itZVhy7aW9ZlFkcF3Tktwtyw8Q5mqKO3G/bhCjBv+esAetgXeireI75A9wZdoNoJbOsb/r9AW3mMTmmaLP5GswgoX7+xD/VpVgubzlwcKtvjDj9y4dn+xEi07FFZ7+UB2ErJmtCnwB7FyBWzlumvqjVvZtLqlZaocsRwTHVWGgZmWxED+UWwgcWTn0QdusffY6jC4XmGnTMQjvQiS9xlY1ys8m5TPyL2VMCaWB0BNmlZkw2Ow8ys0snrkq/AIQyuzDZGkeYkIgJ0Kzu+h1kGD4i1Bh7GVu3LIVswN1qNOzcJ7Qz/fB9W+9NQmdbLFEk+UTcJ7WHKjz/FYVzyMiTU3SVJT6hgkWtHSc/BaF6W1ihNJPq2Z6smQkoDqNNfU7GMyWRtwUOSKSLi4jz3IlHPK77yyY9MI2J9FEqegGLlVQQe9pJSl2um6nIm8WGbrkJ1Ml8n2ZKijajO34r/+d9so3KAC0ymXVPT/JPwAFkm3bYvQM/gLA7Ibg2CPEgch6tc1eVOWurepC0X0h6TzOr5ftApgnVrtToNDLFQidhrYmssNKp1yFICgkjMR/7TyCTz1xilK7QnQJ5IeoUWZM72fCsNq1GuY6kGmaksRJFTu/UV8BSZSIV2GMvqAtDCBYfHuzfG1nhmWHLhj2GmDg8A3tpdKklwxYjJYUuQkdCaNk8MaQIUjXPAQsodMx6V3zNrXtH7rtRzgM8fMhaP5dAWgaVx9T5YnCEgeEn+TGnL22OjA3NkdprP22pTL7Sg3bthJkQtQ0UpZjil5oMtCRkGrSS+Ntorbi1tBtMGafv+u6I9QB9rEZThWktYPcPSIlA+G8KWrnELL6Pd0CR4wNO9u3DTLOsLKfLPnqPMUJV7yam+mANUnOzokUm9erLGpFauXigWU+T+1lXOqf81RxiWaNndjb1oOc95zMfjvKqBri0K5LSyq+JANsdVOU4adHozo04DfnEAPzVqp8zviFkMG/KSwcQIPoEQL5CGrR1zbfpqw6IDjD5rtQ7hyiyX+weqRDy/f6ORgI9Gp74bc5Z4WgavlnATVE1brTTROqTD7+X8+/1oWBsTrmgeIGG5kHBprk9sV9gX1ch7gv74dgI8NBKbnYEk9CUAoxJIWy1szggEvyVdD7bWu7OzFz8tla4NDlPOcIrkMBjPcUVQt+4oPesFvrn6EiZISipWxHLeXjpv5LKUhjcFNiIoyzd5+ZIp4mE326BY0kbmO5v5pWzxOy+t3Uyg4C7vDMRA2pgHwd61BrA62sTLRjRMejmZztWXmVvE0LtQbAJtywz22JHHIhc1HjhIiFpFI2pg/ulUhhaCKYL9Q0x+Id6FJCWIoHcrZjen1sp45aIGryI1zZurmWRyKvkrmg3BSuoZJmJitiLwYO9UIpjXtxzlXsynHKyGE1aStzn9j/u9E+GgVt3x7yxrG87jesO2fxq/Xwg+Ge6o4Ymb7jh1R80OLsDArjcqEsG936qFu5IdOszt87dh4bbcJbCTtP/jMhAkWqgb+MjnMBdJ3291cCi8WY4JqIVF6zEra1SdgQNO0pQDH2lFyxtMRrklkxAWXS9AK0DTyy0dfEalDvcKhK2r+Z62QbZb6zarP/PflCyt7zbakvH/bYjpG7bcftxZQksyi0EheYypPncm757KnKeE+zx3E4tO3Py50AF/lrHyUCLrFELDNbRPMtzCeLfZrmAQrcpT3hyV5rW7G/7Nwz6KQwxo31L4oASfd4mS4KrBwg3vJRmoEsFYQNf/R9fqRxOZhEFb3jOX15CcDWuQqfC3Uqt1h4uYAL5kxcgIIbL/mWgNO+Tm4IyXnptTySm4fb2OPeb5aDUDD84EX+IcrQk/KHMeAlDHG0CnrVyda7C+TXcZfMlHJbi384Qa083wEwSQR17mkoEb9KpDoCXg2u7ZGKpJtar4TKwDKSK53WXKwne8iNpaNLSe76eMP7jFpP3YR6qi0pK8CmOREiAn5lvFnoV939c82dwZeHQM2JEzE5nadag956HjiZoNaFLGcMHCdHXRkKpPUC4JLDZiqKTTEY+0nUnytk7yqohd8zNmPMVRHWSF0gMjPyI5N2uBM8vXgXbGBi3aFEN4Ra+OqODunTlB/ADIejuviOU5rfsviytHyvDtuifFxr34zJ9Hc94Fc3QfQhnQDS5NQ+G4LlLBr8kZjRiDtvsKv83wbKyDXQYr1XrPe72Sp4EO0eC8SL8wYovwdt03knhRhtSkXqICUbQiW7LQ6BLSnY5tvVdOT8tKG/Xu+i5w6NIJJCm7GAUg6j91mqcvK3HJ60JrYV28ZGMfCDMlrO2zg/J+nsLyS4xgxOb2uT1JRTcS8yq7rxC0kRQvh4pB9fQwu7dWO+w+y/oNKLwkvhftYWsnEK8Msy3wv/jPpMGfeCn2WreVIbwITbn3hLSYaxtOWxlSh7m0IEnTiY5wOeRO0MVOc+kSl2WNQXvg5QS9xe74X2svTSuFxc6CmSSSo6G/dMYu87UQymn3mJi7XKQp8wRKeWcCbteSnwr8NxtNFWVq3udE6R/HiT9DrQlM8GZ6hDIn6OA/FyxKcxrJCS3lNbBuuulq6qzDlLx942cGX0Xe3no3N00Nb9u0ax5UQjR0jvb9DJsQExfRybddt87KkERQCmZlsMiZbLWVDh8XPACUxfxmz1C1Vpt7jTLYfzHILRXazMX2w+3WPUl0/pqUisls2VPTBhgxh6FFlYWPo5iXx8t6V47uIs8XP331hpvrm+zf6TrBHoZ65Jcn0qXI2eggOfHju+VB64VqSy9pREBBS3g8SsOEaplT3tVS3dx6Nev+pnnyHQtPiosv8ZhUBN7BFNB/l94WW9X3VLguFF/LoNfil7z8iTFXJRZodxsmo3noNv8VkfCrL4RsPpv9Fut5ZE8dA4O82r/NkUlo39V+yYu8f2lR69fUMW925ZHmijJ0bv5N8peCQes2XVgIkIis73iJqjotPuDFwK4qwzDS7xESo0o34qO2xh/R550cO8/YcRxnUnN/ooG5io/vasKQGTaTGkWrgGN9rL+6V6EPvwLB1HXap20mFnfOdNfCyhgwixexArqRcH0wLW55njS1ssn1cM+w/kdpxLJYhd4L7hAbyXTlnjruZ+/VFzAIq4BUg0BSj7aoK9rgTvP73Ve3OFgnk3RBAjqzz0uHSlbB2ZaIlgs+79+gcOWS7lh9zg/gWboN3Uc/pnp2d/DmFtiPnim/R1EvCojT5+c408LSvJtoPaAchhwxmrLn6dbEAjXAs5Z71JsipkYwO2MG3kOqBHhESlh8pOuyZf9WUVJgbpueGrB4ipgGAz62abiBgI2BMWXulmNWwC9mxzjZM4+JNrTbU3Fv+LBBYz0i1qtWsIGXSBbD/QRwJCuKcO3DbpMhyXaMJM8qlwZwPiUcO+ipac2n8GIfloiCo7roc9E9JtrN/js1Duz1Z0nariMKK5uYjFFOZMEvTu0VllckH5wLdgB4z+dPS1WoC+3ZdseTgr3RLuXUzdthkem3WA8M0YvKc75YcwQKtX4ypHEOZPTGfH/53SiKleOmqQdkXluSCMlaKnnLcXe65tXVweEXOH0DLNaF4WaOFtWwXr/2EWzW++T8OsL+Ga4aIPARdbV13AV/C89+vF6sRqXnUIZl1JOhrJBL+P/tzzb3vVDhVM9BALCsUOHC0Pm76mYB7jVY7pqGdA3PzzkduUSrphHjVYh48H1df/V8B/J7r9jDGsgrZsY9zuvDY/tM1ARmH0Fcpyeqi4C6ykRKCnSIjtTDEdX9YsI5SgOm84vxZnC8dQ3cciJWanwYDQ/GWhki5l4DbwyUFDGG5XZ0mq473dQ7uggCvQ7VFJcr1TUMfmOfDAbQtkjfhJQE75NXao2uojHSnPm4AP8vIOOoO54pP/NVAWhpHKCVMiSKzglP2YqsFQ+fVkTMv7kqzGJxaOftyWu78/ICFSUqGQRTxeAZ3RQTACg7r3AsSC8CA+nRgx5In58K5552nvoU2xVxtRRcfWgWrSDu+CoIDOBE609437V09/P+2NmJDVKu/f0yUklCLfdDE6H7xNZqtu/P6IUXtm1JYQ5n4qQXu/XXrjdbC4uxmVlTrROYGG1srnhHsIttpkhH0ZAf4BjQZfXi+Pe+Ansq8KAWPQCL/H07YBldBTv1TFqN//zS8P9bnVjbAzL4/Z/6qxIIpeeAiZTUUK1+a8cHE53+hjP44c1qlPXRN2A99Avl2jgheOdsO7IXQ5e2Za0QcL/zg8pK1RVC6WMtAD8lTfUw7rLNTbUhj2XDYB5Ch1ZAQu43kva5ubx7VOhpqA6pobXuTmNejptewQwvTWIO3bPAysTDaAPO+9qmmvQsKOmO2cBKDWFZ/ft0bcRoS9Kf5XcDWFo0ywlDkTKbmp18Us/JaIxlgwzqM2J1nBL/2tvcKdTA4uodecxM9BPwhDvXhPjk3ZpoYOPQtt+YeoTPD44gPfLB1TuLjV1lzUzRDI1cvV2uIpsw5b2awM+QP4WSQdZOhIsi3mxC31hv7frlxym+xaQZUooIrq+fPlJmmkLyYyTb/GrempBdlnRYaAyb1B4y7YWrtJVam1+AysGfmFd/Yh7H0QKJ3LDgL+o35IdXJbxXza9pZHEsEvy/xWP4yP0DvPUg4Yq1qDtu8TJGPt2qsgvl0gXYdGRpHJXBtZPpR6NVoGIV/wBWI1aX/eDQ2DH4kfuPYQ47WhnRbPD3mUxjkuHfdB2YcUrtKwRcYFf6E980tc3WZBbjlQpiU8RqQTlp7hs00JVuipplYKEckZlpAyhV9etBK18daxG/LVlQXV5sVyckw4gxW1Khr/PMJtNnw8usMSf9uWKv2bpREYI1dIZBt5bLMDKqyQew+9RGrQ5SZJjiv+dtufxmyxFXl26mhxb/YvhaKwaGCjNne3OpmGlZulS/pU30tT3Mcd2LRNDGx8FOCC1pWjxWzyljyqbGgTWzZYSFKJWCBpldNgz5pZ17yYXd9yNavx8+0vy5z/S7lWcDPvpRr+K109GOFrjDvNXTuNIVDV6zWNiyHcA7ZBLBKlCogajAkvCIvPP3oYJUImSn8WAbv9Qzc75E1zL0uxGJxUzJtTnEMJx/Jlpd0iTbGxMWFqCiR2x6u+1evy//yDs3WgoPYqbK9Gc8E9whBQrRzRvocjQTJ9HFzP5vmZAdzWMo76ljDkiMWvhcOe1hdQtHEfWwbeBXQsqCFMFDXERiM7RgUS2zGnVb5RmNOY5wAV8ItZV4v6jHqC+SDRITHFT9zn9WMRdWiYbfR5U+HkgkOIzKKsmIuzp6G1V2xcW7byDspD3LdszMZUfy95P8VbcSxIuWXl5oYYNGQU/sEyICr0aHkVZKNpCxjntAm9OrrcELcdlCXvXa6lKNvF2DGTil0rZQ3hoAxCjbDkFgItol4lTAbj4B/SEwhxoxE/SI3T3V/Dd2gI1+KiaAcpyQSFFvf92S1EktklFMFbBQlXZzyv/lXH1iUsX14JktSa3M3Ot+IgTx0vvuR1HwoeJJxBy7+PUbJoupGMIe4q8juDwcewCF4ep9aVkv4yK6ODHJKQqhTD16SEPdNICn0rBKboEi4Mtb9RBKCjzBesQ+BxHlrmuoW1FC/WKX9Ag0k8KDqV92ehzShG5d7+PRFPdAmRS8eaCg0I0ARzKle+3zZiteu74aH8p3LIqJ/VdP4YdU9y8ZuSNpvscYPR1a69GZ4y7M/ycYspLK6DKVAfotDzYjckr7h+8+5ylCAcE42HgvHOVo2zbzIAZ7DUAhA7RuEQjpcw/tug448OoRyKuNgfUrGnJlJk6Msdw1quShCuvAsuBfKk7VaeHnpYnpppHzynuKZY2R7m43q9MBUOuaeZoxo3VCkf1IBd5Q/eKUKXuK6uFkyCBHRPmD50o2Ax10tX9i5iAHKAvqU8YH31+DQqGmSDZ6jEySkjQfvskvkJrV/SovhpNrVF7TTewqoLQQRFhEhdiEGeNa1hU4ZW0uAL32CCa7zMTNMo3QgeAcUE2EJnqSlm33TuPpPFrNYLTdtbclVcAmieG36WJ+7z9wz0oivp6kifwWffsf5yJ1z5oDHHp3+PewFFIrZYS7BI92TF3cIkzzZkILBB83xvxu7Ss036i/4ftwxz0Vj39ltVFxU5JxdPPThQNtEt0FGDemgbNFtYH/HqX7NTJGhGNAqnB5I+XpUZIUayduoFVKNLckScScz1W/GUU5s0CMNflWMNGrvWqN5Ryufxmcu7RpD4iQmGM4yLj0cSeLO5B/1UCWDtDZ2uidaQd/7+oziMoNNx7kCVv0WcHxrcek2xj1yuENO14A3k6WoKass3pzB+FSP4Iyx1Q7rB4/F126BY2ilmQJ1If9pjqsU94QTVJmgZjYYtfmy/frZH49C9kaylq3JBwssvt47z2OqIpvgnxq3FI5R478AqbgspwT6jLCi/nnkbtXXMyriZ4vbT/AEqxFNfaXjXZmM9Pr6mJzmwSNv3Dz+CHOpP9IYJQNVgSnMXzYFWezZz/gtRPcbh6t8aDYIBUv67CNMMZglEmNzdEVJQXaz4lAN7B/TGjromtC1wyisUIrhArZfjppqS4M1zTpL+y1ReRbYMVIAWwGx8/T+I0ALhJ/ruF/MlRU+S3fCm4K9DioU5Ckxbh+31KN8+2wVncx3zp+H5lyqZVwlc5RxcIwDCyzdjQMKft9T6vG2MjXj2bVEgMZNrSrW9Fk8X/BVvuTg3ILLSVwppXIvxxvbt3Hi4C+4utxNK12eSq/HpiEKPFKjbdGrOaRS0bxZj37B0JbRMuZ57lwZ0jkwTekXcFCGho8+FM4pDDE1Z6BT4WRD8GgchoKjN1reu689CAZxhgllbKq1oZn+jNcH4QYZQkr+o0d3YuQ5wqd7oOjd5ASKn3FwbTfcueHI0Vyl6BwonhS0nTjKpiqxQJT3GGh5DNJOYXSF7Kf2LLdIjsdiqtRPDlNmDA09kG58CigrqjKGSZnKHKe/qGNe/SwTEjh2k8o3KvXhgzu0Ovc5l9dXGNINICpYtaXIURqZkAUuDLFzEFPynWmBQ2rUTDqArHplUVIT9KbQeP3rEqJOsRe+2g0Im2y9sqnnGTY4yfVukEZ25zxavQrPTSOpp47FN29tnushKSVkIl2iNCFhb0BEVkVymlg9eZ/QewojXjd8VgayU5W5R24pBJSZ/6pxHV5mP0xVwALbik13lWSrRk5PmFJsqz03R8kpjLYzy2kUVdkKOguuvpv784AbN381h0eUKWAu+RprjXCNK7psrOeYZ5BLODjI6THCvqcgR0J74Om6UcOZ1mp0o2PrfHtRTtpMBnt+in5v87DFJssHIrJzx79Co55yiJogbxlICBCKeEsr9LuQeAo9VtZm9UDu8zxuFZGKBo9z2W0qWkrfZqRUsgrKUoMWq8JK55UlFKSAbaHhSg/1/fYKMN4HpMpsGqLW4nUAZSX2l3O+3hMnU85sdk12MKS6hf0f+f5WghP9zzFidkVesw5/GlpRVMbPP3Qd54jlEfAL1z/VTLV0trVJTQ8NsAxz7MMA35RbBDCIt4ev7kXHEGRjnrBcYBkf0AO8asbDiY5FCni76RIw06y3obTutOvc7ohivxNsu4Gw09Mct9TvN4gY6q6R/W9bL6HJbJNYKeWKcAl4kT798eyQ9DJkpC49SSrqUoG1t8oanAZg+GRCFzdZfO7y5g4fZ97cYsRtYGp9BOAln9ui0CZEXqZlFB2k1NQdjinpPxh7z66tz3T9wN1AUztr3yOOPYvUeIMHgnUqlN0E6eUf4fo4aic4eT2/tWY70y98qL0dYuVXd8d/DsTpJP7u3j2hfElG0IqgPeA2R/Ix2+S/QEnrUFcizq6/jcBbMoYKtR5eq/Qi/VYsMl029+/UClfeQZXedg3cR2mN/eA8AMR2yGPjxN/Q3DX3U/NThUV7LC/lsu9LjB3XpPdkt4jxfIZTNHDJ/uY3VFsXmBG6skb9MhKqhAuvzj4NjIIWyEdW2AijJvI7H/nWRZqvf6XSmApUu5rH74pwqaDM6xOOKeBqA8ANNlGdI7/bY68MgXUSti0zOd/h1+g44HVIRO27T9B8N1swf86HblFJmtFEu2RddOh4xe2K9tig/Fq/F6DReFo5o++wU8oAjdQPTGJjs3W2RAm8//W/hX2h/A+xEF/wuMeFJHQ7kkt0n88Mx7fuoSBwUrkqStXok0RP0t4EK7S9CIJlUhvfz/th90oZDaT1JuxOWGlInt+ZQCVtU8FoaGdy1Z0MBS9N/w+nU3dl/8VK/PIYavvmVZ1frEEPKMlMzY4zURj4qWb+86k3atmMlWKJolC93bOaZzD5T7H/YI1NXGP/erbTGoDNbkX1+JZWvy6OCcC+vkUX8BsP+NRg1d4JeUxhuKcR87ER+Utc6rddfDvwnpLqym0UTkEsOOC7F+dypEJpIZXqGb4lj4hXT8oqMqJ/kr/zKtvTjFRkzZrlsNqV16j3orm1S1fs+C9FfVDcuGPjqFH9601LMzXoVU/dDRPy6uOiJYg0KQYL5DpZ84c2umZQMdnzX8jnpLg5BvM5hFLGaAr1hClB6bUEu1oTT8WVWA1khnbtcwdHDcZCYaPJJLhaXdDBiLolvRhU94s3ijRsjvh+NJM6Al5qFy05UoG0VTrC6mckuJSh7Oo1LcssxL73YOgA0S3p/c3H1gt5n9fAVAucMOeUu03/QA9dwZw3BascnP/GDtQ95KDiSK9ZSEciaA2rgeMBZqfkXdVViWCSrVSdUXsVa3H/xjAIZSWUWSEr3Lly8sMtBrPAc2HL82M8zOMSHYo82bkd9oQl6E7OnDIRRVnR9aabE7vW7WB7iY/gJbeCDp87sfsQT8isD57B1b1i38DCbmINWtSsB/0UE0sf5htK9Qi/kreDuaq4nJ32K15AgtRjYEuH3mgU2MWkuf+4yca+1ZuxWDXiLybNbVzBsH2Frh7Qa8wn6NstLFXk3k+RHIFkYX5bmjIqJ7zGFZMntOkRuO3fLNYbPJnVUCWrzNQrZ5FFEsl2IqCLbobWiSae8wiatNjHbhGELbpbkD+SylfJ681WDzB93MQVbbC8fPOuzpzv5ZABYK3vYjEuGv7zxARlxcLZzDsNKJ0KjbHvcUL2b0G/nemKmfxf/klXAxToeycyq3Gc8HAuZcbY/Ic5gYYKV0YLuJzzuDFoVBAsk1S5MyADzdjXDA9/1jqkT6zlMXqySXv8EBkvxhCDzpbktwRZuOvOTGXLlVzmuw+t61Ki7BxGpr2AJpuVZxc+us5oYNFhckVsaVS/FP0jxGdOkHzBPOST5yhTtE5fnzbaMxHuj8vXezBc0QCk+ykNUZ+Bwov8Ar1lLTYpC8086kEYsGeUH887pCCefweXNxRaUHHv8AcKhJdblGD0V8fR7OM/vtXF4DSFMMwsXMSfMopeoaQtfNJSUAGExPCyWB/S68F6LbMmHbL50SfNFLji7dpyRpvi4DWTEvMilKWB09OJ161455J/Bhlc0jQTeqYWaEfq9hPLgJI5t/cspt0+REHDFtJ7ELDv4r9UAuu1UvnV3nFmvxl/UJLccD46ckrMxloCPUrPE3+oOu8bw8e8LIIOTA5dyu3dXwxAee5AjQnqz1Q0a1tyzC+AU8xQjYMzP9InWa36EnlfPqMFjG1rW6sTmF6raJjBc0ok9Q8w5CqZNUHcgqM/693yRfKKV1meLtA1LVXb7CV0OmR44xKPsC7zt/pJUQfqBs0mIryQJza21/1/KdDYexFoI+9GKhDtBJcZnBxRhB/jABPQnOBCv3RwGKU5lKGh1tOwVYjeuRUEbTl4eEyebpXe5LRINfj9ZzpE41ZfFBezKv9qogh+my2Hjl19Z5+5ZQkhsYRe8CI68ajaUzpk5TWrt4S6Ei6CbuaxVAgTAlH53c/InZdv3Xg5u93BJ9oIirV0TgrQEorxNIt1lyl7eYIakZUofd1FKHo/PzCqL5mbzbgNELvxDA9aFpvcKTuYt9ob4zjkW8UuD7DbUTROAAEhMoEzHIr8Rx0aW6a6Ckp7FNXswG/KmLl6crSAWix/Lnx61VlzF4kZOgHAuC8x+3Gyw0GszAZpMsdJInYNNOXLwSb611rgM9IOr3RhisFuxO2Gky8G62VKvEWEy9Twn459DD776/aAtggbT7F7mLyMlGVW45iso+MxC/SS2R8tKwf1AvfyD38bwBxz9Fuuug2cA53ZzAKRfIeaUNSQBHxJSfp+/O0F3jt+6N5vFUPdiybjCbeQRNrxPecLdPJcA97LVQu1zI7icp5lZbr8wDU7AFe9XkCwsQ4umV1+IdUQfBUIKlz1NhfcYoE9efzP8Yf+fcw0hoHbHoUMnj9RTrTAbB+A1fIGdHuNqCDDvr5keFJu5BbHZwwJJTZg3bVs2oqJQB2hrz5w8LSn32kpQeqlMyirVxdKy/MW2XFowTWFKtE8VB8O0WARPeqham4xsd4vQyCameXkZTZox2ZMePdpPHt6kmzRLp4Rh32B9oZ6Wy9glnO9qXmIvkhG0LTptfNTfcC+RYkM0DHdEOW8rgqPSCfDZoVSmGPfsc6VDFNlkRMrG2laqQ7OUdapmNbF9Uje+1P5NlBR1OrQTycYITpmIJFT3dFad5Jswu1pJDDPArs/5P3AleKQTXn4qAZ3jfewvW9/deOm8GUlwBg6Nro9Y5j4NPvhzj+fXSIR5lP5kgjoVHMZs6fXL/7GuxQqVkRbFm0MK1TIIS+xuPMxEua+IB9eVddNANHjnT+qlZaOZtHQUpOx88rVO+0nTmEYlxUyjnyigB7LmeVn1k8WzaYFubgx4f7FPo2gfHJFjgef7zuxpz1MBIxCUsxfivojTairbHd8cuAkWU4YNVABDyZhzwS1h1ol2lDvx1A8WO9YcAA4PpYtRXe246lJLPKq1JdN1DfGvBtXiQ6Mh3kcjBErgve3i0O9d1ZP8hBWAzHlsZvAVU4/bVmoPfoUxd41UAUDh37F5AtA+ey1p4KEnLSEm119yFCNqymZtVIeAVXbQ6ygSOv+n9LGold3BWrJEkZePBh8VSRDcYacarCRLPCzrf1T2mCUoS6jwvFeYb51ivPhfUwfjpBdh5x62ZZ9n0nSmx9tHeZ3Ct35m4NGKLPisB6OZwfj0gxSlVnr9jbgGSkKBUxt41AXy1CMv67JKvIixwB3lc574Dq/+wJGpCnzBTOD1QUVmLzojgevkGtrD8bk81LU/gO+vuEKzmBv7hZM7KriQv2HuiJYMqEU2CpTYyWXmfKu2ezcJzk1MCMCgfCJ5MvdlAbcVqIKz7Bw2oVdJfURiO3/Mq50B3nN5CxMIm5Fb3vDjc9nyXwo14ZsWZjaXfZ+VXFGb6KIiuV/pOYZV3OsVwl7j8R45Czrl39nR2lhAZHKnWRiD4f29u3CChAFzH8eXfWQXaRs8gI2Bq5Hx3cnDy/V3cSPaKt3+G8Xt6zTtIaO9LC9g3lWn/4QUk18gw5Pqo258Okrj8k6Id4+q8In7IYMg9P+ogmJOaxSEWSRm9gYdcAi0w2OQeHTEZSFXa4ZyhyH0+8LnAatcEGqDbw8kiCgxZX/HERZVjgdLEMeF7EmLyuKKgZQHSyJkeLMJTNieqpxrmViLihUzgXZnm/ll4ffryh7T+YaeRXR5u2kQ7Ghd7eNvja0iCehaGaVdEEqtrOV4pUkzLiiTInwkqB8fTlol59OAYjruShfa0xnKw2s+uiWGH8Q5ZvOuLNUP7D1txHD/FUsgU1t0DXDzSAfSfIvQ2aUZpe+OvWqMdmnnlVOZbpWaQtUcIk9X075662lxavkQY+UC9YgJqLPICEK3OEOheogxPX4CGDLJNwTrWrak+SlHbrWhIzF0EuOjyVHOThPWZnEcLnu9grDiTOIFE6JiZcYB2FSRhL8Np0WkthN5Om/uF5RwM9+wbp2TAn6Kdq6CFbSj0A2uLhVFdhcxHKfvqmsVvDc9avM0GnPKDtgoBEZBoenu8fUYJx5NQ5lwGrxMAiJR80GzSrEQ2Nix7EriAbZeQOSmYgNK8eLScDQunnWNvlVmo+q5RjRBpqfuXbiZ/21jqcBmhJrnbDSwD4doFBEFBfYoo/clyTXhBfJyMBSdyaxKkT5/imjSRUTFn6FqBeEqs/ScuuBJhStew1HxmriLqvm/EzCvNv9YjP3UvKBYU45eB0e2KDAIk8wBcFrljbvv74epTqLPaODvD+6A+AcDDCwo62HtdX183c8/UXxjnye4sb6TtcsjA6wsWmaXCDN9oMDsBLKqqb6Wj9AHI68rDpL9p3LPXC9KpTPkYIzDYgmvUkTXrScm9oSIy5lBYymrQLz7Q1TD7fZ9RfV+RaFwJ5Nem5Ksfp2OWLAgLLiCC7J2zzdWuPBcx+xcpu5ewnL1CqxYsqYEBBaqJnmKffCzcfAsEYspXR6ap90oMp7jkYM7Nnc39skjNF46PRNFA/TCu+0nFp3ce1BObery58ASPqrEAE3+i87mKtJftR1Yy0UssZMc/fzrIQn/ANKTRtoV7dUJsoujMRHTMmw9gRrZ5RbeS81DYJx6zh4h4Vzl30marcMWYmT5rqBwyzw9QI5BjhySFW5Amen3JcaeNH8VOuJt905Aa1Gz0032K3QE438XiS5dTkmviMR9Rab0ZDevrpXO9lvOPaNKSHszKT575Zc1grC4YN49bRAnj/IAVfJhrsn4FhOb2bq0Rbo2WNGRYFApoc5Kr0DA1LOonEewQVk+GqmdSzIT6RXpnITyylHDUxEQUr+hePpbcT4VO+EqPkaIX9E6OFuTl8BMC42YE8MtW7FqqAsYNhMrdTCoztmcF9P2cH/KYQeaKLVVDSvuBlisZHY87rcXZzV2W9S4pMyqO8SA3izhT76c2zaDxliGz1p4FoBSxfmHxidqxwb93VKV8FVP59MOb3bfXKZYYVPzVZYHRDdzD2cJM13wjHJd4TfjeJMQBwTrhA55iJcbVCCbMuGgUOJaB+W6RCMU4KzNlQaLGL744RCM8GD51KTDJP0ukLk2yog5h9k8b86qVdrO4HECg+yaHXPhfXZHAnEjrZq3/LO1OEf0hUTTV06Lr0tEBCUn0rvU5/O9bUS0zx3sRQngdCPDgXPEJv6IgZRQH9x8rFVGzHDtPYI4QN+VNLrlsJ7jv6DuZ3T2NlZ46aBkbYriqHME1dG5qnUG9DrLXWQOmH3eDZQCgmVHruF4cSRGPcZ02VmDA86z0xCl55CkLbv/oTrlv38kMR53ixw4hMKrWfgaQdbZ6RLhhbNGyDZ7BJXPRJnwlH4JvjSIMF4zVT+UdUQgS32Lcv6w14B9F1/83axuHui9UbOAkO/iAxEwZ6RHvh7kLQlQtVhM25g7V8IoxrBK2sc4O8taRGxdxwIPrI3Imuoxh+zUPDKLq9/PpgOS9hHq9jfheW/W21WPwYZ6TG6oWhU+++LW60/nYAUxhKdkuxMT2qn7ArOSTDGaHnLqAZGfjifQUtZpf2QRDVzo/3Ym7udi6y9lFhgQvKTjaXe5WKPyOkrOeGI+ltB/yxn2/j3DIITZxHattxEvd0FeW4bd0xUDRGlpDjHu0I4y+I+D6AejnAtstoszifaehsKq+TZKh6ZSugHdzyUSp6TTvKJeEqP2swX2wrk4y6WfbyrNGWeh17EUGluVyLXc8EbmTtoM6vBlLeXhD+vYyROp3XOtqb0JE4yCjDb9QdrI5u2UDgwj93Y74txsMYnPtCQ9+4sM2d6hjDiMg/uLME4pFaj5TvTY/dHNyCh+JNnH1C+0KiDDBkiaVWuPU3Syr4y5Gdf7yMpNkerMTS0oqC1WgO7+ZQvPvsOkYW+a9KKO3VDZsWR6gh6SVtaqz/dpHi8bTGOS/vvjWQ1QHiZMAjFsfSR2ETjp+8EoqHeCEcnAtV5HXYv7jDdBQFKgchAtnkVA0OAr8Q662nYHwaiaE4ZVaRUBOFzscazuRMPgg/395tYHkSz1e9wYpzWzju62ZzPlNWVs/K4nY7zHAcK9R7Qn6Te8Ry146emNvQRwhlOQ9tolVGlHtyiDmDeEbpB+/O9Z6CuNwzlxVcNTBiZkO/Vuy+0BUh008EauouwQi6Y4NFoIHDPg0XgqW1OWs3aq91gYFQu2TK/l9TF+o5QMJW42dGQ5fbe/Z2Vgi9OCEE8HjXRNOqOmdkXGESjNsXsJhfOFzxHI2WjetTBB2hU028RrhVrjbBXeWwbptkSCAyP9IspmFgUlnLXpe+azxDCYsY4ew2WfDFuBCmzcysyGTiD+mni/mE3OuBqE+sFsWMRzIj+nQVVACxqMUNdFmjMdF+8aturfqcYvsiDwtSW9a1ceC7sbzJATsjkY33PehMwLhoLSRRsD3a3ct0cwma1aVTvuUwNe0XcR6QSbiu9PPrfg1LKDW6D5YirBUxcuK3l/v2YBQfKHtl0ivlpcsIEGA4+agL9GcoOcKzeddHm9qSfk0Nt6dDU2GIRK+hTO0JajffGSbYHe6FUN2xwWXzb8YwcqdabitVNbdqlDIIr7vG/NB+yMAVXpnNu2GaPrPu5OPSTf2aJeMhR+szqGrQy8GvEpLn8ECIit2debB3NEYgNzg2vK22/NMr2AucuZGhDbGAHBMkrqunA7ksR8BiayV0woODkYx7FUtLGW/R5gykSS7eDaepLwzeRDeYSOP+MrAqoOVOiFYR5nOs4DFZSXIHA1kVHwOzV2wES/BvwLYtrD1B8TYsBi4sI0GE2yVMpQpx+R+Oz6zGlo3ReBmZsqUwx+4t+il9zi368+AFalqZV4J0nExUmkgf2RHo0RR1XOyjaXlVVVebWSzZSY/drbavJ7qcbsoVMUYQTKaFmH4fVkkgix94ME1FlPuLwj+soZ07wEe3me+PTLXcMu5OZcNFyWmtfpKfkM2O9KVEjFj7Z6feYp3PjM36vAvqwbgoRY2ZExGNk7rNhTyfg3swL+0qsNc32BWQB9yQ008n51CoV2ef+gdL86EO3GicigdFrbIPopfvUrR79TZ7s84qgCefW77AO7utIs77dtH0jdQBb/rx3SAo8tS07RIpvivrrPe5enKwUsn5dJhy2Wv3lSm4a+DgCmnftHXLq97yJWPJ5vcd/Qi4RYgv4QLtmEnAGKv+shhyvh541qMVWXvru1/cXKvSTS9Cr1OgP3ChY4705H9qJDC2uVaTaLL8o8t5iADjbRpjJekq9I2v6fANs33gLgcsIMcRzv8yHD24dAO7rggcw4qM9nG1yz3jkyPkBV1ClX2ooSfQ3XmHaQtMQ4Oq4+v/QttCEMQ8bI16VXYUteydjUtoNbJZ4nqci+G1pJFaD2RBvlvj82mhhd7sJRHgT5gN8fE0p4rHuxsLx7M1wW2v8tEp5f8QZiaCclVH4gqnXcXeL2Q338ys6C4F64D9IBRt8TQX3jLs3Av/IAtRZ40PJD14/IUJ6Kiy3Z6OxjH3JusSuicEBfWJaCekNLppkQp7QyzC1IVaEVZEw3FnvS4Xt5Gc7K5zuc5KHKxHHaZsk5s71h8T4gYmkNwuZZrjrFVQKuJ/f6mwqnDz541TFQfxGFBMbH/57unIUgBEnjIQzLvp882EIJq5t+CFp8oRN+m+JMgSm2R1OVkjScCr3dmF1GzkjYp/7h3BI4dg72kT6CSanedagFtWeiOwdjmpzOcXhn+ycA1mEcHohj4Zhcznj6KTFfwInLNXmSKB0bfTEota2rtTyE90mOFHCQndNHAtgIFJBNTc7lQaCK9L7yaL+KtIC3Lw6gCuiremDiokOovX+mrm0nZeysGxxi0Y/1eWZs6IXjRnKj3NAPhT3q+z159NGqmDQoecKs2BISI6gOtBpCJvV5vtSnzQCoBSKk0zBK4bx0sG1/F17SvNXTeK2A71GXNzgGF4BvJ/RN60x/VIBj19P+UtLMoq6K+X2oEcBZ7C3ChhMlDIlwcdmcIayAYUmRdMlok6sMR8ytt6q7FUsMOf/JA0gZb4vLd54+vK1QE75PS0qVkgTiev2yN6JxSHPUdApwFYsfXPZ21RoKA9E89CV3LJVxAILy9I0LRkVDnpP8XYKH5S1cAKXGNaznlkTLE5+W3bLkw6oamJBqKt9csPenaZLllvjcXh0/tRHItRNWYjaQR+vMAYCc27Ncm8rnr7gjG2ZLSXf21l5E4KAaR2InECFaZIcK+cO4dPxhweRauKRpVS8YSphBp/Ls44Uuk3fj5S1RfXrDu++ZhSbix3oeyrAjS2um/lKZMDI3Gfqj2enOTx3MxGsaEyTfhllpUk8tm+MwHrcD1s+xMGWKOikLnBwo60uWu7Y+p9ZuGXDVudU8KiCzqWBE3uo5EM0T4Jsn7GZkFlu60ae2a6MWtzlquALVRR/lIZ+wQQ7Kn8/h1WKbEskK84ITynQSghG+o/wwiMQCCrg1zf+O8yue/wNWZq6JTKywYk8uFXoCZSh8KagOTWMk9p7blWQ+24PEeVbfooa/fPsK0vYnOWyMMNA9JiyV9AVBLq6hkJl2JbQrcuChpIKEJgPgN/cYH8t1T9RYXEwfsP/ntUpw/LJfctqZK2BBkkjgR+7IKOkBq9phSRYDQUqpUZeA9iGbhrd6YaUqDURbLUZm714mCGyo/San6JyUF257UFa3E80Di7Y3P8P02z3B1FT/kCMv13NBDd33d6vem+ouRngvZp4aUXueCEXg0kiR8j9irMBc55l3HzxhfR5m4cNsyy2fa3qrlpHUcOD6N9rIkYQbWsvE7SXhcr5HK3+l7XDwipi2kCBCJWi9Zv1Bq5sqSJcsxF4PQBAohA6ruzvrB8RsgllTRd2tBNooFOUrDXjM+QoK8qA5A5fl1GGWZJjjKWBDRsl1K6Eu982iFGxZkSKsRTbH6k0DheLX5PAIqre5oM2HYC8AC68E6n/vD8hrcj1+5vdJs6dB3Rh30RNedk1v8um+Obq+Mkn/H+nDNjlEpKuNravEA6iWCla6EwUH83MrmyL0sm1xjVy9A/w80rVGINTxxzdHCebHs/QPNyLX8GNksCepc6PtZu/UbhkTC+YicN3rc4B16OmO0+R5t8EcJcDicm3A8YU6tLVagamOyg1VRqCAVg0QAubzIH+Uc4Pl8+frXFSsF7Gz65b0TJZQ48Tmwz2hUmkf3lkgKrkj8Mi3K/z+OddQasZBWVFThKhCMKemJUYxuQocfqO2gBhCstsCoZrhd01BMhi6LsRCsWLdD7m57YX0Nb9ekKBPo1OntyKdxO/d16OB88m95rnGjbQIqeAL2ctQB4+1bST6z9WcYmqy7wrJHstmJkPsZCQnqYiyYeJqqVnij0XQHtliff7lvQTn6zkmoxzmRSLhY7XHMrldykIuARuH2xteZaJsugsGFJdUb+aa7b9RnslDGMmhaxVKFI1FUwGqnj2VXf1CHxcdOj6JTerzjwMRQeaeJcZgPWQmTJNI3lrKDEFfBcoOb3hy9H5qlXTuqfF65MeXEugdlzG5PMIAHyNEsb8psWv3Mf0Ax+yzyz7NHfMohQGSMU/jkrpDTWIZznDciw6keMYUrGaT+bSgV0Uj1Ru3dkwPH7M6nzNvL6l3JDaPjJs+laBV1rOl6eedY+ktqTDOrU9c/UnL955i4UiLAGfTLQLHpNHwIv+vCX1FFxwkMfzg8UX4OSK9Fsr3jMthZJFDfQlsg0MjOThF0ZqXwg9J/NfcEKdrY7yX2uf5gLBi5Cq/NVXN/rpOgHXna+k5cTtHQVtvQkVqte3rcnCxjESqOiQP2zH3zOFua8xXcMCYH1CgrLtmPhso0zqoeXmJB6hWtLn0q1vEnnNqwyLSrDPKoudOWLETMOeNMi93ugAETyRRdBa05ZTRde35d/Z+ieoM60OCO7cOdnw6y4cuvpRbd4bhjCZo9JOBqHwVbLB7FTXBjcD8UpgIaHecATa/dnvmKy4bmPjz1g5mIyPLFY0EX/y8qorkurYYDVG2IQ=="/>
  <p:tag name="MEKKOXMLTAGS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1"/>
  <p:tag name="BTFPLAYOUTENABLED" val="0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1"/>
  <p:tag name="BTFPLAYOUTENABLED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BTFPLAYOUTENABLED" val="1"/>
  <p:tag name="MEKKOXML1" val="4HooU0THZk28POP9trq+pbTvvzd/gcV8t56cq85kb3NDTsUhojRA0EsgEHHMH7oYP1SYpn09ysXVivguJdhTvfyVMsBLTGvcX7WPTor/CmWiWcfk2RmY+GE6Q6T90sFUr0lg9IPP9y8umrse/9AoLT5R0GKq+XM9pr/aTyOTf0wptcuHbHxeyqBm9svU01qeeEM1v0hpSHUgirOnAK/wusZqSFrEd0VGZNwglwcoUtdsxjAINgPj5e6KtV9P05XUB+6W39OQ5mTDih1N442J5f9DromPfjhZ1IWWThgWHYFgkt4bBCIf0Swgs2ijVYkNl2GZX1RFVxCyvPerFOenWg2Oc2lK+JzQLikfr/RwFYzISiBYeoSTUd4IuE8gzmh3ton2lRrL0iQopsY2C6U8GdG6NXahf/3/2rUhv1q05aqX8/pFTS0cEX5sV7FRm783uEA73m1jLxt5FItx8pO8OchjEGS9GTZcLGQzFQMq7oPGIcjENu6ztowJW9n4146ePzxJurn+7wclV53OqhaKbVCtD07evPqg0egWZ/JCmzZP8nTRD09+1dCpQdg77h/YTQrcE/C1MaqCRO4R3DXENRneXZ2Or36kFxy7wDHHozgN9YR51tuSOFmPUDkw6acv5mMcXwMt4baOs5dyJt/hcSmBXkM3x1zIaKcSdt8O5XqnTXvTnI8FiacBpN/r662mz3WTaab4FP0W6+6Blt2moW4sDAcPHaOfk+TdVnu0xfMd64i5Zo/UwrL1FtdhKsgBGZlOaGChTo+ycQuE1xhUNE3PzK/QuXY0/pH3J09ZTkU5kVbj/p2UBKG6JqVrdyFK8aSqJml8jpER/ZPglWzixydluvk7KfCOmk3n1kLrKxgS1MTwkSYo9GhtjhBMDI1HOlyWFBqitadfpfWfNn8ywzlu1p8PK2p5OaSnLIBPK/Y7yDs+7lgUfkD/qrE9saQwUvjz2zRkbPXpwwKgWjO0Oj8V2zyMtqAqecMP5ha3Sb4I7Mw/KuKPHce7qotoxSXb3PQP9fivv0VgHgv8Y83Z3A1fcTMNmahvUD9L+c4loLtX0bN7xndXZWEbaG6kN+SxQ467jKvhmVUdNdLfo/xalQj+c3+kIzB3gEzZq7f8mUF58A1MiiKe6FpOAWV1s5kk51xZHBCZVzH87d0LUgZvYnD3atRYbYzKJ26TXhRzyj+i7K6B0w27HU1gC9DKnVQCnn0eawCshYOoAtJpFh6+kQvmAVUpsSj4QbTNGSImBdeEhcicH0QiXxctFeqDaaSpG3V/i12m6sZPvEWZksUKiAsWaSeqm7ixzFKBzlTZMgN5XD7fY8mynVrS7sm+97Bv3Sqw0uc4ePko5XfV8/3jV81koYRjn+cDq/dkt7Y7quQWXqv0yq5zCS4Lw6Rw2+5N0C+JnxQJBCeDO0xJD2FErhjcR73z95aBlle9vMLCzrWflMLp2crHVE/wVtqB21BBlKxKFinRvwe1+8AkAldu77nxA+1ZfMDvlrlbXw5aZ4YQrRt8sq5b6NAcO2XgZGIM1d8RTcTlpFo+M/VmIE3ESiV4L3+LB64ycNVi3+hfQD2M5mGBisqfjoCeqGACxdaHuhb2p4LMVaB5qli1SRhmJ+9T5utdIH9shU4XAt3u3xTMOlfVUiKblExnHdjxZuRHV8dWZmf3WX50Coh9D5jIjhqj9IbC1B0LVSMwiQsQ1Wdiv8lKM+QFHVWbVlV+h+STDGCxUZB8HFQKESglkiud7/kfjzX6/f2zivOYk61vbNV/xambrJI9b43eaQTkqDatvkDrmhnT26nCfD9bJOs/ekr/9h0o8a0c+ZKo/IkKWE46uNrW1xAuyyhuWtrHWnOJEqyPj8tm0pIDRo7LFr/dYsnlUkytN1qJXCKcmyFXRM3lz1ft3CxtSaV0/oAOaLJwnC2zBGnC4ojG8UD7fzTzFvn7BINdzovS/7LUYp766wvSaxIniU+w8TPqnRbLD9YVNqQiQ+jr7EHG0Q3RpX/aVwhmoVuLYiFz/tVBYMWbbhRiWQUkg61/3kocTRynEdoupw8ZO/izeQJ/wXmTGmp//v7MSS9IUt2NiW00x8eMmTTDbmP24i+Tyz+q+BA0KmVJ+zO9aOa7zw0QmpRgZDVl6a8rIdhqmTZ6zfbxatajIHs1RDK7ruCnjs3gpLH8/2w7cJb5uMUMNa13Rgp7jDJQh7quna+cpp4IA/oJGUl432aixQ9m62gP/2ooICWWt07M9AYYBygLhwvE+e6M5tootQNFAbLM0lI01JXbWmb/gDztnbI/qamVlnYwRN3H7B5uhN48ruE5k3FG4a4jEzAnUz9cy0F39RyvZXDHuqhCP4w49PREbQcvbe3wDt8ngfUE3xXq78VT2Ktf8dtyun2O63/MTWkDDHv4fWT4VxLsGiXusCo9xbbXjlpru61KhgVhXRlUfzw2yPOJdoxARXWOMPJ/EYXTKv2OCEZ6WJBnPuc5+td6bmVtGykxlFfhljC0Rj4NLAs5R+3cqw1m+UWYO71Upbtm+qjrvOSGWvAaj61+yfb6J8jbRr0K2gqrQwcT2EdIuwbdkaXfCw2lFLOFw1Fom5dECaQcOkmVreaamL1VLrronZ4Zv4LSsNEcOCb+sjfLoJhuTcFe2sa8xybmaQAmC0uCfummT5FxWYPyvhrxIYjocpH6z4zcvu3Q2nzGb5/0Vg+dy5cNurXAggROLDzD2mElZRvarPfUw4/GteWvsrzGKSSVK5Z4vu8m0VYn5BIuh9Ta7jJ807P28RU7WCcAz6/mHXrnskDqEFYiwqpBotSbQRoAnMNBgdjpEJr7MuZfHBFXefGjhBnPCQqWmvjMz+uagA0EP7wy0r7lQL8L7dVLmiZOyG4PTzaLSx2c98y0vC0MtR7KbopyhoM2ccxLcAgP3Z5gAxtIrpPsxuK5rHQNOPkSFguqVU/POcsULxKS0v1LJ4RRcgU7tFY43tRqkeRigIVPIH7J9fndtnCK4Z8SvW16YqDGftBoXCZjGyLjSXCFqnDLS52PLeaSKFpxFRjWBfhvTJBWKT33LNAQxYzpOLgqZVbGOjeflxCK0u+IGehVbcMnBU4aEHu+sNZMnveLhoUNEq0kfVAq4exeZqdOOwTLZl8bWGsaSduzHUO0pCTv9bjcYInwIne8dwkb7cbuqUiDaY3xhnTBZuLhgQ5gVeMilSqJoe3Ah8QgBzkCTUm6RQF7X4avf51kaqO4rwnM6bYaTf+dit/r8C2Qgs7CH/udVtHO8MiK5CIGThIjkTln2le8Egex04QG29Ytc/d4/QxHlDJqHZRFTo4A5PtcBBeuNUKyYsZHqmIlXagQ1FjqE/w90+ep5vaVqVw8jVDtvgbKDSoHkhR8CXoYe+9xkifGW/NVW6v3dRn3TrU2dQWBPxVLFd4v1e6l1UmZob4sajlDIfX/uc3kBnRaV19Uq40L/xJD+UT3IRxIlHCdrjzSN6A1auv7QCpGQVBed6TEpaNc8LN6a3E3cUp9fJdG+xOXGOaAxFExEiFWMbYkiCRZnW/mEwYj1J3al9BRk62YXh8lnMdu4hnSiaxGapC0FoXBtdjpozU5Ipy04BluA3OR6oNbhi1a2s4nZYGMpX8uJMmmbWhK/PTDmCt6WhZbbTXBLAcbxsL7F0lZ2H3IADdlFrfKc4SKUtM+44ez53gXvqaN2ifbki16jUn84vWUWZiZjP1ZKyngvKHO4qkC2ZN+j12AjYLaSl01+K98LrZHW1r2Bi5NyRN+Xe+JGZNn9Rc4YyePt9geJZSVZT2BPU/HIcHk1TpAsLPMs+19U3T01LgW/IarRR901VJr9NUdk1H2ia5dukQa2WoxzxA1rltxtDLZNvG+Iz6/wCw/PlVOXRo4+W9bjEsfeofCIRj4srlW+0p5UeC/fLivaePJtER/dK+8sFVigeymV8Id1TKCf6/VpxUYQSqQ5lQcejt+j6f56CYx+hopyVqbpZAtMBuBsbqJfkqDtEjzW+0Lb8cmB7S+IccVwR17hjFEEhLAvoEfdFeGZdLImjs1hQSYB1qNDOu/cZwsUDUR76/PLEvdIJuxGJJp3+QIGa+8zLiP5KMNw0fHoWoPY9O1OvCDALnEQsHarzvfQbRVYzXuhH9gWBXGxlR1wSM3krJXgak2DuEoIgsN1qe0hakU7xyP6QgqDqww0LTAaWSqYxA2LEgmyvdj2+Gge2+rsL4GRQWEiM5IxJ1CUWFkozg0M3L84kcIRuPpPccArO6VbaiNTmm6dmp2LecMwk45plvRqiKT/jI0HhxXDgE8vYmqR8NwiAPGPR2HmhquerntqHTDYOVTqT+nWjlZNLTt+MUEYNKi1V/J2jAO7SEbIXleYP+r3C/xSACuqATXhXHb2pEWEV2eu2Y+4gsRmTOeXSjZThKMH/P1XSsZBJP+fxo4l/nxqf483CKUJK7V1gK88AmGVwOOsafdTerIc4msrIcRFxYsKC61p9wJKLt4Yahycxnkt/tHe5ZEmCWFyF+9hjCVAvZWiT8FFxslIwUn/cI1CAoNg/RGJskyIiiL5kOzeSJ1aYbeUV1goBPTt57uE9y6cFZu1ilSF6ffxxVINBqhfD3/HuqBr0iSJIpwWFnjLkyB4Z0FxFjqykGPB8ZCtyYvqkmCz5fQXcYAaqgpOGTuqHCPT6j1AJFFSvykwNNsaq2ESgRarndcS02TfK/dZSTNJLgdqMkWtNm5clDU/YrmzKpYp/massShZGjYG0cxWSzApKeoXfj7DdqTYtJsGrcLN6tRBjCn+rNjhXkxoQiafCL2R/1hQp8VUBln48Hp047QpzNpVgt1U0mEHOtF0Y4Wu7dmpixqoIgDZQ/xbpgtbNe31m5M7SXekVgGfF3IqKNBB9hkHu/rUgxUKTJ5/zA0oF2Puf6ekOuJ8mTxd/uRs89vp/0jHlXkRtALavcCCNuVPfDPXxdBANrmW8vdSDA3Wdq7tfNlvjj9hxoyMnS3lghDvCsJE1XIFIWiFQ3SSz1WwR1sKxQOJ1aKChrAcb28w3zY3P/Aok8uaTuJILDKdiMtW/m7JrB1KGwsXBzVS+EFUkecHNbzk5MfWccPNIrq/UrGpO69LRclyRqm38rr5v7y/n9glmDkr3Mq9k64Zm5crkKG9Kw9R+V2XKKMz+wpSXajoG1bN28qYdipfnfkJT/vHvSVzIakH62j5nG/K7b0mMeDLCKiuOwELEyCnwUJ4UtTam4A1FpjtipkH5fa63r8L6oyI6uwr6oivOq5/NF1xnJs5mbcUE/9M/9YLrYMWmZosMyhiOFeT000zDZ+VNPDAG+Q4D0bIZ3CwTh4J+CPNlCGoB70/8zW+8Q2DTpvRwD5eh1ZU0doXsKe/UPcFael8Ms+8d+UIQce4no862iPFFiXLXcGkqsQ6TSA0FxiN6Ps1G10CPMaUHhXEcn1L0a35vVgz7v2RfVqWrEOikufnWcmostcLp7yQJ9FNoozAnVWIi6hOrC0Km+MfzLTVpSGHaY/q/AYJO2cesVTjSmU768zNQkuvNTBKUDAOFoguRiGhFmZQlcQaQeLbk4HDTVA70v9GOFlmZX5Fa0xMhcer8a/efG7DzOqB1UiJmydXtSh8BiN0m65MBRhXyR9TF+j3tytrRom+xHnbzUALldOCMFCzzYamx0nQPO02zEczZ5Az5eWModCIjrUDCaDiu/R/UxHLxCd8AckEYfUzd50+yOpnlfQP6jfkRA/hmTgOo9PGSB6UdOi4oqiPB9zjpbWN81Mmt5/noDaAYGWG0oab061B5O26f5i0xfeaAUoPw97hLuhcUbfxvQQVJHCTrXwANP3UPen8/7wR4TptrhKng9rxFJHYrbv55x7jGE76ym87JWS9QDHylc/JMTG3mDf0tSpk6uVX1YAq5XWXHXsNQYyB6DjDqaoFZZ4ivV6bfkQb9IuOrLco78Fl+o5Nk7lglXcS3iQSsZws1PX0JXS2UrEOfTLVW4C0W/5R45jrFkNY8U2YL7Ltewjn6pS43Lcx8zByaPaNTHdkj70IrIne/JXJIFynK8oq5VgQ/3coQhZog/yVYSYPS2qMg107WfdZ3AbRre0orRtL8+4vkYzZlRhVVoD8Mu/ngxX5zckEWLNjzgEsIjXP6Dx71EeQ8fIjH72loYU7ajkrsqsRnNPfTQu68UL+bX2oWmavdRiPbRq5DxacbnAtAdT+wxSfD0UnwskfQuhUO3Ylx3xW2RLk5XAOhR28tKZ35mIkKy6Nb964hUyFjXNoF2nrZG5p3d9zpo1eirCfrf9cAHfcKCdc6WVVS/FZB+g7V4hk52MmOuiW1q2Mz3HwhQn7ZLMW/X6nwXB6tbDtuyxkHcDbAucWaYDyf5iAeOnlzYQCGs3ykh6qw+omiWX2nEH1zYWKphHGwUK7LSjZE3klblpQEmnbv5iq8uzohM4nd9RxgOWD4HEYlNviZgsZRRzwzSlZrMnB2Mk+ZlXhOukF6WlK6iuxTkH7goo3wzo+DZuV1FddF8FCuBdII8Q6vYgnEV0R9HhCQFCxDNL9hVDbM9283TX8253v8+YKetI2XPPGKeJ6nAxzG7c+VZoO2eybzQdrFO2TweT1TpTCEl4bFr76vvIz+XTI/myIwcKDOLW5u1jJwujEZqPIKY2CWB/Kkfgky1OmtOpkSzj9i532xtMSLqevml66727IjamEtJ1uKTfJTIEvChevAVw028gfwyXwIOfnmjPIoV1ba57wy4FTaKQufXoRyDpuURbUrDPHo877C9k+YF9mgryZfEWf4HZvklE/ysxUg4xRwxrns6Fke7Kl6MMnUT/4mb6zJwNdPszWEbqmPN/76cNWItcEZegYZSQ7y5IQ7REdIphXK//b+jfdk9WyObBj0XaOdkrHUZ13iec5SWZAH6/enaNvrh7R5aJ5OEMEGtvFHBrrS3tDaZzSBlR5MRU+odB2+fHRYbxIbmO6ax3jMxzVOHyW/PPe0fpX7Z7pYBXbr/1SlEXOVrcs75TOf7VL034/ukszSJXOJ0zLMd+C4+aPVtUin5/JZDgGmh4K1Dfu2FwLsQPMS25dqdjNOvErZXiO6gfsQIpqKAEGEpx07Ato2DG/H0obw2q1tHE2pc8rT+MaJEqqrzO1CdhhZm0J6YHjeAmZFbVyW9WRazWvfj3oFX39hK4qduPeCWtzspZ37iydAbA2JeKMiI6y99mmIQg8jpmvbO1AHuwehgZWMvHbHdNKVT2mLum5wGVLMvzwzc2E9HrE592C2TfZPwxcOv9gaSd4/JXST21Bq00Jl8/OSxnHdwzBSDABsPhRYrcqihjOCzEqklpcODtWrW1cMtJ8OstlfVEPWx2GuPzNWrwEOOJw8+jMPJMY/9IyDlgZtn17d1TTjEnBd9lXmMTRP8M3JL2P9nJR4Af0VFq+qZzFjDFmmOubFd3PIbsYBgr5hZqTG+6ea+ZqgfMRrey5pQUWyqh2z15HoGUnW8xPiWQe3X224GpxAw/1978kphpsAv6Hktm2GrhLJ9F2v37alfsUoj4CjHUjZtGeOslYbBxmTANtgJPlG70RHzKqA4cbZLI1rkYBY+tnkh4RFRKjCadAYRc42zOri+p6iu0Yk22RRpDVtg/dkpiEXAoXKe1qThZonDg36HHiOp1hGWNiCMHuVJMoge5PD9MRiWv3wRNqjJSdnTLaC40WfCrCk93nJ+SQeV5F5WD4ck2vm/V55cFdLKXAvc3LrisX2rFMct5PW3DbHaYH5fODKRgLlHiOOtgoKSE7CadNFyS+lTLUnDSmx4fcP5YDeyamof25KxY+HLyZ4GkligYKO2WU3Kkg8zyCc5Ygx/ioPUc2kfElbDUgFSKgAPJQ9IUyN7QGxdj3v7Y5IU/jLlprykzuo6bEiCnYQLwIomFaaqktnLlgNSUALwZ94Au7+mCJRF1YCV65rz7RXkBn0rEwINKLvWa6sCCE5Gc2ZTaXG1JXnJ3RgTrn8eiu28HTDXO3pqyg694GaBBRKTifwcgStMO/X9Ck7tjkh3toLXHiRifNWvBfr5i5RTWRAn8hJ0gFWuxOFhjSGYvSFzf1BkrnhhP+Di3pXRK54ysznzsUcZ3XYW0KoXWSXlkPt2QEGbvj878CHCHCoyTcPVj8KB3WEqOXGa+lUrRylfHUjUzEwTyT+ylOV47c7CmmahQzwFrKWlYzgp5xShxioeyNECgvUIHujgEXmZ2oyhFl/zxiCPEG1JOpWlvfDxhks+G95PIJ6zBBblCmCO+NGl6hZgW4hRUchFzsZEevl2LPRhKyEvERx6MbJ1FiWGV+zRa8PT1qQZ5jQofd9kgQlqGkdJm46zsI5Fymz24LbBAfvgz04IsUfQSosugVSKoyXBphsf24B/zl2TLJ9Zg175KTD6YpCYyONTdPSI3iL5bYJDgwl6UkF2rQsxRCnbrohvv/hRiBnrou1xbqYC5fvZ8Dv/nCS+ugMvqHPRXhTE7ALgp97rGpuChqswH205aGHFwBTSLOBiJW5cqsN2+GvBQG0S1hpSQFPj00dO5Rmkpvu7+Ix2s6iFUGAQyvAS4c+7J6zKApyrg4zCmlEf95JVgVF1fCZNynGF6Rn1qm3UcjLQA9KClEA7GAJmtooUntJcbNEIpalXETNp6d9jmzuxTL9BMderRClFgL8uhOvtBOpPsYCtETQ+osBWkbfUrq3wBgBnhoaYmGs7sBLPaqqALgqHkHjbTwT1Ww1f/ds2P01H/q6f3Act5AZZoaMQdN4qKs0aGoIWCx/bLlagqjtChKLC+0FTTSA2EKeqoAQgRz8iFgstXoaVaEx2tMulPTfUzAMS4UR5DURlVo1M3WmFL6a81GFPFrdNweD9o7ssGvKnyfN85T37IpZATDF3GwihKL1BGPTatgbeRNXL8x/xHtZeXxy5SlOjxlUYwmHWJurMXx2NCT+Oo1T00TvIOyDbnYHsNzzyIAYyJOA45Yx6KUnZZjK6BsUhlUyCXS7ZTO7Xd0woEitZtb8dcrfskgaM4jlqo8P07wvJ3OXZ78znKWjrLUOucFzGyu7jb8mcROAIAYfFN/ioH5ycot/yIpmt0unB328PowcEpUXNKRZ7mRI42FK/4trgMztpSxeNBE57Sf8Vp5p5lt8drUU/5qu8PDUNg5xljFYUyKn85fkGvaqPCUQomv4o5O8dyrvjGHZQSsQmPRG7lDpvlS5loUxaG4GarimXmYt9p+/rEWBTidQTs2PUNOFfHbmLRC7u6GggIF37UkxohiwDY7ho+11iGceHsS0CRAFHPiiGyysCD39UGLLf9kc2ZAjfztspGvOTEsXIfbNUxFegbVRmLZFBBFV23Y1Vh1+99OkC21WgLpUStKGc0PFlXp8pWt5ayKpxcLsmcWVpFODQM79YWdSTJM1hAnK2+nQSGlRPhm/ChNjWjVjKyB3Q3EFHSf3iD6hjJsNcjgvtfpB9fu8CxVm+y/OcOJTV8rlemLkpVWE0AZ/yIbu2QtWXg8DpBEEAXCUi8kOC/Xs0Bs/yC3hz1SyGWEYOD1Vvm4JD9Ge9H4BHwOM6erMZknIUU3lbTO0IpTXDM2jeogvV9OvWvPD5A77qbXOP0NgOrIgUZJSj6RxO/s2oblSDzi1NVHkVK7l6Cz+aVXm0JsU6IktZztrbr1D0+hXTWV8ebT+nMgdRexzUPGB/6ElWMC1jzt7gNk4ZfyWCH2zf+rF1HO5harRrlF1wldW32ZfQqbUqM54tXoyb9e7xcu6Y4IUeFFDhup3Wd/M9QY5Fldl4qE2FUtVg6m09C8/HDAQIDsqz3fKY2l7aeLo9v8dnAWqGi8qfNxDR4Uh8f0bSecslLwG/y6gGPzXxFh+pR5VZvrEr8Ukzr/1B46yRQvqXzmmJUcQfMfU/eO6PokheC+F0IHtDjOh/vfAevpUvUoU85fu5mD9ZJgg3pqGhvCoiuyzVPzVtOsh4ToaDkxYsdmUqKosl9phoQUthaLcZj+aIpcW5J3gsuE0SoiyNUQJt0d+jFv4mYj/+RUdulb92JKvFSI/5ryREXEFHYcWr4qmEzgwPIxSz6o9zsttUvCo7stpkCFGrIBxcVgXfAM5OV8ffhWwyb5yd0GcJhN4yOWe/a/pgFaFUdHJoXpCVmNn89VLJr6HshBEQdaJwn4ycfu5lpBxCOJq1Skn2xQJQsMmrICVOwvz60CvYlLH+I2G+7wbMWEVL9OPu3RzNm+HtyumVXr0BqKRRrq5Vz64HtDDZNdFCT8JUyQVL+vxVYJA+KvuEpEqT2IVuSwxXU/KV16NdA5BOwwy5KVIUSa4wkBGucE/ROo+1cdxkPbVXdPRprUajooHoRkARv7xFNSbEQnyy9XAI6TEogCnV63DX7eqkpr1M/+uNnv4ypgNSGKT+mPn6o7ds1kSzvxwGbz0pSGRp/DpbL0q/gFyJmsXBgNELKD/OpWQHKT0Xx3AGEo2Yg+w2fSjyx+nj3XQ2UWaRmKyj0kwnzSbjrKb7mY1k/GDYS3C/po7FukRPCwdcB0JY1uNM4njlh4/LECKzxKZaXulIF2JjHx2VeTXO+q2ZMd4Vlq/hLHJBK3/C9P5k4rlIFWB6stL6JxUJRV52MyhkGDxoi9h5vHCKe8nmTpHk8YHyDkD2OI9IQCYv1OgLk93FWdc/UzLrWiPs5a5UsZuiEEF7a9IHEcYKtRJYVcloK5FVcvjqSguu77rICjuWABfniaRJXXhRXlhAmgroJO87x6yDFSNbe1QAntHSK5S0w0L/nPHEScxkutqsGCJjdQk4NExmYBLDKLDbygideA/SSkHO0lVvERPCKCMDK2tn5MfkPv0DYEtQ1YOLr9wWM7jS5D5w0qVsilqf4dLxJTVDUiQ4bXF+ciL2j6LV8VHg1ohMPHYkufc9wbHZDq1Ea9KjClrmbuKR6n0ZIjS+PjdZQEOfMuyGuGLL/WzAI9tGI5gqDVqBPHt9HvRBG/3eb2NWWslZZzqrr0oxtDMy+p5tcXz7Roa1vpzMtBIIITwpEkTYFmysYyE1DKbPB/OW6F5ir3n+Dzga4TDIfI3DejBICDUWhNKq8Q+UnfT5yEgivKG0LA9z+VgMSRgNYdr7YRcjXTIpOqLVNml3wEdo18H1QxdUvVTT0tJTsYm+iEKK2mHH5UNtFQSvmehS9Bnck0/6Do2t2yl8+Wo8xtbzZuxdsAdenC95DXa/jY1cYycYF5p+r9lynftMClNHJGACxYalT6/AsOJUh6TCvB8OjgzQ+WddB1To0wW+JfgagaPc+WKdiLnkaRbeE8AHfoai9gaSqABMRRPXw+M71dND6Us1jDXbS+zLTVYvDAiUtYwJUifKbR6bB+Wj5BFKUYqIZL+b9+boJk0bh1E4CV2Hj/j7iW6/N45PeGZf57HDfTJz/eI0bUJx15rbOcW5s6AffQ670UHv7rqvzCrCKVgF+lnF5i3uX8yrnxLU3OP25kX6EZuc4PnTtIyDm6KaOiOWzb3bgOeXA4kgF0vGwnP2800KGObQTsgA3MXKfvo8v3RjEPQ/hvCgNlesP+VpXZvSCQf1NWTfOZjA6U5KxMzwyUMsJTsueELRsjC0KiimRo4PzrDo8avrgZmMrdK8nWlxZsxvpYIX+cca4frdde15up2+uSXrUZm7lpJUKZlF0FCd5boueWjuWc2Y+qKxvwSe9HJA9Tpsb+Ku3S2DlYywvPrGi/OHiVT1muULOKN/KyXQSu2+SLd8Nr4AQfviyKV4lJNmCV6n07ENF1U7eEZJgSF9z/ow66VpUx7WijrfdNlOc6AuoSCoS5ccfxy9zVtlJC0bxWrmMuJ2CrG89D2yfpQ8WGaFijIhsj0wYup416LOsLqeVU4T6szLK9mAZmIwPzrwiOApWtI43NztL9eDzR4+LYIMSFrk4r2jgFcuTE7tY83iCZI/hCOALUXJMV/PLoYk4j9BPvEGDF1JK3ncB/FhU/OcC9jmus4KmRASC/CPlUvJIBYCVy3XM1+oE9H1geiA+fCWo2V7MOJSit6ZN/Yh76s0CS53U65Sf0T5c58OUi6FbkeE8+AttafQ3KIggmdKYSXSV6NAyQipnafP5/2/heJVucjDdIsFvwfzka/fUJNwpxBD7x/a7Dw/cWxfBgiNDbhEyz4pHjX36v7acv508Pa1mPTKGj+s8Agu74CAlOorp0Dh67bXyEPWhx5VorNcV6KKW/nYZTiq7P9U86/uYGog6N885KGZuwWTdZsM/KaH3aR8GBH3rNtbn+19QlpO5VE7HcPzHkxV+Oma69g87pcfM2oiv4gMbtbC6n1cnFLLSoxrJTkvox/sRFyHqibDmnGLKfG+2W35YdRR6KJhsMx95O88CipsQ4uMmcLUnBpDT1+YBHMDMmuaEbAkhoMlBMNZ8btprfYMv3xGMVeQ1tqbe5+kCu2W0m9NTw8U6jhbhL38js+CZWKMlrc+UsdjdXRXs3mgRkEQ4F4QDEceCeNhm3j4Bo5E2OLQMqkjhutet37RwSlHabHMWf2dtxbKdVV0lioLx4ESBbMZ+hjpisU8+3dU2et8/1n24yDUCXI7sEaMAABXY0G0+lAz/rT7xcQV1XZoiGUPd6rXZvDhtLOgnXGM1xm5ZWvn1pZKNCwKtkEp/5QAzbEQuGRtUNUSTo1tecPNGnCQn8B6Qn6xM7+4R1ihId9Fmei5XIWniKrtdhRC2TGZnhFrrIO83ehnQJNF+AnCKFBTjG8p6WjvsuA+utm1Yi7k+zOXfjt+s8zLCrLTAqNDHbxe3gYPqFWjOWXuMgCCpfO4yRr0sZQ9YyucQuNEGVso5+bUdFoaHFfJH6v5DOkVL0xoNlGJmAB2eJM8iLXZnpbBZfe+3AZ/2HprpHpsqHtvJbI6Jmarc9fYCZYVC3Q+lVCToRw0y/gkoquRdBEBty2+TkQ/ykjU87fSnTvRtJ7JfAkOmsFmRRTNXyP4kKyfk0lPKIKaKEzZg4soD0RN3upnuKY1M5DZAPL7jF+6tXr9LmlUiDX0QYAz6VZ4US+vm+hMeP3IlwtKfG4hyXgidRsFr07Alsmn271B2g4OCUIQsZ8T0OG9ITC2ml1YPJM1T5+QPYhfDMzZOWeOg6MSlQslL2EvuDzQ/YHr0WSgEiQ6f6snOEvoo7oZBquTRgok6LP07gPOp84XG09Spw+izoIhTV6PRLStnTIjf5gHGlUX15W2HuaoxuK6lY5nc12eWCWL83E6G/dOlKWwodR9EhRV42tK3BfF3vJnaQ4g8wRggclI0FoqBKc9SX0YqCY8g8XyxDDrIKTspkPv5ZpXXuLe4Nt5lfnN6xCHp4uqYrA4OyQyNixLeWMFyLMWUJ0oxHtgcuZoL+Bscb3YofYRN/4YUPszoe3MHzQYePamFhqEpgFWZD1N4HUWQzI/rR8ErlqiHyE6FgNQMOThv4MMFuooG/zXq8iVT+ga4KujJyL/PLXusMkF/u2web4sIwvkPdmJh4GmaGHMOW8rtyKMc2VVUxu8lLO0Yv0pD3B1Vu7WvcRQ2pPVEmJ4D+psjsG/hTiimDOnK/UMhC/gbk7kB4o8g1HtgzczjFNUOSeUH4OEjtmDwsPAA3FilPyk6YOpcrt1Z1yIvzKyIkR4+o9HcLmab3AXnWDtzIfl1uRsVTrpTt1bCe7jv1+0EfUmrd2mY7mhIONz+gm8g+ZdmhLI0jfUsy//zroFkqL2dlitmcpbqLZcxAu2O7+TkkT3Aha662NEsaSU2eqPdP0yXsFMHDSY59lGZDy8vhYABXyLYiUaoWXPaS1M5Ga8OVglX0D1am+ENrlkcabPTQ5vyzKJmGsUeWi6SOOKohYS/0pcnnbHE7r6yHTvxGzbHgDRN0124gQFLJ79Z5EaOipJBVxq6v6E3Fo0a8UC3k0nT+2yGfnlvu3/4aN/4REd39sgiCcwG5Jp9hpiD1QM5+4FXjYo5jdesWRt0wDoeAhQu+MFA8Z8mBGZejeuH/7C0e4tvR1c8F/CNeStDavhHOPss15jyNK29EVeuuzn5KH+U57lU9YsqfRfTSzEwncHFlObqk0VluPYTiZBINz/O1Gym5wey9uzWvQcBR9dPKL6BrBReEniCGUBye/G4ecgXuaIZqmA0ZJ8ZoMiJbA7+LBq0rR8nraiw+YRJYiqCdZyawBDL5ozoQuHolcTI19YEVZSymBd3EEyI3HNBXcQgdYW6iIVJuEqPwx+SwuBHf5dEdVLOnddso+lh9IAteUVg05+LstqvZWvnzgjIqoR99F9nFDTDgVxBo79te8EVxMwLADgytRlnMPBUjLIcnV1CDvXzO3iqF2+8nQmD92mqLlJ+3ee+QkitR/VOhezvY5EYJqNiqSqiAVV5s/PwN0epismsmA72LxRIR5tCb2r60+9vsFDz8Csi9glwlLa8d5YpKRixtXYc/h/MwdoFv1/YyVDrwI1ZDDJmbI4UImRJXzBVtDgvd4Sv4pIHzCwhhG5P+RAHAIz3DczVl9WRcBJMEgfcqLpXq6X8fefjxM0LJc5yxuI2SU9oMRwvYXzeoA0k2hPzDnEGYd6cDUB06fmZpx256MbfEXO8A/ATFdzz1OW2dc4DpmKnjZWAwQ231AIHTvra/HMeA6ejcHPh+yh7el3SY8n5NbnZBhFT3Q81FrL0iSGtbV0G+hFxrKNxZmon/n2nF1uurE2KT00/BZwop11yK/ZXcosx4mC1RYUR0JZv6oDU86B/BNWZgbUfwTAWNupDLU3tkEu7Cz6KACtYDk+6TIs4COAcYlw82sCu9N93AX4McP1xxGN0lnZE0MthkhiWSehIPo1Ps4KQN0LXj/PDuH0mPXguxCpTnvpucrZZ+N0NWNFIV4zeZ38lIzFllx+2lFrJYwjxcHTnKeJd0e/JwE6JuOVbNikt1XdT5UbnLx1iv8Tn6lswoJKvRp//LLDsQ1uAujpe8X39FsuwmnVNeW165TuhAXtiTpnt5QxjjacapxPAw5U0q2gEK03fvOZ5Sc4UQd4EYCUWOKyfoKP0C9k5y2rQ59R5JlE0WkD5Gg1mMVzmNi1McqTjWJ7nCIOkTXxyZF6MWANpMctkSWeWFrIwxWykm7LzmlLqXGZ7TVjFD6Rk0HpjS+b+CCtqaUF3DlMjpgAyZl0zcfqe+znRHKRm1NGqo6zr50ittj4GcniLWxty7gcsxJNUnNeGHReiX/3Knefbcnc5n8nN3XllUDBIa4USXh9N4gi8AQ+o+BoPBfW/4PdYnRTSihBwkDNF6C95u48PFXQ4PqFTon1cPjg5AgMWWA/e2snW9N/MkTDvZ75pQ+UQetWEocjZcN+IafYp6203jehrK3Cv2EiS4yWOvydBT3VI03yxMWR2nHZXt1RCaXtrLTDZBq5IoDgQHOjcqpg5flLdn4zTnA8nyilRgwsYDg5oDHCPv7TYstslPRWa5QCPYa3qYn49Zz0OjVZSfGZa4KRZBzwjjvkBj1PpvAUTZSu+ou9FXq2EYm9TmGrMSWSLc+N7/kiJkvBzq95ZBFvQ458side19llLQYNbBgoIJPK4/EgCWPIhqPdNX4Nw4CJ1IvXQTcChzDAfGBZqcWJuUeTOEKYsPE/I3lnB/sVTN27oHQKZHvKn8Yq0u83QIcxbHQWrk4Gn9JMJ4NOm0uvoZur6cVFCKMvOWBehOEXB1KTae/c4MAdtpZ+5Ahinj+LeQJt2w66Cx30k5q8+O03ipqnZU8usdkARVpfs8BYOPbGHWIDaGzCHomhfI15sGuZULHRVAORLlvFKlVrjG2qiKXLSlFpnFH9LVS6Ea7Z5CmON1Evlh8NlnvBKLuOWxXtavgVskY4lRq/tqRbKdkamK/sh1uFvc9SfjdgnYBcqOVmoekUcR3jnKCi9JARTlDoEiOzlXCu999Uujf7XvSPHfzoVI9Z9iyfxpl4sH84b/oSmEF2i4xtwBxrreTDO7RwJK9U9582vQUc1bvNu8T0YAWGxp/yHcN46UFo6UZ+aEwwzp3IOlhVTnP+I6WYFuV38jULkCZ8jwkC5pq7Uri8XAYxO5IN1nBxjLudzdMN+KSiNiDvXz18Y7VzL1hE9vOgWsMG8iWXnUD2AFPFEvqHT2tZXAfXIADaG13HNICH+K7t2NeOMl4gn9AVHUzz6WrcqlX4Ve9BAvfvxTyZtKf3yszjl4+V8ISGnUe++NtPgZs5EoJoW5H1siQoeFNA0JqfLWIrK73zFYZ/xapeBfXMY3KYyshnmUZDLLrpLDJR7xJbbclt3WyGec+7TixGE4aWq4myhwEoGd33KQL8acS1qLugzFHywqEE6OF9ochrGVxlT7mPPgDKZtx39Doj/qctZrO8M+kwusqELqMbrBD674wLYZxOcAP0bYolFj/JnPYdjxdiNFIlwW/e9K2iXl/S5aJQOuZXJKa5WO0dYnwQ3Mo0trKrxWT7XpFLmYEJnVF5EDMbcu/9vbgGSUdsiswxN0br38mI0ThPcIaVCKaVi8USbZ8LUMmMGypSWrctDNePvd7/1xv0Jf2r2HAzvhV3GeV7x4ifY4P7ZVzkFXx6xOq6GvrGJxORpxDzxH46JafQkWR4rCDQz42YeMI7xxS2Np1eMN4rHhjwO9XM9hM3wMLXBUc1tJBQXQrw4E9bcjwmYbgIlkhkK1nwQBGat0DGVKM5M84pvumL9mSjFsOWvtAbLmQuwv9i4X9xJz4W0hvL3mFiLVClwcjnZQt8hLatqY5F5erFsxRqH5W3fJvOAQjjHJIQf9UBY+sN2hmhvyp38a8SfoENzPNkCIJq3dZtIeV/lCMXGM/F2ZDu/LCEAi1CDm8/ZsIo++jwfd+m9kaDHplAdqgaMbNrca9Iu990DUjFEHiJPPFNLMZz+IWlOHtPS1GTgLOR6xdSwvBkT1aOx8+FvoWRaviCfny0qm8CycrL50Vi67JmOD/Zgxz+oQqMlZkRUfmcxh1yrBB9MwjRVv1P9EYfAUvDMq7Rj+rsNEDX6XEgehlfY4gA3fRqD4E9TbRSp9EKIlrIYXF/MdcHmu1nGnnq5Nf9zOIl150wIrz7aDIdLx57/NVzRmd2k3w5FZ40f6rOHmuAkmZatRaR8w/we1OUGk+sc6sedV5qW/+CFfMX5eVBAA48NCCHIag5xHuY7vcAiVxpuSppP4x5tkEjPP3rMEu1Jiioza31eRNtlpKo3yAlYCJqp9AuZCh4klSgWg8RmhOnHMK9cCHoH5tiGgbbRWb/hlp8Zl0gMC1RzsYl44Gv/e99KCSz14ZkM39GrQR4wjkoxdgBOoi0aecP8SfwmJbnjj7N53sW4gtmMumI0dNzH+xmNz84qzWYtPBc377JRlQd4hClcglNXRH4hG7lIA1ca8sVFGz0oCbUTXK0rrh76cu+AZvMjNPVPyLh4eZ1lWXFK/ZwV1kX7vW524TebOTV2DqEb9LquVRSTBGsr8cIUYaHCn4IimoFjMmd8mTlkaYuWeyl21RWg9lRMCe9MmiBdSOcMiCZeS1xHukYDumfxlBBLiOUdrJwxYBnozxpHrLU06zEye+mf06rsLIHrLFjXuKdJX9otnsW9mTc/6M28WpgABvfVERj68f+lstZ5RyC9DodM9xR11vkM29xgvC+cBrwKO4ihblcYBNClobuMzmvNcpI8Y9ipt7DmA+RY14Or7JJzDkk7eeQPIX08z/EMVhHVWmpyI5hwCauUCKA2K2QecxKeR9ODq7+u15p3MJoishXZ9K3o3PoAa0HBGHdYIHy16kvWrnTDYg6Fn1jmkIX9oxVqkwaJPZchG+TivQGt4ikknZTK9MhroeQf4aSKXUs1IjQowQeaG7IGviaPTxpwHGL6mHzQIxxEez+jYUzfcJzfQt/tSSuGNvf7dH9H9n2x92wpPe8ifzDay6D2+/qyWfDd/Bj992KsA9JlkXN+qEVs62tXmsikjCjKGVQpNiGsX6/Y/e5OL2O45u/HomuZvXe9nNU1i2TQqT8Yj8xVeqnOxEQZwXbPah9Af/BgbS/nA038a3KmRwtz6ZTuyGjfPyBbECym/JRy71MQD+UZGSIaqFjlQ2Urd7Frak9LAImHG98bANLZNabhPjgqjtMcz3jhvJoRYJCfQlgAjRBMMoNWVE29ksywnW7b5AN/tjePL2F9elPB5q1Xam+G2qV848paXCG8Ah+Qeb4GElQAg6cKyEK/mLV/fAk0sB6WVQmDPhVyOEtPMdMY/0R7VMTQLwss4YQHKSJvoP4QKiVuz0v7OYdRilmx4wrfvDFd486KBryEItV44CiFP7egtvGfHflxpaNtJZXiG+SRy5Kfa8DZtC7SvIVjtpDAG8vU/2WYgN1m5WQurDWzYf51GbF0mHZ0MFmkfvF8X4OQHqKz1bol06nockB/wbRcRFcddr49V4eIoDARWPoOEpd+iQ72BtkN9jMRXYiNn9PhSaCHFcKazZst9xNJeK6zQvnYf/ihPXo86NUk9NOEnGwz6eFNqi3cNuFRkAxEPrCuGG8H77kJFIWVW+Zf4mRNjE/ICdnWabT9HY2uyQpqhd4wW7Cn61yLeqAhiHmQreGEMSNv87lCEF3/EoAc++chpLv5Ql3KqsrkElCE79fvnSJV6GFFEFpYoyIWnnc6jvLt8UqK9OTiIRmLFvoyRvylBTN6aPGjLoeR1fYpR62Q+RrpW7NIWrXzB6E7WEEusH3ZBSkVl0z4qf2LitJ73oRA5yvPSMcDxfEeF3pZbWJenG7zI89AQpNwTKd7RzmUypNHPvbaSJ4vAykfXGlT1/ugOddaLWbTjv6L1U1FDXN77xNg4QLg9PJsWFstP56Pp6j2Akb3hgjMjVjbKHIM/Jq/1vz5WhIO206p7GM4qEMCtNiOjnKYymePJ/kzH6Dcw/AvO8qkWZCLPEB/eWL6HAxsu/kXJkmEeWHlPpCum8OuVGavkK73jBCGH6RMVsVxwl1B1ucxLhBqDnDMRuIBQNPdVxGS6aWUfQb0uiKy3qDY+Dx8Tzekb6D1/gJC+y6uku3nRzhH6xXXTGYQ1MmcFC4kNZWmPwfdw/ME+p6XmEywRrf5SCUBG6/ggVoWn6xDbUNSiQQ6olT/eu6Xlng0JDzq/DDzGICHlgDsOERSz8qvvTQcdgtUR5RGmSIYmS8NMLeHckacTWNpqd2pLjPtl9drXaro5urVE57+UE7L4b2xwMs2YtGQWxSaGSHv6Sxpd+0jtI51bP9Ok+DqPGHNWQKoRI9+q/voSB8OKOgEQL7BrKGkdfqedbQc3AAMUSIw+hZcMoHnSaueiDJ8eAXXhzF+AmQDnmSrlzFXzfXXdLx3LrWcjiiyklVZsQ1jDIhEio3SLlo8O3bqQOIOhFIUnSgfcd3TgabuobJp2pCQ75sm3QbNtYlmhqFVeJNHSYy0LbUk3/qOAwsuncs8G2/F3myDAzKbz1vEk8M1fIN/moSldJb4R30p0thG5JMi9l/Vq4mwkfzGBwtPwJOS4WBZhIS7482DxS8KHyqd2t4w8gwfXuvLh+2zC7jm9Gk2zk4KAZV9kR0yEc/NePnnvamgz0/lN5NE5D8Ah2flI2I4Q6/hAYKT3WvSTZ8uizR31MBdyD+Y9rZRiOVpaCvDcstlMdabc6CzE37tBw4bpic76T7W6Pa8+u16lj1GbBmlyPAiVfhmkfM5f36kT0I8WQZ/Yq86YZkW/bPVnbzT6FTA4uraU8800u0zHm3Zn2Du7gUFpFMIuRPsyjQIJ/n924j1VJbeydGB6JuXHhZY4ENxENlINQ4AQ83Lg7uCSp3/Bnf+UmglWmAWkLIb6Y6PWBdEjWlRNDIuW1Pqf+lWMhbpHCLhExawwTMCrjrJE7Gsuk6Nno2lmoeLZgXzrirezk/bKbvzs79+fc44O5DE/+DtLEHlJRBekkN8AjFE6PIhZgNzntnSRXA3iksOeXAz5JgOHyUrmkvPcBwSw7C+VdUhWgeFJRHWb05tzSPFf/d6M8oM1dmgc8ZXEctA3ktme50TohmfyfPbfOyf0NDG284qS/6JpEWyFVmTMY6Dw9VWixTdZXuRLGeQvW6pLhFinC8SkcH012lfts0BWsFUrE6z3zzcCJh/F2t1h397DyfeCYqrx4DBGK9y7aVBSViQhTP0GqQPk/X8XsF0zsAk9oMjEEAaGsHxNSCV3XI7ePAL42TjLrGuy8b+aJ/HfqXhOj/P+bAfj1a3MZCvHvz7w8UVaZmr5zZMJUuF/tUxp+tbbmnmK8oHUZHbNkvw28cGb2S0YqJWdRj1iYOaz4SnqYTtEXEu4hllyXoZhypeT7UGFtZLBlkUOgqz1TstKZdF3N+ifOp00gFvrXv/VFpFWjMi3wpXjK9cYFuH8SRmzOsofWJpDVwPXsWtMvD0su5NPeE92Zm3M/Q7IC6AoyaM0h9MBTRuCvT9RjRQK0iaeDXQHZEojXtfauXMkuPehmzduNMov7ttWTOgxJQs7o1dFqxgkicNzOej6X+UFYXaQtauBCtnWQXKaaww8sqkTJeCTLDqd+iYUifp6xdqmY3quN6+OYXrKUMsPFaeUWQhD4/GmhxbPUm1lBxciqMs7qLVtSIMmK833xSv/QMJJAiALzT1nBih/MQ3Zi/T7J4SiB/V9LOMIt3rdcvxYfZfnXeUU+EWBf9uXvJBCIsEdJRMHaZ+zV9TbfLZ+8Hgp8znOoikWNIR6ZtsjgbZvEgLtNJaI5QVItFxbPMmwglsiDUfiW5VynZlJ3+eOtm/e4oKqhj/g8TRcwH9wMp23x56ftHxktgrTQsfaYvpJPSXs/XK4PZYUsXwYu1HvhtYELEWvSJUmBSrod+4hW2WHT95IyQ+0Jo8rGVVJdB2ys2QdZ/sgiCw0bL7wkLuHHdZUFpmr1/XD1/0IwT3S7JCr4gRU2G7KfbsdQIP4b+FLYTvcK9wtdEChpb5ewxNyhsFIcezUrfjUjK8e5ZFFj2SgAjwIPxfebVYoB066NfBqqeXsoh8hN/qDHqHzTqC5miZufkp3o/l/z/fGGWK+N6jhY3W3tPUc1GjC0JruqgwTn8A5SqdC5jeKvAi0TE9wEczNYSui1GG1ZkSoBg334Sd8Vvn+cYrkEazqsJOR9pNtW24XxRpC2pjM3bpzkUkCtSWcA4yx5FUO5j4OixlfeA9DZgSXYeRHXX0JqFZjGuhN5VyL7CALJAmgAr+TW71N4iAUS/ovDsAuQU69hqnYsymI3GvtOeTd32F0kMfqf87O+LwU/IQDn6gUNU+NoTQkvrfYZgmIEp4fyQtnTW/ehJUhl1RnA0Vt6grPCNu29eAUuhIkpl6akn3aKqk6h5Fo7r+Hj5r2gVAPXudAzrlW/vwpZO2OmaXX/PfDu6IJPEbYVdzqrFOcaIl/Gv6ZW5NAYFU9POn4DtN3Zh+1UVzeOa/Ap5it/3y1xcTJvZ1M4EjWs9+bevCXkfi9/nsQXGHZFtvqYfTbc7Vb1bCJi+2jQg1mVtPEW8iRomWioj2aovAGw9JkEFpgfMokCkGh2O24sXGyR3tC2jmQwy/5/eXLTvmWPZPUMCl1xYuqzkgmMCMVzqjVlKtAdK5ID4Vv+qEyNoxQUnU9ZH090bfbXsAXY0wbv8gCRhwyBOPwKmnBUaPytO7BOkP27d2vs3bF6e4BaB9iMh7aayTs/W3TXOCgdticnvIuFZRg2k6S5OrWDos65OncvwEroeft+AXMtWh/6GAfMjUtdoj6tNkwjCQO+vRfAgbxKEKLWVgM120mj3FKfCMVIb2P5AL7M58lUmko0X2p3/DqcLWfK6x5GpkOMsRVL3MZZgQIZgoy/2NWGY1nHfs0GRZQd9GvKCTS4771aju/EZEoPT5mwc9DhqyZmliehYkpGXbTpT2/xgLR0jfs1prdzRLbkuxNSi6+GzhuzXpNTXBqpMAbCE8v9VqDUDhZco0CG7Ps3mDHdcWMr45wZxZAZyWPUkAhZwN20Bn/k1T0vS5TeCN4rE6GKad+Ge2X2k6CPCn0bhqc1qqjN5Q46GS6yBCWElVgJEsJfyciq/1Z8iJomjIBK00w0yFdR1SGSJIOSCdDec6zESQQ616uCCi+EGvU1cNUNCIYskGGm7+qaPcI8qXmv6u+A0NyF7iQ3TItn/VbOHhrvtWNFrO8mKgMDWyDfr3dfaR69zT3TMxs9wA215jA0H7qzDR5rA/643U5HiYQih1gHnPKqKYy0DEevpslCaKO0lpva99HV06FfARgdbQqm11f1l5OWS5tIN1BRnOP0eJp95lfgndiETmUlxBBDdBDrXB7OH32Lx/82qXV7/n87t15/r8IFWCKwuTlYcTqRJzBa/ztthTW9kyS13LPVzEyTe0llsCNhui05ddHqXnp5qRLTFnaaSSsL2TrKwyPW3MKC+H2Z5cfuM5T5DlJzzxuMpyhzBKy396IDc+i9h6811z0zrDS8dC9L2RLxZg9nj5Wss0qVnwS3jX7wK2HTn30Yo3RaSUMne20HIWbDdWCLkBeZbBhg/OgmZB9QBV3Qvfs794RgqZNphXWQNiLtc1qLhHglDg+czs3gBB0p0bMjy5AlVGPNgh5IorKA1H7fWYlXQ486hL5k/iGneW1/a0AqQYub/gL6HtV+WzAYfowJ3a3YFrwKxOKhKVBF+bcg1qO/c+vyBqqjvnH5eu8V18mpj8awYi/+jzlx6TNuK7KI/Vo3AHZfampc18mDinkPEXsttO1YYOrI0aH5tqjGI5IQZNtD9dIruQpwoNWtaOqX/sS1dLHgxbBqsuvFEY7WJ/WxfhwwxgxL1G3vDN82FtpFF9i6G6suxAGcDLK3rdE1azn44T4T8XffYDt+hXo2Sgcd/exRooXlMUGWqj9ZLSAnu+sCacqYby4E33nQ9hVRa6GDm7I1BNbEcraJRdRz+6Js2JWSYIVS2oCXMvAQ0zVP2dtJGUe9h6jIS54aswNrls7azwPlYCTDt/Re3WHHna2VfM6l3Aul+UQgIvASdwTaoqp1IJM9zdadHbwdcYmdMzjj6n61Htm+impgo3/V9OA6TF+4rMvZDQF3g9omQX30ntBdQdKHcctvsgqRdZwUm4lVDpjz96PCQ/y2ZmCczTJEPsY8ZfzFRqtrxWSNjtVWq/prAsiBevfxZd90W68+3vSogWWLtchqgyimq1B02DpjtRfWLHA0av9QhjN+Fkr94FUFV69sF8oH4qk5M+Rcuvufv3E7ROy9S4kYSI7s+26RD4tCARHcTeNUjWDFFrbUSA/h5mnNhjy4XBJLDEmlM7UknwcjZvc0bW6EaMo/sydFf2xymVXqtmI+EfljkXtRpSKuuxRKasAWz5aauOTRgJ54jRSbViL9XpTfzGEGPdhVr0vRkLiDqVmj1l2RwzYnxCUmmnO5sUGOgjA1ZBVXtfrfKdvWWR8db2Sx7fCZBCJZ2IkHFAc0OAZD1OJ7tJAWIGsBblIBIXLqf6zK2sod3W2dWx0S8msKtl32yVGW6K9ELIZPA8dGbslSDzbAJXulpPmc3/VZ7+J5E6wJMUbCSiF72zU28WP1bufd8pvVBkc8NlRCew9AlP/XXu6KOnZ38YRpZD9W6AF4OjRN3TGZfKf3Y0EdWIHeVEYeI7dw1vBvriHUFhlMWrq5JZQbvO2FTB4ijrsxwo01qghySX1cKLIrdi/+MxjgNntvCmUDlapnaDGYYPWLXRPl/Ksro0GcmwkYJxVrNtPSrljb6v/6HVX2d8Sl9t7lheO10o5Lxqfj+lnBHaBx+54ycgKsMSD5w5CKvSUVfSuLHVBGLUhufizIn1lcjIE91rIHpk/BkBnPFN8xl2yUXfcBb0jkbl80Qo9GF8OHB0dHyN04m/8n8GaHON/ksYjFtgSVE/R7OYZlL9EPiEJf/Xs+h7Hqs04lJ7ZCxipQknQAXvyCmfE3PwEzoRDw8SXn3Lm1Ptn3ewo6hZhhqVqApgZxu9oEp0kMO+BPR/opddhwFRUmX2zHSqdO25CKAcH+JtPArJNKJHPU1whlzrLVbomdj2/pkGfkYX3e9sBTLxPl5DSKfdBNQObEqFqJo5arAlYnX1PunoOuhzt7p1KcFDr71UtxUhmjnV0LParLorc5uy8yYbqQ9PekUDlugvmhQD80egqd6wuL/qlSMSB8PavapqUkIWqc1OiFOsN4dssz4QtjfyfKKfqWu7Rvm5yCfF5KxlEidQu912pRBGyyzDpm0XRTcSEA41uyMjnMYuMmbF3l6rvmffonwER4F8oc1sMyhC9Vz08din3Wt1gt3i3zX5Uf8pdIZGdKH87VfrSO14NbcMvyvsTZdJEF9YlWFSwkdTClN2rldG3ZmqHKc7wslP6QqceXOMCW53Zlh97RnZX1vgYupTFlPK+mGgoC6DydzeEHjlshJ85B1OEVkY8AL5bP2rvbN7U6AzxSuGB11wT4J4HRblXwGSlNMloPtn92KOByXlt5Ft5K4l2duulTbSNrl+YP7K5BQb0f6zRpiv2jkmmB9JYvZ5YB9hx9rWA+jJfGO6ovMn+JlEypkzk2uElfcmzvTSyAqLDq5yKt8NM33oQSqp6xhagxN8jZJwHPW1602LGH+n3g7bsGTTIlPANFZWm2MH42lzgcSqgj146naW5+7DaFsoatIC8ZJq1dAvAes7wx0JRRztCJRIJ7xEMMj/zKaegfkMsWy89njJVKimvmKAzDXO1Fsa+a4opNB4mYAXoPKMl5pdUabJo+CVISJ1OXe6ib6StyYsRtol4+0PIiejpunnAHlCLli35Ipyi4SP25Em0r84756gN0gSCcMyQnngzDKMjWd01Blbt4fLLIbxIxN5UHTZrFsNGQnSBmtT9vyQlCAxtniQpSJLVNuEINlX8AmH7jmFDIi4n2cNQJHON8lpTb7SbQIEV9j8dorlhe9i6BpP1eEnwYHj+Dw8qA4gr9NO1jk6cP1xr+0+/sVz3nPn++fJrTd+u2zNqImiwFCa7u91CCkQ1dZNl08tnZRHQdfCKF2nvzIvqYW1QffGJrAULXPhZvKLOK7nmaZ3Okqx1zVnz3tHR73BTU979gNDD47zcAleDNVx5aJL0Hm79wZ99J/aumqbA6SuW6ali16Q9GhQiqzBBn1/wT/cJMUy6Or7t7mn3Zn6c3D5QAZM3bR/zdva57/4ji2B+Oc/JV/2WJrppP+MO9OYqfpIbgeZeGlhDdluZnadZn7y3kmF0ypUR/QA7jLC5/NhzSkIPCtYmXxMsL13pWwogQ31WDeg5Zapo5viwL7o5cyS/aK6wMtWgMSOoG3vGHS3k7zeyHXgJhwdqxCeyhAsSmYxWwFQe6Xe8OiffjR3V4RD/7y8x37bmC2jGt2PbbCXJGRRbfWd6ygGMX9/hmAPM1dxrG3iow/fy2TL3wrcK82MSlTZBlf1iVnVsxs0Sq4W9ljCyxGBmN4Z3tKUoO+HGFS8HzNaPDLrhWAH/y6Dv8YESIbFs1crZhTP4weXOm0mw0i45doIpWyVkHahtJv19Y8KwubzK1BDDzdn+AeUMGDsIn0Ueyq+p1BZMP0hZnKfr1E8bJGIcDCAdkB7xSoolVTKZ24PMxlcu0MJZQSRMuHItlr86X1PHzMYM+27QAVvs4NHdRWsLzkB7JznOE22ai0GGTaW+Q+bG8gqJS+tFOcFn3yyCoOf73nQY0VeUPE12dZLTarYyJ77QiLX/caAAeXkU4MGDWFN8Uvi0K13WiTTbug8IrTtWbW8iyA41S+GYk8GvsU3CSakW+0ltX1kYO6zFg0HKnCZU0hK6EpopCq+IQa1YmBY7wPKy4wmjvTwSqt/CvjxC8xY5jH6wjAUGhabCDQtSeE6mOV5UlKetUnfHSc2MDamWJ1cyNe6ZuFaOakfnB2k4S7kRf+LAzWEfYp3l8WWwZ7O8/lkMyXBs4TptdA0ompXXF8d7CZnT47Lt3M/odm6h4fo+fSy0CXhEXW2dqlMIYVCZVALF8dW4sIfxqKzOTPxevteoH/atkNQNF3YIwWIq2psJ54QRGSRBmqKHElOWGA72ZMtULNWmsJnGyCyYqRhankYNaVaz2G2XnVIPMkww8/umt3D/T77z0bfCEXGIlXfyuorfJfHmg06ulyxBRY2cYFVMmedRxrcPiW8arBoH+V0BIr/VEoBPl6y9TrXLiAv3EITdjgVv9k7k/7OPxLBU/W+kqjc/m/Ypj6Mv0hBNU47LhtBnkWeBQ5ZPg092F6c09+hsf+e5/kITwZR5j/zUhrfewVF6ZkFNDuW8Zk0HhPXM143GIJ+vKAk1l6QC/9gzzIWmj6//Bpt+klTpxbdUGhmcAnGatPtl5+U+MBjhUatxu37mfdYYRq1k59d+eTQxTFc1qrgO/KOiEbb20ger8+ki8D2o/HSs5XQ807C6+x+N9UQGyWv1N6E868sbX+9LxkO0xh8O8e5wEKqR2wZANcQ+pUEX00CCZUQ5bNooUvC8YglMXYjVTlL7GAu2INyWW3641BkGfeBMAafWE5BX8FBthCjbDeUO3fdroVoLFvJ7NSB5BZpFcFl6LHMP+SPcJaUepZXYW5IrYWvlb/8mKUbNgcY4vNKWxwfzMX0Jx5LYQKH+Or/n3IXMMLyDYFc+oz+LlRa3ThLDSlTmKZ92qoSAS8uyDWQAjAjb5VBuIuanS0r4x772ZqbQrCshLLthwbcg471seaDi7ecW1Ofl/8gmTM7T64X8A+T/Pu+xbXhTChhRCfX1PvHr69A7aYSLUHbhbPwT3lSbP0xZHaqP69x7x3l63sNZOKhZf5YtyGvvQ2UQtbrg9NWkNy7XOI2ktnWuAbW9Wj2cYSSCOoCt6tned9tMMWVtvUJ7pXfXp9c+dHjuhcMXFe/kkrozWgWuHjO5Ooz90A96O0ftQmGwDxDf2GGb4VJi3BgOuLKz/UQ5x2rxk/LxD6pIksBb/3h40tBnDJKdkppWZs7+7sKu+ySZ0GZBRr/HQsIHeIRNBVEvl9d1w8gnXajHyzGkwN5zduY6gAOWtwf7RrNHH5l0FJZtoiGeLV0StejHTvh9Jk5D3Rp5jbVvxcR7U9fcpY5pooppZjeMwDuJkohhH1YzwrGtX/KFuz7kd8LjpHei25E1F6Epf9id0of48iU5Aan1n7FW4m4q8tehEQ0B1YYNrzeZg5n4ct5s2+p9NkL9a+JykR1YtT2kzj6hVxRVK9kpHIu450e7FqSzWssuJFgq/1h4lKEe0Y1QzzhwF6lSXLMmH/SeAmjjLSQ/QfQbLcSAJm+SOryEseHRiSP6Co6wqe1B/j5fWMPRmxIzW9P3D9oNnwA4J7sKIcG9yPV1GTLiCI7lHd/CdfPz0SDDvATIGzcgjX9qTM5hL4zzT9xRTb4ejJM+DSEJkx3rG9Jqw7QXnC4pgKzu0nqGiM786w72p/WqdajvtBuTnC8awnA04DiE7f4+3H6gx/GhjV7PDVZZVHOXB4aFmD3ZXKfbU0n3/jsIc5v3vPQyefig3A9nQPXwCtb2rOjW+/lDkZ5jnD4aqb07dMs3DELWz5r8lLfjPn9b/KCnO3h8QIwDffzSYK6UhzMX+Ijkt7Kxpwd2Ddm9hMOFRzpnruvEJnbu8fyc89YRyj5tzBm3RhZaB702R6gyQ1otPB3RpvPNntXM9WDVE8nglV1obBaw+o3P7Mla/+w4puRuLIRINgbtX2HlocPfwoJ6tI6CTeasRFCtx12D8puu5FHlWEzjzbmbBCAuTbZyiJPkf9If2yuUKvcc0UtwVYhhdOlG+If0XgdmdY2NGWBfKciP/+ZXgJQxRqFryNevTqIuK7wOICfusP0FbYZ3GufF8zuR2GucqnIBvTLkwLomA7AOHNIiL7W3DYzU931m3b5/KtchZJSk9b4X1pDjrd+k/X8DOwCNhj9Ekotb06fkdRs+4nQWjaMZwat62LBvQMO5vjZlaoMJ2ScLxeDbJQD/u5mNU6O8jckHDL+HB5b362UVZMXmjQxYhY0fb2BndaJXJNoN8WBPCRpju1htDWE4ZExCuXLBibBDYHr/rPTCiy+X4OUhDf0mf/gU6DC5xJTMZxabdchJp0NGDU6mukjAcEO8mdFin8ch6WlGku4jOEuP1qiufFwkXP+Y9csVEjwDQJ8K+btzr7tTA0QBdF2kfzlstoG1Mw2gOHSX6hSJMvlLvyrGZSmYUXx4LSoDcMMPMGDljrPzU8W9jdlqnsWBQ0xXA4ztiq+UcTPXObmDa5VuGjQrticR6mNGOhf+I73ej0mvAspwdvS3u7eCtGa7zOhstgR089Bs5PEaorOBl3u4PekR3pdPPASkbfV1gqqFGHwXWGRtihtwj8pylqsKWosyl3Cuh2bRifHkxtkjZ3IECEzQT4o+2RSvpdw4niHY13nBqIJJ4D0sDPm6ZfZkIlZTlRFeHhukrH56KaqejHyLp8E9VQmu5+5hUIYGwKa/8IDOBEeFMQ4h16tqWLz/wuMoNXgm+hkTLVrZyKFMoK6L/gY6aG6oYvNths9xEbTI3NrISHhTSmiu0FVbPAcTmd2/6HPqYbHtxsZbGcoizx6+3eMNusw7HVPTLN+MAMIL/228GO29xPUK7e3n9HdZEJek9PrHnJGkTbMQs2NeH8ZT5qawAnP1HWl7xRW1JsUreXx1MzaUhbODzBF1StdLmVkL/Va7GrjD1CDU9CNIA566B5WW2TWVn8Fsm6DKHbSbz6w3B/XVub+LO1k3GUh3b0rIRXvNvz96JkNPm2y776lsaZ1hb4eXnNpk4Hxu+GtnvefsuUSzChHFhn7MeY9xSkY9MlQoBABmQhjZXnj+0TqyP91wjkhrIvzIsATN7amDWbXgOf/mVe9TIjXXTu3e/+EkVDWmh7uBrRPgSLlinnhMfaaYiZqbxrefCc/YsyA2rbSHxTDqypCE0ZN4N2D5SBVQk4vslbMTjKt09LezHFtnRj77M5m+N7cWupyaPqd4fC4ON30SLvB8NwPfs6HxlJgPWYGwOcsiVmwRHlWqFyIVLSW9dzq05ZMs8Xa30ekgbK8sQgKUWZn21j7wXiUCBWq8VaXQBk8T1nXk5PyCdxwfEW3EGm+o4aa6l0WZYGtwVPEWPK61Df5TZvYCxjgbO9rNEsYqpLw5U70tu0/m9zwAOg8b/fiG8dxgXjOFwEBFHSNk8LhIq08iV9ZaBiqg75dkqNs3SQsOWGXQcczwNArs2cjRtvv5+G2m3blxznjGiLBhOqIopIY9MSuIWfoVXSWocA7qLCX5Si9b5mILWrGoeN3v/X0+ZPD3yoCuR+7uqhtdlJ2Ip2cvsI/YJ3YZxq7sHaVBa+RRNTR7JsVvPAmGty2XnvRMSfIUEFqsGbJiYNIv/ZDrKlRii9OC3K0Pq0FFYlGhZpKey8siZ3ZCmQ1cJJcuBHsvSyHMTJJX2zjNVCcTXxbFysB8LOddc6j4AL/w6d80dps2NQ4U31B0Fc33Is5Z2kMl462Dlr+LaYEZFyg1kxDS969IsoDtYBEGixkgQU9dMjWwoABa8AK4yQvhsLrKZA8BVWAD6jbJ09YTe5OtHEsyrFd0F85eJ66eM4LZAMC3fMWbUJ36+PRYrJAxt0u2spOrecYVAhMB/i/xOQ2qy8X+9QYBgypt9btgHrQR4/qb9zslhRs6eynJycMQW4y0Fh4LryflEGAs+f8K8xgNdmxr4L0Hj2mCjlCy/Eegb8BIus5GQVFu+/I5qi3UVKwGbojo2buxa2IDwap64YYSeCFyvPZ4IaYcMmzBEjlp6HhgXk5S+tsPsJmoBb/yAKrJoPsItW3+1+jqCUHHoR2qQuIK5aKPWgucFP+e3oT8cAIDBEO02LXRvSob5q6s0pBEYAcDU2MvgHBw8lHqDPDT3ubCFiQ+XtO6+A5NwKBq22f4s4Zvh7HfF/PIZChWLw4u4bPhpHROop1epBTnUFM7S3cNUDZZivfByWgtF+vnfJJGmlMXScf7Z1/dXA++Po/wU/wxd4w59gHp06Eufnv0EdCjv+D0XeUm1xLxjLZy07N65pkUxfpIExLgvONsd6tLX/EYHt6mIw15snjylsLJHi1xe6Ceyo3NWe+UO+CbVEL2Fq/G1L8yrm9H+oSZ9iQPO/xT+rnCy9Ou0DWHAXr8rKNKEqvhEsmnAvwYfpM+3pnqNg6n2x8E2PbCNHDSMWCBJs8h9buaeX5/nSRzw0BaUSiGF8MbNbJNC9CwlUZbdHoDBeWiqFVKnyruGfwFs6/nNUuS9+/lYChnNU9FaamPL9XR273XJuR9rgIsWwK271QsuueFrFRVETTI0Z3DvqSenigwZ6nxyNbIg2JLzdaOmnslNOYnW4HP8/01Fo9ZDgSF1naZy1B3hkAnAUsuRgwmcNLbZZo+9rj2mexIKtrUiAZPbWLAwVwKTCahs+f3/kpID+czWeARzb6ibglw1kkBfyAn52ymMDfauKNXQpKwKc3qHwRuVns81pb5/O0B+0spT99/Spjr0Vq6CJ6kDdX3WBP/Gg7YugYKsjD7kZN75lh6HfYtAEAZZBSehF1f05/8piyUreEKnohPHpdsis7hcWWGt4+SBx0dfISSovE29Se3FOWN2J7bBjyKbYxoKA1qjN5Nh4IoC5ZO5BTODz5Nt99rjRcYaWP/ccQ0r9NVX+Xt2E3cKkPKfiCbvfTHelloQJdJOqG3+ODJtZOugoGhYUM7VeEGqtAR4OWucEayhZgbleyJZ/8oFLWIo1ATzs9J8OD6wpvbZQl3gRyT9ctHpzVh37XSMobtKmVpYQcBUt0BM1js1Kplgwcz7OH+54Cc0gpgZHAe4ZnNUCRq+SUWPza0KT7OIkg8lFsjvqXvBaVD3v2q3sBwSf9fdbvLzVy6zgMqdXT85A5S7nruckYmIRaA50s/avQEISiAZsTf3sxCZ/NVX3Y/tBoL/qYOCJ74FYAFDXQMgicLaUt9WDjGjCYOk9o+/q0hNiB7tuZoTFaCMBzRjQ1+DdqMhkTsrxpLxWqrphB+XJY3atAeZwQR997e1jZ2tffTuVz9kc6S9+SoHuJzWO/bLit5LmmqH/8efHHN5jaTfVi9gtIWFq2Ns/4jVr99ZhhxKjgNfpjYHtskz0/UI/aXcFqnfOSzbrKscdjIchSK0KVhCsyIyMWvT9N0DXsb3LetPy4ZaHe6dMjv7WXeF3ZRb4U7Ucy+1fcQGUji+VYc82S5ZiiMC6TI99oRws9fwv1BAlAYNuuYHP8WeHF5wPmuEZuiCEAUKtKcCWp6ODRfZTIPEpuVXJh3blr9lLcygGoFjDs2UyEatQo+V/dmNUcYzlBJNuv+H1wiylkXaSVohmk5tkYlhFSnusTCPoMiS929V5Zt8EynQnwHeVSuxNfrUGeeifXXk2flViS/FYi3omjiXfnxq3r7+YSEeHMadCIP6arsJrykY+e9oMIJDaYCldPYdMAGZ5EoI5p2VWmKv80Ainso3H6X91Q2GkRKx2BMRS82L1UhJhs+701N7Zf3/j31JiPhyE07L8NuA0zb54dvKqK1oHiwn7KQPyN+Hmu8pkAzzw+Ge04lLtA8f5/jKQ1qG77CdCMpVTt4mg4agZDj6w/yYB/KqtGZXYciCQa0v7W1tMKiznWzR9B93jby5XlQq4gyEIz/s7iO9/N5kH51iYNFsflXx61u9R6n5FCSCtt27JvawRni7Af+eVnG1n0QR1xk60vSF4KZs+0Dxwcd6FhoCu60jYCNlh1cTtzTP+5KSVPFZShCURKS/iEcoIYgc4i9ksaxtwFnH6/q01+H9JSWTvueH2J1UZgEKWFVXLRkcDYQvGoybfxxKb7uTifoTR09c3ghmMtunGuz1E9lmS9kd+wI3wDfTEw78067ulF7FD2zp4+CycwnZ9K/GDU/UY2PhIsFt8xUExIqQf1Db99Rk95NYPYozPizlIqI1Sb1rfpltHvonFp3aOzIUsX+MDiOLoIneHwxFWw07vVqHlLoI8YGU7xjCrt3ob584+FqGvFQxcQx5SK72slV9u+NcCRe4T/C/E6aJDAD6S2nK8ZwwCpEXl3PCt25AjgtwzLEs11JyK06JxqbwtyJZ+q2Bgx+CMPFMPBudP6YGawD0Zg7F4bhhmIX36FHzeDGQ5K07W52I4NrTXzRSquFiqNRKGBnHlKc7jgm5Uhh+m7nfnGhyytsSOzPjfFKnAiS/etB0TFw7X1JMeXvbaqo7/f43TXftF4WD7c8bZexZT99y6bSLv/jX/Qf3l7gX941ys7Pbgh1o7+/SxnajQbyLlDUyLux6AXSllvnOboMHWe8eJBsiJK8RaYBSp/Z3fKEYNjeV1eQbAPinumw89DoOEUoUhzTMAgr9sDuCKdOrJW+HgiYl0Qd26jLMhhg64S4SD8tKT/tF2EAVQSalbgakL2zo80ZorXYHP0kC+Bb882e6qqFYkOR7chk9xNwVGk5auo+gPgkjQQ+6hX6FJ9Su3HNwvwc+zueLl2jTy1B3yUOL1GAn+GkzwCtgrzx4vR1VRsT8dUZPypFcl5cN4jX0MnTUmvAkVsjbiPNA0oVE2mV8X2zcv36aX1vxTRAQcEd0b5rcsKQjgXX5W3icJKjm5izjCdoKe4db4MhW3VTBCSWgDLbuYY0R14Egh1Z7OJEzykme0EUI9nXckL0JT8/3stBoj9KqvEu3VCIEkLz41x2HVbaWt8zJsmBPQ4MhoxEgeUvqUyEmymnZfW5t8XOrc9clG1Onypla4eyzccoIs2nLKr3Mq3HXQB7yOmihu5Bv6ZYLwvSRRD/OkmJYHdecGG6RTDg4fUN3IAJacd0EbgkmqP56EHLI47aGdqxf4O94dNS6FojWJVqEP3MEqsmoAaMMePbXkDvsB59J/Jegn0nxJYlX5iToMWaAKJJttO9XC/vxxHgdJAnMDqbIi0832Ak8XyNknZVJx/GlMAeoxiYxtQUEfVE4b91CQXKRL4PleAcXBOIAWtrJ+FeVCYsr5U903VBoNh0Dnahsjc4ey318owoeRhEBeSuo7pQft8xC5olYsgTHvqXiACnKeawtvSauGt+z+/h2VTy1Gh94hpqYVEoiHnpCcRo5VkivRBcXoxhcbb4LajXkX+HIJhm9MXV654IOAkm/n4EtIU/SVVfwJICiw+YI2TdmvTlplK3hG8T4CQa1ogOVkNYB1qy3kjGV7rdMqUuzaC/oFqZbHtk646Ewffu8nJtIkKRv4/3JxMGoITiIVs3/ieAeMfw4ZoiSFmhDtWTjTLqs3TdAQRIZMmeroF8QApQ8FGaDZ82EnT3COdnjfOWqRR2Sj8owPHuZ8/3zBjjPADWhgQpQdiQ2jq8YeqvmDvPy9Bg2VHZ5CIHkMSDjlRK3/id9A7m5bEU/6SzaTtoEgN7bp5jpwlTduVIRNGKpFY3WnYdTolex+6Omr00LSo8XlU4NsbO9SYy+4S+rUK0C7ij9rLHLCruGO53SDWrVRovllPw8uA0YvcLN6EKSpaeVLjEyxAmRDa/FqR7OzA4neJM1Du1S6VbeR8UAStXEi/z5mzlwW5+3k+M5lDC4Ms+kFbn0mqB7zKTI6/ZruS4duoCZxhp0KTg2xeVbE98kEzNyRL9PGv3nUMFfyr/LkQh+RNswP6CAiMikSGW+VpNk+Zbqxjxy04YSQ1HiIhQtdUTv8vLm8XkUbGqLlGqBDXUyHfrrEOYz7fx0mRiB/bIVUwvfeA6FmLh+dZpx3zQdinUzlYYt4OD4dd9TiRo2l8uJlPNb/Enqa1qaRNGIGi/wmgiSH/6VhLMYIf9QPNg6hO61vueLKubpWY+e/iYlp4pUV5343jsmSpU2ukgJ6jurYelQolPa/51Sph67b0Fgt2qQxkt9zGkNwJUi4G0ngNL3obrZfRURXftDRzLTmCHVgs3E2rOjlz00gaSV/d+IK795bZty7w7glxs4q8CPPE4V/bL2hdlcgySxLFlxaEMKUqTyWLOxKBAVzzr1a1M4j33wqvTzM3hWA5xUMrIisAnYhxkvmtKHGf2JnkkHBhs02txoH+k8pY6ilshaMVUxioVzO3cFV9RskJRob+byRvo6fv+PcirTDYj2aI8BxwYLsuoD9dlZ1YfHNU9ZTRH8CmlmLCC/Zm43K1NlcIS7LTRnultTvp1YPIyKBV8ZYWu26QZu31HN3V109QvjPjNQda+bmcIw5Wydw5cmFkLp2ptp65gfAHFLX2MVrUxfjYJ/3izdqb48xRM5KR4JLSviK9qh9Syik/KYLOMK1MTKt8awGv8QHa22zBHwfOr7SrWsh0UFpx25Ql00OnaFd7wLOF4JZWg0PawoWGaTLAJlHXz0gXmwz1nKRo+uri0hkzJb7pjCKmjYbCGE2RxRHh0U6ynrhf1ZCIrCdWcgqmHuYQHDq+IGm4eqLtqm+7dQROvEYCPIGryfkc3VGJTPwsLb9ln9zVCWYAKiRbixBDuxyjCCWSMI8NKqVH1pfx9PqQMxl+JrpuMn5W8VGhDxKbSaq5WFTb4AfAXrbL01OoFRKnzyOVPLnRrWtMuYYqREM9cKYPd2lN5EnBRa+gZJwhmGx/i1Zsdh9a4ySYK4CPpNBaYuFGjWd8B2OPR5dv7f0afaCaXJRhTU+RwU5HBX4h85mMBP1Bo8NbIAATF8Vl2EQTQM6U1+JpvJf0pM8i+H9eSCeD62CiCXXY3gEvK44uxVngnI87c63rczu6JPKfF7I6L4oYFKbf3VHBjrHFtpqayvq3zv+uuR8xUaJT30VzKEnIZVniHALUBs8PHIUGyrmB5OuycvuMt+xsgcxSdr/Ky2Qpwhffaun5OCAofAmM1ysBADtu0JwdP/J4wWswDD7bui7MCh88KcAqLYPXgwMKgV//zohTo/7ktQ8K+z9Enjo4NrCNUYNTFdSCwHVeqkvuTlEV0CEeA2/UngAmq+j2HaOd8x17qAkSGOubU1KU1sYJQHWRILmdqAq+vsso/MiwWl2gAEjeB8JaX0Ote0CJbS4RQi7eO3brvmFbuDJWDflBX15NuGY9NY1x2bFv+6YcfWzzeTWAM/ES4MZJCJWofeFJsUwJ5eVqMiyG+TmP2AkMp4yV+za19jq448RuLjCgfFC0fDuJ2yntCbx3t7tC4qUN6bHEHGMYHnYIelrqZ65TXH28Xlpqw83o+px7DfcPaOk7ZbRhX4ozBuWmPZHnl5wRxCBSAyB6rwtAXBO8OHuQDYksR+l661G6cW9XuLHpNUeURCaBLcuoxLirRkgLKwBszsKs5HMNvTU34h+bCpVYo745hxtjpL3dUcgiPTHVd8xWwqiO6Xr+blwpae3wtw4pmrjGBW1O2p11Txfoz6JcuaiC5pZY4p8Z93laWoxpYdGuFZUYssp3fnZyi3bkPHRh0wrZFGKHGfbTV2B8XMlibQ2Tok6yJUtyUzzBe9pIKE0FG9AV+UK1OewsSw3djDYqA3kIxjz6XZ32GJsQpxC8BG4pZ4yX31I/tjLejebg7NGL6SuQBEqmDQ8C+xN8QewKiaYQlCD3YA1hz3BkIVFcbhdnQqoY8np3nn4UeGDCJbT8mIBcdM0Bb88cMLawfE6zhq1295I+ZJe/O6b7X9mrNgRgyFllQzwDmYjVKLGChiAX67jlN1MDUj801ITMWiVdq59V3ZiJ5kRkmUjThqrozsk1wNuiJ8utqsd4PgacdJPX+AKcpnz8SOgCM6CoNQ5rS7bsOwUZHuF7DD+yamAnO4COZQhuYRw2zUHrptmrhOaV0e/iGvwVRKYgI75WlhZenWLBDaHo45vYs1/pDq5f2UHzcP2ylN5DhN9hyGyQeptK4g2eTd0uB3eIpDt9gU/x/0wYDksBOECcy43nwngdDinlFVTjlg78S+CvEQ7+wrjWwdArPG99ar6KMn+23T7G2BenHjBEk7D+VJohfuskLB0iCJFoXdK7WDQ+a1Ki6D5AcHp+8GgdFvUUN+HjSC/HlV1+nBYN0k654JKXYTofsbtwotI7qb7gtLobzavxhhnSQON2thvlnIe0Ep/UI9+zFgntPaHLJ1DyaTCe06lPbKKi+bkZhKsrhcP75nt9kjW7QH3kmFdnYr3ju7VXgA2xD2XETzxb5+GZSPEyde+zKdw1PzJs141D7ePea+RGR1bymHD9GzVe9WfE3C6zyHRvahpwDgcJxWLFxhUKw0fTSXcZ9EKBLhIxkMb4vZ7n+jZmq6BEuVqdvET2XgucsQRjGyBEmvtaZhXRl041WELAr3tRPpp8tj2xsCAxlXdwTApLUbBWszciPQJAUvAbKVObGmQCbL1ue/sv9bg/n55AIXvjPxOSsUQ2zDpo+UMqKR7GtBUypRtdMxGQXmQbd4GYip1uHnrF5YJ3J87izIt6lNVFSI63pWRtm6fjjCSnijzsx4sixVjFaYRYFq8WSebk1jMezg1ZHYLWPJ6G7DRjdmUgU4XqNvca8uVwZTqtKDkeSVeTgp7gS4qqoUyHc8n7cicOr6HiFwJnC9qnHtC5dRY6HslR2IlpDQXlKCQ8ZgxyyZJtkxye1DCAPZsakn+//wRXY2/y5VgdAaKATK681L/JM3Yg5LJqQ8S3hAbN0M1177n6ACmP7YVS7en7EYLpFD+i4O2fTC4YpVOoGun3ZS4kwMv1KXT8U0STrtYrTYQUiOQiHGXXOsiOaporg9xgnSWBkuR8RTNossRvQqDQTRGhU3VvwEcSRy29p47/vp0OtGq6iTyMBZn770FMT4e3TlVvqpSlz5AWaQXu2uSYpmzFzF2L1JlqAMPY6NWoy32mqK6t+unuP9f4mmL2BIb2tdVjLQv1+ADrG5xPKTELxZ/plW9oRvU53HueDQSMx74iVxkMnze2fx+busqkvEQLzzTMCg59HkdYT67BjUH33dlwcyRQFa6UwMXDjU54xavYvfUtriGL0Miqcwoe4grOgbfbqTJSZv+FMbJofKIRLqlzUbBbBLzCAYn2M8C2ihSoB2KoW568f7Y1UD8+T0jZv8WqkAq538d9YplCTEWOJGHozBa4uKGRpBNNjRdt+hWV6ADlW4gfdpoxYRFYyduP8fJe1sjWuPU82r2Q/Gzslljj3Xrjtl6ViYd1y8MZRygTdD4+9j2DbaZBtwrwAxdQQvN+7xFh0TbkOvCc5iRgYIQIKx3qOCWnlj17MzLEQNaXv6a+RB/C3eYaTprSopr7rBUm1P5dry7I7NVzBuAPfBsVumd8pAHVoKtVtzST5+0AkEs38DdgkBkN7x/6M3jJTKTbZQPntAjE2Jizj6MvY50o/CFUHnOBiIKkamffX6/Ve57plV9+jdqUgmyn6mJznNC829B/P+YdVC9WMrTG5OvsQo/lJYa018z24dNjk1XgubSRPlF7F6goQk/sftsQnWrgUkjs7Yyi2UHoOAnv8aNuTgpunT98++HyPDsz4x//4rZIput7MUWWchuX5TzgnOb+zII3+6EBrn5ilLmVb3Ems7Qxu7xwaTfDDLgxUBGDTNuzRBB3+w9SxBadsPp0C8PGARfm+SEs4mPwJJp3E00BmdfPh2r+in1s+51fXpmWhomTBOW2Th5kVT1YFAJqH5YEJG7hwKFNUETna5WJW5rB2g7z1S6HDAui923qBU1zMi77LmbvO5gGTQv3ObqPuLxAsqDgRK3Pr12kj2TwU55nXa6fMN6ahaoz9UKLUtz5bCsaEyfv9c60Xf0MgCErMpPQ43cPiJ/Weiimlmw6YrD/LWNN6mwgU4E5bU8Gghjo87aRRl4OKuq87rigrgXCu2HconwgkWOeCqZQSZIyZismn+tgZjL0EDGtXWQX3Mk2AdHpwqUC5ebRHHiT8wmqCS/ZGObuHnnjxKKLHsWv5rrEtQ8HbDM/4fGKUnU/dyfou9kXdGTmCBoUpKLqC93HjfDz5CsY7Mxm/e5FzyWNRdmkxYsS+DmG6/bmTl5/ivBRppCZpfI13u1gD3tUAHHULCoOYSvqi6JGB0AfqRCvy0pMF8Aqalwaq2KVcQXx5BK23Z4nnVs9ip7BL8fS07dpBcV/Q80GDVyEsfaAdvKmIN0AWOpCfBSrqO7gXx1OB2jmtdkC1Nbgk0BuBPMHBwSNCZu7eNxnNjOf8/KqZOoApSAie7eVRiplfoYZSd0HP5P2DrSppN07GLuV4kqLvO/rvcKkRs7mkE193y7SuBN5+/XdzZWiBBh4qKabIPd0b2xEQNwAQdHoNPw68ODZnrapxAAqR1ypqk6ktdKL+GSzRnwW7unlZUu8iBEJsWBhk9Qu7lNeuQsFK0Sl3/14tD7FytDRGKs9yOq2SSEbRaLIJ9sqTUdLlobvMM/y/9iEBT4iZjtRWWw7o6eubj/j+LPqIo2A81TyPC4i8jg9UDtpRV9FpLQokgmSFt0525XYaeXX8eWtC/a5U5MLZp05Y4pYVP9yctpY/oWYvUkpZRbBRoG8DjcwCosRnzQkHPn5m4uSO96eQHZqO32iVm+//8J9EcvgeOUKIGN2jqgpMhT1njK/Sj082Wo+sw/X6VbTejTON54hNmcH8jAEDIzJ0LdyuSp35lEcTD/TNqaCTs0BA29Gxz8hkSNgmPM/wvBlS8o22j+Xvg/GRS2zGOdKEGeib4Hdgh9D6cKD2yvjV2Pb/sP30MWRoglt5+u8rfGLJPYa9xvzraojPTQYnunk6rnNrfXgiHB93XGiDs0D+vbccyUM3iYA2mmQrzFy/zyPX/nUcDkoB8kc7h8Um62KoOX0PhJ4XD8iawHtofemuU+aipDEXmpHOIipkOTSK6GYAtt30jr08RZIJ775JUccoAHlwqPThKZ2MQchzXNUs2zqFGdir+tqWRHLNJk4yaOTRqt76JTO0Oh/pQw43JETUHrSjw5w7FiuuWsTtZXuJXonRhMOOy5PhOGCPuV4ShEgvSU1Ez5xcNZ/9rmNeHCWz21xqpsyvwM37FdaGwu4YSsoiCBYCrQ9dr786cdPKkAKhjo16zDd6moIxUNKxdj3KuxiBuhEhtIQMTOjnsW6N4qjwyV10yZdVsOR0YH9lkn9evMUSUjxJAS80clBSHywqOHgh0p6KNawlNNM9+K4VhDvfaWo+SBjWzNJt3q3XbTypK/EIZq7HXuv+LX1q7+7lPuM+P5V9fSb+6KV3XVlQPtXSUbfASYIs5o7qbYtkLAkcsGzsXSNRPD8bYCWSSTWEhRj247qfUNNOEAtmstKx6b7ef2ylcOIGHL9Wt/68e3JwDRLhxapod6j7HCYUXs+jFoGmxWeBx9lU595utY0+HOZbPr6sHZrpIk2TfSxxjP2hTSLZOtttt63Bq8S7GQGPJi+O/M9nlj/0EV8XiyILyD/vrssH13vZYj8la7YMlIZTavmiou3t7m17pdyLvVehKLLLgrK+j28DmYIKdB3vjG4cBQz6n4ohI3TTvq5PM47dn4xXPg5/eZsOswWHxmZi2wwAHpYQrhiYN6eGVRXIDGKsYNstHj5KpDId241EsSGtNiuoa3O1wOnic5wmghIBWaJh26jHVr8bjIckrt3IuxgZAffbyVRAJWFCm2v/cV0+dRU4hGZgwy9u6KxJ97umpV1eH6H1L0nSo0iYCmB/ufk3mQogvXcmr/NuycftpZ6B+hnl9PwSggktQgpHZNmnFrUAUmt7z0BPAo2qj/dLgCSTmO9ecE5iAv4mVJtJynAyBIS3XHeFQ4ZFw9GAh46YDjxbGmlX5/DawlRKQXPQGKvlpoRKM426t22m/7cts9UsWFMAsAFkIBIXhozRDfQDt8+SOAWdZ5sZTDFlvZESyO8PPy3NzA7wFDKqUU0CY+uEHNOhQqMijHIe6qbgkDrJGqn+WWPw1w5n9KhW6pMHjqN5qM0DzeaLWXjsn/ffytvLJO2ioWgJI9mIbkRb4h05gd6su2l0/2CAVd/1vtNpK+EYRjW5/jvzlvtOyzpEq9wdndemJBTyepekSdgKfVtuwWcrBryhS3OpwyRqL5KR24UUc1lNIRPSVqXCI3DxPUjo4WqjlphcvL/bVoko8Y5wYeP3D7zTLiItvp8/mlf16QDWQ4+D5HTpd0MZqHnLETru9n+apZJ7mhlLu+XrVUWVOHvLcdwVy9HA8cRIWQs4aVOV7xSY35DEVm1uNSVsZiqb31yDrnup1PcJyWIf2Wcyb5xWcQmP6/1CGHQ/SE06yErbV0NVEwNKbCzN4NB0QGh647iNPtb9grfxnntSAjILh0GO9WbBBH32wiIRq9S2eZpnWlF0vGSG27fMnpWniHb1wsZEbUx06dfSzsm3Eg1e0l3EbQPh/9jn/ccDBE9OQ/AVsEOtR/Pnhd6sBobc2F9JaCo718lFg5LINbgVU0LPVBm/vqYkThMWCq7Vl5AJPGYlFhzx5Eb0kc8Gh9YDA2Ff7e9EPrlL3x/MEjE5nFMjg+mpEpfy723wbhbbqflYI0Y8eZsmZWrCUstBiuGErnwdECCrUazt0Hc+fo9zb0KtfSZP18AuIa2x3fLYMJnqdAPCEfkFsG34l9c07KFTVmHlcLvyTWMmNJQuJV8eeAjtt9FyE26/OBQbbN4ii/bzb8eh2WlUaepUNqns8GYnKg+V68mH7/963cyuJv8O/fL6vNkCMURn+Gte1Bhdagho+S+eOsRHM3H6WkFCNqRjcSf9zpOvBk+QHXSq5nO85ToBfcU8Vfb4rfdv6+FTRPRzE1eUJet+L64i+zNW3wWjFNXXdCcDGSA30xLkjaF0apewmzN6vZETh9Mis29xSyAhJNwRiBxuvUVL4IcGZB2F9GXka3yAA4xsSoXIsMDaDnwEFD4dqs0ALFiDZfNC0HtQ9dhsrz4ThTG/BNQszHo1SjFJrNOUTe94pgJeVkWrus5s815JBlCLd1CQR55Z9DYq8RdCIBkxrtuKf3UHQ4Q8hfKjNPqHICfkHE3zfXBkPnVrrbP7oRRmuvB5gaZsI4uKKr+LWXbxKTAKCVqR0nGRalckD3xMhqBO9xgEKVcpY/uujv/sHfH7nUOYs02lxBBTc0xqab7bF10nROJj7eY0f1osuWltZTSYiassCdEf2mJkgfQBAPIlRZabAiUoEtWbggAtuSmaen+Vm52zxAUhc3bY1yzRFV5ZPE+awFHs7Pjck7AWuDXJG8M+eg3Pn6cHraK3B7xaVDCYwMpOSidpI9RDNVAqgonSPw+QunBX6+P9tOL8Kf9XCvs/hb3TtvtLQjY7IYxXId17ABcX3BPvTCPj1qnJS8r+0Yokk6IXxb+8pxPYEYh5yk0SHhr4nK3y1eGr0atVRettU2WdGWndxMd0vqxl4T8coo0L01zjpxg6IaE3yEODutztXUTmlZzLW05EPzxjBMXtxz/dIoL5wm7Ao/AD3dDNZk5fGEHxiiQLMZKMRbYNns6b3JzaE1HY40euj+JeLdCShHVnLvqt7lPG8/C8TL+acmWTwHGMAIwqsOCHoYC8ubSglltuI9vbjy/kRJVy5aBvF34aax9LAPEYxHUrNNgn/FOIghwAgRgAPFiiSmoPpUsWvwNbdFcUKcHq0dXwTyNvNjo34bIWiOO6rJejXi1iaYIHNUW2pX/ZnE4JG+3y4H7lSZfG6goJiGUuj5JcKZBbGLqKhi3655WoKc91WoOp2E/xaZJFSEOZlzAJzewcLxFWnJ2gj+7Ke2VV0PGsi/6as+V4Y4le6XQ8Ryn9VYpOQ48mwwVD38vekzkOLyjowzUI0SObSP0COMa0HFqdNwSbVTDSvEQ59Eni9N4oq2lM5bDb2j54UnQyG9GIsN9wGaPlk74/yu679E9QRYmQAuYf3WKboJirRDKIbIpWDEhJj8nneGOsoWr89oazQS4BVMbgHgrDeqdz+k9DpRQvxl+ytS7waLhYO0by2ypHS5j1LNw+kf8W1jLuha5EhO2m+pLXrwWDv9zVlnY/hKexajtlG2jdS81gHzwcEKyksUeMUykiV8GRhEGr3RmJYj+Wt7BndnBp0hX6R4iM9yKL7On/TPmkA5LIltBhZCw9tYeh4jswuBp/xJOx727DI93gUF07JP0eu+H8iKCJHUu+7M86Mc4bpRnlETiRq8B5f1iGu183xeV7g8bUBLqqgnQZ8UVXeQRB6TU7HLLVnG8SDRR/uA7ffDV4lcRcQSgiXFaJkxu0INs1BF16y08iAFweVm/g9U7OAPOPUeVD/l2fbktAiGm+hJSavLlzNyep2cvku7LwitXmFbZokRzqwmAgUfj7nDukwrr7tLcAzmABELcAerE5W5C4mxFGg3ZRpv9yMuU3yw7Qt/plLg1ORuyHWovmd7Pmd8iB5Sd1cVKUVXV0AUht/5ykMirgaJuoq9FQ4P44vqMd2bbBW07nbjYoWCq2d9SuGfJnX/CZ8a5JZbTeSlJjSL52OgqdZPXCwb0hnybJlOxc5rYuvHgcKGBqOIYZVM7D1EFGjFP4WMIZRifAoJHRHyPP87GGu+LhaZc5YZoraNp9NJ+n70mCXxPAAoLimr2XXlVq2DxXRX/g4hMiY8GKv3BzlIqhQlZJCvzfFvMrIf75qrpgSvjS81olWWG2r6P57Xe8DmWPFprCtZWObF4ZRk9/uhzMHm3pUm3GoKnAunn02wfFoXqFYMYOx4zD/O/XocNjIDDsmFvPjYItlg04ePcAopqyr74bmr504QznnRs3El5CabgpbAgC4Ax4tP4eGHQjczzLFbhcndwQZ1x/nf+YethECGrlzLHfZWgLKU2jW9Q8BvBQow3ZeQnsteXUKAFyrc1VljY+DvWPfWnf652IN7+ijdF19DjxvZc1abc2kLZF1LgP3tJIghSAEB9tykF2AO7ilJSlzoNcClIgr7i7mxZYFM3pJaH9Q4srqsThRThhOrzF55S/wnPs1OZ9s+C8+XXRN9X5jxGbEWyxC5zFL9vhdk7X+es6XHOPayv43SyFAwKx2/ZHxsDZ7LP9YB4TQPQN9d2qa2Qeu7643xSz0iqGlw0ueh375AnTmBGkXc+gGdk/u71btL0RIsO57ntb4bT4DYaCrCCCJXCv6Yo9IN/a3iZTH/wfdXNHtZIl7tOgOf9RdqX7huyupwOiSIG6XsD6w2dIHCg9YV1QIVOUosn58wJTjASMa61uPG8a5T39NyxOiOcj29EzKX0qKbMAAkOm9KtPTQhX98u3ZS7wMrOoTQadLvkBE/olmHlnm5lWXd78kcNI7SIvo9RWHSMFitcShyH1hvEVVz3HuLc5ehyDfBjmyjpxBKfpVuFI20CjY98SSElxnY68nexptrQU8o9rGda8WWq6Y5JYoSbf7mmtHzaaZlorgrwzLkZFHcKf+JEOzt5T/dbc0p1ImmXoRrNELMFsWtM5guR1VA0EzHmkelNBIPK+o5emTOapUdio74dzJvMOp/ECJzBHJkjrHZ0EvpOo5w6+xk1H6prJLS3N4Ys8X4BSFEtKSwTK+obld2zVMObwaW4Fgj/gbN+ez64Lf/W775UsVLdKgyinHmCiM7QfPJhmzf4+KFDJopjj58qTGetIrOOs/WbII6nU09053BRcaMfnrCfsM8NqjaaoFCbPJLfRObr9ujT8xp9Ft4bLjOdpdKop1PXHgUFCHTTRcds4rnJzKgUFooFM4l1fCyZWORKgFFQ9LqMRqNIaOIutEzLp3owir4DyorPtA4/FQ0AYFq/Uhebd3qqrQJAVHZYj7SqBd1haWRE0IYsQngrbSiYO5BLJlrvksmWGob6ZI6zqckA3VCaayI+AWMCHIi2djKYVHhrnmX8LRlwzfU0L420j86UYrFxhsZB3CyugGzq6FNzQ4Wy+9LDPfPBd6VYC6X1WDWiVUsSabnKP3ZXUOEYGD3XZSlzAODv5GpnanRt0Tcgy69/Sgnhpgg0uzMwZhqYeFNMyZyaHOu4RtB92dWe7tm5J+lYuSbybXMoK/Wt87KJKHirfRic4URenZ5DQs1tOzjLKEWk8rBmTi13ISVeHeICnUq6RVaJToQY0X1ewKvAQPDKFLasNPOGnzh/sUFF73Mvj+Rw+g2zCHihRQW4KvX59XjjE/bfNM3ACJqinhx/P7FCbenWDFvl4Y0hcLH09EJJ0PyPd7NYRVvKB+tcm9Wbeh81s8+Em7vgRiQImEkpMJXSJzesTzu1vPttJONwn7WQ6hDtWeiIBCcxWIdR6YTzxlkfJRGw76HXofvZqvCVDQzn1wmICmj7Bn8AZvX6BgpySOcgQxSrodMvo/S5E72c8fp4G5+c4z0eTL1BomNFR6IEyH+aKcPE7wO0IidXljUDxyVE7Ee3qLqW0a3+fbL7fWk7NyIFJyqBzuJll1b8nPhzTLFeFyGkamznanhwFc6zrImnd9xuKXDbgxPIOVsvPV2f5Jk0XtD6tZw4GcYG7Zztb9yXmfdQRLv8pjI5JlWjNlA95UUS79gJXZWDzDNPLzyuEVjX8BqpjChpknyUjvIu9S7c2GZM0yOj+znVpfkBUUdmtJux3BCDTzMWv2wKV9RrgzewQKyUgiki+9FeuR9ZpJvpENM8cMXpArIgM7NL5O96q4Vm+pA50LXWrrOMpEAuGlw0tkkz0VKaMCB0CfOuqSpSS1FtGgszp7vRVu0ziQcAt7i3VwOBI9HyHRv+Vm1ptejS8JVfD1ydBv7mt4zo1ItrHTRfDU46dPBMUc7mT3aLqfZd/mSCy4bRZnuGZ5Xu5WWOx8Ra0HEt9zkICMTKjq1jg/u/O9+RH/Fs6hjrd7NGvAcj+IBXnkVQrfnwogtN24OUQ0hg6xK+cLmc3owe2sl1KkYDOGyKdkkTiiXmMGn0h1DDKbSXSKBkSfpelixvIiMFTuV1Ff6oyfyLn8GVe4ZV/kmQdYmwQOhf3cNXH00WdrJoi/OMSQOheY61vjrtyIAl3ntpG4XsiGH5PPfQbqG5tHAJ8WiHyOtuOg3B5eyw+igHWpnzpe8h/6XXogM6Yyut+NyFU9QqiH0IU2ijVij9cqZbC9DOYibSCLerMZB+KAbhpi0aV93+TaVt3CBXHsRqNtVjYd042hlzPjtzpSNwsROz0256YoveGkfHvlG5j3WeZEPa8dD8UeZ/uxMAB56ohdGdsXzXzJ7cqpxONR5imhUQZGvOodtXQZf04ufKCAr8EwwsbljS8LnognRYSic/1R41TcSgpWjGQbTztYKkLzGif5ZyPjik88TCcn6jkNtJ92z6J3twgCubbTE+YFY8sp/guDczOyNZs4gLzo3EHyDlFZRM+MrTwYL00tX9GrhAg5qJotfTuLmEi9ckbYmm/HZw6trzw5Eq+I/zlzVEAW/1pr4OEz3+yYJklrin0Yui/fvXwyTLri1P9Bo/3M+bi2HWXDo6iJ62cHiuWa83fHrOs3sq5BJrvA6zU7e3Xb2F3APCJEzJtA7yHf7M67ifQ47iO+ZRouuQetC+Z7DAu+B4ae8KO/mi/TCr2jkIMAcxQglw1fhApnSTlk/O2/2rAFuzausLxj36j6nhQYtiMjjr98wPX1Lb/mgbfFx9hux6V5ZlDMzxmIB4G0pwUkKb/tQZK1NVT78KRtNgCitFfOeSvoAJ4GjVtV+RP8bbrijfKEeSDBnt0RCITZdcOfDUtgJZH1XxBTqlkRBtjbwO4Lc3UfZOzvWzrnUUI8ZGNqvZFVTYy+WT6nENIwn6I/p0JawurTj+6y0zEJmETNlZMRJEWVNQNgUv80uVPGz6Az0Dsomh9pDj4vsxBHulJRYfOaEJyqeeSLwmZVDBOsDk1Z367sd1hIVCOBcDbxnEoblpG538tJHYj4d0FXpCptfnJKqyjEWPV6wuL6Y3MHyuqgijGNqUQmMZ9oGlIJp+Vh9O4fUOsCOSUj5+SVacUCAX5bBm9crYTUu1Rr33kheNv448gBCMSDbYjT2Fg5YO9IPAFbjA79NxjajU/8mzDc34JrLNLofGlHUz1UNzbJxJ4iI06HfX32XHnDZM/1ZpDl2SzjGlJEtR+zyl5lWRA5VIAevpwlZ+QRUxEKbth38ZdyGiciVoETRLyw9JT9ZVTi72Vz25fHK86HqHxb1OFkQUD3+0AugOUoZvBGxPE2FuzjtcVX5IzalcQKrUYBb+uV8eDJ1mEzOQsvyQ0ItVBOTiFqOXNZt+hOHi5qs8eHCa+zjm+3jXHNl1AjqSA6jKdpsbzZA7015N//RxLz2XnnYxKycq1xhjQHB35ZwEc3WFMETNTb28OFFu4kLu0lBkM1obmsLHxZqfNbwnWPeIwousqanR6In9K4hX1tOhl9l4pSWtAZ9nUCgqJ+FHnoez+y7wvxTqyFpMdPrhN3y+7aEhyTqyTTp/fM/xUKDUElsm6UoXomjTFf1Svu7G2vMEjv1BbDdUd5R+OE+5MWd8Z7pC3/ejIp683U4eF/eBaWcH08fSVVGYSdGd8IyQqA1ESpGr4I3psH9ORZbMKuytJIrM9Ual51UlnTCbO+W5BBjOedgwr6jC7n5GM57J5iOPTMLoG5/7cC9AeIpSjHNphBs/1YanFrAiLzv3xJZvsI7B5HGxrDLdK34OOID6SSayGK9TZnhoRdmFpL7hQcwH1RoQO5l1wU8VoI10kLdFBMB1gwdGyCs13/jwb46A3afkg7QRljSdx46yWerSB/d6lh147i9k8aGJBNTYfSnCxspe1EcRlF4YKJw191vWkluMTBwHK+JuNEJulGNc36h+EkgV62e5fsF00Wpc2rqhttVAAOokFt/rDSxVUHJFMXORLkOEduZWRk6+WTfsyaacAkKZkbsYmAilcxAL1TdeFOBwU1pUadIp1wPrMRVz+ldWgHRVRX0Wy7cBw5Wd37rUpBf1FhW4NuiVaR/i0DROz5wHlW7qVVvjF40lXRdX6bTPLh5aZTbS7f16xtAfSNKQK4AMsNI+17NXjGaZm8lH0YjwziaONaca/vKL27oP6a+Q8MTElhk8JLAW6IWXwOiDfG+JY8voxOg4CXcRQy1TztqJVQDG4RNHSnJnMQ3EFGOcF3F/w2EiI+9UoE8NLpxq+yvVcxAag8uUc+pqmC2cS9SQMQT2qKO89P5QoN6buGVxT/jD/P8XwEgWPeJgr3T/TNqVBauHODaZHFplbskNIIRiIf+EShBOj1lABKvrLc5ESqrz+m/QarKzqXEGAENpKkGOwBV80gwKTs1GCQMRaLomfvyCgCm0E0cWTH/QvNSwfY6dFqrTI2GOmZEMV17jBkRBHK1RveIt0mbsmePfu7ZuCQKlpAOAPoP4sSbLUtsgKb1eFE6JVH0S6fsBqdMC5fv8fFXK8qqET82EuFQCN7zU0c062JnisSIV+d+tcsi2tLrbE0nN7TbuUXPQ59dQ78N9czYUY1mmW+8bMsXcqB0FXH70VcTQnAxw7wV2VvC84n/eZTfCzawV9xR5b6kvZa6rRS5C1UkPfJmDlJzDYUsaAouQ8+/Zrw634QrX8P8ouhmlSpo6q/gcvlG6IusPEZs5hRjaQjlI0olIZDFLBSp0Y0aNBwrEmzgv9o60UmG61NeY7Tbiqr7RuWCjpK/X6GeMtt9bo0iZsFuJjpSx80pssEFFOEkXezs2hlTXrKh40EOcswc39cXvlD15hn/A2mWyDxTiL9GD5JxzZDeTvAjN7598nAFAt8wa67HoKJjh4k31fyK8GWEAEnoG2jAfpYsInqlHAnqeGxSl35uTCFmHE9iPafCikZIDgFA1hB9ZMZ372Pnu8Auq8UQaAKRdTQQchhg5qENrTYL080eA+2+ZN22lk68okSWjJX7BR+PdIelBNzg+CU/jAbk7/a+7PqLhXwd/VHQDLcJAPDgBKWmC5pQJ3f4E7hTBzpDabO3bD/PFtJEPKYQhpwfuSIjUdDLv/l8rOxnUe+9A1yG3kR86vc6897WifhjHdak1wgu/jVv9HfPDWIcYjwyOKvsYD9Eid991JpwHKmedVnf5PVOVrRCbCRu6GEl4EwsO+y46DnRgSEVarWDv5zr5W9wjvquPAIODX/4b0Id8PKLpe/8s8oxFZpRTpyBa+u0vKhbCo0hkpibXMb4efVr1hEE+1GLflUS4TD2xP5QjGXSAIXbPolIBi7syXZSv+zAAtz1cbmd/b0hwuagu3yyAmk/yTdEogJvRKv3M+MPctV7U4zHDiqLD9vAK7JwmLrSmp5JxujfTtQk7P3MayJNJqvb0QvGBQhl2qgPdmihN9DBlsVDzP+CnjkE6lUENYP7lrQnt+SEnJoGmeX5Agqz/X+HscYw0iJe0YhPyWTgznHp4VUJZqquJxfEeXcJcTzvqqLevIsq5hPNYc2sQNOSviFGuV4W8/0r9k388OQgYCmMblW4J7hiOaPdVy9Wc1Myq8KrEqvJIlhB9MSucMrUPYrTQvcWMFlZyOtEzTsGHzcc4qkpMg+H/rJAuAkI0JavpuZxCJ+MrB9Bt0nLfGLMF69v161T/VQqRp0FvrbuAOT/KU4dmnyDTGF6lBJlTxpEpVpYpCF9eyv/xjI0g+Oq3QvX+6PbEKiHVDYH1hLFp1EBGcsHgw6H0Rmjv9cWHqFim2yfY5ckSRxmZzzXMXt7Avbos7Z58jbL6XSQ7BF7kZI9w2q2R2KIPx0snS+NYoRu9dtr/F/3ptJW7a5OdBZvVFdAe5H2fuNKdLcZXLQRPu+PFn8HqdffueNZJ5sWMeEDmPU/ZO3BBFETscNbsjMZU+tPUZ5Xq+sgIi8sINiunZiHAasQ4gVnp9i+Nxx1IytnxjBQiRirPQaZfC9d6hqwIDzf2jyVT3vls9pikfSWOFGKzVoWiNRWwXbNPxxtuOAR7uX0jek7fRP0cCXKBIw3ftL8r2PDyG7GgdLxCoXA1daKuSuAFHg1eVqRF/rlMqm84Ufb2bUc0JPwL3DtRC0bDgG+N2vT0aRegSUmgH3rWVWQ30jE/B1yLeOvBnSV5PS+MgokCIPH/+rVay80aKisf+r37ktW0SQtBqy/8lclsQWvcnWy4zvvCS234R7NA8r8p4BuodhwdUMg9hiDAZ5JpMZvuNL4J4Rksb7fHSbn4JQljrHq+gxj3Xf2aa5K78mmNZ+eR+3BHmR0gvrueB8V/h29X//4DvM6OGRklh0RHSvTKpxiI7sVlbUw6mSXUb3NwJU1T68/KnelctNeOqM92GHbLJcvai9hOua2VkUfFSQPWo249c6dKXDQnryB8L8MTqAKZPKof0XKFko2JxJ6PW1kvnL1iywj+FG+UB1Wmy073tYIOSSrCxfBUKgJyrxa5qyGoRFnhuGlwSC1Vn4MdE7cPGjL6wDKaDXLTLa2kHgBMq9XFS99LgwLA1sVYrxCOLSil4bvfKfJjgv8lEpqBjoT5eCY9A4DQG58AsjJ6keHUfTQvH7UN64Hbi9sajlKCPilROsCKWHl9+FeGvm84j+yk5I6mu+EIf9brmsv8ZXa3xGkzf5lt+vIRv/fjSZVltana/kCuaz8jIiUjuD1pxDuqClHcxktFic2Fak1CHtrKZaczXSbayE6WSnU5ZuDEOElEEOkedoqvzblBQ2hTqcpMXKwDNqXf/3m2hfDGX6C+sDuENjzBZqrCIGQrJeQo9WP7/rChnIp5LXv67gDq2NrgrEDztw7rYy59IG0B5xtpz9UspJn7DVBML4vVql7AuC8kFbiS3nRc8HILP5oKcdcnIgHCXoW8gIYAAFqO0QcppWw6JZa3VNY8BiGi6ywRTgSlE6L6JEXFFrOtWWfrgwggPDw0+GvWnmWSYbfB9iP7Wbzxw2gyGn08YTBWoMrSUxB0tovZJnfb/3GRFddOLyTrJzR/AM92N/1PQzM4XNM4SJ/khIp/5wAp5FVeSYnazR7EMeZ3yZtwdVDavxRE9Rr945khnEHqFei48YH15IWSH9nBRdcy89Edp5FlBjNyD4Q0nkx9XPPMpxvG15x6SiqDakOEbhnPE1Z0/XQgfIavwpTYD+bETUxALNgo0jvQbfF1kDWx2i7SXLbBPKjZ6RklIOiF8hD4/frrtWmC1pxmzi45xET/oOdDt/8MvNIclaI+z0aWkT5GuBoBGb9tCV62vg5ePFObd+sZZZ/n1eNTLb63Jqi1Gk4ggcNMF+2X5mzq8h1dkBVS/SHyqgMKV9imVnIDWflHU0gg7AsuLCe93SqNOzrPRHWFn0CA23oN95lzc3miaryoybflv60sKcZBzJdW0Z1j9X1faOyOSHZWWfneL12wsRW8YG1Rqb191f/ZfAxQhnOs0zzy2m7yunjp4ifHikYfxiGC2WKHuaSKr/s2g1UsyGNjN/5X4p/5ahMgPKhp1oZMo6V9e4hh7Yac1FYLlfxSoWtX6Ym1tzk6t/8SiSVV4Ar4PRDgPxjVDm+VhRFsi+OM9IWFc0q5OwHDBbEAv4avGi4Xbdui6qJBCWNtm2j1A1C47PcsdoMYkO7xfrCy4tfYaNt22AIwIknZlUQ4D8G2hamTN3tXubtMtPyx/cyx23aT8Th+K15TvRfCEWa3+TBKx1EvTP57afWXnR2V7DWXidKxLMkmTAhgG3kkaRW9rNDAC55CJhYCE6cvxZVB8eNSiKY1pbWLYfujWhcvcljcwjrTXQY2C8ls0BIj3+4D1LinFfWVAJrtkuRC5EafR0smXjA+iI9E4ctRvrlU7FEuQ2GOXrQZtxsIvfm1xWyS2wjbu6bT3wm0QH74RvEWuKy1qelYsAx2+DNWEuQuwJhEbpWVnTt0kotg0qiZ9xMvXmMucMPyJn4uLT55FFLAbY/JGw3Qkus2G/75UgEDv4HB3bQ8JT1u8K50XMtHrPFKoTKBK/i3/1FtkogtFBfdwhFxGF6NJYfzboqkGJiLpCiwsKVsRpro4010pX43bEHXg4glW4ik6FlvIiRH7L4LcpOvrRZAyaS2nMzvWiWFlhB7cfBrKZ06stIvgPCIdASQTnAn+zk3zDD4a/c2r4oEsKFbrQ6MIpBn3PzOOJd1on7bryKuEilZvCpsKM5tpNkJPxALCxI1ElI2sGfEd9XlBCTtHmTc/Cs1IWYFAOR0rzc2gWk92jvGg0aMLXIKeEmrGx1ABRsZtxL1R5oHpTR0JZNGHlSUGq8bQpCiTmbIr4d1Hl80xOrSg+PZrui7zI8DlJ/Gzt6uCqK6gBpIegeS7qjhNYwhSohgeYpUsqyWIX1fMS78CiQ7yJsJIARjWucWUp6BszEMZNQNLlEEr1LjXU5TL7y6izjA1ZZabkh7WXZjtCePqVP8MfAVsRMyTqZ9ruinxV3uiYqL1RRsDBU8HwdGXejOr+beU3cZcnDY7LwLj13bQynxE12Cx5zCJEX5LA9INDQ0tXo3NDgYTDNtblvy19xFglXsPAo32jEVkz9JdiNDQxxowgz8ruTsmIcOfEY/mN4TYc+kHENZ75sfVoXJF/3wCg//jy13Q/BfwaCckLedtONV9odf/ODrE3PUbkRjpOZCpMBBO4WkFB8AjAPmkckNh+O0MAXgb05eNv+/bOiqzIdmWdQdR98cwr1VAdNWgKImLTBWmiCG6YbuROqFCQYCQ9+nPCk7jIYtFX9HpzxDoT5KWKpLzKYtDPcU+VEt7iIig0Ex0AmV4YBS8AP3JYbE0aCnjMtCFxBNzDrImyD/3cmSnbgIHx8n6Y2epcDM+mL0PmrOHSsmCjMjNuXIgkpta01AGNYn0Rowl7lQcXnUqvKtrPmufpeTQvvJe+w+EMLG+aRswn4XSoR7qUU0m9/9RMnz9TlaUPRaDlXrAYtwzFQOWQS4ziVK4Ng8/je+h3CQMvLLapXsqJ9nGN1wsC2kJn1Zm7nNkBhpt6FczuWH0X9RW475LIlfwYefNS2Tv1nq3ZHnVCFXG/eSa2TetEDQPSTE1NsnLOf19+wZ+GaJPkBFCRamzbBdnC+rUPA310ATxK1gnUEHprfQpHHI3mcDGPgtXm0YR6jAYWFjo5CuPSV6b1I9xfbcXdw4HL6OssoZkna8Zho4jTtKhPgjNdeJsKMDXmTy5Mrs2v69MNDOD0J7GlZmn9gMpgiy+xmuODkTwMbXSmh9QZ2gu5Fmqfdl9aMjgIZY55JfMVMMXQ5O3krwJdpwi11Wcx+e2KaAajgvZ2YoZTaK7mmOVctn5y3/r+Nn4Ckk6EDEnzLmHtTNiL+Co+zfI+Lc/emHzwvf84Q8JB5fyFl7LApDaKfxBSxZ7RBQCVolb4m4TGQS/jnzYZDEDmNvZRQIIAQnDuBxuUSHLFiJb14lGxeuwYX/SkH9+JgXNx1j0uyDMTM2COqLuWNaV2KLjjvifGau6iI+sIASIBBb6vOeQDkTPcL4I+ymbnCMg2senAHXAO/isDmri97WIyaYwcOzJEWjlHOWyTI+UbwASDXjufqG5oXHKQpKqqeZhQZXljx4z2bo2BgxJLs1NnSg7eA7eYCnWd3JQu4zhsoij1tcxxPQ8rcVKf+6pJjEUDvb556255922l4CIQhsCrWJYbiTPhAIWBJZQzNGHTHeV8r6FWSDuIEqqCVszjxzjvm6IR18Z+cwQylulqhTxlwnHz5jzCRk1J6mVn3XA3i9luMzESIyXcAdCFygLHyEItNmKGpZ2QM9g6gNmyWZ7euWA5FFop/dfqgi+EZNFjkUlBkLoOfUM66d8weoe1cn1wL43pRaKiw9gbo5/8QKSF6PN1KvSZjjGM3BQPXT3JTNaiLqfRcsbB91Y81pZKvbuttwJEFndZTFFa3NGsIHx/uwIWeAHYyTxjAjiRw1FHzWB/rXPxfsZ6JUXIDT69o8Upr2BshmjJAkI/mrg7jJMZrBggB91+8hR73pVFqORWw7by4FSdBdrARQfgTUyYzp52OhJh6AKIQYX6FRZNt9pOxPm1AZIikJByPyOtkJ1Be6u0NDbjlQByXZiftE4ARye1x9sPZf9PrxeqWD4xsg8gDQwljMa0IpEvs295Lax4V3K6aOq+1rvushkMdbQnPW91VqDJXo2QiTJBssUOuzZ8LleWIn/s2Y6lrh9G3Ri3OQPGrut0ICVBqKgLcRQPH4EizEzvdNbNAoYSwt/tpSvNg75SS0IeWzHz/KL27k5U7XCqkTxwH1BBPec1gmzAM1w4gx4vy7iSGHPewToM+dH6Zk5erZS4AUg4LlUmsLm7KCht9Q5EI6iLus46QS/oZFJmVIi9aSZWgcos036a2LvML7aLRtsjBojJMQMJ2+fh15+if9eI+M7eKHLyB6AqtPaKpWDNbh9HLAEtG6G28U5CeiuhT9zjcYH9kFXpeAcNQgV4JN2s1v3mhmo1KdzwQLg1vkHYfVqtRnzt9lT9GWPVET1X+LxMgcSLU2BzUUHhDC1wJs4l1y9nIYNn1wYv8FuyS3E7tD7DcRBcm9IX+nP6OVYnPmjFKndADlEt4WpDK/LxfH24uCB0qFjJCXMcB5lRxI/tLglRQgx4cXspWqmVvql4FRN0MOPlSALFJS7H9Pnfo4SEcpny9mAaIIyn8lTFgWLd24LxOxej7DruIAFhQK8lvHWS6TVgD4WvQPVU3gnzGpw0pQjjr9hWcXdmuHJH+gZiVP3KIwg15DB4TjguRrBi0PcqweV564yUVB4DKFsduwnZQatHg+Vg1w6f0RAUIJgwovFJfPAGVR669gL2mCId0JlbA1ZuKQAoBrYWN6HtUQ9z6W7HjkvXuTV3NnVFonpMRWve1dL9zPG6wGkkE3LU0L7JqEkn9GqDo9AzymlfkYAphU2q4YcLqylACG9uLu7uAZPHvgEvQv8OhCShL5wRXCMNrqdsBYGJRPG6Tr3Osyys7uzjhkxOkE01aN0jL0iw4vYN8mCWhTmpeWm9jGwnxOrrSiib4D0MHneCAp+b9dstUp7sZfhBZCUwSwd3QXS2I+6f4aafJHn9sQ3w0lng8CgWlM2fxsGamUgvhMJ9W/KO4HeNTI4fNxtxJGzkTU+NWH33qjn3n7EuKKYLajkgACeqeqN5Pqbsx5djECkGC+QimdTh4o+oKiNyHFWsNXHzgpz7F/DRF6lS/WRU4dl1u8WKoOkxIOePyLg5YAWJktyC82t/IC8T6aEDdp4esktrzmdQZjCkg4VPPQMniNUAJCnWPyKKLoZjFIm8GF9/6PulscQvbe0ymSVruR5q37j2X5xOfXyioMBl3wKZJg6Ynef4wNFVgVIPh6WmTlALrhBWxNojjzp5a+SjUfM3QNWyJYYyq1GREAxxcZEtU6r2+nbtCyFIdMwFtoL6ZTJZexjg9GjsLeO8PfCXfTYpkboI57k3OAZOlGe8fgTQIVoWkrwOzGnjrDn/arPO4rBnaQI5M0xKQe+ykTPBkOjJA3NYgzbg2j2x6W7N/VmtGcHhzJblL4T2CLl2o1MbGaZgJLtnJv8a9oTTB9CtGNHjPuKfsAfuUUwa8EX15Awp7ibtKSnGt5UjxIfyyxBAud0YMo9NScoz4WPT2P1uDSV/eN94tWyhOQo9ABn5Ub54Ej3sd5T1toX+c+Esy4wKk9NCXnXC7aV2MVd7k9nKVSGCaiPvsTHwQOHOi+scOs3FBmHIDvy03M5mV3AzpABDJ4dp0m/6HztdmRU1Hvv9yF+XaP397ilNkDV3s5Gz4IrRcTgNzMNnc8O5csKlydohpSyaAUFfWXMimvVKpsYoQtdgjyU9+qa/W5pGld0/Osk3bV6zN/d87DOzrdYj41eg1KMPZwE7wEvEO/oNIyqewQYuMjeSqZNj6YV7tbCn28yQhZeR/2rk0FKZitHGYxfRDlwVzSKoMYS3GAI42WcubcZHUCBV68QAyUdx7KqFZDKBXLYV7WmE92jK8/2VreKjnwa7rFlgL+J5bnFX50GF0GBGEFvbIzoIXzvnMUK0QUDILYDQt+aZ0io3oTBcuwqIz+BKqNMZnTjOIzWRMD0WUIdFL9efFKPC6VHOD+UZvOhjmiZDa7tJhz8r2UOuzB5KieZThj+Tfo++VHVbRdUfI2ssGeixpFNsQaoaJtOCwBFgCMSLfpHXo2rL+/WuPuJ9RakC/Hs5doHSllO/Pg/ut8nQLtYCB8MTxqYbC3Qry/Tshmipsw/pJJ9QLeVZzNjWR49Q+qWgkCHDYNyjvVeW4Nvs6fUjtHdtj55bkHkY6LgXlEr+MCMmpuBG5JOf4ZEBhIBzpimxyecSeZdZ+O+6xcI9QGa/GlvJZbcpaG5KWilG4VvoyEVWm/zhAkTUp8ZwzruDuvcR3NTxRHZo7bOe0z5xVLHZeJddwD93DpaK/sym0jMXZLoa7iWfrBUU3/QIneU9hX05X2zTvGA/+l+aer3UYDTSpxbonqMig32XgqJS+TJegjPRCBJm63IOo75KgvE4wJy0ZvJUdHXS4VVYGTwLcHSyXL+yf4FMWejeYPrgvqJ/ENuF5v5VaAQJbCTnqf3+eDv4Hzcia56B1H/dRFhkLst3v+S6b/FX5z11b3WHz9b9eXL5B01YZFkv/Vy86ujHhP18uoOImUS6gi030sCkO6g0WTxdVhum7yTqDfE/PlxYum8Gs2syKYNeBanEdWI4F+F6jZXZqCUigT/RlXmbXq0sckNrhDMbFdbllUe+ZhUNOFmbYhePPMNjYYlkYFEbGri8RutwzMlfosWaotPB965vGelXrcGOWz2pcfmOs75k5iYa1qD2M5UMbj5d0wyRZdD5nbd0rcLNctVupNkC1E0giYoUCHVFEG7EoT8yDbbS4F/aJ/iErWDFsjox2bsSvasg3d5GZBEzCzSag15oDUe5y5JS0fIRmYgGhr8iAooIBI9Z0ViKbIlKDixRGaxurDPshfudFWt7NaF18S9H1pg/x4A8XfEUwzJnSMoDC3DGnpbimFGLC97EQqV9i4zTvd4XogWH/IPH8RjFGTXU1379dIjWmNhVz2LpAvPrDcImRw7jAev1/Vwa0Bhfp68XPmVpl0Tv4ZUEdXtbuCz+pVCSXz4I1bGTyWZu8JNBfeUp4L0DLjlDKGKy/Neme+YMJ7k4ay1lPUuJG3D0ymcpcyLzf+dQ6jspOqv96l3Pnp+Q1hjsCHE/1GgCDjIeDAg8REn3ZFY2PGybEed+Eg6/rUOpkFrmobT/gdyaadmqo/L/+J4r6Sy+BEGBlfuyD7MdkOzZLkZhyYcX0Q1FC6gWeP/5a1d8VfQEi13JF5xnijK1E2rc2SZbFHxfUKyIatxYMcug3LcBEaD1TFWKWUCg+vPhqGk2/D0prKSU2scuhUTdtF/xGrZCE5irS272aPhYItJVXqgFgA1vnQCJB6PyzJ+vAaoqsnPyyB46zLZUWXKrYPT7NKFNnfiwlXHK4c9FfshJLzbP6Xgqs9dH3KQbC6dsQVIFY2zI2IBw+FwayWCezF4sfXQebZYYB15OEzYsfPu+uH6EX5aLbehoZkMtacM1wURPrJCzgzXHFADOxYWBTa6nNNcou+GErfJKNLx0bdGy7cOxZgM0bQgDOXV9n66OU2Sjx4iAfnmAkYbIsFyWLXe5qngOSKBUD7/BXfdJIG65BFFq9UO+/FQmuFAZ6luZ/Z/YUk1sxKdOwicGjy3c6gyL7XgHODGlLhqDM2CxC1CNagvl8YUdlqgYVa8c9oiOyDTpNJZR2whZKwe94qIJeXV6e1xohxLqn3zDpPu1Xha2eUXReFd3502FFfJXPmtqV9Dac8o57OTXDh17FgM8SlOo0x1ZMnRRv5NhAmIq8sA81mqhKq87c2htoEF29V5Dnne0XcEunrZuuJMi96l8zKk2g74wN+nWbXDJCIQ4qdivJFrkUkowTZ2C4oIlAV0aUn5+ZfKIyKKC+sjGI5Bql4DjVFlE9oRf6WEpzLxyBdt3pRkOLxd0AF3Tsb5hMNR0++2JQyfMJ3WktM5qzA8ZTSY/8fQ6BTi69MtPzkchtGl4823B9fh0DC4OtCSeA0X8bNLHblByBc7aCLPFaRFVzuAtZQF8PMLdxF33o6kPJwQFb2zddf3Ak/Gp5Gfo+hBlRvFEIEuXhX7KUFJ8ecjHDW4XssvtPDY1qchd7FbvdJJ6j9s9xq0cVpHge5f1uXEgbGDqu2RWSLceb5ReDnHB2th6/oImjuPSfuj8mI9W3ujTRayryXt7SdjO7wK8P78NT/vJsey6avSyxsviIel8KM9SiflZF9Y1Du6Vjkw/TFREAlqoqNny7EZjd8QFMQ1ysQPrb7LyarCeUr52ygrk6xRuxHT5P2xbCR1mORfUELS2FdTgoUVbss2c4ObWgAU3atzaEG5MGLEBHIUfq4vuNLbatVn0h/xDwUvAx4foL6rpSBVK+tA/UzzjGtZ2V6/x/l0VriikoqeOzo3TWW9LFmollNDbwQgUyifZDzeHT+kvofeB8hjq3DefXFEvymhH4I6iALE5nKn0fizSWILB4Ejv84/1YH+Fq6xM5E/9bqX5hsMzQnR1zkSbJUi7kj7eZZBP3VLYfEjy+JK0Rpsn1TnaPAEzJGYhYMjKUCWbZkNpJkC1r9vHbbB/gobvaqD56yLAzKkx28PI9/RiV0hbkPx9Ap7y51Jw7hWizDFHnPiMHFI8xNc/uD9g+u5xUzBjnIOWoYed94tMp4Up0EO4tfpi68A/AIT8OHvmw/AtgX1CU1Uk+g8Jfw5JiN6KL9U+UpoNW26Iop7omDoC9qM1dzIB4VpjkZqZzoVzrLMWLTK2Y1fOxDJP9qgU3ISBYp35CFNHgiHrldOXunklwAKyIkIK4TAlFjaxW4vUleZRO+NkemIgv6bH8/hIZfChcKCLVI/pHIV6FAIwrIjzxnq9FkYVVst1oL4QKKEblEuxb/71TvFfgOSf8EGb2vg97bXUFXj5wZtSTvDENSP5Cs7s02C31zJQHNmGuMggyr1bAg30AsrxMoJFot91T9DeOhqlhJGQH2aFoF2ueZzDgsgiWs8TR+QUr2ESqF6crKTke3hiu1PAlolJNbnUHBqUQK0tZPVGPOSLU5epk1R/l1qmfV3IyDkdqr5QdZPkaaetwJRU+AS89yXDNNQXFoZmXVsA1/2NiFkzMHBaFDO9a+nIv6cvMZ+LrP08+X77x8XP3ZuM8Tvy4C0EVo7FB7ywu1hZl+fwKfq1qQNpurEXnttfSOoYBrsickWSCwm6riiJhTQ5F4K/EoN5S1xNytuVxVjyVM0q9P+RtkCfcw/rpxAHYhuLkYEULtFmfVvVEY7XNUnViCxyIkVXZ3goXDaaetFdtyg4egJjj+P5zeC0rfUjiY8eJzA++xy6mC7y+GUMf4njlVsugOggsVBRwfS5a7yxOpPe78rj+P0lf2K2Dwnm5R9kpyURFoY2JsRaUTnNoSC9lgauaaSjlg5NnaXc/qzndjau/uHEa0R3TltXFFRJnoZLwthv0S8Jg3Dh2+uy+lLwH/n4kTuGAVvqrHVwHIrqpUBN+CKda0RxGLsXl2IXC1CAP9DTZPrtuzsIjAnF5bdjz8OStKd94dkXfdztzLkj3B2lOTkRIbX6rSwVsCIM395MDi3lKpN6cXURauGA3CyrsEjPtbqsMkJjNxcPNcFjoM8GId4vl6kckOkcO+efsgmqQQMuZW7BNdzQdKIxqsf+OxWFktHyQ39ZU0L6c8LeDOy7UDc5rtkfXJ9SkBufkevw9JP99MCxQMVslK97y9fDoD/H7szwYQRbUIi1Fq0Gja0UgEQKTLgL8uhm7k5+cR8VLVF5SRdDsLvhIKMAj9TfcNR7EkRRnlxlPdCBHw3M1IQyq+iIS0wq0qhCcuogJB9L5ZIg+aeDJ2KVH3vNa5stNtJ7ZR93AFKl3gbMMTAliwnlTViUzRil37/zjX/HbLqTZzQF2LQqv2y0Y7T65rQ5z44+mXRjYjRqhRiEzxN92BlQuEFMQmkAvyCmpvpyUAAQL1uNug3Oc24Og7Dq1RO2J1bIsGqFcF1fzAXKZUieRCMiBIueZCvY7jfD5pXBz8MtSHg8ikUWCrK1X6X18SsLuEcfi0EaSUULujLo32gIURDYu7DCGi2BvtPQuRONmkoVARmM6M7Qgi3KSmL5M5JQqgJLqLgrxxeGpJ16qstsFWghWTCOgYal11OK3mC+C+QJ4LzVjEKlHW5WcS7x+uuOKiArkw1DTiKlDoIMW9kTq3ZUZSs9ClNTp1hSNVWEeiTNYE5pcD7Y6x7+KPeDGLQv58FmRPiW//RAtOwlawbF2kapMFeEd3IJ7hXf3IvW9UsXqcRQT9kyPkG8MBzxER8R59R67yeEmvENNw+jJYB82mGz9zHX7M4GfMrItW45rLcgFfL0KOvnzex+MKkidIvNu/4VRoGCiPjajomBiiDmDzTmaKZHftNvRQoDlilPJEZ8WuzqMeu6x7NeqhpI8uydqO+aisnX8C0DBN8bmS+1FClyNTi7KSi79uaOKPN7Vb+6e/xjDQ9GX5rvgsmQX+PY7zi3/5Zw54EQ7kWHQlU4PNLN5V4p6Sp8jhGqn3r5s97H5i+juiPDDp/Og9Nt8NGqZk/gA16rv5c80T2TqnAmnVXWvIVdKMUmykrEKe8tQCDMy4vIvQk31qiCtjMR8AUW0TGXaAGdwQjD8/0bZyLv/buYmH3YrfRxsOXTULxCSmTgNW0JmGEKqloH9gcR47ztN5O+RXFCQMt0yY8x72Ek/8oMbwgsebTMLBwj7WSFM3cm7ZFxBfqCcTiO1kVs6m1P0a5yformtV3Dst2GXYK+Ply9GW4OAWciWtB/guXGBkVpnmx5rVRhHn8Ueg3tZn88zpnuICZFjLCNojMvpPmBb7UZaYRTfs8z6Y6nSSB+Fgtr1huMdBzJKMbL8etrwPoOI/ajhmKhFm7IQKPXU4WUBrFHCWGbhkVXQN+d/v0667mIl2Sks5B7Mx3ru8avKOkzqNSbNNog8bvmu+NlduBzc40s63YUocvqobwaCDwBSqhribPhcg7oPgaKdSmKH4DoV3V9gAR9VhKsOiVIN4esNMN6WAmArDUtvgP2irGwdIMSfZHoaS+D/DWgZz/gIs1rZQVL7bQzwLN0x6m6P1+ZjMKtBZdobLgsaw/+YZU3nMbsqnt+jr0pf7Yhd9oG9J8s7PdXZvPxWEqBPiv5qI/pZ3qMXDoaPg1IP7/jMPHcLW836ie7QcA1pEwoNSQ4i70bgbIO8aN6UWEQzK+1Xz1jFDILC0+R5gc6mDGtZ5s6wtTS8xw2qlp0QY84Ox48cr38cIJMWuZxW3havLZHvVrjkTtl/QSwkjzypLUWHqjp4RT1R9yisn++UXI4/eGA/0Zl1wD9eYhN7lfTbmupU64TSC6DfVCwQPpylT+x4MwNrwksZTsGDGaP6Jarj1e5q8cnNNj0gvRjf3Y34+YBq4/oo+kvmEQ9bMP0OV4WzmIbXn6/tH9mL691uoP465OzGRTu2eyRvo2qPRMgTBBiBDCNGPU+mVU2oeYO4mxCML89PKxJRfF8ge3wFZpPpiiB3Ta4vhsfkq08z2bkQWrONU9prXjKD24K+HNlMURNfwar05ul/fPRvGhH6ZfwH6t8N5x3gy/EHOiBHMgtG2URm9diT3yuQPe1PYMRLxDBjm+Yc8qhH/W9E1uz7r/zQT/mL7K6SeqcY0clAtnC6Gr/jY93lg98k96FOpUcjQ6Y5k5Wz5p+XfrDvNYs1omcUxm1P8dVbfBcxRWlq3iIt+cSGJZsi7XJLaIPQk2ynufS2ALHmKEARbqW88fPwmH6vRijtCZn+Kl9QJ5INCar8WvTywnnfiJ/ZsjJ6WzUqgtl48oqsvI01pKOE/jA6AuI07M/36kTvI01hZYPVBg2wmmjGm9eX8UG6QROKd+wtPoWNc1fBRIfRch3Hu6HbNJzfpciFjdiyX8FS7G2B4P5BbEfKpMgr16MyQ7EL8rBqMbrcRkrk3N8SFKRMd+Usw0Kj22158QmBfnkewz94+54BWBGwSHQW+XdxYralLL/ydaBQH/gQ/6v9WdBU4gP3vReeFE7JAwBMTM2hdtzYqN/Psc942dW+gIW+pJ4d71e0ue5nrFsZvIxQNj0Ts0PLdvWsD3sUAx8+xfqyP+ZmPs1m3Ihrn0gM2r2VX91UmopSJDOpr2dWJXzDQJRmErrk6GNKewPcPo9aLkFJr5gtRrTXvMbVMZ93PZqncyTaTOyy8UkcbyHHN5d+OMeDCt+V5avrh0RGLdjxlSU7YoxsUDFh884fll6zfXNXvf+KGedBBi+eynbwr/rtl0Kw+aG/TL4UsGNtMfiouCGGxjzYRD3/qdvvHu4pZOr2SLDTPRtNV7I1HtCuMoENNwsDF0FYPJkVItjrJzfmJTlJ+xFKAicmIN5/8J/8L4LX14iUm9S4nFO3Vei1uyZapuynuJUmQuYr5WxWfSa7n6cLsoLZJeWz0uJ7dqfNQ4kV/0bpTQHwR2SslFxO6BvDIkBnqc/kWa8vCtXrjJBhDK5emhUlWEUu+ULDoasUwwARolcLaLto6ZsjVUkpm5tu12g+N4RGemc7fPXj0xmcRiwrXynLfewkXeXX+eC/nEAqm0JKXP/FA+IPTTGHdinh5NmtADFhImG69aD6KTmEdcqsTPIKqH5/HlOxIRhBV4n/lwix1KtPB3PTdi7a0jEiYhG2p2RzcRX299CdQ+zIHoU0zcvng8szil/kJHCIfWknvi5qigL0Lae2mfEO+EFOEKV1ZDr1k6/BNMqJWF4ib8q35eYZAN/o5UCUqlBcNcP2DLg1nAAwX2ZsTNXhLB7T+YkkQeOi7OR+mLc2QiD7hGk8m0Db4OrkuzwnbkPPRKo2J/D18A/nLL/4ajqLG6moUis+eQJ3kAbKyeAh/cPsGIqh1lCXZF6SAcRsxNpQXo8/0ZScgJUYiq6kByYVygVXcTkdRa2F8Kltoomsafj4uXShng9bmKMSTjmXM8zBjnfUEA042K15Zy/+X4g6H5OO+eEOWH5IRg0z0lA6dT7vFkH63C6zWwWVCQAY9SQQcoGuQ0nJLU62tlWvu2HzYkpVcDPry+CBkr57dHZ+aU/4Lpfo9bAhrIq6+RBn7hhfRVqabFoQ0jY197Pnf/mGuSAVQ+wRmYgHWohphjQl7i8OivjrWb2Tr/QR24XGRQC4bo8TbBCN2BaXt71HWS1MK3c3Sy07Qnbja2t8+TozUCrUi17MOhbJ0lhQG+hZq8jYa4FSL3o19vYG2OtwB6QRZd5yKiCgC7wpXw7O43UN1lCea6J6OjIelxTVXmFzdzrY8TYF1pbEL7E4/l2cDdIFTgYbysTg8mhkCTap/QryMVxUMawF+OvGTMQoTywelMHWwAQvFpiqwFxNbQBSXT8lZTnGkLpYHVbQk/EbM2yn0sFqFEVXRmPgLegMvQjFCfQ7tC494xSvBBcHtZo59R50OiCql0416zSsPQShCTn7qU+jkV4Ju+thce+pXCZuMF4HBPkIjVbJS7+1CgpfTXadQiSL0kTM93wwfKCt68lvr8dDEiJGWfbEb78V0IgN+SBuVcDb9zkzHeoeRQ8aXftFxC5eR4lpm5yymd8MHnbrXkEEUIoF3EvLAV7uKLQyxenUDH7i8GrbQ6RMU2+FoXuTWBd6BulbTOe9O52Cpd+CG8MjL3kO0M9A4RJVH0tP9TNBfHQmztms8nVpBGueZ4hPlD0tcUwmMZCp481eK1yI37dgso7yLJcxUvxP613ymiu4ru+TWdRce55lMRE1s48bJpGOBpsz5yghw8zKCddChVpxRUQhFq3jzaM+cFtvs4IlTQlUE1MgXdKUUib7KhB9Lp5biHIS33zxD9hSRRLwm36s+q5moVNzwZQ+InPPdgdr2kgifAmMKu7aMds2dD0nL/B8jOERuNxjAMNaWXsdMvAquELE8nO/9Xxr1NDw1KgF44qvXJIJqN9MbaoAMcl000VB6oFlEEgKrEf7XlZS3QUu2x0juMAF5QnqHAGoNd+up10ekhcmGSdAHqaSlZj1Krnvho57GlQHJME5hu7D8rnk4UunjtVBLngeOdKmgjLhj/jGpT/LEc+A5mFDIoigRs/mg4bJ+GlydJO+1QUWY7NhdpcYc62ILU1AcHtviaJkbDUjCOfx5MRQOEaE94I4NSrm3VTFLsAn+pn+dMa35OUEpAcN2GScEHsB8LrARfiSS1AaV9596Gw463oZhA8aSc+zJOPx/8v8clr4YnenIJhi8m9PNr7MR/enCsyuKZ9C9uVnQ38dLrJMXbvMBX9RAp1xOzxGRNTmT/yFTM81PSx5bGFnAtTItf0Ii/81xf8/XhyOhSpSL/L1cFLxgHAGVsQ7qt+WKi4ZOyiwteE9Y6aQbZhNCyhCzZXzK5Q0TlGO8Lr5Prz7hLc0YGj4Ht81HCwaQ88uymQDrubn9miWyOcy9nvo1fU7214y1zkitw2Twxo3i7Ptnrg5BU+wozEPOgayqxLyjowoyq4kBtnGXYP6G1DL8y3vVpIJZzZfMxjHxTlMgQnS06t5691hak5MNmkYBYExs7GrdkG0AyR3+hAx5Xc6mVAVyTDa3lG4ruvmAsdiiSrDZ8A/Iw7hzhWHNH5ZoDTPhfMWGu8z3NkRz2bFWGJh/M7rtQKG1JRGClP8k+RqRRjzLaHnnUbCimEBbcHRzKbq2Y42N58Zs3viUEMwaas9mCqWcwMTx/yZOFAqbxNEXUS8ZrQzXlj+UiSEq0TpBXKWnnIIkqxzToVPhJIIFsUQ4Sxl41RTr+ujITzmlDYrBF+e5h65c3axBsy7VDRfraKmznrUh47hG7OxkShD88M6+ADRn2TDiStKRFaegVtFpGJJ2YQEyJoVyij96ALsBexfx+e2wzU7D1g15E8wBS2d61FEEkvaszdSFWvvq70Ehd42N9+oiONSr/IdEcBI3myIXfQELQotNLlAIX2PCBUnZVvr+cD5qLSypp0Jo4poIMs1EdMcSKA6Zr+v0oOuFexgqxdABYs/1oHxzBFlq5ZDaVa7fhqvwhSPFjxsCTGeQ5mRSAc/BOzaOhPSLFN7dFhVyuRG0efl5Lnc5lxmJkIXoJp9HX6CXUBk0zgF2FDqTsV6+q7bFF+YZO1Pd4LufD8EihhyDLUo0GptEYC5me91HRqhWGMLXmSesd8cw+UC3UJefp1tI/9wG4e2YIJKqhX0UHnAfAOJZJ2aUp6kwzrKR/mIzQqCLATS4r+2CbEL+yiyvsamthEUa3Bcctkv7X4x2UwCQYW9hsOZmiQQvHP8Z2OsyGSOd9FcUnMFM9/ahGjaCmpQTpQAcs9Dah+29WV+oJjkTr+GgOGp1jYIfNK0RDCW+ylTDVDD+o6hcgZQ7960LrJJ2vyJW5lw4WJzneInllan3YU0PMI5biesB01r7qd//q11F0GXOnbu057tk6fngh3QLOLCWaie3j5r3AKWhj6p8WGWPSbGL5l6IdV+2zKZAA1ERW5pkicdQZNKrxZtr7M7VXm6av4/cJDk0oHx02E1g7WqNUMBQWjH2jalLL6o6mMFMxmpNMncPALXuuMkGnWm/m9JiMDln2YpJyrUD2edrRiOvjAWsanCTYagrvCsC8q7WXfweMyr6ZQv5S7XVnHWQwsCbQravj3Bt7yCcgto1KesOkH3LQe88X7Cw2UnHLkvsw4rdZjd+z8qiTWc/siEeohRcPMkIMVy6VdIvLgCwtNLWXLC/13qkEQN9oWgiAdhxVoW4ILdwslQqLAnsqjxLIIGUuStzPPSe/TIhvayUWtKLpDTpsJ5/LB0yVzpQdDiQQixK2dONnE5r33oxgJwty5W22h+m8pRXvLAc46sZqNrhB9bHvrN/E0Q4ypuQB8d3uhw6q8fBySTDsqYkPqj8tsjHB4ZQO0gtWQRXgQ7lmSG2wgWAVA/AmSgd2+h2pJREsr6oBqmWwpQ6oTWQoTVe7zd/+BJdst53NRYqr+Qi9win70ngtQEEWVtX61didArOF8VSVN7HPrT1DD+FHSw7doAZ2nVUK4fOIiIYlCg86aMnuN9umPhL+vnBYt1xmC7rP9xtmpuJLV0sCJKvedidNgmJv5r5LWgjPrQfUl+lN6j2tgi49/a14UvqM32K3pPS7GGYZbsJKhn+Di2sDCl0GtVNRBcfCdQLi05Osf32aJVi9jBSAxTgPWT5agKIqd6ocqZLEn5+G3K/DuTyLzbF1QxdBzijX3rEUSe0aVxTx/lW3xLk8PQbdo84xJbIGzQ4R/U79hfOQYEQ/QEgJouDk1UH1paITjA65dCvm4qzj+V/OxKJ2/VPQQO2TOnTnNkwA6ydG9jjA+l2UUpi7PqTCWDyhjxEVSy51mrTuKx8eQexRcDdCQ1bJfSKgS4cJGIwo1NU7s0YnMCOoBXz5HZ+5dEWA2XQj5qdUruPSbO09EBHMSBgruVGWqZ3RqrNBUOHXU1shyIMa2y7zKOlYfbLkAlkGSldCGkQcGtSlCEzmik0Zrdz/a8B/zRxzXIb4OpDjWWOS7BKZjKEZKLKCkPJOf69JkQz/HyH4lDNXHBuqXsKPrcf4CdJLxhUhuhQqFOsgfOwnsiIawlqSGoMuNY/U1wAENh+FagjI6tjCr6+oGyC7e48NHDx+ldYhXhLuPTX+WJewXW8vlFbE31y3oAYgD83lIUFXd3C/BuVUwGw4teoHSqLLi3s0u9Y8iPsJd3dqQeUuqenQrlxp0k7yskgdK7luWwtG8g3K+Duo0FAmR4tOWzRaUKUv3XhCgud4Rym2UL+sVW1JhweD4o2mqzUiw8NMpIojRf23X3cpmPuuKvGAaPKcNuML7uy6JF7uPuKCc4ArNySU+a9iWiZbANZHY6obt9vj4wgRwgIGTqAVXW2/TkMEpkzpWR0kJPkuOkakq5P0BYdRUOTrh+5vlZUVAV2qNj72zcBomVXZbWBABnBFbl4XjOd6d/Aj3qPM+tzCfOliQoWOG+7ZYpe4J4awe1hSWwQ55P0gM+XfSZc9vE+Y7G3T2AJWm1336ZvrrJMpLP5EYKPEsaZlRza/xGdy6KLFIMbFTi/lPuJKiWPcreRgTh4+Gs4NpcP8R25MmJQTkw7pBMRiz57NSR5JeU/YEt8AiBOMHXXPkEPpnLiehwkVN5avmogQafjed33F1MD4hv3aKsXyPm5Pe4Xjqdsd5+XWGyv/inWDWp59wlXe7uCityIsTR65VvtFY+UKCfZmjGzywqWbyFJJia/kNB1pQw7IMkCOOsQ+z0kZqOuEkr3bMQYgljJUEytjBScH1DjNy3ccQdrstN93UO9lP7/BcxiyiIUhvaQ2iwbKdmIfKEDK2lzHnDDyD/FrUhvrTEcSgLENsOrk5ExJhUVOGdYLe3g7X0znm4+G9QjMJdQjZesEMeFvxejlWHmNnN8hng2BAzLqmqNX32+mSOV3zmK3yhGeh5tY66kWR1E4z3Wl1AxHc38TehHLhX4rlNxvsrDOyhuBjLAvJ0ickYuf1bF6TSlrz3CCUTrYLqFq2yRglmytTGOmvZiEcU95QHargbvwt1dKDCokFBxJXulg3NqQ7gmRFKtb5boJrnzmoW+EizKSh+VCbBCkTANmc+oILN7EoAnGgul/BpgNcAs3P5/IIq+0Hi/Bjl7Bo9pX0Ab8r51EN/T88Yz0KE0AuLhNp9+6eeiQ14JG1JrieCCFcN9Id3D1xyFrIndTAIP0WvMgHnHNnnJ68/sIrCtggoBZmjeXujvv87N0cgF79l1xcKx2kHoZjtkPa3p8yTcE41hE4erkGyesNSFDNXZy150n+9xoQRhdRSJj9ukh9IWI6IX6pTrtR/Z/UsliOjvMt0D4CPxXWsa1UwDNdEnB1c6IJVb3Q88SeY7aoGyHjcdhz6nyaYwGqlztU7Ru5o6/d5y+lacoubzN3/+NIACtmHWIeyRsN3nkC/0XXbRXyaR8wCwGmdbjZr1+UhXXuM4B5+DzAyUPTJLVyrc59X7D5vyVMkMBn5xz6zRI6ZxYp+snkd18o1GwN8VUzeX3+19M8n2XjUoPWEfYymBwCl6OOqB78GWXKbktUaZNYutyEvieAePTDCHVC1V70Wpa6vjzJEgjgBVCnLk+6Dl+4bLWUmNZ+GJopnIl2g8z2fED5N4rs7dwHdkK1nrxp2Z2+6o4ZsAKPma81i8Qw2Vcyoj9rXSBFf1q9ajSseLBrpzncysGgm31HZuprZmodBhockfC41pPlOleGemgVADHc7xj5ezFt5Tomx9Q55Uyr5+qnr2e7MX7DnKxF9xt+BOyUOThbO9vaevDyXkCQbffVZwRhpvhJUvkauEi6SvW+nHt0P+WvDpcpDZRbWeUH5g5jHSxYsosNbWvcdDRhuATbcKWD2F7IuWAsTRfUYunI7GxUiYYMKDsiNRWw8pPRmVPTpCEF7dn+9DB7PnSZB3ILaQ4GpRDDIyLhALM3B4N84Y6+hS/UFyp5Y5LvIymjjdpPP3NACzFB1/MdxRWAzlxbdzbC7WPxH83ylTIpEdvPkIr3EmKks6/Of0TO3AaU1m3IPPCw6IaH+lGioVxg606SAS/UDToCc7zcQpE201Y/k6gLE6eW5RvptJdp4OaGAXOF+n5KQwHeFGQ6QXVkFH0Awr9HlyjOJiY8cubmlr+wBxBkaISOoLA4eV9Kty/pwZ4SKzabbjrpkZyd+EDRKWoba4OdCGWUJqmF29tQgP3uJ+/X6HUrAyV6p2Rd+PASSVuyEZm6Wb5vij50iFL2vnmsW8qyT3tTXppNRbS/w7IlMG8FlzpzssTPJPkxM+Y/h3/A6p+7AA0OkS15to1snDrfzhH3V5grdvKx5EIJgojbKJvRVAPWa6PNTWfugu5jXhIXwbqlCMVsaOaTIxAghDhuGnxuAUQgELbrJJ7/ZI8Kf+owujKHGtYGVpQpTi5orOeeJdRbMrC8DbuP96BfULw8AlGlkB3SFgufvd77Gj/s7Ky6BuuFCV28A5WMIUHg3TCL/CYBsiunEozQtNMDIGCeLCAToD+xwf3hTF2PgSvRS/DL0X/wHocCLnGRis+FjaOHW5ECB0coR8deeGTmBWQ8d67FJtn5S8pwtbNSpSlWKVTX+ylCvlcDTgX/6+WxIiZnZnafeqGg5gvzpvrpuLmXL83iQAlf3iz+twAwg7P+33QSBq+CK/dM2X+s03TVvZ7Q3xWNBAIXDjuK4J558RbhWpU+e0fcUBfPKjfEyGvQxNiTsXMIZwDESmV2QUDFtdswlxv6K9v2w518wOon6UoHBINlkm/qlQOJTgrE2WrLn8WHsPZlzmIjrYjMQCuP5Halhiv7AN8CSERUU4dP3EANlfqTtm043/PNML2iNc7d7dPYwE99Tybe+J4iSryk8HX9OQys5m5WcF5tmSxsJ2QXG8wU9d6YoBYkavSNPEI0V42njPnTDpDRVktr8hMuFVrdCmkpkIrOKENGQM5p+lCloYvyIG3rgrXydRbhmENxrVoB2NmN+g6U5eHu2U2RGT4Zsk24/7CjZXsiiuDHf8soMN9FOmBrpKmpKDEj9oYF1INWoMcqfDEVrcufFdVtRtKxr42f4FBn+8oCSaTSLVWcCMyqml+zAK2m4lxG/Prh2RXR4jj97pdoYxBThggH4dBRBA5GUi1ye2jQVEPAZfY19hZhnGKzQC/mmkl8DXCALg2lPpfxaZP3BtpEG2WG8GxK2ArFHwfNiZsVG6dYVXYqP7hOpM5O9Ja4u3B/4+w5eIpc3ACglC/IrBFHwF4yYQiRzzcxoVUPOOP74cpQc21V/ZSg3jFDrwWq/ACqjDah9Fr8Ca8krFdNRqJRL9ZhL3UIzWBAgEkc7uMFudVnJ8JGVmjV6rqpwPEI4CNU3gVSJb7A/+DV9xTvWKS5v+Xllu8gYvZSFIRXFsL4+dT24ckm5+H8xUWo0frqAaOhl639VilEc3/7KH+tvi5NiOcMF3m0bIT72rbJW3ZqOS2TxPpQO/GvIl3YOEaa8xlIXZAhCWUAC7mnVV7eF0jHm4t6Ww99+58UuuPzw0bXrgDicWRgfurCS6z5/GisP6Ar28jdBrn9q5mKQvfNQhFmLzilYnas7lvlr+1NjECg7Wrms5Qxqw9EecegULVuPWH/T7dzuEoj/GaIz+OjNttWoSkHcH9/C1EuJtsP2rkgeoGzuN6ReqZygkR0qyeORJ69jSeWZxj0C3zJ8SIcBCyluUuwFp+qD1XdoQRrLGdwlRGrfEX1nJswPkUyqi4lHOn2Vk3CGHyk0jP9928bZy9aH1Q2F31n7HEn46s0m/qr/Gi5GHMJKDVOVmO6Zq0Dl24fDIfdqlY0fQUsnhz6VRSCixan8yNTht1stDWzybT4acXTjYWzb9BRWfYVy6uEYlSQPug9f9UnUd+ktNwJTd4onGI+pIq8pyrMNC2UdZVsJ/um7OPKgnUoQfPeJyOtrz9bGl33kcm5ZToGg5a+BwrevwK5ZvzXPuVTbkT+HbdGt/cg8qDX9cw950JreLcNym4lTFbDS0lpa7bcH3V0Ay2N4bKkIQ9hZgzBETY5HAKqilY0uLTnPCvO3oU0NvBiKYtDvHi2qZMUkzdP3r1qAGuxpnPevYUAteZQDvCKHXl4sapp+O1pFwauLH25FxE8zMOOb8pbS3yrktwseoacnJK2zpSGVQTgfOnJ8Z+oAFqsIeHQs8optkvRVn9s13JaINJab/s4NzTiHBuqnaVnf3Ye34bF2sfJTf10eJENO9Lku0OvsHe3hbpLT8H2zcTaOvvd2meA8AvnZXVnfVATpx6ASQ58aIeiXj5HME164NAdpEWEkPf8RoqpgstfLvHui+IFYVcWuJD56RnmJbU0HG2prX7IEvdaojVZZpnLUWbsOrtmVhrHncy7N1vsG3ElXuHc/DvvZciJ5mmdHSuvAWCJLpBbgVKZPOvZdwNh8A7g2xLK8hKWeNQq9ef7A5GnrW8wK53lmPsk7hVLK+ioKztSfMuuHrixO9+Cv0gLDXOCMV4gvK+XxK9NmfbqdDwnWfw+1sFh2QNKOOc5Q5r2roCs6xePZ5GarGV79ioCUvM371e2Bl0QaSL3BQoZeBsy7yqwXpomJrC9Onfq+C86aGdD18C8whBSK6xqu7TXeHc93dgz1JlZ6tw1IEKivcHmCm3KjYvz2XoLYCoMyxJ17JpHMRbIgOHW50pW4lW7sMRaI8zdvMk8TCNuI2SO7zqT/iGHLmkrNy+szDVxDuFRt8I8b4kT7cfgXl7wEyPzncMG1y84jZ1/RvFlzlke3SSlm5ldgPgoco/BKB1u9ZsfcNzibjP+wlwL22ll1hXXlrqkkRhTzeGMA1B6xU5FmiAnRQNUHwZV3SMklLYzv9WZEIVGreX3LUTf/U1Gt/xpPSozFguXABFgh3MzMhMNr2c425DspwNcLy23Vx/zkCVRMpCMnQmYIKRH2HRU+QApSR/4/I6SOfev51ENZhsK9jncWBw7Debz2ju5bX1/O4hhmpCXAStLKWSPSEnsu4tkaEBP3KLD6KiyZ19Ua8WzFHC0AP7cABEVNiinQEd5Q2IS1Lw0xwcNTnvGLxLa2/HtbYu3HueUEVzgp4QYp0z2uchM885UlA1enSEtzaK9TFBmDrlabr0hI5DniPjIz4shVBZf6GMZSg4RTszgoMMRcGz6kdILLm0OvcmfSguzS0CKCq65NUfT+YSWuBB7I6tIkTtwpPOlDzAAEIlMi7+Ba2malYDuGx13nES813vAXoMJmmQU+J1c+he9g4zHHaXBDpvtOyZvt1rJ9mf5OlWVnUnQzrvjCbpqu2nDoDm6Ls2XpjTtL7bwTqFAKRWTwImLsok0amZl1cdUgdWuIy80+WfHjfuSmbrUaDs6ZbSz7kUhWssLB2rjCQIq65mcNfxP0Q9A04DEJjADq1iZ9vPcW/nEKjQ6Va85wIq7p99i/n71b5L8nBU9n6z69TIelGNm+dnYX7mk0uyg1FminjY4Z7MAqqhcR8nv8lsROQ16E9Sgz/qpn8sXkWaSCCD2sz5orjagi/OXQIAI5FF4sJGi6GB+2eAG+Np1ZnevfXc7fCcj2UN0GP9zVwYtS9FMiKTmDqyNS4MONhdJie3jmITFQaIng19hVI4x38BIjtA/bkUrCij5wfvFJm6KMzKoI3LfxMXXyXJt917JDDaIGhTXejPRwiSgarrqx5pLhLWOnbMTUzWB+QDa7Jo3lMWJXMQP6i1xdXhF0HONulNSHE+/N48vR1N0eUV6SwsdDnILBEx1FW63BDqSmfQxPoTR53v6agEKoooWG8JjxwDX6fkEMzxmKhag/a+Ozv/zJHpgz0jxF7v4IRf3PTbqrdBS9SxGXQjLUmH+rrV+Y7zXeLKKKlxXQ3DgaGbS6ioi3zZGWDC3uDLWEHjiyWFnQKQpzVNkPI7FBdYO1Gy+PHTYgllB/Eq8nJ5rZKxkcVpK7KwvjB9KycqDc6U2ORewOtXMPipxlg+RYL5DiZKPShPmf4EUDFo89QYcJToWPR7dtavNfKhNtGjTfwf4hmkHWiHWJplANsWINArcqGln709ffs6AkVcYujNiBw7/3X1PLuUyGOKDaUlKbkvEcElzgftS6OVt/N0QGSvt2JL/sk3MNq0755g/RDMlenAX+50m2jJzfL0D431eBggZfdG5QFQkU6ullXCpmcAvacLRO7BNDd8MGCuTH2uHCB0VyPF44x82YNVll5wvwjqEuKhYp0npgqMPXivaPMPveGak71A9fqu9tr3hTJ8AlgOQHwoSmCGHNltgFCHFmChVzvU8ygrwd0WvVwrfcBaghO53H7jSxuZKV6a8/BSWKRmH0nOPLZzgWqYNu60Zr3V8cIZOKscPokyHqPtvVfpCSKFsUnDsr8xWwOHA150cLv3D5t6Weka1z3mqHQIsbW2zPmjIgVJaf5IICmJ9YHfqslyaaCVyh3Bl6PqJIKq6oQhbhDBt4xfj3Wr7fTbinQALc3Q6KQ49AnKRu35Pg3XnIFoHbh2QWWLPqZTdFNjosCAfYvWk3ot6uaxKiHlBtGDQDpPswxY7pzdFVWdaJ/WK5lYe2/vfIw3QP8smLUwbJqMn6qTzoBDvStC17LlhCLqYVrpSnVezwkZ0ep+K41DnwV0uk5Igsq1FUj3S/JLuXrGmPEFl88AB2qO2S7WJfURARAQJfgmlCtPKFmZZxQV42nKT4AHmGTQkk0aWI7t+c1Uh+1jG+/RE3eVn92+v/vL7UV57Gk1NPLISHmV0ylAAFB6bcY6T7AkhQhLKJjkIUkaz4EOqQV6qtb8SS0n7O2E3R+6WBbkxIAu+/6DnPuAPHaxM5sYdFliJEFu5hl2AG0nnPFyLDggbCGwn3zWnkkAeDc+mAEl2SRW7hpxAU2P1NDK28+XLrTmNrDQNnhVcbZ7ogv+Z6R7UBb+BcZEZETXWXqJkcZrQ3jIEw9ogddJGB41UNsGJqeaBwrv39bBL/e+wz8rzP1nHPNlEBgltuaXs9EsdzHH8P1pPQ5tqDhaN+6NN/buc+K1RwhBznZ3NSqasVCde0zkA+utcFAJuVKUxxMTXfKpwp6NZeDJeyDUF4zn6fsVpK+S17P5hJo5/C85lAkfUZALD3KvXUt/D3RJGYB433Wv27y+/B8b4h/isMm0bz3z57gRcfrHlZRJUAJmZeK57BKV4dIX2BXt9jY9QLCHi6ysSC8Fuaxa/h1Jf8JJv0/HPYv+R9SqxfH56VjkfMr7LCf2I8yHnb9XcTi1rSkfLulrCOLWpH+J0Ut6BCzhrDR+HgvhV+e7LxkBueNAG8zs8q1+fwotvoz9xxTT9m6FxZLJMjKOTvNA+1X5DgqBOofD9fd89LMV2qc8txnXkMhJ6rC8eFNidWi10QoYfa7P8konSYJjiihqPvkVm2R2ILqhm1yfM0xfRJe/jAMQro7zk1UQsjR9znyvHWYKjnQ4xS3PaN1c/nWclYeWjrxB8PxBbE2s20G2njfUbw7oLfuMH5eRDSXc1MkqMhpoIK4LSuYhD+I6iIoXYk/00pF2WJ+pmgWD6PE/LN+sapWf9Ou/frQFXi51oNBsyFrQWubhtm1XSYb+8vCpSLoqEFj+R/rZ9jXWFy/xkhH679VYdKfpJr1yn03P/LOXAT8K56lSmFHZs/WK1XWZdZS4mk+fAcmzrLS41W4YUev/kWhoih2mxgXe/JTT2i6P+9w8hnq9H5nn6rfO8nmcFKZKYrjJcxwz7K1cL/iDc99MoEFeAbHd9jeS6GPo8iA+HIts7UVAxxcpP8iM7ZmnRZbjUwTQoARlng3YdbQhCtqZCOAwWe5yDB3ky9Euk9gX3lVvOYf9HUqkj61k9QtwM9huw4isWYtkUBZwTDbTTcDOJVSIOZmWPGwcTo4WDwoi1IIvgNZvDOOZyE70oeFAx6pBVyi+Fj1P7U6Lp8KFg1d+8f0No/on1xecavo8mqCUnbXjL5WGte7bYhawsuSTe/OxMUO+hcVGGOOk7las4zbfs0g71KRdO8DPci0tuY4oKmjF9n7jsLT6Y9jvNFydeu9QNb/6JpzSjxZzooruPvASP2K64v6mw7M69bqwjLMVDu8eC3Og+Pk3zeBACNsz+dP9zn3gxEC19987OPPSZc4iO065UcpuWvF+z0YGVNpWTI5g0uXZLHN6Xj5/KkBN8rSuitASdefSHjl3gV7imQ1QlRsGqT9tTuhHt4zjcyemA2eqEZ0fcwm9XLmYbkeXwfB6YoeaMqn74/wgAm5zHlbDUrVXkfMkb9bccSujODHCy4VbR7GtbIM3WkXjfci4f68lAC0+DiVkHF8abn70rp/KBYs3JlZbBubBHWKwymhnGC8UoHUX7KhqKwSQd4hIopHo7RcWptFFtqSRg7teI6XEOdwENJVouaXsDXkHcvrqqRsOYp09KUzDTbRz1h+mKLuPEc9ILdC/so/plAc6riMBnyZ7pk2OLMQ2CUN5xBHpz3EWYqP4BxkHfA5dFhyw4iGh47q1iIvIrlcjWwPvE0kJk31DZA4n5QZUWfUBF0csIIkSsEYC/mAbhtTqIGOb1Q6y6gRi+h9/W1qwia39pPUQQSmomsFEte+jBddPCvdrGV7G3ZP2+qXe2pSWg+2tWWCXOHLQCOSfxqIYfdSmUiBCLE2R2xP0z0iqtRFOoCfDkGxRJ5KzGy+mGBYFSjDBaMGF7mSDJfTmvbOnEVNC8hPdEh8O91BZGDq0CXT6n7ENcRRmq54iiJGEUWSVRwl9FPJdYhaxai0DaqaHbEdEE+PTZ/GCOoRXljHKcJxUSTOFjCH7ImLybYXCLkk/7IkeZx7M7fUyoLiA6We81SzcX8kMSJq/szVjX3UfcRv56PSz58QmA9wSUtkA0pIo01915x3D5qHUoXc+1YN8TnYW0tclT/q4UG5dX18i0vn8YQM1hMvOlQo6xKqv99+ifVAOWLB5h8nW7i3AflRCcETh/z77QjWdidMNmseQRnIq8r06Ia3Ts2wBCNP+59e8TgqJelGGWVupiazgC/+4UmiKhrIhsTJxrRuzYiMl/kgUJET381VvhjwRKdszqsPGLc3hit31rEL/QqMzqh3p8rsWRqJ0OCnUkql34XvQeheyJkNzOOyctfFSbi53JUv+9xA6HDknsimYNHgIKuE9CHYahWu+PswtCo1NxzvVXz8LJxLIOPMhHgYUQ3aV5iCRnjxGPBwVD+3Z4u5ufku551wCyLpsg3HA5txy18HkG6dYng+j5+LpPDK5BrPpVBM/ZjnLSD+wEUN2AtRThiSVn/NUaFJPtrAU/iWq1cCwmKeB6m3AwXgODJ9CB0GnkhB/OwppVbMfBBPey5+tBpSHESakN58RJ3evk7UG3uILbTlMEa7Dtzy3QuCXn4NTRZCsg7F4jE+rNnJCh9tGnmFjtne5xKl5pPBCtUe0lTGLZipgGrj0ouXBCuK5ZY0uV1w2WVJ1Q1UZIYKthlAQprp4db9AYXZG9pcmp2FXDD89k8SiZvEJKS2XMHX8sV6tR9OQ2Bc3tAU1Ess+vEvOX3jNBd9WoM/1J06ZxEvK0NCasIwPeXzGLYuWUEuSekAA6/uIP/ss5Q+KL/LcV68e4a37J5meu56oeEg+iWC8BGZxmrS/NsHcbvhchGorQPiWfnPEYUDU2MWZ/CCz2ur2Y1e+bE5mfYcTRMrETAe33Y0SyIzw7nhldYIG0x9T1mNYlUNB1HPt5eIq0kAtwtJEZRX/88fjXXFfHehDbzr60KnxWl/HoQi9ARt9LJ4I/6tWuam9WHNI4jMD66CRYJ163Z+0tgSW6rT3J50xU4m7g8640hkjXGsgB88Hk+HJE67k8PDkZp1DDmXZgc5ls4rCUCVcWaJZKdWMroV7k2+xlfQ3FE+c0n9FcjB2QQHc48bAVDoGRTiJ05qgwNVNH7EC9YahBhm9FxMkOzB0x/P6dW6HvLuwt0NUh3qPRkW+NsbgqwR6LnGJm/9B1snh6KzoDMhNmpNRO0BVulTtk3AqSY16Tuuy6fvi7VYxX3ev1TY/StvwAa8ZCgjui7ywyC5JJzr56TL1lTWDZdKaaPe8kWCZ4QRAXno17SXSTaaQp6hkzuC1/SOfg15Tt51e2MQR+scjO668evHtMBasDA9RlwhcQWAc3PvG1zgAez+tb/dLnm4UMAmVsHHmSm5ztz6WR49g+NxMsuvy5bN3CNqdvfO9HGdTGFhrukESnZOcGU35Rn2wu8ICZQlwm9JIgw9BkpuAsXdg/3j6R4AmBBmwPO1d+rpJpZ3k2V1j2qRQG38tT/g2mywCCK7PItVE+aJYhL5m2taACvxEhIkLx43PHCCMo/uvB8Fog3D0PQNEL1e88FivSs1KSlKNLDbWCNiAsMp5nrtBR0obDHON1P7rcImMdJ6hLHNvTEsSR1HvZva5p3eG0eHFQx7juu0kdBV/VJM1N8az/gxrDEFrkvCgJKYdj3rtr2z0vmvkl0zGXECEPnr3S3L8x4Tpi8x5nz5TCEAN2csLJkPfMPIodl3I+ZtdLebXGb79nzZDlj4clpyt0oO9pxdY4KX08076BJuSO1zj0tXJx8zvqI4wYNq6UU2S4M64zrOhI9lb8k5cCH56OlNCnWWB7IUaMkA4qhHKSmDmzPQYd6cvsEeTkJljCfg6zUbvtZwN3vkea/LZQq/1LUm0WpqzND+aHnKIElJdyJ7Owkix44Bt1gnF38uhHG7/ojmVpmLhrVZspBXEjbGhfLQ4bXVFOTGMESdQQKex9MI9ML7MIcl/iE9jD++XQJAAvDhQSeWRT6Y5mpvqBnyAFQ18rhZLQcNE4tB6OYS+haDIc7cPKBf1pZD1hyWO6Y7cyc0L6ppA0zUA0tKUii6FNObDqzFfjFBid2rMKHTnSi5HWO0M8/KoCsLTC92WpfmNWV45U7STP/ZUmeSzNh3FRHvrxDnjG89aPRK9oRuQ+YCnI2Xl0i/FcikJKwYBEwa7WEsy4b33+d91u7sFnk8pQr2qTwi6ArDvjmGwhWRcvK01500wEsqTqnCEqVesKvc4Jw6svo000UC6N/w4XkciNEH/aaycn0cX0A4w0Y7ddK38zPt/QNuKfhXKOyVv+Qq4VLxVh56KhgF3p3TZ5dLlvoAmeL6zLy4+b0B/jmT3a4+zLZyP1fexLjxgJCiYwj3zodUuXQSJqd4GKW9dYMO9SRAus407RCljFqbaOXtr4lLBQlJJOmMV4PWEo0B2XbCGlgaDaswZHepe8b/ERg/o/4MZGicRR5hG9yOVoOL/yPtFM71yLbCKJLQ05Bn5j9dG7I5fMrD7hwf12sFFYDiN6MxsICzu+LRd/nM+8wRtnr35HJSeN3KmAar7MmdzJgi5HFPmJbAzCck0DDVSyxmCGxOY3aIsql0IU59cIG9J8DvC3oTVq2uM4q2yfULSjwJ1EB1+xDwL2ROu5oq67pj5vFTe+OEnkfnfr+EQ40xTo8W5zzQq11lDMc6WbTZ/4QU5bboMiG+mToV4NIJDP8dbWS58UpXVGBuA6SNZId0aQuYytJbDBORbfETvEm2MDkb34cVYHsaNg6vCE8GvpRn9EA8rDdRogaFa9WxK8zXzLufFwnuwYUl3+3JWdkZkZAqA/oBHomoKqpIjoAttL+GngNpGknOeyy1Rm1G7QUVgMICvNM3nL0qXpjTAKdGNoPlq2yHFjY7YOpdOmgIhq5mVghNa9SJefVtih1OIzUNqGwUF0bfi4YKQ3S858LoEN/45BgT2us95BpS0SuShr9GDIfS4CjOUZHql7EuUtCGBf9YSFqL0n7kaY0MxXfFjjpdznxZ4lWvSW/V3SQAWw6sFrTCZvzS9ewMh/0nnU+YN7aAY7g4iuaJFn+2KuwQ9NZ3sq6yrx2/degNndecea2su4aivExxwplWRMT8LtkhtKaXBe1SCpxDzSOeU4CcShtDZZ+OYli1zrHyRShFXzyoJXwFCo846Zy5snqw5WqNLgW6urQ0kjv5TQTww8gNmnPOtFUVZYu6iSRUJTNTNKTm+vahjZ4VczHbhIAJ2coJHaWddBhn6dn7S1WyHUm+hlogwnoRIWdnLFH2rEs9p87Qgm6PzyrAMbVB3ygk8UUbmd8IJ4m5MGbOaikt7kreAmvR02AnWjjOP2zaBlvziqwuAfeNR352YV+ZYQ9/s1zoq3eA87waZv6bPSRftWulb1mMOGMK5vUgmDL/MpsJlXSm8ZDWQMSI3/JTzwa90XsCrhiehHPesFyGUZVG10aDNwItr/gEYZbZKRbvzd+6QpA5l0znN8wdbH9ytcad1UupxcDk0iACeKsNG1YLlS3ZmsdQzGGC+UFLzC0hPIaKaj8szN4pLsZsa5xGaRp7lhsmfCwuAebV0o0orXVe05zgxHOlL/rhpEJswyxLPIYJaaolf1W5EZtFkoRdJoUKVs/iEbmnLmsUu2pHGGjiY+gFEh9VsUuT8RDmC26E0KAesBE7IRC7pRjIy/WC132R/Pwpa0Kb6OjGxGCkoGMQK/mbwd9rxB0e6aVmkq6DOSzg3X9qSjf/oMF1LczrD9VtZTS4FA0xwj6l93QskfPOKyZcnEkZyS5IDLFn9j7CxGA+B6LWEZy89r2FN4pCjSXigetsZJx5TPrpDC5K6tokGcf0rMp48ROw8mIKaYF0o9Bj1VJUMmwNAHguVFpBHuKZV0Tn1sGCtMRXZQ1xd17uRJ78UzV6ASwkpvVmC65EKO5RUhe5ytSQcj+vH7HXswtZ3QqTZVW8RZsdKYuS/K55pDFOjNQqHYs6G4A601F/iNUrdFcg8JtGjqgZY9I9U2p49PiReHmn3C+Sy81z1k/AKgw5f7aiSts1UqLP0XSrPkUY9paRe7jsNzG5KGQLPmTUrD6OB1czD11TZpYsVAS4pyPWT4cyKHy6e2XND2K2KIpXu4fseq0iy4Q4y1JIsKQQYxMkruP+LSWbXDNyIBBc4Pkv8WmPxBKNAmHpssb4s6wQeP5HG0ESAxwqnwjZTYtTZqoXt4MoxelWbCUloqqoc89mFqlmb+QNadK00JPG+JfA4k8rx5Ch2zcIC9IKjgCXZmA5U6ZdIDA+jFjtfGibnUZOGKwqLXdUTP33JGqE0Zolh6V4Vmn2b5O5JWR3wAlSLEw40Mn2ZhoX0z/cJHl5AkAxR7XkjT+mSp7GJUkVveGlC8BPHrtkd78tEsWEyEeOj5yrwqZClvlo8u1nYfwM4V/5tZimhsJfXgTetZ/JK+/4LO6Oh5kW7BH9h3H0XvabB0S+QlqUdr0Hw1U2d4CEQ004WhyeG2LJBGhKxsoTkf59O6HIoy5uJqjI6SE37LuJ/JcE02EPwntCPbD9qkT7JM+3v3G7CmjzqFlujRUF74eEbJvrUdW+ZCv+HHch4vYesZ0zufjro0TeAVPECQs0nUoTCOxikFf3Rd5l06zH75bzJvI6PoVCiqJHaiAU0/mBmBZ0X+zfSrk8yqjWdla+1GPvSi3yMtJ2x+ehhSBiNsr/ofmb438uSExEt0ACUWhXaCesC2nyV4suxRwYtjShBprDRf16lzcsAbI+/tApHNfm/xT4ZWaxNHXdGgMlrpBW8wio7JaMje2zFe28m0r0CasmI6SUXfoZeHVM2WLkEmArSZJyHblqPxokjkx+RyysNbbs1jAUg6kZl1U48v/XZuauuB0EjPPmj1WfZ4C46Ks0Rla1SpvSl/xfbpBwjEXxwIHckM9qUmborQIGanEZl4p6cKOa3ZFaHa9vQ4VHxr/tQL4zdmEt/cS4IHCRG79mMiBRAWLYM8ci1FaJ3S5eRL/PVdTiLLGtA4YH/LdcTwJXf8WDrOnVL6T9nPSxA3eB4fQy3QSbG6x6Zrk31rPnONp3lJPQD2td7EiI4vnS7uX+5UwHNFGM1u01nvhBEWrkEy4JVDdPEIkrvbiJ6alygB5/LxgCGK4Km6D98VOf+KMyXnAGLtCThzpf1ekxZVwtS8gBDouTp4GSejBxCoToP4fOQ7n8wuSu/MrScdPP9kR9Up0CpsTgXKsEecldeU6C2D/50EXICEfY2SZt0BXM7K4ohhc2BKQIXR58rznWWDxy6Cw8pL0G8zn901179N2frC0IPmYdiwDOFD7++ndb2kNCuHomJGRAIxIJWseKhGjazgC+zEmw78OfiQC+S/ug8Qty0J/VbXaCaFPDt7pcnoAFikA7YjBp5PPb+MrAZd6cNtHSUu5cnTNmLRpMuRj6y3TqKCmoqPkhsP2cCJp6VjXKg6QX6Hs4bVpOTEtN1XmlTBw7Mmbn0oNTu19/NpM1oPsuQpCYmypzdJpg489TMeYsIBEvjZvFG/c5S4d3zZPo/wJAg9bBjucFpD/olpEMBv1FbgqIjoxyz+htamWuNDcE72JlCs/gueSEVOR/jnCo7ncQIyxJps23Ra5YgLLoJYe5Q0Mru82w5927J6SBpXuAd8UB/6YN28B1ysqI0nV+WDvgj7eO53E9UAiKytRhwsPrPF9dyRAsVlj6BeWdDlR4U9UttSCK0Nbn6GtItJ/ijASscr6FyBFM88C+pndIzvW1DNZy1nl07t89CFMYGdp10tPEQFIn3nZxxVpGFwoKGwIFwSDL6aRZtwv8Aaso023Sfr9EJ9f/Qdndbccy8YembjprEEJqqQ5BKA2WK5nJjdKigK2hsyUU7/x10D9nYTUsVw++70QvuSNqWdhFtBNsRs8IazGnF70VwT5XHWf1vDPj/XtGfJrOnKdo0LfK+3OMkZ24cdl1zqmqfWA9IxROeHtTp1bfGpnyje9gojlDXo8LMHQ4M6pbvsbNHxDCCnur2p9/BhmK36zi5d7zXHrpVgDgJaZv/6UCHFmDZwXkWZc3i4ZtHd3im23AjFqj684LRs8e1MevIz8DyA1m0o6GXBFCqGW139wyPubNKIKoMmLqPB0y98CpOSS0z568Y/BEXd1jrxlRyT9WOk5/9LtO27X4aoKZe55BVRsbXMs0HXYCrhdxWMofJPv2FYiHpWk8cOVbg0Awsukqi+P+rH8a4mkTsCMHytddq2RcCqA0gZyR+DEig8MhfWYcPISNhF/AQfSUzJ35p5VyYV9/8jekwTcBOpLbF10YWIuWWCAm7iezzVrk1gt1KLO8nX2MNkyNSNxeM6F34idyC3/IYnmB0RlEYJIRUwynEEqmR1dErQEyGpvV0crpo6at48skmsU53aqI75NbimH9AOiB/YBmpHSfOXoO5NyUZM3lQQLde/2oECcIbM242xkjuYeqUQLeBHfy0+3u7LJ+4vlRgmZMMOoM5yHKQ9t1pIOTrm0n179pFf0BX4qUAyyq3DkvN2inkSysJTzXnn5ri7KSmMWdgg5LtwrwkPJlPdQeEB1I6c6cwcXn/5YZdi6F5CafjT5DJgo8z1bAvWqQxRr5MDph1rjmTMwnYIKQzpSghwhEuVEMy0sh5WxSEAmQ7tjeSFPEpynO8C7PBAx8WwPNQYciwMxhQGTnP9N/XBs2nCMi9XGN4xZilycJxmX12tDbP1/Qf/rTvDxFoMrOauHqcPTSV6cpVFjW5zf/BqAfoXtyD03prYy2T0IMZM8Y6mw7QWoOsDRtQ9GKFuclq5Yxlyrc0ZJxUAbP9vBhwdAtr4abSJVqy+ReqEAIY6INUrKjferZGfGtfuOadzYqXTDt5aLInPefWApBzIlFJKSSpUfKZs1L8RTBJZ5ekEQP5m2cR0o0L3fSTOmODKg1LHYaBxnO1MgKGvGyKTfQ0hL4WfC/iw7ylgsPUQ5u0RbUQDT5Wxm2pAf9d8DGBobLK2MW1+wEdvuTT0ZxioosleBPwTlg3kby9Owiv6ms8kfAhXaH25gzhHD8m7wPVk3jz3+juQCfB+aqREywKaCsNikqtK5gZBjpy7MJmxjD/0nuBhNJlc1I/TgTSNbZXD8xN9VQYKekNx07MSXNhS8TabIV7PmyaV4xw+l5R0lNNMK9QSdoXrP0ZcMo4bqQiixbprq1DjqJ1j1beQEZeFYd2aeHCP28xOTuV/tiU5SPxI7Jo4H8niEpDV5mMp0vvMFnwmCZBBdygDVySDl47jdUuqpfPikpBjTqXGrwOtgic/mPr/rafglpIvlB+U6Og+Mvh+FWBePm/vr5sJx8w/SYWOgBfLFjB8B3oRTkFFU2DG46efmILonlkax6d/VJhthb3J04dliuWCMzftzIhlBnWkaSoMAUYpFL3QJ8du4AZpeXdvGSdDOKtA+UPFv4FgxeYYJOqwoyaCrrdojXuVXAjZENy1KBzFzlr8+/MADsiesAEUPA/sn1aedgaZsGJ6FUGeCBroirfMzFkA910RgfhnALYw4uyFE88Kyg0+oywHIEJlh5a7cHD6OuPDuHcL9MTCbApfUP/C3KMTQt5oP9JTO/jeV5iSUz3IPlZ1uGVfYzpxJMxiGkKjjjMHShsOtiVNSbi6FDRkZVB0qK2tJhRBYTzv+enkl7vGwnzJwb5u9A3gfHYRzgUEK/8vNPimAVMLLNY5UAshhBXwNwtXzvf9xoZr4BNRN9hG6HEVuePLLaVvBOc+vBB+poEe1mqufPU1ll2UCgDC6q/cRr3j39tsN7U8sMZuZAy84jLAGzfQlU/1bjjrcmMDnxyqjwgJYIsCcwabOtccJ/iwgBRyZcJgh/Ltno4UX3jGYM1yBbDuMsMS3WlAziTkXfGikP+D2o9am8g/tTvAYUSYAC7ZlZIkBVw7fBN1uR0zxZVPPaT37CdnC9mUxhm6sbe5Dx0E9X9282S1uwd1r64iOskx941krM3j5Ch0ioFAX6iQ7XdqQ/3Kw2esEoW0T6Y+svHsFXmeWStyXKL10+fZqklnWOEtzPNx3ZxAuze0fmEi/FW60VY04l1qvXKT/8PUlicr9sSXVYnesWsAOKUiLcZMAh0A2Cym/9YlkNhZ5bSUUnS0exykwJWVAUOls2GvwlFkWwx+sKJBRPeHPflY4+8GbrlHjEjctsi6b4asovQBG+XiODNk17lOjotL/1p63fxgHNB6JMLtWuNXg/j2hHB69KYADeNpN+RUi3zSg37xt9Atpjkq4F2SbMKCMrYIbwY+ulMstjtAdtIn/x1kKsukHOjyKonyVr3X5LUaRwQ8R2xAdp2PQ0kNJeO+1U4vBetGJWAjfb4pTpiWxFF/c/O5yzywJbyFT9KvE/Mpl5A+T7x6ceD3G2e5FBh/DZlxxi48lRer5MoRSKPK5fo1/2Mtag5MRSlvAb/lHDKfb7R3s4R0MB3w0Ork+ARuhV+4k/4ZjOHGUhlu9D0b1FAddaXlQJ+qUxhE6QbuIeBPGFQo2zj/RbZQZkWrRyTSt7+o4FRg475kkLO/7N+MDyLyjRlO0F6nzn26Mdcc4MMg8R+c3/JjCpBsdOlDtPkT2b46IdFZgd6zFCffqSUow8da7Zdp6zqpHqso4Ksmkj/dzhO8IxyBk2RRVI+k0Y1UvtMXNPya5w+QFWTQ7i4uz2rO4HqgAsWVvFGdmX/mkoxYPbow+RYI+eaG5bhwP1w5A93BBmXfg3KQKEccoOjS95jxad2PeJLucsk5XWYHA1XdV/vMJbfx9gLQYhJzOY57Tuw3qhotDGbvaaFPaJ7ww0SsrwoZ+6ifz0NKFpQy3fgKKRpH2ed+uoLy0VVbDGEUrRiLdvIMy2HD6XpGc1kOYFz6Y5vyr9/IlEYdEEd+sXCOYf++dTUEHH11nNEXljhsvi1kegFc2Lua7PV0l8zW9KDTHi/uopwjMlYIh0BUOosUxSfPFXoRtOcJtD5pFRk7f6e2V/uHy3KwBT5ZmWrHud59OSwihU/gFsnEK5OehDMubvlqGtnUiujav1c/pG1E/OZt2hFJKIKkTwAmDzdKDMbYqd5wBr05NSyNX1xt+MKUsKXGs83Xz8HOduo4G2dILD3ta00iIFuMa517azB6xIUr3iFEHI/LLW39rXZOiZFwFhS9G019ESL1P/vxfO2G9NOW4OirRECT6dMtUgKyUafj182rSEfMWsrhiPNnGdpmvEh6khJubY5SWQY4WSn8+SVl08dp9u3jNLR95pdlwyFrJzmZSim1L//5i7tjOFvUXWNeS5L6X3JFr2FORAAoP5K69zcvw7kGsVDuhU0CUZoDn1tlLXXHFciL5E1lCI3m6MCA9noaxAM2aSiq9rAiDWOIY8+9pztiEGlFgxbISkYlgNX93dr6/+uqEcNSubVzfuZ/Ela7oBf5Yf4tp8WgakTNmGq4Kh8yiSASmRFEV708+EXhpqysypfcfzMDX04G0sjfUakOiAcqk9P9G5HG2xhiTImYqt9AvlW7g9rIeh98NtHrTmqFbqoN7TG05lJT4JXsRpSBfW9vMORafAoHn80CuvAgxyUDrciQ804lZH67cFXQf5sIF8aNgjtPvJjypU/1K2VTMb62L7as0gKQX5nTfwWmcXc764McJhnJpJTTht7LYoWIP7bD8/5thBN6nPz/cTSfbJH0+SX+rPs79RGMuuPv5r6i9bl/kgnuTOWFrwjAkIXG+LbrvvET5mKxBUkcnY3vqYfhmW3v57dPjJl1kPXe9XmFVIZ4KVKfOAOWC2MylQK7rLVfmV9Fb5d0iw5MBtHrC9mAuwVdy/11uM5L+BPemUh2b0L59tyZd18b+QOn3XA9MveS6ifsrcoI2K8BpnaLuPzvxGXAfBHH5fwWuIFSxfO0oI3AHeMOzFeeMOvbf2mJ0PUB9Au4U5OanzLqyjKm2tNqh+XeHpaSEO5JSwOG45RH96YmyoZP/FRGZ+60VmgIVUzT078V/deiU0ZOUXtVCiZ2baCUo4h1+X1IZFiy/nBzJWaKtc6wh/2gZQ37Lppjhqk0C6ZVhmmfYxQRTvTOi4GTGs+Y5DUU4srXtLGtNx5vKntqlsR72iA60LZ/n5D6A0UiN9bbnoA8FQi0glZmC13+liF9XdxabWZDKWDTqeACxrBR5Kk2JV51j8wEC/4rezW4nnvbHWgCS23F7WmSDt+Cjx3TZgdnX8lP3wyJ0URaEG2ON1rk9uIEsAx4zk+hC8ePcVIMY6ihxtEkaktUYA2mARsrkaIRHKv28y0etCpl/XEYQGQas1+pFVabMwr8AEMt+d5eyQEpqMVr6ZQkNd+3/f4m1zt+RtXK18ZowoOaknz7WenR6ZalRLKu2lYR1yWbH5A1tO2epjU1gqG5ZMEsS+K/DsAVab6fGeTvRiH1g1NI955nzSTYQ2PKlxHfbbeP3GggKc4w4mdLWG7fYhFhkjESvBhO5feFMgT+0fZQv5xFT+/j0YRqcJ6gBK6XZComegEcTS/D2hirJnoYyy4sT5SuIIC+v+KRpQSs9PcdXJt/XfswIw/64+rCB5aadisXxvwek1ZwU0xf9o6oaDRAiShCjy+126+R6+cXcnReGbpiXFsMOu651M3a0V3QwbbACv8WC8kyPpn+mFSKWLLDY6Rke55oh3n93NUDyMo2v/KQf1xFN3GY3fKTY2AC5wqizCsMdckljR2yAhCWxyCc3S97eLGB+55hQLv5L+gVrkXZnKchKvJsvkzJWUk9/Ry9cSzrOcAaaFg2FaP/LaJru6avnkbMLpvuRjhQzrtPsLIabCu3YLXdUbP6w/BAAAgreamhrUU87Bbw5qr67A+fTfUt7g0gsYDYES4oB5cUznhSFg5jsArp3C48dQ0ALo2t5QF35yLDl2ul2OpwKARt1+stxmNHS/1VX6zQaKjSyDKWBrYrvLPl/Lk6sPSgsA6B2NHaiHi/SQuLxh1D6jxrr3YH+Wpms9LV+t+G6mro5Pq1Grz7rG61QVDLLrQABu8SrvWp2O885gxq3ffYAuLqh0WktBVnarCNIL+xljysya6EwB15OKwRNdz+Tb0CsMaSs0Wt69cKjsQRRs2dgHhlou5aO5x1W5qWwO6b2i11VzMcGkUhg29bXtydhQj8/VfBvpOP9EuTGgTVIsA59u8uaufU7c4VoGOgSZITV4ra/Q910fzyXWU22W0nrYoV3W5+sKMBMzmcq9lv6mpPkqXbEQE9infuqPacUS+18sybUxWM/EHlaB7gDmJiIsp2Pdx3zVJqg8kLf+N0XNt5v29jPJyxJlvMlW+ji+8lrjwKfzuNSGnLwPe7IfuRpzKPTF5y9YN8Yb1zNPQKkV5EJClsU9Jp3TBfH8jEuu4haRP7cetLgCyF/+GzwH4kRVcIGC4YB/0JbnXbFLCidfgzJBCR/dNGY77i0dhOYR5NyafRQh4oQHyAgaZjOGWwQtuqxZw4duklinZ4d3ufyMLJ7ODkMolzzqKiCEHEtC/aAMmL8Y6zwj6+qxpYMKOhJwTzrEyd3o5qQwC6UcRobkLozDd475Be83LvOBZ2TgWUBZpM4MZ4zViHPaiCeAIzkGO/N88r7vLhzrT3JJG4wq7kjAV2ZH0I1xI5hR+SWsFtGkxp5GlKrEiQH7PWaA405iucFuzk13BCoBqz3aBv+0P5Macwh8BilyS+SezjYir4N++Yiz0xz5WpCe6YTlVMkB9QmcpjQT4zZlAztW+cFog7xhcf8IV0KR6ffrOUMMJwpvTqBdQ3cvRFGzUshJGh7b8qNClnvGFMV4M6SGGp4+QmWGlqG446f40ikSMsnVNDR1+MGiGddqZhb54gcBdIJuQNkieX0Eten3KrHNtvMKYdV8KzMe4NKnm/3EK2rgm+n6ImF6Mytlh9XDzzQpmV/TQ8tl66SOl6kQWMoiD/bCAktrMx3Fqm5fIwc0lvvizRFwu6qKCsHtQtuVk++k1YvjqQOUQf0kORvrp9b5AUlgTOTsl60llE1/aCX4hHBN5yHLxlVG49ZE8y8j4UvIPBDf7ZPULJoZH9D7LdmE7PuDZhkxfQ9a0iBrNwkD/ptQKdQm8I45AseyV1nlGfGvj5Sypf4Rgjgl+sWn+RbPdXK+HvmLqgk3q1JXH3rw2tZ5q0J0SPGGJz/PVw34k1s2qtKzmBZjzBTA5APjCTsYv1uOrW0mWFsAUSJpLYAQUfvzWwZpp3u0o/4UMlHits8VWm23h/d69kAVy9oKd1l8psGdEAPbrxjHkDpqMgd1rQHdSZnjQ/lP+sDtBJn2H0GaPfsUWl3ojs8JR7WqovaS6bbzYMF3oHQ6GuVueSuixO0aJj+ishiEoa5RfzXe4bq48hIqKaMZ265uXA+DQmJQ1qCOFd+PWhPSJXD7G/nipC4W6+Do4nsRHL6qpffnpaB4Bco2XS1h84qhyJiNBry4vMrUEt4QwOlVI6Re2P01U3DUVRitXuac3NpbFLcZfz8Th8ajY+LH+5FBdpzL9XIUQ5gFdh7jcWOUONMpzmFVaEG2oh/VthJ0PyxUso3f+XZ84FNad6xePMv1LczrUGuf0LcCxVId6VMjq3iAOHoas+pg1awfeyBYQTRvC8Nz9kXvFG4aMF94jBeLLpV5WE39oVv4IzNsJZ5kL75qro49US99kweLLgqctOuuuEqZFJxQ4VpjmhPTciWznNTLMw/4k5G0cJd/tFT44nPJJStnk4umqNj5NIYydRtweA3sIvG2FzCO7nJ/oEF7nQvbcBI4xhkq5SZBWNSLy581veiVfarR5W78mijkJUL/nNr4MyqPRRhgiUuXeCK7hlB6WMqCs7vrjNkIyBd9LpLppAhQM1nBo4nJnG6iThVpH/bwWjtgNbzB8QisO9PBlLBRr3U1fIUIJxg+1Rwd9PR7H/Qo7zlrYFjvW56WeY8bBZCPHj2LJSQUQTrlt0STNXgqvFx8rUY+0xyA5NebX3m/HsSnkb+ySMQSgwawPGtJrkJlfE71iHvjuQ18AxaO0jADUtDTjbvXdGu5C95jrXkrHYJksNY4AA1vB9s7XY5X8BViu9pAWmTgSv5l9TojfADOIf6U+/8Ici0Ar08SeEAl4BSmgdf0jxGvbIBPA8cN1VnERd6PAdlxA3za1Ec1+kZX8QKXm374lc24OSor7Nl/k0+tmERDycEfc3vI/Dt2kXpMfXH/ANFWkXCRHp7R7NfVCthxfRFSy6iqewHNOaHLFBe19gUkbOcjA7433B4axiEf4X2Lc375pZIEd3x1U21q6KCl0zKptWZ3Cl1RW4aDa8unW75NbF2kyc3CG0f3r/wTkLLCT+Ebq5UsnLZwUKLyqksZURyGYFxcJs5hq4cnHXt2xGtNiDmaG/W5x0dk50HT0e3LkUr0V8AJgt6g6HHlovfN3dxNh/tLp0cloxpt0cPsI1N1KKjc0KgeN3Q73DtUU65OZapQy/irZRBs834nhPx4JxVh9cZur9F/xNSEF/6ZpewSJ4bpQrqiqS//6c/u5w/PUrj/pibghnTvXQtM4WBkdcw0K56d+z627Fzigc5r8WNJgMQ14kW5BHYboA9Em2JJn37HOtY8I9AVAcdeZDD+NW0CKpTkIpUgJsKrXENvBaPk1OtAw93U2WOznKhrTW3Cgs+oiGSmQWttOGVRoy7NE7d3z/++A+IG/lb09i+eMDTlQa/4CbxbCbmYklqSpEWdMMW7uuRteCm6Gl4/2txz3JBP9+GiCUxgSQzItbPmMHUAdaCqojGX4vvph2g6CLkTnGgdkgNL3BBoOtBFr6Wdnn0LcUwoOBMVYBFJGCTJWXZeIeKOi55TmuFlK3lvooyOiHlRLtYZPHc1n5t2x5msYSF/hI50OIfvrU4zA80Xn+Ifyc9at9Yv+8FVA8D9BprKM3IilyE0qAGHNPb6iW+wrSppfB0NXa6uyw7qv3iOKH0gxBBAt5l+LUrENcG+gIepG5YTjOTI/qQW5TvPJzDCdxy0wIPOtvEcXRZ/ZsBzgc6Fpkw21srovTjVG0GK5+pxQZsOKI4iAtcQ1QebOGnuRwIHvMqRYg24nMk7vLHOdBhpTVMMRE66O7GISt5DOgNb0wkmcevs1Q7nayjm0Pr29Kdx+7yekMpqczAd+HodYM57ys8g8XIPoYutAjChkayHItdZEyeF3MP0dwODQSYGm4Woz+sLC57nPF3H2yh1zthpfvA2xHi2My8Rx/u3zxM+ttoCCbpbQKz1TxfKpHcaue2E4nv3kLUTG/AGX+1uYREWV7Mo0sttUfDa63+XLYehm/qomP2jV09VA/GEDcyeNjVw1Pca5ZwS5aQZiqr03efkpo8fCClPpwe3ShRu3GcaH7gDYKKTBJzHpZGpEZ/rx/bbSh9NWnOD0v2wgTsz1riVz4uCh1SoTkEuRJJRcgFYAAHx4Qm5c4pDVxOu9yrUtiYn+xw+4McVb53Uq8SH9NU3b1/wpsx0zJxrEwaDlLpzZMoPDvIjFkL51ZWOHY+HIrzos/ft3pI1LpA6zqAKoUFjZwiprAxzbrRpJEsJ+5P/omOqGFUXh3gNY4ED16dbrCOjtwde0bLNFy3DCFkc8LOHeFJtAwpgY4O8649kyq6v56QAR5H+hvItF2umag6zlWdJ99b44U3HqfH5bvA5X+Uu/FzPfssJJ6vcSFcnWiI9v0R0r0BmMRp8qMgn5cwW65NrDeIzZwAYINi/YFNCR/VZu9VdVERzIaWsX+9y6FgyT/Y8O634HS+D0Rl7mmYHJHRkzK3XxJXn+993131ugUUl4u2eKkGP3RVwqHbJDtIBC72rKvClUV/04dMMR3RbOP4bT3wr3frVEMZhAELygcVWeHPoczxDZaimxiNh8un1UJs8l4r5J/C/iY9SRwJtAUue/Kpi0HPw54oTtLVBl4gnajzXZUX8XGsCG0ugff2l2lF47wdLtElGN/mEkz7HEGkuIXxC2necCvvCY8H/BCo55gD3uTn+WGJ5iml8+xxfub8q39gftHDgXilAUILjmrXSqX59sGyXv8Gg/qu9THxaSrDdsB2WSoptAbZzTap29aF2+slzTyOAxAzknD9WuGJHaReT7gs9gkJgM6Hs0zYRCG+TfsGCKkly13y62+gDKpGhfnkAg+d2OYvyXrqQJyKD3kgjba1FWW63MTzUgtkPbZVaZuy4U48xekKW0jq65EoElJX4PBLG7BR0SJiYBs3mN0WFugW48QOIGPQTbnKhovDBomaEeZ0if7C3ghNegvG7a0oRRKiWoCNbW6FN5lCjwVKuKMCccseaU8fpSqn7AW6UYaVhqBGw1V3DPNGCeGD1bF+yzOB4XMtkk08ybBMGURS3UTc8I1DErQrc4PaZ1bZ9CgfUS5UoNrObTpfALJb6EqG6/ZjlyA46pzXtyopOs4xaCEUNlndukqCqUqycgU1AWYypazwMS/F5IA2Bw5uy3NMGF6lPryzkM650eCvuTmFBG7E7FiMiNslHy8qOZR7gMIDRrCuOjR2Zdot7Jms1qperQ1cGsVKiyo+DQfYBGEEVz7kgt7qD26A2Y8qwgbupSCBLvj+hIrvTsH0m831LAOaOrz9+MrVSrGuzNV0RKO8g1p1hDMZBFzPsPxeYntgRibYnEIGYM3cyWEr+T1BlZSaDmgdcvfg5RioA44IQDjsIrQNt5zft7rZzJs7NErwGNkyo9bIUvfAz02vBoFksY5HBwT+fa8OInZ41g26AxBBUIkWhpFZW8lF5v8qWzQBAhyO7ajwg/ugWkNOqQ1uJJb83vlrG3ayZWySOyj9Xb1VZUVLCu3dUuIEddfXd0drWD0bZl8QvlGxJZvqmVUj4kYhJBRgRq9ojjk2U6eEy2OTLlCSZgl9rDd0R95uaijwm9RFn8M+hwRKU47SsEezDgTBz81JDji9SuxecOPQzTfBfGkDb1robSaTwauOrA/CAsv1HQOzAAXEfYDdzl6Nsp1ga1NRIM/409eekMQAsWYqfdu/PoGrSDaR/Eq1y2QRGOcg17Ca8NjEG/BE45gq4SJH79vYA+qXv8Ijasla4TuDm29sEVf0Wm0oFuTSET0f6VrE8So7YXOfLJlG2F80R548q7GmAk5Z8NbQ0yxBAAYt7bBhq/cr0TT3yWVIvyoyUySeskoTNxAmfWYFYoPnOxTbeeznLM1hdUlFRArcnC7vlZl6yzGOMCMCxyX2P5Mmj7AKyH2TQX00l+beI076N+7K7yD5Mq/SuzWRTl7C627TMatXUaHCoplYopwXfdG+rabxPJ1U0ap5IlJO9KYC8N1aQPB7isVAUY0tsCobWpL7v2/kgc5lXnm6iPnyFvPXSXKXnCG4TuS1sYPad8pMG9SLbvA36zxLcjPj4zgi/NRisqs6j9ptALeRAlrAFxunFA6e4oj+VIg0bTRJlrw3i9aFeqNm2ab2PmdUQn9vaf6Yt9nUaOf6+J1d7BHEwvYR+/zs6xdGtCznlaVU7+b92tWfqfSSHRex1SSWlFT4CQytbMaGjbQnnWDbgh13Qhw0D85WHvI+JZNgfRFad1zso6LRt4M0Pl4GRF7+2ZB/T6P5uXsa7DtYd8eczbGuzStr89PILnkxbqhccxYKT/PmmMWIgkEUeZ8xaMVkGvD6cRylycLXin/xXjnvUoe09NM0xC4VsNefeW5Ts+Mz/R+uXxTmF/fPveRg1T7iJDKtEYCAh1PP453Ep8y8KHJcy3gbVGIIHbyKJg0e0WE7Nu7GPMGzwXIvUtS0Ir52T4D5vCz+dfXzYIB2D+zCDDM/6KzR+B/7fHe/+ucv/HvonNln4s4diDkMNOBkVWCNAKZOuV/aIXILGTxWF8bDmjFOpcvGg2nAZ9iMT489A/EPEygxSSkooD2yXpd2RVw+ADzXBc/TZsqZRcTYHRLFUW1vKMaJzfAcf354aH6MVt3wIvsD74cwT2EVWtcO+KrLtuKDbIFJeLcJQ04P+fPecOXqztyQUv9+Kl1IiBGFYg6aWOr7QkVxnS/Nbi4TluJZhKQOkkr11mQQhG2BjyW9Y7JIcLkTHNVynsC08OzKBcU7E78Jdv02rasMESCoACBQ2GsB4mEFklV2T7GGwciyoN/J+NoSoeWb5NPceFvRLSJE50gOdVPO0SqK+5urByq+fY3P8Oof+BtTtCph1XzvLEo8NRr3msiD4iGvsf5Swt8WTTI8Rsadm1FsbeKR90vlU9b5BGG8RUpC364PcY/ZBvpN0WaZFEozUitCl78wOcGRPY4JTgv0L2paL4ryEeqPL8fxkBbLmjriJ48u70AieekOZOrMcAlYl0H1OVgsYKeiCSn7DFq1ep1OX4J0kmsCqR6WKivhEiib8S1lhBSxbGPdSsfJl7t/yuPiqWQiHDijNCxO7E08xxy77hvwxuRnGP9NbMJg6jpzD1Yf4Cj9lq3HKKqHLPhFNvbX+dQvmeuP7BJEGyifVZnaacOjaDmxn6nhPpj0DPGWgbKSzfDuUUBgqEWa2sbp6jyNLbqVoeizlgMLxmZFrZQCKMyT/pwlkzCkyRoBldTJKrj72AuGVas8uhr4HGmlPWJIdGib+F9CmT+RROgSP/JlZdqzWQ9C9tGAcA1DV2LRiCpprETDJYR12eWcG46ngmnt4o2OtpION9HhZW6UduIBV2+UxR2dB/q8EnYR85nA2O2B7dYjRaHhGt90tLenIvtN6l7BRgSWcETKsnxEOkqE687o9GB8NS2lAUhNdVxw78HAoaANJuC9pSvAOjhsNAv+rLjNgP9Fjfy33X+SllhhGwho6u5FBWIcitGxSMwIHcBYkGuR3nJCOEw11nO75EGyELnAwHHCfVpsg6fU2zyM3V8LHHDzrqC2FGtmnHVzQyihoriCcawyXSfg9tfx2h+zR8COCzA9uWQ6NgsadEDL1Xy3tF47A2EVkRUPqtcNgQzX0wX/S3a59UIKjfHwqwBkvaYUV5bZQSilNr0HfB0guZ96Ee+yEmUP9ZRmj9PZCIvF/UMDk2DtCABUBXsxcE80I/MX3tfLSCHGoUvB37nj4+mve9vXO/q5b7m3mmZMoXodA0RsjdHY/7yhUnZiK7aPHoHqhsv2OLtgbv6lt2vL7Chdf/1zSTxS28o/SEoSAAla9SB+XALLg+iAlFWUSAP+VQ+DFCMwx5ypFLOxPj00PmAEalvA2PW+glBeoqXBWW9216UePs9YcWwJHLfFdkLce6SdPNFASlsGn9MB+cHMyd0eVuuPqm3g4lYFfC8dXErxhsKav5Ti0J2zFAop5GGOg9cQsV+gEBHGh0qT2pXPcZozbH7+NdgYpVmwkO+s9Xq3cpCcKcmhTFuuo7AjxoH1KUKH16MobyYhsrfMlUAS7ez4AHS4QDk1PSXa/MDNUlzTA+Q+f7VF7GoPA7wh1Q62NAc8auW1Zc3IrBMOTnVzKP0Fwk/Xa1Rupgt2hmMskUbGSxh6AHSl1MFdIJlIInhwsa7AZJauOhZcDDeBv6gO7P2CgpkHSmtx/U7KAk/FOX3EZdzEX9dnnu9A36qaTQn9YM2CdCv83mjDarwcaxHZ7w2BSWk7M9gttAM28+3oAltl5SXwPtdCDDHDebkDJB9vQJ7GpjdCxWfLCXmxdxHYVf2WNjUHOjrUwwVW4zxE/ntiEN0CZBHpbnvzMECxaSd10eX2uvfKuri7IOb3vHEnodeyYWSygn7uoJHkHjjtrqesP9zZ/RtXXhX/B6gRakpw8jHsFMCZoI+8CqBk9r/R4cdq2ysxaImBaHh0qISTzis6xG9hF20bT2gwboVJSTGih//pFoLEpSBTtj0Ecw+vSiWWYqQhRE82LL4D0Dkxod2AA7YJcf32h21jk1cDYeLkkkAQqZxRJeThf4CTPa36fkWdRb5nR+E13n0BwwdUonSSJd0i8jzjZFF9lzQDrv9lvSjdqAuxg8jYSLg+DgaCEvEoF4uudIyk6Niw+i4wAhhpgd2Ff36bVkvuEvXeGrwMKZJdaSBpTfEftZ2Jd8+DYWhz2POrP3ngc1l4a9KivUdCbNq/Cr47OUR75k8ABl0iEf9DowsJBsleLI+JoGzdFe8v0yytGTWUGk3PaS7G8J38yUGhcD5jqTCzsu2eblg8LIrLqQ1cYGPkKx6lraF2k3bioozpRITJvMUGBY2NEOn3JMQNnpP6lZy3arYeHzWO9m5Na0Qgb0c6BP+CzpSphwcpsf8zrK+BfI+8lCUcfM37uR0BI31FGXcQbqgzNxcyibvQAaXjE/0lrF7P/bmfOMDuDAFg4B8XlvN+1shRChCGbu6G+pf/i8bGo3u7YVZ4nIxlVKHK+tJSUFM73Ke6MeI5sTLJ3D/hLwvCaceEhIXwfqaNyLY3CB2GztTrN8CZFRj6NYjunmPCqiS3fMGrtHw8z5K37Z5yhBNmA+cJ7tJ8rZZ/IiCRqr7moDjPD2H7R3lyCi0z/w5U1cf9bJV571YlI2jq8+FVDzXd58PgXeMy9y6RlkwTlbl40uq7kFW3Ia5avao75FKi9+3BZVIDlg1NLbxQDEQQmdjicwgAjE696QU61MgiRmDe9yl/9Ej1tY1P6DU+Et1yL9COYrhFZd/BoCko+xny01sgoYdvSKC77KC+vls38MVbd7HutHde9/4aSyVE/oLmzw/I8qwdbTO7Di4zV9bNFauMLohMr5lEJaF3oCEM4F4l22JXJ/GR9yfksT1AJAtCA6hDefRgxtMbk98jQRSUbIpI9Xay5+hkSxRYaJSn3g9nLeFCPVnVDKYYXUNd00ujKxz5h5Z4Y2z9S37cCkG58LcZ/R5XOnqLDSD6NtzQXt9yxTund3cvVilNNKPIWYUN8NREcy1QAN4UIaiSlyeQFOqtSStTi0VxrgU0NxrZobl1uBoviuvOnoOEAb5/qv3HuO75CRIpcr5JGQyNOaxFG+NuHHfqiGgeWhd4PIP0aKWzfc90Ffsy3g+56RxeqGgCsjnAGZ9mfjFbEEmb+cNi374I0ipMGJkw06nE8m2v28hVInWXAoIZI5zR+anPok0XBunTCGGbZpRXRAaK92WwWQGmfHQUVy81YpJLSu6pff3Vz0ZQ4QqjHZ/2uzqahizkRwOunmYWSANzdd8RDx7OaN0bPZObBWQWFfDFRgTMIUvfSQNc0io/zjBaSHfLLtUqcYo4CTnBuYBtP360yEVIfXJWf8tyeNntg/XaQIXvpUvCDna2G8B8XSUCFPzcv866hguVazyC9sCMlsPX/Hm9TByL5ENngeH+ty2XZmJ8ySjR1s5vAcqY8U4Sr6O0CBcjpLRBjKg7AAZn9WJSAk0Fo8hI7M99+jMuH0lcyMvzoW/bLAU9cIgyY84qLO0Ab+9QtO43Voq2e5BKJnkfHsBW4EPGvrT4CichfXvHLVngD2MMndFBrUOpRq8gAhGosKlsvndPhkNQWLLClOFRzJIJPMdlGdCsw5nzUIw3OEuIyRrp0it5XDcf/cmcIUyU4wk3vUtZPCtP0C9XhCz3+/6RySDHJnOCCRLwg3gHDZZ+CeOq8VMN8He7yTl96bijuxKUcBgT33QmqNpH2gYeWBf1Ic62dzZo6DO9h6g59/GQANqCdWpuhAu3K36rLHElr+89KwwCDJlXWB1pgV/qUvim8uUYzE07EFXMdbpKHq82CfhihG/5duzOc0H37Siwk9gInaFnKezxwvN4GXDsetcOWfsyl9c1jUgf65lszFCQq/YM/BYG6HohHFT70pHLzxc/VL95jyeriIUxzprUu+Ts6nCEUEReFgH204tox9WGVgcyA32gMAxzqXnPpZjv89dwuuDLr8nYZNrFvFfFFFjwEkkrRrDhRpm2y0GERoSiOBBXW9TTDCuoAeDKZ/dP+WCye6wsiFF87tcyVG7HTKEvn3FD6oOkF1mZ14USxS++5ZVeWW2hPC7D30SsNfg/q697Knih8K6DdpcyfVAPLqmqSjuywUC2/pES0I8N9+0VicoGiVS1xtNjikiQzsB4ZpOtw8jl+Sm4r/2WDU8cJYQfcytD0b+yGtUGOiCJuRxuM8IgnPB7zzK7sEuJ1UtyYAZ6/+m6dWqNKHMhE3XhURGM+VcymZLYkZ/DRLsTFQQh9IqsczVVExQoSZMogLd/wE08KzH6ygWtPvlICTI7jlBy/wUicn/x2d68pOOhU3yCY2wJR8py3aghNP5EYpFD0//06qV2PCt62e6tm0z3MWZkyxSWwLIFQQI17KZk4W8tVMXjg7YBscOuGuQZotTKDbQZEU8aP/bwsFJbkAZKzjSM9nzj9QvBVAhodOdUu0KieJ21iYifYowhb+UMJbNiEZTq37YZMsyVxXYgNUHIwl2AyuW+ibIrJjwcxoKSKFs5XFhOuecnQ0yL5IamSxT/J7ShSAg2t0hdHLgx3diU6Z38awcBoIX3Md8HeJGKpYZqQp4b9c2lqRhVKT76tulTJlE0s7b6VXTRDCtfKou7kdLL9XDNiRsmqV1UvKNSU9fFr1f776w297gM1eoOq4bhFLYKmPIQd1bLfBRzbVfW3kkKb8I74bQgqd7pKfZuVf20eEGwXmU1iK/tC0Q/svz/HTgE2QC+A0Pdjk2ls56ViL+Nva2EtfsbcbhvZDdMiMFa9bGeyEnLmYr3b7hWh6apBuwA4kKR1bYjb1pinyvEB9+Fki7MHVHFW/TtqpEcemYjd2Okq+ywxwxpWpqiIDFqa68lv4yooOFPGDC3IGSW4tWxD5EAloM5js9i663dAJ6AxDJXDYt3SEbyrgZf+sWyMtmWbnFoZ6uG4h+PCqDZcxXh6MT5pNPSFgfPobFDvhEJwUqiUPnOrA+MWwH04v5S9tkhXn4WfXODxB83aIIhdJSgE/KVsisuksEaYWSdd/qGhVZ9CrqKu6Qxremhb0yrzcIms5KE8Qz+qOJLXM9GitJdWo7sdG+znIJPeJu6jSlNvC8ccORacAXW9XVF+oEG6qUfUsYcvz6WWuGdqJjPluiGflKPRX9Oq5vXuWZ3NxnViaf8nrlorSQTj8mKYJSSovGQ90tmyzi8g9xCuIwOhEK5dTPiC0KKD54k7dimSL7aPN31GXK3IQZlWhCBYPv6QrCk8h0PlZweHvxZRMw27B5R+SAkpjTnELo+7cOfKkaMEv32JOelx5ligH2NLMOj8VibZrsDjBNnIWy4nEX8rGuFr1/2xA+ZFT5jYenPB4Fk0kadetrg2Bo3mWgv/fffqdXiMMy5RghzoIqWW6uFw27h0updl+mRXOCVEEKlZy0dgFzZM/RdRSLTm9Qo8DpjCpIHoLxjvHTOkTuOfiElqNaePCgP4tNC6IuYf9EMHY0nQKOgJWX34VuGt7G8nmGgrLdN1z1FFaiZlse36sWe2jdFuqeBcrLozuQkmInpFRJPNsKsAy/lntxGrp/mBFmBqMBq2YdbfUW8vky9TxaMGQEUgGuexSQaKKpf1ZKJ9Kv4IS4PRTZZBdtZrRyyaZach7dKcObOx/DCVmJYCGCpL57fmyuZKGmcvG+5IStxB5fnKTfinhI0jO2MQj8OBzBKpi7nPZDi6bC6bVrXueptQOdtvyGQjiE2R+7VOHvdTACqmFKmX89EhTxt9hU15zEEnbdEelHiGESYKbC65rY8NFwAxyBgn3KXP/7Kt9aKBu7JETwgs/tY5icGNYPY6j8G4nUSPrWiAkYZmGahsuSG4I8rsYQsE6WaAw+xWVlB1UEnXhgYTibdvSAIRS3CYtPmeyw4CDV7YmPFT64/BVMby6EtPK6Wtmg1THVVlocFMtN3ZLMy2rsN+5eHQ4Dlw8zMTSHvko/daS+sE9qa6wghBH1gOZ6rePo1HXWpqK++idpR74LJvMXJ1GtKyfodn8mo1B9odb3edg3dDiRoK2ZtxCJCWHEyQTmUQziutayxtON2SM2Ed6zj38iuZuBdEcrsdu4oYkJ/xp8a1TSC1gjIl3SL3ZoD3aNyRtMgCxxIa869J4gX54PT9FHo8ojfXXKKsEa39IvnKEWXz+wxFOlc4DDoNwhMR/8gRUmcfVOdbi12HM1dEAYPdcPDMjQXkzb5YchSEm0b7QPTv/2+5yjRWbG9bN/NqYmkRUJJeg0iEgP165qaZUYVkON8q6HDGv8E/fGliXPQ3FHU8pyY2JKl1sw8ZiFCDli2wS6os9p0LIqce7bPkPMbawvWUovMMmLciF1ZJz6tYU7yuB9nwIhRVIplo9IWfWziucHGuDSfps+DiKRxfJMgQISE8bSpD30HOLB6BopBqlNa7AOajZEGyEHTzh2RPo7RqKPnKId73qsz0PoiyXThqB8eXG9EGomXelTLXlHKp2zhDDsQMYk3Z0LCIpOPILJiBIH291cITg3klTuUuYDfx7tb5/l12yCDNlSxUmbqEc64ZpW/IQe2Bv9/vRqpmexPBvKyAToTWFq90yUM1ZP7Wj5dQKzE3Vt8OF6qLa4gkC2DS0GJwaL0mqf8fmkka3oTXb7UDq8fWRzPuM/nwAcUMd1M5sqTQ+ipu7/j4n+LkRaueCbqBmsSFBjqJCwXmc+JXFfYRdwZwtreqE4n+U45ewLsnIz7AoglRT1OeC7m+8Y+vY9uSVgB31RoK9RKonDeO38mzaeUnyddDtzgYAKFSV7XHXBwJtCwbx0aSqufp0CwFoS6VnMHjNn1YF6G39DOrnoM8HUfw8gayM/oprgKwRxPYAEYe4/KjSu+kA9p42RHnWpLF4eaHPYJWA37IbDY2/aom0qzsSRfUNYNpZO24tCCqfRxIzbnCWiqMRN4HQYjEixkZD96+y3nDu3UCxGQiyR0K/f91rAL5ZMzXhAg8zTSCcbxqxY9UqWVtjsnLro00TYNp6mYyuEXCvEaqQn/bECM4vTZmvBF+e48V2xXtA298Pmk+/1MIsamuimormMk/D41V+ufAFWAj1mDOSaI3ob1xSJivj0fdy5vEuKUPegK/eJgp4GeS2nc4XBhSB+q/ak7dmD63NDq6Pe86cQhL/Qc0yb56vwb3xYqG2XPsVt1TRr9d78NaTLiIAfWxbPwNQmUb8J/38b0ymTuoOAaVpmqUBBH5AOKcCKXSAeLRy6npzns89Ev/VIICBSnz9cVgy3Sl6CxwTXpaZvyM5DAg7URVC+++H7M5Z5haMg/5yOkV0106FKZmXM3pS3oGjih+jgWHSbozGLfytS73XldLKFdsPDPH1UtULNnX3iXhk8wAtU07Q5+B7/mhwjwvOSyXh+s4rrQfMTaU+07B1zvsiJsWziJJizGWwEqc00RN8JJ8R3pzc8e5hzuCuA2NJUW7eWbuYU6cBC/BM8ee3OD9G7JoK5IldGO6gUMzY9wgwwCFsC7Trkhl1bChEP+ftXM80lrQCXzDastim7X6NF7m5MVC1YahOhOjeYBlK4ixofMs4qwmaC8mY1GSPUljEI1MsxNt8HeEiLud0coefaGCf2OVpJntIvIhbB8k028rD4PadmC47ZHUeA36p26qKczryQdgvzjdZxRTpQdFFjaYGrZIhc6lPQPImigzGp0EK8aCxQmRecvhf4NArxZgbIN3YTZtCprLHxD5AvUxk1HYksPDlwZez88esO2u8PBsb14PFBTqpaHaMfpTQVhbHa+Ck+46y2dk+emiWKynrcfHY0SHUDphl6q4wD2ywfrcS63Mfera/bkwEPkFa7fYY3sq1oY4rB+1ztWooBvAXjCm2YbssIdCY0j4rdMKmvLsTbSXGYjD3EO1GUxWCAlrjvSFmfR/UMpDrTeNRI1ri3NFCug/woLD2g2ufWRlO3ERilh6fGqOzJTtyxLJ5yY1usp1rBFNRk1YTceLXGuTn2XubFvWz4dAIaWmFyI07UB4oQzcwzi/te5lXTpBFgJdQWdRfjIQiM+n5uPXmDn/6n8UArIxow2ngkZ3alx+Z++fxRjEjuRa8yN5LpEW6pdNzp7aNf/rW9NF5ycfzFOvJNS3k0ydlHNHG5wndS5t0Zu1iYohRHKYel2CjN8ASvbkZ6Dob7lJ6/O89bbMHfSqGRN0vSMcgOdXWDWyuq3UMehbwy0zzbCjMoO5+BZmv1RTJrVpG+EinSeOIHmTrz6PKE4crV/Yqz0n8YCXPx7nCtim/CsbRFxCx5izFSu3AAgQRokfHKQAW2BXtQ2JxjqSER2GcsyeQuwJChVshyBgUL6xRHXgg3Lvck4hPFhQJEKaO2m/oLf87wc9Qx2tv55Ytzalc1ot1I2C3uLTRix/ymr9R2XYddKNuN3s4uKnN1XNtjoNkBA0VZEvhoKJASMBxvCpHIVO3CX7u8PKiRAwXkRg8Xfus9CVti4tfuIn4E5pvjHimdDZ2iQFp7DR1+V6NeCJ2+uYmhrTpY/XOJPKihHoWQiOnusPH0lgTmPiO9trEw28MkJADtxQum6GuJBf/wYAk15e3/RbxtGxwNZV50bi5eSSrZb9OJ0YgAw5WwFmgC4O1QjYbXZrOLDa5ZLnOtyXJqWT7QIKA1SLuIKjT+Esb/T2KKOKDt5atBxNqo7dsAy7OV4XYes6J6MusPiWfAoZ0TXOVI5dbTP0J8brO/pELovzM4Zv3tWdlxH2fd/DmdutLFkZ3GwyOxV93FWEiOIYX9kRJFwuFAgAyJpNPQxlxcFiR5Wf1khaKS3RWyEl+ux7imse2ialkH07PAOIBXnDn2NI25sx5hP91QlpXLunmFQPHVifasd4qz5plMTE3WllXKd+MlkMVAlD0C6VA1t9gszlj8OccHd2pmXkUXbxY0+ejA7HppQ5WWqxGbsRhmfLnACOnI2hTGjTefUlAB+prz+fEXqan0U+llc2EpgT9Ni+npbh6p+a2kP7sXRl4MBC8J9JFPO7TEU3w394ylstAFdOf+tCWV7kQ/DHpL33ZeDNo+W7EXBub2fgVElRKVKVbS6siVxetq4ynT9NWcvlcnYIM4dr1RBISAalgw8ceAo7ByssJdqluiZfaM73aTaJN4qkjkqpxyderUuUlKooakz5skA0M9/0nJQlkG1O1cCInJGuE84smVXZam0EfvACtlgUczT/Dgkl4A8RpVv+vN3NQr5UhY/WmQnReYvHby9bOKetyLjE/qBCO9FSlBMWZJ2XVOKoAN5+bhyPj5+V0B+es3C09hHBHLvWiPMGg77Gv/efPiTd2mm4dwzeyG/2lRJlzQj7nzyrTBItFDNFKm/63fpXN9wLDdBGx1dwxKSSTuJaydkfUB/H/+EJHL4YM9l66w6y42vQBN2UFNEgTWJkWyu4ZoQ8UP4FQha7iQB6uM0DZ8FO7iDCd28Fv/1td3aqknloJDiWC4PVn1Q0WSK2B5zs/4skThSZgtLfd+UmbqZhGZOoJy6LMkrLkD+v39FBB15yTYnQlqf5UM4eqbGDZ4emiQoVzOopR7w//Ey4Kf/rX2P9K0GjpfQ3UEqpI1nbcEyTFnQZ0f+tMxptfQLLuAcQ6S3z/mygdiOCJL2XDq5hWULKu+6posnzNgeO3vvZ/StRLEAzAG2ZdCaTmoIkOTGRH773n/eCeLHQnxhz/aN1pccUYjeFsC2ol8UynbwnD7UZR4k6lv3DS3D/uomt+XKUc3W8BPZAelWzlY96tzQ1APsv60vUQZkIUB3wQVYiqVIo5P+3fkuVA08hPkCz9l4tTB6B7RLJcV39ck2EKAiBVpKR8lLU6FQ+e9FV6X/Qd3qnOR2qtr6ze2yB6fU5ZkavQ2XBphTzHCI7FIUaYHAr5v1vD8ZNy3MlgJMxu2OyPIcESmLlXElhLw7+DXxQDvuMlcTvmfCC6d0K0cM63bZm0vdjmwUbFalTJrAjs4z0j81TBXDE8zKAYxQ2ZdPkVGaSW2YIoCPDeU+hCczwmiOd8ocyHLm6LK3ifUc1kLIeKq0G43GABYkoMebCW2EDxRJ39X1HypDmnDgHROKJEUy9zk/3l7OHSRfsUL92EzbGGW0xKFZRbCpr3U8U4vMLUWM3AmTO7fFaH6eRClrrxFf7FMmSTnNmTPDmaSd8D78Iow1AW++LXl0Lc0MF/q+Ar9RcX0XuMetNyls/LVFOjeMeWH1oi9ppb+TGlfdcl4AVGIQdghrfZvPYR00qc7eYbvjTjWmfjNa8QAGsnSX4/V4nC/ZqxHtlAtcqphFc20MkfbgjQC/M0Lo+ysssR1p9DXrWM0TH0uF9DwenfkKX8OG1VA1LFMy7ZesO3tHMxYypBxrqzslF6FkhQ/aXDpYGBPY0aZv3gqOQXxfwcTM27H8J65lfVl/0XlIXJqGv1BM0am3Yy7Pmmec4dbkXC76gywR1pmxxa1OlDcLQw6Ia++VqD0yKEIIzOhg82znoJyrUCGuqaenhS7+kVlTOoTFyC/3Q8a6iWj8qY4NYJ/IkZK8Yx9Brwh24SBJiAAzIdnOl4hzr9jGd7cF22o36mGT0xWlhQeQQJUYEWGQNhMaV7PoFGadhoUPDqBkfLjaVfHeS5JNI9yIlotKfO7+ERNUKcOErsfjn3UeIBMGFLxr1srrgMqEHPbtSXQj28zITESJ8nOLKQgu3GFCnbAW/W+0Ac/5OvzSLL3aHiZegmQq3T1iGBZND/7mnULJSDMW7V5fuzqXD8BkyxULKNqim28CsGE47d1Sr626N6v6Ezy28noqv50NtKGDKFBOgHaf9l3BX+QHHE6M1T/YRCtyoxr3tBnflOQjxx25L/vfYJkO7GTnvVBrp0GgBk4trGBA3B7TkuEmCaH6pjN3+rTl3uIpXK4yDVrGo0fHvEdre0McsmIeDKj6CcMnkK0EjbDo1pyth5tDcMzxmwfyGVMXJHbGcsop5FPOhdXnvlcArTof7bxuaHOIi5NWtkLfXN4Xq/ro6QiikgD2eAWJEy3nniZdLpSxK1FMmg0MVdIa4s7EYewiI+57o6yZuzEyXATa459WuvhjaUd3n1sKLFte8m2w2sxUzHlXAFDqDMJcRiIpI5tEw1pLqZyBKgnAjQeDx5BQfG35IbWog7rucNq+4pKrQFLQq9HOlm5CBmkz8Un/GCsPO9H53RExXnr8vHsPBlvBIiFRnCUFDZh9XcM4eFqm5GI3uORo5iv32sqmSt+XkEKmRqkAw/jpnmSjQDDMge/6Dne0uIfMNDhdP6YklgdUk6OHc7OYB7MhI4Psr1LhrhKSj5aYgOyDYu8NBmaaBiip4kViZaxmkasy2kpMQwcTKvf+vxJuHZSIsM5IEOY3lr7+OO3OwEyDJNvx1qFkryodBAKwJxfKA41fZgo9cEVX6zm8vW1taUO+HoFOTfJmgg7cudGUSE0a1IFroSb41MCsc1mKZefl+AlpGiCaa1/cSvxHA+Ot85UPmhiDRATWCVZW6osQmXq5RcPPJ0/nXPFV7HsBLsGciRoMxPj2EcqO8OWESfkuIRxG74u8cNvk8lKIEJF0dPDA5VdZYZDGEnM2zGflM6bHPCWDJCdWqmsn9dOqa6tWBfwSe4rcVKpPP2kSAGvM1MYvcy0zMuKCKv16IglCbyZgFoZLeBOziVBUJMQy0Q5UvyrOR+2E6j1UmTSCHGr3vP+NhRPj/jk4/P4yugtjm82ODP3XzbND5u7md8CRUYkecOW+q+W2li3UOPPtkcXiBMgVfVf8phZdngxkPJ3er0KXtPl4h8MYZCJby7Mn4WhGBa8ZQ0kbAA4r0kxkB/6NppbqtDExdbpss9VBXOgG7rJxc6397W+pYaXQEYh9P7SN1vVoTAQUl4pbWMtV1Ubk0qglK6JbPcMHlBWq/Vj7pDuNgydVveR40O4zbruW5WUACeXtLmWysF6+IZkQKM3ncxpClEdkrdrYsY3xVsGkxFodtr7NUSHRPW/wN9aox3CoceoRjlTSUpugM5gqatlTxEyuYpUzedDx/DRy/+g+uMsv7rmueJrQnLYRFHn5JEXgPev+Idz5GmEvbCUS8L6nrUbASzGtqTtY58tC+3EUc8jt45EykPU5M4pDDnFQnKg+6Y/+B5ePhfHdI7pSAXIpVqRUdTS7Au+qpZ8+nRyZhi/vcR4LwU8v7M4RnTAt1XLu0sTg4Bq2bSgmtQTccWukwBMwQtImvY202Q3pgXS3oYTPlewZvA8NMbFmV/cKLHBGjJbS1pEFyQsLz1JzzXg4VmnJWlxgfHYUcvwaBh3lrMAxj4oFTCYQrjtoBx034ywKiYDxoEgEDQDoPmMexXI9PxGjtE1khvI3f/1G0X51+bh/FYwp6qfMht1AExHvwGQh2Dqp1mOrilgEjV0MdrqfkMsEuk/+s3YNyTtxqgLAggGPhkw4oAjiJ2eg0y1CLdT/WG3ssV+lUCKP3gpRnwdWVpVMYavXurpgUn2B1kPKwpPlcQXXWgMJEsORdUKuPAL1qvumLHzX9Z0xSqi76GNagoacDfQDw8vj0Q5mw+gll2YctcFG98k5wi5j+I0tw5Kw0rsbFLu/Lf7xqoPAUkqMahHON2d39QeFrmoMdXzBkmfcknTAb/a4ZRENp92p2MYGBph/AUzRJYEmp0o5jf5obb+KRWOwyvpP/E9WKwt4hcJY6WvUj8SDtgxCGXoGDZqIhYXGKPqRy2/oNCdZST9u9SfhBXXCTkcxbejgZVr7hUdGaUXMrljg05Pm2Gy64fYC8NesAIhRVXb6BIGDtMo9lsT47Z5n4bDmvUQrFIS56jqFg2CFx8VpcilaN6gCGVY1G7X6ESZ3nir8YX87hAMbJ15Sb7rnff549RBc7PL+0zRi1mRpugzdjZuxbHzEyMOeONfrCvhgTlpc+eAlrZa7bKsxzv6NIWpSL/4g+YB3h+GginzbtwitSYE4LEpug7mrq5skXc3DlsZLeCUDo00e83epunKzh8CLnLWtFCei+temjGhiRmGAacsEklLoBKhCK/OYw5KDcTKOGxQd72Hma62bpi6umdGRGiAEQ+3MENkH4wQm4yNXGGFgWJ067iMzDGBGPZnjJJ6WEsQLvX8F66swLVKTMq7TA4ZXqRR3qv+2ifzm0G00a5fOjr7EuPHQbPeiHzbznoMWiRbb+iEfrYTix8bR+pPOiV3OXeXNzAHni7TT+1wwsKA5CnvLPmVD+qsd+xwzfz3VdF/YZVUcL2ql9rCS//4KovQaB941J2A4hWALKyqnK+m+S5hHnNXgkwMqfmnT8goqh21cA2cuWoMdBcjytiq8+5aGews5+8HJfkOrIOnFQfeYxuDhPHwGPt1jm/KM9mStOTn+Z3jS78T76PJQxtcVggFiX6t/nLsYWektHFSge5eWNc/+AtgHDlcY2Mipi7ZajrM+F8OwoD56nwH3VxQRwo62BU7W33u21ryJVvldBsTRl5Vyq/v7sfGOvbK8ws5Or2aZ0+Z4v/XgbkN5yLW/MaS+14RtkoAP0UVbGyO3jksj8Eh5DoWwWOP5tbnIRv129d18ds4gdTLpfXNtYaVL0t2opXZGd/Wvk1M8Q4wCP/NQ830Y1yhkj7wflA4qJARs28bgHQ1/FdmOX5gWFxuxuhsoJ5JZqyC+ucdpTIhNo3vt1Dhq5gPdRuSVpOINGGa/ezeLVpCPWlQEOTrDCQJq2jJoh8dEr17lm7NklhAeRlE+fpxCuJcIGu5k8un+HFLt3vbPqYYFm2ojPJwk5yKochdw1BYO6F9AJlCWzk7tBbsU7bDahmNl2Wy2JIespCckb49XEfkCHA828qKylB6NvDpJMTGy7KoH6wco6lA8i2Z0L01CDRDrJNlYILec7cctLn0DYE04fDssZSWtfphF7fql6obuV7CnM0FVKHbpcpfEY4BMpLusCZg67XPDkfNsV6UEgoKEn1HJfuvoMg5L9G0QfLTdIwMKaxHZucgUkCCSB01GLpFus9WFQ0V7Ns5s9kPGElVQ1bULhtK6IJqIjpN/zrDdlByRwNuvPTebNe5W//WfyVNhlKBvh+HixePm5at57qgr0jMVVa6BsotUYOHCcTQkotdnhWawOcQXUdGPu04Cd2gXFRcsZqJ8Sd8quPHypzlnvrtTxCHqBp/ry+FzRFU3/vCrRooe85OnRgBS2lAT7rgtXj/8xej8Oa+Sr/j/nzwHAosdmCXyrLicJu6SiQwgouGEKnnXY8NAJsw4MHrL6NA4282s5jp1FpfADsFBxeCzXr3wvYqLUG06+ZrJbbwJN4HcUZHXsB0i6aOFt7W5zkMy46f/2n0V37ytCSfRlJplBocbHROkWYYBzIEWCJiwG0ZwasjpdE7+YOdWWStUFzne2l7IKoWHpdORdxvGbIfQ1UdX9EYPlW2q80oQ2874az6ZCI0Vg6IzqzwvDpKknCHhoe2oAbEDx0hD7d+yVaaT0GECKrYBrWndSxNpKLT+gHF1pu76q2ipMsm68zmDz88aOYA9dWLrRWgjR+zu+73Wxmsr1ngai3HpM7zLBg/Og69Zox7gEpk0csXIjUmIayL9F6PsAKvT6vrI4/AVlBkluVZR+Fz6PkHHubryuY5zJYbYMRm9IWk0d/19lRGsczF6fmLMb+lndwal3hN5LbC4w4LqbnLHPkd8YydnZIPa3pII45xnrZzJNQC+mbdI0hLzMevuAlclLOgbOloeb5Ni7bozTJH0MhXsT/cjUVfPGJlKj+lBtztRG/2ptN76RxNj/tutkTpNuAWJG+aN9PPwg24w85W1DTVbBWRxGIEcOhp34BZ0CBhjsSecCylRuKm+j54fcDi3aabeZPvdgrvBP8Ya0QUfpUfXLJ43Buf3jwsLdY5YP+yJsju+wTzeOCbqI0bW77Aa9Ds1Sqx2sPTJIvWjRv+fIOXk4ckH/yFrhFqUh4TKthEPsoXYfVZLYa/Nm8rdF4HxzEHs/eA/koI0nLazq7mFME0s2x4d+YmWjelhx4rtW+iLklkrs7FjbsVyfaE9y7XeSibKJ85YAgYtBykOGLiDa2FacKJVKlYI8Wgz0J0KyADdtoQZKX6OTZH87Yxx0Y1gpvfK9oiNrJkXcBcu6MlJkEp1rme9oQGGv+u8PeWPK20VvfZsO64+b4/bYA1thHqE3I7kLoWw4ZS/YvyubF082PRK5rAxBLXij7xR6+CgNbLCe+tE890gyAXL+IBZzjaFYuL0rbJ2tRjsw44t2IaaISCcdFwDIXDjGGNxE5VlCnCtmwyXDaI4MsuREU9/Vr88YXC/R52ju0tcgeXqlmcK5c7AHc93BWawvETsnAkh7IdfStjOb5uoDYZaZd5P3Sjt12JoziKxi/u1n/edyNqUt32t/MoR1YLfjp9fSnJTs5ta8H26Eu0IZ5UWHSOC30XoZ5xqM2FbHHbI5jnr0L6ORakSpdzADWhGYQmnLc3+evWqfJ/Noh1VBsgL4q5hAZ4IIxO18VPLhfXQXBGAJf3nx9KJ/Z4YkzkT2qSpI2QJDZBfwSI3hJkoTsfiv/tqrTrF+jlJC+wOuTUk/I+RM9e3C+IpcvjYM9b0/rmiPqhkO7/T7L2YjQYxRPCQN4chC/zbuyQpxLf6DY4pYKTM2AuPNyqwpclqDXUa447nuBASZntKWnQ0538iZYRWa5VNDhmEW6YWyYjHGrLTp2bV/XzML+MOc7SoS3VuEhVfQDO9w+udZN4VzOv377UNDNaYEhd+IY3wJr7q6l6qYG+ggdM22G8+8SOwBHKwyvn2YqUgZJ6TcjyRB3yZ98F0XHQUzG70jLlS8u4Eetg+b3yq9mnLyoHi7JwSmH93di2HqnxMbiksjfexFk5KMqOOnB+iN04kQYIpW3PMU7g5xQgJHZPjJAXKmLwZ2p8xQsM9w0e461iTxXbSd35VU4eUvRojJpIHbdOhuku7xzfE3B/h5Db+mVPSA9OkxR8Q670WDDeJFnwPBymr4JXELNjRaDxqixVIWvPIuVEKuzPkeyaYOvuCuPGJPFwmOR5SM8QPjafbDi6Nxtal9AgAxHtj153gcQPPajSjo6POdD1dge2jA3yBtloTRZ5LbXGK76rI5M/mdkV88okMW8Zfl8MZFVFoY7yMFv93Eo6ASqnofe202CiYYJ1dYBWSt9DP/YDvj2+NvCFOxWPtsrb2PHlRjQht6KnaMofCH5XeQZNmclPOanufTOtNKWUK1gk0m82WFLwT4WoxtRU9L8P/c6Bn48+nHJ6zNXuLQV902WYlHWtd3qeT4ZtVlLG9QFdoDj25sADWkuBqeZYCuUxgQSaUYdsQgalQdgPe6xmKNMaUHVeC5y7Ay17KYJGlxWEhcSj7tRG7Ru2i2Md3APAhH2OhiUxTYB/xBE24ZCYUYW6LnLabpr601ALZ2zZU7/Wg2QjEcAdHjN23lVQH4kdwWsNsCvVoHxTbQV063WqpUxLNkhuyZ/2eD8z3th9nW8jhVE9AvZ4J3suDvlKX05VPzVwxVwVVYJyJIMZY0eowZYf0AXuRoRe4sgqTSkgeMsAVuVKNCEXND/LdS8t3u/V5tiAAh8LUo1dLLCks45oU89TlQMc3gni8culpoaBp+MI7oUqcMV2TZgg9z8fjsNVFTAac/3nOW5O659VK15oEFz4aN+ATG34K4/5+jF0cHknM3ATAM/6T3lJ+EPYF+ujceRxNY4gefHQ3iy7NUfvNNBSgdngyFDpSmCzKcHkDaEsYXBsoT3Xam2ZL+QCilB1lrLeduISyht5siysDyEjFtyVoAQX0BBaj6OE1ngFFeMTlGQodf48jf+/rBcqMbNPH9x0HjEJoNOrqNm1gyXhe/PPwvcql0eFbOQeregq0gFqRlPGCgV5v2O2zpqlXGbMLmJBPI1gOl9qpflnlhXCVnuRsWSHtx7p/xOproPxGb/9BI5lBVBXMiJnjH5yOW+mTX+h60TFnwTUtMXlrxQpDXbz8cVBaB0PXZ/bjVpAjfnP5xbTYDUwzHEX4md3P/oc/nPbSCLyAVHCPuVsYqFH250wHeT6vRDka4ymW6b9KmQVivfyvtrbQZC14ssWSjYxvhoeOVXVPaL2aEpHiVyV8VM1JD/WY0eJ6QOwjAZrkp+axcyedgYhsuZ6r2L4byEPYwZcrBbseEeZ8+OWWXMmRnOceiYQgdFH0ELax07z2+9buVbR4PUgaIpWshKtg//4c009RBxrBOx3HAlKiJkP0DW3or9X7N5vHexCTmCzwtshDg9uqK+I3fl46iVW2xK+Imn23nXrQdg0408jQApPRLpNZiJ+7FFvey1Sr8t7H4vuFIJ2etruUXT7PWXHlpioP8tcGsvUP9pQhzmFutjWGXR5sdcNjXBwQhua8BeEAoMG3H21HUr0zXD/RlW1pdVBQO4v6+3TcW8k9BeM3uz5VEt2afB7JdB8De3NJ7PeFD/HoWs6V2+bVj32DRefm1gVGM1JCs6tDxiV8XYZK42c5B9dTYnkxgkRRu9dDgVXbE7vm9bVvx5srH9lOATCt+mPjOk/8Zj4qJrA/XETPCt9mRZG6dK3F9WRUGL4Qg1fY5zgMd9+sWyQ3he0S1raNmbZ8PBrK7GidzbDbdZLfObraUYboIFVOsgGC0EjeG6I0Ck2O0aZ8dkZEdd6+fI5hMqcKkm/tNh+15etfH9KXh7MNzK/j3+7MsuBKQrjkC4qGeDuEsGowaqvb3XzcRXQNxyfzIuPYWoFygfMZ+Qvmc3uQPUpjMok+vbYfpoVrsFV0MTdT4hsNOe3H677hVjDbsw7wbNDWz5F6P0mOUd1W8acPqEN/z2xruHmNCiSyIfZ5gWCIG9dkRy8CPCvi5bagdJKBpSK7SDAOgjm55Jc6D5Z3zrfS+aRoZbl6QSzKlUVLt2xvLgQijeDxiWowsjXpPuRNG0pq5PxZ6nyK7iuYpWJJ3YwuH6jw78J/+90WesHjIIizYZ8PkdkiH6LylgFO+xhOrN9VOCCrzOKZII7Z7qJfjzkh218X6R55BK2kUEzUO8C88A6P3nWGetmSRPJDn6mCHKLGbuXrMxrurnHt+hWkvFc6Vj6Gi0GpYCkoFinC/lnv+h6qTmXHYY6tGdOMaI38H5UN8dXTQ3+5k1wB2T9sVbVBXIdJi1v3KvN7cK0ftTXykUulCKx0K0VGqmAF1Qbf8PGgAJuYt5dn00pfl4r0d3fetyulpNdg/9K5V8XpSCn3uCG/1sA9SvB3UJhqZwnpmvFWsl23MUyhDo62Y6WKsbhjnMPTZ0s+vaWrHDUQp50v1n5mjcErX8z0JE7CI/BbTdNl/R1vmxg8qsqivbkfKsr9w1ZZIx1N7IrBQOnL+uKkpfV8fUbrS9AXuZkpz6CuTkvE9Y5EyKcY5aLWEDiG8IheHjtN3BITk0dWgsLLXL2Bg10RqZCE6D8MTd772N8VN/oVnt0FukcSfVzLcyQHTE7cfyVLR/k2UwSkHD2ewa3UoNYqdZmrAVYP7a1Em/HZTzNbRIFy4pYM0wOElYWc8YB7T5NRnVyEi9uUl176g+4svrv1JvvrI7v/RGAHv2JvBaY4rE0xM4Z1bZhoT0yQ3yYo5Khdq7JLuOLt3EkF6IuY9PnnRcI1CfEVDqxyV+X171vBpadonw5olslAF5MU8tTQ5sG8yYyX5tUZMG2SJPfbvLpaDlHbbyxC+qDNlbzCZ4dEOCYysLtpkT6o6JHWMu69737hmvhxDGRbWRuDFrZw/NSWuXRwlOv5vXZrmnuhAYqUc2kSTq+xvtsaD3tgFUdEVvn6F9Zigpq+5czUnlZ5CvEFDtafgf0uYdgtCM3SdvX83+YG5FfKp64qs3lVCgyacIJN0BjaD+k3jhVM8SXuaAkbZHG1Y1OsqoE9QwGFJPzumhQSJJJNrph0gDSe04WNSQ2JE0+6PXdU6FZ0GLpqvBKMHnakLU7ixGpnqixYnV2y4uGuoxjY/PqhhB7Pz/c3gNP1FYaDKpxolX8iL27x8WpKIyJ+AvSMkLcYbBtTuEII7NlCDY8zmt7OXZg00XYq1xAKaJF4NPKtkNc62e8xZf+tcJUkivFCZqeI4IGv4IS9CNzEUWoDzQbQPSvn5dGCk1x1Ybmyahv75FNiS6btk+/KC9AXHxLVZ3DmPlA1qSgXrkeB2mAVfJzQt4wxyT5IBUwSKBE1Urw6yheTzwHL4Dy1aP1xNs+fp6ITrMS3gHvbeT/33yWAokfQV7eruvJfTjZbEkaffo6XNzs0DNHikHxkVV3a3pDvUziZWBeqMt8bEJ3DUXrmAulc+9P1shX1rl8OVGRGK489UuxTBSaJgsP1bxcA7yKJT1ccyvCim9quY1fG+1vdgnKYMlpSiTLjrNaHfZXhffLlXQ7mINZt2GU6euKwnNe6GTnhvT6RBNTNj0sU6uevKUqUrT9Z7G6zCOPfKYS/HYzk56e5r5LIkz5dSHHOxjtlox3YBx6N//qN0JPTN1Nv0DRdrYycd9mn8hNBHnvqKxVvKgurhGLzghG29bV44UpZzskWeTR8WFP7AdII3nfAzOJGqzrR6djE2aaZbmSF/APH5jjFyrDST2jm7enmaHSb4d4omy8nJubREm8R1gUOCn5WtvXQ2P2uW6UssBGO49czIIYkwkwobyJG8y6DJvJJYNTE2gX9QDuhqmW6kiXHEDZ7KhAgHnNGTBzZwTY7dFpBZek+oJmxH/94gX7S6JRKWUfFjeXVFS4wEjer8yk+POMNAlmD8jHTKVPHnGt7MBi3E2KYImwuBpymzYMzvd2gESY2no3MxXcdhUYNdIP7yt9LSMOZD3NWGWNlys10M43AEnE2/rk4Vyk0ZSn1kl6qoUJ0asOs4h3f2J3vHrhvGVWOze+5WM25JPunxUU1fv6xR8/B+gNKXH0jEt8YXD5ILaeGeFM3uIiZaOYBs310eb4b3deiYCo+IAaeIqdQ7MDoUxdu8Gcdjvb/JamiXCvIMtHxEnw+qLhtWzfF4HOU5BX9nTIKefAU+fHunmGJ7jXQX7KNBNmFFFgOT6l2rptwXZciu8YFRK9+bJp47TfZIgdpvMEY5qC08+W8IVaqbNHlhTvmKrUaaDc+o2Uufm4Wu9kG+vI7j/RY3qSB44IPPAQ5HY9vQbQIaaKhjUBZjXt4dMwIgJ7fFY+epvn4tJk4h74NJwsJyqh/1QgwnlqJ2NV6W+qWQfz+/WSWPiNQaOGIrXEuJjSHvNIqU1HWwbqsvJKvJGRZvrsGZY4ss+PFS9mP94rm0YFP77eEsqFKHYwgYkdXkApc1xtMHn29UPStQhyFwPYoJpGTknGB34/GenhGW8djqUt8InWfW+liLW6m8PtWaf8R+ebKVCMH1LKVarlrA7GfF55zkDfmcyGqKVK9ad5pCh2vZxqEe4LF2E/wQIDCzUaqeaYwEcskk7I5KcYRLV/Sp4/IfIkJeDcZKT8SQY296YT3ZHiC7h7jP9oDuWCQ1qkvP+npb3Q7iSjzKdFukGD8FoMBOycnR3XdhFU5lFvQsBggHJCUBPYYdOh4y6CH31HeCR0NEYgXkfIi5++iGsHeVufM8ytRAD4dca5PdvGkzu9QAvmd8IRUBMexzlssD0tuNW+bwA8iBe/tN4IicAyOnD3rWq0gvmnxs7ZFbOTOxAV82QIuqhhbJSZJbHtS43JgxQB4rLyTA7lWQSx9PPGq7leFvkj3t43nMd9B5mn5jwLlxbp3wIm1w4+XWey6HblNxUJgLq/bFctJ6mt7hSNW9XNzLi0pSCcITcPvFA0NVaTTzn81p8Hh2u682I2nsmSoQbfEmHUtMmmHY9Si0i7+ks6RmcrZHvGaQ9OAmQBEpqlCrDSvDdVkXM3bA3dbVYAFfQXItC2sKeGjVg8bmQQn4q48qV+4L2fYpcNJbeNPMmWL9dGRpdWOtXJTT/RvWXag6uFReEaxERdXX+m6wTKNsRb9t1yFZNwFiPjNjQpHnINDB1Ro3O5dUsuyUPGG5/JZXX2QC8AxsDf6rb+C8MtGMHIuQ6cQ3azngxYqTC46VxzAjgetbyIV8bjI1+Ev1ZGjUEY7FWKp9g33gci0HrbZsX5PZGNcqKkBj1KF7NKgZsBHiFhNUnvWNpOXNrccSx/P5gzSKeKCUZh5mTCc6co8vShmVyD3r3oaxq90MurgQhDyr2CZNtVCzj/FRw9zdKUTIJF6ZAbJ8fHQBg5mVZN3Wn2jpEOvIfvMjTaeWsPbsmOGJnFZ8v+uYSffRS3pRyb8RcNAS970ELSASxuRlx7WjMMxCMehM0VCWkfb2B8JE8x0P9kMP8YJ8G7boUkgtYxVaSa/oFZtq5zAN5XAWIcujA5glP/p+s4G/u//KlyqMQpqqPRIPCisZkZfcxAshPTveR+XVuCVANCybe7qUIjtBkxQIWltbwC7xQPmFg6akm2xOZVcwPmBPLjg8hCj5F3QMEbVKBMaHhZu4fH3FcAC3TVUtz0HIqt0M3ZnzBzHtO8yO4Z8uUwImLn71j+M8Q1LT8vS9g5tTYnSaKQGiwv0hyAGiwUZxfzH3Tby+REAU8Z3Xd0zNRJ/lS4WZqGWGf16ASjgrvJ4SgUqMAcaWPEAubfxodLOfk9qIK9ttI9IATky6gq+aizfrfGcUPWWjAi5uJXuOzRPSSn0CNMDvdXJ5ovQVPZq2tVs/wTDSJZzk2oEtOvlM+jfPB3uTuASWx+1hnCVhqz5viQA8F1NqDuiFa9j3Mvz70olKa0KsUq8TSgYhDobb5IGrJutA3dOatMuWcLfEou1agELq1kp86bb8780TcIrGQ6jhBfihV1qdVcvMgACQo8VOg2mFxBmH7mkmW4ADhzEJsu9Wp08eMo9MCrNCgO/VBVEyYuO5z7S6qkPyZU+T1Ay3lBi/mpXl8RP8McS9KJtuayecdabqDQoNAMccbf7AGESNjAO+D+SQeTlV0+t2ZuDjrDIBPJfKUbd3i1Orq3BrZOI0dzXtFUMl4AWmDm4ItioUitXxGJPKdrmvsQvF4LWOc6KXxnVL6db5UoV1PEB/uXjiHv2SCGB67hCJilJdqn6LnsJRpE+faLE++RhAFgmsANyPpx8zpq1HJr9HM4WcA7NPSTSPh3gGFRPl8UAFuYWF9ASENYAgF54qlWOUWodQbUKyjHIkYXyUpbNFyqDEVEnmtDPj5wQ/d8LqXrCrkD3ZsPllqms0n17HrQ4uWeoaURWrkJ6gB3zu8InWiD8x7/7zafmis4rL4noIfbOj3F30D/t3Q2BiifMxeV3NiRlyxeDosybzk3GdzFGunchqZ1kW1mshOCtyarIX3qtAmvSEDjaj8qfhDdY+E6n9perD8rmt7y7XV0yQUXYGWlgl2Bm4v0QTMhyMSbysn35O1HaW9DfeXomzMRN4VbbOLv4fDMJqc0z9oeGNcjOnqXoNk1CEVfTW8TOgj6hIUqW7NmGOcX7ij2hSmjhfOxl23jDyuJ70FBXurn+aBUhPgrcexElmf8cjX00jCr+BDUw+h2AQZI6zh82lNIOUxAo4z5ZaynjcIOCZpqoMUCF4pO7eldRMoSZ40yjSmveJL1jP0trw0NP9eEz/VimbMgFITFItuuHta2QRiLUdHaxtPs1rm4aQvaJaGrthCGMP2WwZfJMd12/aYnVzx7fd2snKqbUJOtWJLO3irG67KKaRJMt1Q6fHimDh+23vx+AmAaiwCdvdne2NoviOdfUqnxwfZFFelIa2eR4saYyCJtHMqkTTXCwFZSbcV6PAMnciXcCyCZ94qEy908PBpxGcuSXD2WwqP43wsag2DTzfgKZ/MJnPIzupoboI3APgR7a5Fp2AgG6xNhzmYpJKgJ4vff4wN0Fz1/Qam3rHgYVau97mfgEGA8rNZFFPHHj22Zs8BaNUfTNnGHXMu/6qP/M6oXNoEvTuJgX/b6Pg73KXpY+nMzeRVh8XllHnX/EJ4Kq8mku1gkQeYWNWApKMFJwdy67HFVMbVrTQREwZgfYZc3NiQGt4PU94q5cBeZ+XZ+tz45Hc5Ym6wO35Z4WBhXsIvQOprBVccj5fWXZsxs2qLC3wo8oW8MHRy1ngcrGEnufeDUb6KlPzGS0BipxaSGA7haqh3CBkCu8/+/Y7qQfnjHA9JstXNyr/aiUxHMMEfo9BzJXhpMbeYGzrwd6VE2jQQnzq8BDvOhUwYv2eZjGCgP9o9Lw1Z9WZPsTqce7OyS58ctoSZizNxMuqP/YjRL1SnxjhWWtojKRJRSe1Hf2z7MkuflpGI97J0GFvbY7SJ1sJngxL1aKJ+hKtZuz6ssgqR+kukTsm2DMCr9PSD7qbUamaVsNEW3I0luA6udKOKaDhfAgrZ1QxA67F7LNPlaW4W9eYdI+/KrjwX1eCqPmy5t/0Bxh9/vvojxByA3OwzpYRs2e23iqUCh58P8m0F+vB87cEtpoK2sPanxJP2BHyO+RFOvCGxF+2szT0HaVuPcas0YBiewTwIXefIh4U67R3b3XdNU8uFznajm09UBOkGJM17jH5/ygi9vVq8GEhI5RF9zXT2kba+tBTIY/DKCYmxGqtOxvkm9zsQIF018E0uKPCZVjyTIebWQppKgsCtx7dbyMtTtSwGegkUKI1SNB8eMgdOUb/dyXLJcJsPDiwokzWrAYd6CAdSc2Kk90oklDwpJpQgzqjAkxQG8iUMwSZehdi10n3Wl/14dZO2cvahWdlmTwUB5j9SnTZfPww5p7nuHw3nAVUfmJbhbe7BF7k+nyBwGKTwJQdaM3aACHWUWcdEO2RYSK80qfG5GmGWrw6/gLyK/cT39JJqe0Mq235T195agcIonSXNP+GTJtWuuzr+idWHEy3kBKZygBQinuZmnlolDfP0Iz/Um7bRGMKV0V2x02JEFvvUDvPUpal3IaQaoDUmu4zA23fjVSm7aW4Akplifxz3dcaDAU98M0d2XvX4s4RUVvKQi4uq6rmvJWCfkCggOT6OyMZzKjz2AcB84SRc8ikZW58nKiLaYIskP9cnqPIs0o7Wtb40Z3zbmuLvjIEtFuGB2v4zZMqA8mYi0zSVs7dTgk6YUNYFp7p9imr6cfSTtQI/axoZ0JUnYP6PCf/RcQ3Z2I1noHgJH+1wEr+CIUjHJGUV9N5rnEWKRPU+IY5ADYrbrV//2ELQKK02EazQ3LiBSqQXmHh2nUGhy0HdWHEDkg3Vb9VihuR4kEuThbhB6n+cCyBVm+aFqBGXZse+6O3ESJrDfKnyGmdZDp0FW5owdmblA3E2EUfSDdPJ39RjshzS/UmM/j+rULZSWG6dUsMpMfMrtcb3YOqX2/Dzm3yhHbvlLKNa+smSpL8aIBLNiJPWS961EV+aQBa8+njTD7GPJKZpGR49xjmBaxx5NmKuFcbkX1tz4lYbO8pV5Ihq9XBvSnswkV/61iv2sUl65lDWrDL/aES2uvuGPB6tpuBDuXq7tPvkKkBl1jSfaxM9AZSfxHJqcs3CoFLB+9GmwivtNVEAL4MbsBuamSBLgDsdF9KS3Ncl9A8xyiFPrUAlfYijbAb5A12EHb5R8NNNDA4v4eN8dUZqnzkwwsj0trwclWYBONyxEKfMCoVTRY44jqvQDdiBX948KlC51TqejUl45+s7w0fBNtRYPrBKI1QKmQBBA+aRQU6gmGuqZJmjjYRM0PiYStbUzVQ2+A+jhU4SPclz3cYJm+nb1eTmRqfAebI5bool+69WqckyYo5k/T0Uz+pgO2CKCUoPKvIxt3mP/TE0hsFEMysuiqI0LKG1kk5W+YjgS+wHFHokt+m3tkZ2NRXeEXSz2lITkdk32VgruOIlpMzKckhSl2QIH5gR7avGKj416957ojUN4rJwfrfuJYZZ8GlCUEDVg2KSAIb/TGzfW5595b6Gy9bz7KRyd4Ds6yAlX+riI3f7BYlLCTG+9+ndR82crOmB0NZWjfBuyOR9ARXPCL3rCqL0ian+5oe7Ghl9APDvXFRsEFHmf+N1eG+EiUbbHQ1AqzCtCJfFphHYFsAxTmGY2PXpWzqNNtcvk+lVr+HM9cd6sXsQ947u6PdPKIhyjKJQUwRB5ak5puQjSH4L0mleiL2qCjxDsKyVhtWsuzw8LQPifwCD4jlr7YEz6mBVlTnhQzPL7wUzzt6bSpPIy8casBjjVXDhHM7khE99PWZq2kifbNm+KbnJ8myhZYmC05d7bNfpfvUtAdJ2hn8w5OFdGbje91UyraDHzDhQxPipr6UeDL0QZ3JMgsAn6F9PD0pXpqOtKdeE8xxBI7DC0hhv2gckog7xznTNdQf+/F16faYSJhO3INeff0IM57Qvnp+qBzx4CQ1aQwG4U2BQAvrsV+fre1QLOdpK8OuKkXjjetJKhyafIscn8H/RsS+Ynx/W9LetFZEI5BwqJ0dWe8qIpEGTFpdzBn+z/6ZvtdTHT4yNdxBa2LrACJd60aEtOfI7kLU0tqNOb1AEzE8qnXh7ygEgH81MvYljDZwJLu+YjS3rPXJvKcC2UujSvZK+PH/dxLw9AW3Zvf+uvn69uSz9zXiuPYzsFiWMUDLxNj20nvJrt+/uKSIiPyqaqlBPMgst6brUrrk9XgSMG5ZXjTpj1UxR6Ikhqib6tJnuPR9CWk+pbzu0FwgxIbqfb5FPu47QdP0xuSNbQbO1GvqtXIbfm1sjToCYVCrOm7VTni+kA26k1NdItD6LC5TXYH5S5Ll8mX0Z0LYLgCOTMQO21j1jSztYryvafi2mC79q6oY8lhd4l5AQZqvoT5QSTqD0/UwGYeN+dMCTcE+kbvXALsNVQhYj0Y1OVuqeL4qA8LN7QsmqGZb9RcNRGO6EO0Vr9IsLISmCt391Nrs3Pzn4vajGx1tYBW59bzkH9DX8mNxHg4QAqHUKBt6cfsK0+cfjqjaO4s9Y2zjuvAKjCKZDvrleu7380aPHbjqnTEOTQwXWCFyeaZdsF17Th/21E/a2HlSgUdInuTyw0djvLjiT5CCNev1v6MLc5ZfoY0WzyyVfNBI0s4xC0JoUFIpSPCTfPtWaxiQqB4/MWsrkdf4RYyRt7AlJaNuX00gpXVMaGIqb1iFunuDKnnvhq/cGv18eyCE4lmvBUcvYldyzdR8kgQFffM0+Q28/kUTTZEdxtl9YYHcRfSq8Bazs6v1O5ymebYmMkyGEO8xyFTk5g0J77k+NZHjP6qiHD9IDrTfkMKX8MvI4nUUfvMOHGoVwsIc+ViXN3LQPTuPtQjR0n33LOb4of1PRJFje28IWc9bq0Z+HInElBbZGXcmTLiiQyBtoUStsHSUoikG6BTLSheraO40qEv+igph5IaO5WwEEGm4dcXojl1fxaIHVbjfNlxTc35YFKyA8z36kc8YzgLJHCDDKtodAouQZd1OFcr9V1a7qEz0bpnN0xrN0NnU8/3ExQ6GH5uotbbZP9r0oRtJtlZjnPvg8amlV/R5YbypPozrZOFAbN+sV599nPlBF72vU+vx6XzsDlbVjvJA0MiSXxjime2K0hDOnfLTIxGw6yGsooyvEbv/EIcooO7k6N3e7RZnDupKvNdKgo31QY2JPMg0K5ZMZTTwdB/8HJULbDpOLN9S8IMKB+UNuMV5O4Gg3YosDx9fHvCUIduwtaV6lxdxaDcpX7loLPIITCtO3DCALL8fgPlU7djwbQReXoZ2/JT5Hwg1lPaxVoJG4rQzTwxfIglhVE/UXX5XjUbUgAMeZ5hjs60ZoCpaWWPqB8jPr5bP0N2xHiIlwbgmxWHR3DVrS26+siGrZxxQjTcczBuyRegxzijJT9Kx6eXzV94hyOp2NgPOmwMgromgmY2N1YQepjWCsl5I2OwS6xf71t96xtKdWwdexf3eJQjeikGDbkMjL7xg91sBrGXIlV0XqO9/l+e02AnZgWYuoAk7gq2o5lON/4gg5B9jwoRAMuW7lAFN7NFtC3G88hh6OgTS2r25RI8mpyQk6JEXyUy6eTsWiRNgUIjRfCTCEA7sGTAzdwzu3vvAZV2JmVCYtk90w80gfa+SWS5tkLHIHhmQBQ0HllCky3PRDlFqj4YWIgmw9dQJY8OC1N/7UnjfF/sr7NLwehhiicpyCxLEJVZ5s1sNUh+rsxowQRprmBqM5agS2fh2iY9X2nbZW/QtOV4YmW0Od3H+PdW3qEttH4Bmc4HYaFVVu8ytmqlIRilBF91BDVzl6nEB5I8nTxUzgz+7BA5KoYUZK3+Lpcl54UFeXFY+6igRS+8bHTp+bl7DZFJ7Rd/DKN5paFg2s8ja7cn2XSHAHmgtDi2midIocQ3X0inJDSmyCVxsyxm0BUiJFwkjP/HRq6lhYxa69kEElQYTfejkgj5wdYShS/ayqe6a3P/he7rcYBHGqhzRtsz/ija0z6hqNCeoko/Byd1qWax9YWS3o8FoPnvh1A05AUUzt6xrYtl8hzQDPq6D6rOqLx60D3toWWmCYDLqB/nZSTQCs2JzDaowCHPOvLl1I4TAAJIRUGr69VyascyfahB8NK0Zy4xFc6gOKyFQ28Wfx7EYK2niT9xC0O66OhfjGBOGtIlquj7EHzaH8z9yhD7dSSOteKfpDWlrk4kgw8GcrsacG81+N4FPIQ4e8WuKs3RDrLvJQU+Nf2MUEVtfGlNUp5kayTkqYDMAg4P7pVsLcHi98LPIHwg/Ev+O8LkDFZ9+M2S1Ya44FJOjIkjeCSCUGyDLXdI1K0KMLHPN/EXVCTDeMj704qTs/7HZFUsaWKnUnOxHW1DPSpRD+L/LuTbYfyZy8O+RqJtIxg23+lkPgaYART21AjqmOQ8ZsdRer8Fp6fniovKerUTopr+j/z1DqFXfUdkcV/8olihly689FitA0uA2xwiizxWvh8xgF0D3LnNzXapce+M16AGztUXH3s4jYh66UglYJwBv9JojI136JP2qHMAa9gfzC1fEvuKeNbF2YDNgNyLc1pfZ+yQSO1RmZJwi8QL1Kd1ziWN75Fu1w8EsAchosO5eVWPGuEkoJZfQ04YrdTPgI9wZNrMIPCJIt3fh0D5N3xTa95Onf/tWo6ncrEWWvraGwRg84HV2X/royEo0J2NoEjv/0uvoKh/bv2dlNm0HCT7xw+Ne4A9J6CxA/asGw9NjLuYYk9OiDCHmTxAOWLrAQNXHqEftOOcVyOziTQS+2dfV1z1GKcNtZ80HnW3/U51Jq8ijdj1xpzUjuKI5BOmXSJk5dDkBJaQkr4llLGUcS3Mm51bWoLp1mMXh38Hh46bbpGzSEEA0Mg/EsGOIXdOjriCOlSQFBzmKWNOnUeXAroCpCUhbXD2C15qcT3wU17IIi4EyGDjHRNe+QigXy6K+EkHZqNqintW0uyXqt56ECPKHPU6nYAJkPZ9WnVGo5hLhL9iK4LA0y0lPPsiABHhyEV9mnHeXcJNfNP5f67dF9cTBVc66OAq0mnot4E8axNjQT97EmMpzZndSBFB9sbEVM0xU9nJdFy+ou/T9YozHydMDKang9K2TKO1u3i2fslFeAzq69kc5I6kjzfWvOqdc/k0vw79I/VtwQyiehha+fbrpMyBlS31WXqr56ThYlmGDgyYXcDzOouPx/Rf+XF1tBttrBgp7GeYfwkX8rra8baMy8MDudpWahRSE07sinw4UhSxHuqRiGRC5WVeLtQhe3UOI3zk6eFpT8gNeb2PLUo1SiVMwd1aNeZKYPXmZlq0rYXr2ZRd3KcBaXnj+I/v/CRNWLXOQErac95LmRd3tf0ZEJOEGD3naMx0uyw7WX6hnOKz55Rzdq/mOxPJRV8AdtngjBnyYduS+873IZj9Dn0A59rXoAUBuqkwye8r2m6iE83WrpCScw4HqFsWjDd7Er/lpw2wg2RL4QBUacgm6RhE1oV4Ojc7bvbimmaXwVKBkYgE15TeKjJpw9nqtQdj7hb9iy1UWDeaY7pLr6XN9VEnRskMCZ8LVn/pllgaWi6Y//R2uE8+7h4vX6hHe/z//CtYek9BptQExkiL8Cc404BIL+0mXzvUDn4yFKYo2y2c7h1qQix+EYQ8X8CU7JW3wD6Cr7DX3RAXu/LrnbaEjg4MwNznYdHOwGVavLPPMJI36akzuVD+fd+eGcbEdHm3UO8+pn5QkG1QUYj78QRrHmaHyMVAK7qoYCgDKQTkVRrqeMBowtEGTJ+wW2RUL+zswxGLMf847UY6qN+aLLOhlu5psFiy4b+i9G2nJlHOeXuhwxY4zKgi8oAvcYtSWB2Gi3B7TgHC3C0e7jVZqExA21MBslVfTeKE5aVCCqmdbgMoKvw5xlfIMGcZwtWrU0VuOKPBeuYQcO7vNyzXrpG3GeZoCcn+J5eWwyL5B8Yq2ai55EswNnYA+dPP2h3xJhnGebIh8kdSvT9BpZwrJCVuJJcohBfo7Dht27T5NRDgYZ7tttNYfr7ks70QhUcUYC3sqIYjxsz5Kg/7Bwq7OrgQpE2ay1cnaR3moeyPZvdD7mew5OYXcJj/nC2vDM8lZdpXbPmFHsRbVAHqx63Ux7n4dO7ES8052xiy9djfzFb+ZXcjc0h2YKCO18U+icyQJzYxd0ieExuVQOgeOfbGoyK/KAF796uiLTb4PsdhxHjtdwdPYQ/jXgLdh52bVTAKkxCUDmxvHelxaaYp3G25cyF6fMrchEuZHFQcyeRCFMc2GWNAASQsysgrWtSRU+rUCM5rksoC0LFxajhTkhnLlNgRWWfmbCVfJ17zoIPaiXGDM/uEiF4pRUskzSH8tdEajcVUSl1N+8WjNPc5Qj+gMn8hYTaZ+pqO8VCgr5prooUBKJ4ZCSzn61NupNOmzTwuvp1B/xq7D9xsDpg8WwBH6MDwymt3eocYljCK99CGv9F+Y6Vuf4wAT/ml0BR3N5VtM21O82Ybye0OJ51ttfsKX+ptnJWsSnFaEhWC9SwZi7x/2S17EPqbDdXt2qlqsVuZlqc+eCMjG6/ZPaFMb0cqnyMjtsENsLMN7EqZ7VYE3uMEuaH6QPF0OPRCiRe59EikvraKTYyQtO1wcMN7LrGRd32XruDwxOdtA5cc0Zw7dNjTrm6te61ylHzLLLApYDHK+E5Jl1DbG2I/mfF4mN3t2Ky0qvv2QdBkNBverecYitMd3xXMef962WqsPFpHIk1GqjkSfbbb6KbNot0yDr5Pe6u/tQJ7rCUG6BYfvdd6+bmscIBuYKuY5RvWXxps7eajiCwktRP6yDkv4vAjwVPL9HpO+bD/I5AWAEq+ZIu9YoY4biQcTsQUIs/JjdxivwlpbPTuof5KnRGi9DOsNizospKG9hykbIHmCuyUfDBbB3Rjejfj7FzIYP+BekPHcTh+u7n+0RIEv2PdE62/0xRnqIdftBd2tfmXH1XDmFfd4sJwowTuUesAhB4Nfj3YsyleXRjbIoxgDAAaXZQIrdJ7nNUvkRmqitQrjv6SfaZ26aVKrugm+l1bsyyd71/1VfdQPZdmx33wClstliGGFACZPriLtK7/TXSrFxrGmMYz/ScaFHw7ON79lZBOzQTWTSrTjKR7+QM0H8vTEp8Os7osDwVqfR184tpb9oLblWISj2JU1N8rEdR3WIXknz+dBqC2sBqWprbsgAnkMLCI1pHiBSr8wgeAV5o/hCx/2dvPehTQP0m/8FyO+v4rh1Dw2SmF516d0Ez20oPcWPQIlLLZsxgorR+ANFfMQRuaL0mDa9UCU/zRnFA1SEFKS36r18BJ/CqAbHr1u0suoIFKg6TIkysaicXhTLoG9jAqYj45FJoEGVxFMimkR67B39Kd/m+5HtMZS5s704GqMOO3XR0MPgqwaqck0sG3E7EF8Vi+1ju4I82+bcjRHkzvR7dxsXUgQLEQgCYYQp4dVqJvQzM8q8bPgCTskon61MTVMeKW7LNEHH2Fb6OZcZ0fzEXlvAiqg3jM+lJ/uovJvz7LLjnNQ3RNs8dJS2gt8eQ8KhB/0GRrudnRoTe6NS57u7EmtnvhuhiZyoYCd9COPE19s/TZuSznNSY6cP2HaVfhvaIZGq141YcWDzeTpkJlSbWc7sZOBpyaJBdgdmV22yQj3pDmTXfVDsW/Axqyx8YZCI1zSXTeITaYAIj9IzuWQAcFfYN1tte4jMYh1685sAQ4WljQJMz34jmB7j9G+02qRJXClU42Rep0xOoxGA9zoVDTAuPq563G2E4rF4mKxED97x4zsFgC1MBXIYnGpY7mifnAjoCS8JqpABPHW9XLljP7qDRfrbCuv1vbUOXXQq+6l+EkEPRUAQXseWtyRXkW4Mhpih6aTgHtwN63az5J0cBT6pzTzN7Ip97cQNiPYjB0Piv9FMrB5i44R1WpfaKN39nc4cqssXW8GM1PSQNyFsM5eofV0YewCf58EJMgvX8twcmwk5drA4J5yIS5Kr4Zsgkjt7Hcu9fGNuhiR0pkHcK/trkxUDr8lMr2QagXfiQVFLzcJtiCQhVx23uhMDwfKT73zo45roeEMILJhCAoSB/lHygEz672CxLRmZqxww70EqUlqEhoxXGmtox3b7xHvyxLJaliA5js4yJWwJV/zndYDOX2/d+y5wk4QATbJqJ6Q6OFCOCi7Q++VNGpep8vIQQgOBf1ZqqZB71bm15WHB7pC/oYeIgpai6Au3tSu/5gR/l+yi//lo02oLqmW9jkh0kiz+hj7/Vf0NxfipMXEJ0M9Ie3AGAJWJTxwUuPkSZfWbeWNF+WM8LPt0m85qGxxACR2HGzTF9Gy3zIkaxZ0q3TCQiVu9nmmF8mwoqBmP6agKnN1eCQaW7uVQ0qRG1Jt68uw2c6pNVTgMcbaZvYVHXnRVeB4PCAb4S5xFTJNTYYbz/5mjh5fvYPWpkbpTia4U0NK9dx8CPMtLEiOhomIuwknBNdvLSWM3BNkgWsBXC+yLO8hLQ6SgXL1FM3OqMv0YNGIZh+B0c60aost9aUmq4RZ7rl1t5QR8VORYV7G9x5xTbeG9/RXOLA0Rt71PS5xjtsrWxcU8sBIdTW30rN7e4FswErxHNNLSlSOU8miDF4wgLdyeC7aMivgOPyPC3MSzPqBRr4Wk/eC8I3YD5cIdIa9yRpbfGIiIJolEg3fXHZ54iXTu6y7NLAFFMByh4JclxpB/UnxYm0Tcd4DyWB9bNNH/lSs8CPUedcF8PUbJWbSUGfA6zvbQpih+2YFXDdOWXiiShUOJndJBZrQDtXUad2tKqQKppDiwRVqTLORskkNBqLil1u1TWWhg7shRx6DHXxrbejS7eg7DAyNKzyEl8SA1sBak9GecjTwAwfUe7JxZHpnvusb7E/riEwjcDDkQsiU7y9oa+KcW6JhlJd+mT6Alx2bcvVygexh4eLPZpGJVvgXv9+41O5F2K7KpGmnzMs9IQCNg5D5HcTslF/sFgBCyXLzZiN37LCq7JFOOMwkGGhOvwGUh3fp/qW3svJvBPt0hnH1b3g1hxxR38ejtj6nJu/a8fSYmXPWqL09nda1BBQMFfk2oghOdwOdiQ2spKZV19HNFxUero2jSf+dFJjJWl3qgNApYCeOqQ8TYXv2RmhSurOBVRE6B7QHoTDjepg033emkgE8tys//da0s0PgJImkxLqTB7Gl1JojXq1NXFTZ2mmDxOXzBPfwaawybSTyi0pqpANiqb4lRyOfSRwF/DPE6uRLXm3Cfs0tPODEA+f5dGl9Qu310hWpEZSziw6Ovj9QhBWSYST1p2lw0QzeDTwGB9RMp3HRggjKal9lliGk/LIG3VKOtfQuMQNnE9viboWjW3piOYgBOJhJNmWnnXyPvEisJrein95CmDMGd6PjPGSqHIQ23DtBYFDaHPOD68Dk3awLQTone4xb0JPBHSflTzXwMqpbLHnTMUtbuSPSJkvxkQ/4X3tllefuh5ZgnmjP8B7kkQY6Ju4fxuBp5wE8/eAkO+WvIfklAonlV76Em0OlJ5XQL6b1VQdz96Stl8+XNZABFiMdlcRnpbtGOc81uDHRCkWtp6H/A6+4rLXoQ7XDZ95tcMGRUlPN9YvFVMnw662c4rT47a1CXU/HR8vf2E3vVRkzHPvTv4ysPLLQDbEgrG9/pME+oXoVXmseuCIBnPLsbuYC3dSGg8PKCwg1TCpWzRe17Ipmh6k6gzCv/7THUtxSkhtrV5nQa1STDdlh0E6t94M0dvdu8nOHK8eOlHwFQ6eUQ8tanJnhqp3ECHaN5piwWY4RGTkHoeftkKgiCoTVcelp+lq1d8X9LJXtdq5NZe5tXtyg+St9tuT91Wpsr6JOLsCJaiRKjw3DNPk6VIlEiDAuyC4FOpJtW2EN4Km11byQkqBZpvt6ee+rv7i709FGc37M1iFjIv2ZDLUorkQmsZvRA0GZmY6Zc20xH6aBVr6N6NmxwevxyXc0jop36OdaowfI++1XPk7jqW2Qtkmftcy6R1L4BoEA4W5rw0kBRpVZhcN74JLM4HL0m5VP3eVnvD9J+fWmFhKkxEaItc3+7JawFQD/GxHZkBSLObez+b5ElK97JScR1cpZQl6Uz77xj3y10hzyZX5WFFNgtF32xzLukEhj1EZc2x7hPcc8+/Wi4HaXpZS9xzwQ+FQAfMqaLvDEu8OY4dUPBDe2QB7fdfeAHEBnPdW20TfDbJKWEulIAeIc98mRAxD6fKvgRAjh1iXl1VpEALG3n3IW2/SQMMv/SehK8ydJCJsd2UBlVmOgy3kG15qorXLtzCQO0yRZ0N6se9m8H15V0iBWRM6Yd6F1+WgINfyWlIp6fTHGAknmVHD2GWuVTz6AARXfcOCrOkPJy8Zywr2qgrqkvNZtS9PMRbN/XgvPrMwoTxRGJdf9aEHIgoekB7BF6ocguQVchSJzb7Eu9LDBZPHKC8+iryt2ZGd83EU+LRnCtaaN3hBYwfthUC03XdzZOJW7UnBuVYtbvHHCcoBdxFkGHVgbFhRqzNcXOaTa8IvOxMoiqswc8bGz4P79EphnlD8fE/jAE+TguOuPlwqeoKBWDnafHK0FaXi1y1jfVA9XpKfKcJcHsvnASeFC4MGaBx8XGXUpbh2qaiu8UfwIZQ1pH9N4dxyTB9PeQ585YG0pvalVRaSyJxET3zQQF3DMt3Miow+sym4HoFbdNWBJMzfJBifMzDm24SUi1olmqa1rP3sxEFKBTIiYJQl4nhZk3MqVstbgI/sqdfH1A0B8QzucFtjvDrMzUzxkmz4r6wKm+M+ArjusakAGzMxFn4KC38Unm8yU+lvSwQZnum/MyJYSmIy5wKDqpQt6q9YXdZ7LmqHXfGb3dp5v7Z++SLCbbEt33AlIMWxtQsl+34xc23SrtF0w/ueoiLzE/yXyBJZqJ5ga78bQMeZxd1m/GqzBsfVDAvNJR9MTX30ueKUso6eIyO+vcwzFt6uqnbIdjSZmY+IzoTl2mglDKGpcJxNByVeaOaZ8W+MXO9WW/o/sJ5W2VTWQHAiBFPX4BWBhZNagAcTjMcKEhju4krlLgWbCefdtkVIYI89LqbUH5FCvJXfWFU/Ad7RCM6i8ZIkv6Xd/jPWKJIG7kzypNHuratLWrLB0XaHMw1xf1oxaFQfYpgso0zW/Exjz9lbvbycpIJstfBj4g1PO9KSaTwh5qo8OlxEYaJuZodR2PYO+Qp0MT9tGJPmcPb/e9IKJHl8hXlQflhHyY7wURvAB/hfofYzM2nveNUUuh7kHb1wmGu5cpfPa5SoH5Qimp1mXFxG5SzeboyyY36/FjX6Pb3A6rAIZCie+OCN31YfmlnbWHQQ3cAxO8nWEne9VfOSwa4xHlA1JvRLUcgaIQrf7icb0ofpkPWMEmRR/JJ4afmdAA9tr8220Bjv+3GDDHDWsAMNocFVmpJvHdH2py8/FEeTospue7rgVs20y4J6MgERlwrbX+F8wLl7hPX5O7212rDVKX5BRru000kbMVTTHHq7g4X1Vo6nWCkqs3/hO8BgTYAaxTKMKdpzFOUuWCPD46mwT3zb1tg7kaUdkMCS9HsDVBldFP7PjHkWLlAZc7dIM6meuMUAB0lciRqC7Gasb7rcuccmeW7bV7UVReyc8rf4HJfX4UHmXf26N2aXR1pYbgC+Fn5gYiCiFwKHUpxQSZ88OtsYRzovnxKKvD3athYPj6pvmC0mTZrf5/Ymk1nHfsEDw0Tytkglr9YjtS6Cw6mHyOwvw+WK6g+UBccdZGYaqVa3C39MD6eY1NxH2swf3CmWpi+SN65n02wCGYsg05UH3XGYO/Z+a7D9b8DfYx7/NWxsdVkUBcEr8Kze7nKGhPqG5NWO8ESmlT2e/vBd1o2aDvPVfmo6YEEED1kLXlB/Eb4l9Ob/bEMjYt7Pjr2QNmAqrXMgi54ItE33hW8UvbO0sWf6J960sTDfFbrce3yRCcPO/eH92EFvFEfVT1iKhtHDV0JablmallJ/4nxwFGla2GHIKYnkH+ps+ipjYseacO2nkaY0Q9LqwDyGhkjE3YIEmJ03TnYCqIl1syEzguoD4b5Y30emsLrXSpxBf3xWvjAQRcdy8sl9OEq+y+2qDAwTm/3xhg8xbAD2GVazsFv0h+le71jcq1Rvb+rTC0qmDCzVSGtHaMlvlkGuzwY1FMqMoSt4v6urnY+6KGuD+f9j16usJoEoU5vug1FgJmViiejFJ7jMdJ+nRGuj4w99O8/3WxPLo4jnBeYtAlymxY4yurMGWUtm9iC7uGjwQJl7EYjoJ1qWHfp9AAy6SVhMimCLupGyAiPs54vYa7NCMShXfCkSYlf63o78fb7VBVR0CJm9WPzISM4tcBurew1NqhMS3hFfIRJ3g8yKy38U65rCDizORKX7kmBqb28j7rKqjd27oSDVNRMSZf/BMxQUN3LlCvuJ2k95n44AHtVYbgSzG8/cutpkusgpJRHa+qK5xPhlSwrfaoHdzcu/2l2CRdJL1sEaGB/7D+f5Gr9VJ/xwPUuOd9HBEOCDD/uH3pGFpLznDY7mqfT26hm+rP3hpS4Ndt9jWZlQSCGdGwyoFIh1BBqeTOqz52aEDG/aPOTvbqYY1v4yR17snZtlYcaDng5Es9MAaz5pdb74wHUDkwWpqm2WpKYoWpC0v34X7LqQUbuoJs1p2K2A3GVG36Xyq5b0SZUexc67Gm/oYBFsF6x6J3Y+uMJYU57mUayYnHJ4zg2adHmTAFdOZJgtZLV1rkedojymrjzJ9LPQP4ncRk/EyKZI2ELP8AkJbBaW/7+/um9/MdOO8EwvNGe1Q/S6o05xNKZbG2XefsfV0d2JdUweBIwrHwFrRgZsLCagy8cLw1p3j9qDbzBg2+Xxt3UYumFs6cfpOdh4L8zhRX+eXgZsPqE/SPvalKPIrBDSevN7puZz2PjYtrtdGnifKnjAsWRFK96g6JjqAyw4E9QzTTpTWTBpjE/FrzH/cMZTb2LJfW3MM4NuJVxvLh8INQ81ugOxPVDERUaWpJw6YGpNQR5ddH3T2z50WV5ngjwLWpq6ATKREFkiDhlyQr6vlO9A39RQRKwLz6y9eJJKbcLomHAzGEKfcfP+HLgPrZmzqXJliq9WPkkGZiZnLA3BuJIWk2jw0LWfhUd6WlPfj5DOIry97Vq25j+7ByDUdB30kloQw97xJjUvwapTTY6xXl95xo0njDuvtOPx7SPr1X4uJb/IP+VNL2W1w/T03xqUAgU3spvDO6FccQt/7BiFo5ft8C+yuGsWP8Q8ZDUK27Zlf9tjk7rV8IdZF0AxuWchaiK8/D4r2EqJBkKDXoFxJf8/TzXfsNNCbKYa/SYj2QBBMV3/mkebkp6heQ3lbZJhRmS/r+9gDiPKti8R+yAWPSk9TdGJ2bbX5ajvzqkS6BhEzVwpUx8u3j6HcnAc+yDqE4V/59ZD4Rjj5FWbmmzDUZyhGMicbuglRPcbPX80OnqAdFngYgCns64spkd89ZahHXF6U/Vs/NSDWgi93KnOH1JF8iwGOXnRv+7o+s5FI6ylBuvXreNVfXJk4GT9iL+DPs/Tqnxn5HJ9YtJJzAjt/DZ0j4AcqFTyV44UlyeRGFLaSqPzbb86cRi0iudaYIhyTE91BnHzmCuZdc3HuM/aplvpQDCjCGT4rzeEahgQlU8MRdQQLtnAm2jZNFPC2Lc43a6AdeAkKovazHrAKfPHJTH8Y7c1y0QYuwPOpl5QbIz8g8mJ0lRkDqFq0rPhXidQME4KbZFEptfUc8GGeIfSsEGEwlTdiDBP5tLRtTc+u+9KnnEBjrCCj7XAubE+fDFaKE/6T7GT6NxDYIY7pLfe71/ajJ4haSCdqIRV+tqxNIS3wtgC9MrZ1BFAMzbRiSEFMW1G0cNLgWm73nE++v+ma9yTykAHq1cbSUL2Ar6VKUokW2qo8n7uiC7rvYZDhvCTRspwOmFOPmri7vHmBk8Pj2Kjx1mwreCKuamDTSrwivoZuFvBCM0bVy8+fJYnCIhJBG/1CPL2d6IlZxEGz0Ak3zzGL6Xm37ChYo9LJCg6QEJ82BrCBGT04AExzV2c9/h+sw3luhwnpnkbrmyFWtYSksToExtP9xfufBT9QX2vpaIMkYHJUNx7EUwbqNQoNRsbA5xRH7ckuv9hKT1DR/jY+E9EYDU74wpMdGHzJ22dfP2UGqg/aoHAgoGpUDN6ApiASEuQWo+7AU0Ob+dVOnwvOgUh3upxDFG58Tzf1zeJupjFiLKb5ZnSlfRv3leYxELHs/ILPPOKYvzUMbpAcXhweNtNGE9MVKbRM5MdaC+vfqbIJ/Vh947nKZIw/TRRcUYk0iuOJIqxkyrGHb5bI/TyksiArkmYVAjNPXxDw8iFG2EsfV8wVxl5D3ZkRnrpdKCkvrEwIvGYC6lLeiw0PTHywrXFI1NeHsRCZcEV2/jM2uijUnYlUOKhEeJDHisW63GknnD7yrPLfZQf6v2WU+KHG0X7LczjdHG8P4iAvYdXrpkisQTxTDdVmtYPrzL3/9lNIcMrEXjGe6bc+CC4SX1kAaw9bINtvWLaS9CgqJhrsL9S7yFgOtprJEGHdiOUrhHdN31HhUbdnHqLXsH6vgL3BeN5O5TvklwLmTty2Db8G3Frkqzds/jpKwoYt8w0rDVPcM1ETvd48IiMW1MFGLx1A3blu43XYP230aeCA5WquUp9KYk2CQ3Rmn3Tr+KAFQpx168bsF9xsAk33TtX1H1rG5KPPO1m9F1J9kWju4CfRVrHIxJVa6gEhjIhZGrX58lRhYFj5y43efuM68fKJgzItbCcJ43MfTgoJm4O+MyzLnrIKVR8P/LTHohWX8kBuCajfmQBwYSnmTrxlc4ttQWOu2baTtRj6r9IQC/OaaoWZEySrUOBQyMNFyDUGXYbX5mFs78DB+d6JfWUneEuxK0N07JRX2tjWHvyFPcFkC9LVbJTFyZUGUlYnbJpmisT1c32x4n99xiLTN3BDDPMpPpw4yCjTRPVALbjfIIhL229d3eMcK5yLn8Dtbd0mtxI08vAdZ/EnzZv8cPpsOcpvf9OQvFCeAEIJcF4fzwM0MZ2KgTEgRKC1GAL5X5MuXNom4otdi6TNdIrogPjUnO+x+FLypqQeTrYYhZDKBg202Yp1QocjSIkCs9dsp6qYjiV63rdjYpoWBdiPyXdB039uDrmVUy2302mdwM2NvO0It1lAK8n80ZyvQyGKJ2S2jm4sy5fQotve9IZjqCZAuPCw/RjlySkw68bxIKPfSOYjUD+Z19olZSzWXwJkjUdWD/nIpxor1IVrWsuyG2vMzIIQhzaq0MxqKCC05tD9OFNLElBsGP89vBMHuyYPGF0zZ/DoZUjTaeveeBOST6hL+cmdXDEPqmewUANQo48sWgf2HjqXOaaBx32qaBf+epK+YzHTG6/XsnZH47K8EOBnwBOlo8bNRMWbXyo/aK1TZdVZUrZMLHUkqrkrL+W2VlZpHRJb7jttFjuD2w/8k8mWb6QYOyem3vrQ5GWTnm9v/yskproHDqiHk/qyaswNwCZat6Sned8IRa7hygxBoQX5WeGQNpbo0L11vapvZ3S9YyNApUqbj3uNf3CSn00/WdaDWiCyVRjpddx/Cq9AVV5aG7SJprGqR8Ltdy39F5vpWmGFXCYEcjN9TdxaufVUocfmgBD2fuLOERcSoo/ltO2IN0sZXCWAgYY6hH30ChdwwtmmyCmnX7devkqtOEpgSR1B5z+DUGTAuKYfC13WuAUjtIIiF36kgUOQDR5g31bNy8x4o6/hwgLIqBUs3F8hFLS3oX/wFRgUJf1Ce1fzAF81WuG9ZO5kiRzzX2rm33MZy69ur52Wqomn6uoGC1hL3S64VvM46c9NwTaqC30e/Z7l2mVqJQdJO5bqTHCE+UUcN3EnZze4pshQRx8SLQX/5/u1cScXZHm3g4I7hQo3vp+laoV5S/zsNWIXDjEjH0sUNXyzg5UsHGeW50Xe6QDa/m3u78DmX6LB6J6IuBZMV6x1zEwoCc6g8Gg+QfE214RVlr/1NGtUK+T+fiF/Ex7VRXHGV9xrDH2AnolomdXL/9ZPl+H1ob+qdmqCPEpwfCBy+1H7uMjU5Tapu0dy9RJ70BnVBNF92lTv0YR1UPvbaMOKBd6QrLGJgSzYqTOb2wvLRTFofsxefrZqUN1EKzpJvTITpOH2yQ746mXbMLN4SiJ+r50blgpeOmKhWQn5mTyIHCPxLF2edszLUECXGi7HUuQK0KjTIA2pKhDY0BBszXfxujm68cTG8k+uMtjG3IWAPM5x5ENGIGx5tzNFgXm5h5y5wJlCq9Pe95paewi25EELUxpFLqhxX7XcP3nqaci78S9n1HufxDLSG9Ce8aIqoJvAczCVuaW3VCR1o33kCdy8t88svQbr30TC5aXzK98gQbgdrxwx2kSlH1klI4De+4x7GM5llELUtPKgtw7davHiLtas9uGTyiQ5l4coK1KeN4+5nRISnc3BlubNFjUoNbPTYcerX+rwgFmuzHRjKlvh054caWxfxgQEPQXa+7VFtH/IuAkgV/hCOdb1sQHUIBg4EzssIumltXgEpakvYfnJhqx5xJOcAfRirp3mFNbmWHyYUvffZ41yjcWkpAosCuQxadUSt6p1oTsCiqms56RwrmCQfMBOvsdMUisgccU2SmSsEZwjlFtFJAaw8lvwrGpbtuAI6/bH4xFArPFIFdUYwC/l40LHXKfTLIDnveaRumDI7KDHPtuASzN0xXggfpvroECLhTKDgwFrjM8qW0AwS7vwzr260yXzNlbwbHU/zrXAl7+L/+LrMvy/MEeEgmjbtd9m2xReL2Kr1VMQ1gFVP3QCbgtd14oWPRruzNvaoGsbEvNKrSA6V7Vt9Qf14aVMutgfMmrr9skjRMNebjBRBMZQcznzyDfpLunmSc7Mz8TwpC5jiRn31NxvKCSkh0l2sU5U6U5DTjSzDgXwahwLiejsOHHEb8oQfOy43Lb55/+1/Z0ddoQC5AmQGKOhMc1QV5Dmoxoc30PRqW11uXz3bxz1KnrqLU4tqCeT7L1e4JZ9i4pgDgAQlSJDM4JU3yGNKj/Ow18Qn5m/DizhdRxNAqEe7l/vXSOkMvl7PbM596NtA8fPldI8vQIYt3qSmq1B9490pM1/xAUX8bQMxwQdiDPomIAsdJZFwdqHBxj4qtm+ynkvWTSgdv6LJQbvi1VD7OzTpnDlCJXf5MlueruiV5BcbvhrnNZhjDLCIwsP2x2OAZyoJ1kmAuggFoZGnFmy2ev3H+Mu2IYdRxJEyOdSNw0/iqPEMgJdFb2FFp2DjW8z5N02CDzLzUK1edS+YVt2c4ccW5kr1KulFsbmw1VihHGQCZSztyVWJ3oAHIvGCWLDwCSu/Z4VEUP8a0I7jlfJaYSPtmyL9Ol6PBkbKiNiRARJ128TrbaWTD3ChD0UW3cSq+XUIBRuyIPXhnOJWd22mavnpCQVrpF8HqMwblD5If8zHBFmK2gJ2T9CzVxBU6u0XXNcQC42a7A+teS6je7TNHiE3+ObV5mx7JAemkrnldExfPMsOdsMnWhUGy37pRq0Qb91P8j9K9OMKh8n5qbaHaDEVCNOdrMwiRq3wyAJJM68elhGYhqwcCh5LH7viEYUR6e3VqRBGJ+tvcf3thsWX75WkUp8vp35P3Y6Die63gsipP/6+vF/23P2ytu6bRp8IdxZZHEYiaoTTHMiBEBBAwLs9VoCRiv36+KBRoHbFVEDv5O9moPCHJSUqUC3NuEQ23Da0T6CA0OlDZ7a3NzfIBShSVSyHs8sjCDV41eJ1cRjAec8vX7GHU9xglOy1mcMtRIk4856sTGN9JKDgY29MIb8RZDMFe+qryPJuCjYdjrMkdxWk214cJjKosbW+qgrQ+tHq6+Djf1HwKSIkQpplTDLOboVkby4qgooQef4GT5wrzvoGq95RqLXIv55c9gP23NQZzASrOzyw2LLB5B9zJlXyS4VSAbRJWF6lHjol8S8fSDPytUPtL5a4qWR4uZxAxmHTF/KGWe9PAqL4AuKGoaRX47DiKbTD0X85PUlz6Qt4fYOHVzKwmZkBdWHJnQhEB0ljxM/caC6X2s2iyDl5MZCBJOtVugw2F8r+4sNtM+NyL4jXGQmuwo2JUmt0sXHjiFRWT1+w1RtYgFvDgRkPzsFU574eQJoxsIiPpubOvA0fTkjgBTIFwz3vSCuaNHGUGmFL15wk2MZiPlvwNvxyEAiggB2J5kDCs3JJeu+syBiT0abMDP0JNPbD0p9rgxlVeOLHdkD87a7MX6JKjojr/pjfd8cO0k5W5qeffleQopW/I2cqfH4tD3+sEs7/YoDxJZpv71gf6JeGTjjcKYLiqwfio46DPFHIhXVjDs9+p9EPgZvlH1EeurACculZQzTzNnIwXgkKuWga9oNcFfU0N8P7KeWos3kc4SQtZN+2I9di4uzSuVZ+a4/alp0mHUiukv5Eaop6Iv6+8f4PjspnaBEw3BdaPVpR7LKNYuByVno6jY8XaPUchPEE5s7M808Y+7UtCPigantlYCJmsR6AIwKES5PWuux0T1eNTlZ6t2QA5sfg4zAgZ4oNeU0LQ/jK3jv0cY+c8FdreGD0Bt3TGt175yTVuSE6H5Hdoiee8wXUsyXgPFEQn5psSxpUlbBGlrt9WQxYImyQbYvMixdV/xMbfEN9Q/cEXOR+c8WvmvUog4x8EvirfxfCGuq8zwq7BLkro5E75ptcwxek/sVnRwWJo1K6YKf8vpzJG7mFdhVbwECmNd33I71PTOr6UGGB5+mZ6xBGh9rYjzySSn/xK20vmJkRqEkogh7/ii1Lw848yN8nLcP1Tlgp7ZpOWzf6aGlNX7mPlJROAfBUpS185SA3AzFwnqtWLjtf3bwEVOUgCebihujNDdvKA3lKk+JDKEva5RVR2gfl6EXCS8bHub58+jzfEu8xShxXjZOtFncPePCIvUQPCuQl9wIoFbEeDc2gRe0BYentfQgF5Z1pSYwoZnaL9kKSFP3oJSPCVK+qHW80G9PUgPFdJ9jKV0uzHc9r3CgJC5gpMsZM7/p7rHkymQwNy1p63IqNdn7OEsZdA1VwUDFB32x1KKYlS+gm5+ZmGrR15eUsZpqvzg4DOKNoS66V8XwO8BWaieDmFu3mwmJaql6RrhCTC+lmVglfKujxv6mse+KTd6KPnhaNhxRw4RvbmgfjX9qpUQ7StdGYZ2j7LueZIGrlHFkid5s1+lW1ilcMTCmRG8YxvXblw/h2LgNxU+aXSuO/hd9ZadxrqJtSxaTuOLVEKPCI45ItLNKfVzopbGhuERpo663S+ymkaOL15/pReNmrhVKrFEQdsnini3rZEVoSw9NJy0YSRDewzp6JRtoLBYAMJ6ax8TyaG5qUD5qoy8gz+v8p/uWH6dtg+bQgBErQ5R9+xcdPkdR4/DGdRFARX1cSyOzM60a/Y2Fgxi3a6nWZescPGD4gAiGHrvEx3MAild++sXduKUN+acXNtyipIkpob7YQQ5Fh5GX9jYB/fB+mf6xq/PUMB6U8NIqjVxZCX81S2+3RBN/zbcrIMnndrDvnUhNERQXXeoVo5K0LRhipiMGkRZormomp5Ub4yQNla4Wnb13ULm+PrlrWSmhxexmfEei+/1oCu4bcXXrPIAC6CbZx5/2L9/Xp9bh/b4EO9IGBm+/+KYBhqteAIM6U0IV7Cp1JuzxQvuEHUctpU6IWASuDLe1mTIg2ZzB8w8t5E8nEn8b8ZgVrYdv0vcP2kgfosQwL0wEcLTVDaVMkUKW4oIuUKTrLxGGkqCmRLb16B4aMW/CtjUJ07nU5+1m61DOxk1+2lmB3rhJ4iFru2jpaYz+f7FIl5u3Lfgrti09kyCjTDNw6GwOQWblVHbx6WDdV3d290Qx4MkgdSsd9dnGD1ZrnVtm1OHw0tJeEax/KY8aY16FCp8FUJmbAmOAQrWXh7vTZ1LvrY/lNx9NkLVS/vCy2qSJxwQZUKXBc+ohSJfk3h1CcSmVSmS/LoXmqXXVycDEC7h20GwwfI4FGkGOTrZWu5BYzxOHl6I/zWTWgdvc5Vc0hijkra2ZfjLeqpucziwq93WOKPKGoRVD5A8wJ+U/odcofu3stMXYE15MIcQZpGGDWM8yZbB+Oc7SUXYy75PmLsNFF8zVaNaUKodCqJgm+6Q3I701m5jfNCY3lS9zTlElWBgnTzQRmbj5AGEpkfz58H+3j0wHhzS76NwH7VivzOx4j03I9JxCZD38HIHHQCNU28AiiT0g/Do1KmWuA76j/jqx2U5rmGNuvQYAIgcvyGhVzLrMMga9TP/yeOa/hIXf1cEDKwOjcM2z2/cv1Fscjb0cY3XiSLMySP8zApTsrbI/jZBWVbkOJ9StQkynngb7rp+ZI+AlpBRIYtnX4aVxzNLJPNjsL+z+AEhhiuaToJBr2RQHyv4quyI6SeSxF/CPUvILc2r/GEbVyzLNdeO2SIg4cxYn6sUh87/ocgmVcpFMupPPM+RNUiAH50UaWv3x9H1TM0YKcMB6vq01B0mvp6Wb35FS7G9gDZOFopeUur9M9OSgU2CSBG3ROdBSVu4lvsAufy77wBoQqQXIPUr9Id+AMxsvO+/pFzOVqyDs8XWsgmGm0694i4FLH/kOEpawBs18GV0cEIwdKV2e1QkKoKrqKXMN3RqWzMHsUDEg6sunxWeFjhzRQl/5fTVky3d39PtIgZsoIBOQPhMRHF3L/dpxqPH6ThEQdIptyZExons787j9GOQhG20+i3I7lwVouOYYHzYqqMMfFqDRn4DMka6KLcYUB9AdgrjczxZGGiNmi2JXBdJDsiJXYnSMQOvxUxihq8i5PplMolZwVzoKpJqQhh+plcN7UtmEb46XK6r1WQ1W4kZF3M6ypLo0flVtR+iAgaM6Ug/MzpvQux7HFUKk//RYW8Hv+PxQ36FRPx0dLp5UFzZPo4w8hB9nKGEjGitbFqAIZ8xGujtf1/CFJLTzb1ZYE3ZfKMolpevxGap1EcLIcXx29FMOocErAd3BzbMo/VEf91ijVgdWIO8CH+S0GRLv2bGudWxM3iHkDUSQtyMp+T+5wX9LuaYjLk58OUg32B6OwdcuUCHrh3rND9WSWPDuUAS7QP9d5mbrz3YvdJMR9mz3aD4ppTTUdaKTEvjZ2gj6P3b5Bn/8/TqUBZ8UT5npYWX/1IDe8nYUrDMPp1kMYmT7+Y9z0x9VhDjlR45WDMApmIP5fvxQfZNJtPEZ2Vs9koACGavMqVFWLuGpb6pG5RemcFwPDkRDTPOQNLQPmj/khaNrHJp8ure6QamR2hftME3nvzmcsIM/nXm6hXqgCPizuFvAkrIEXg5T/lU2qRpoOV4gLVWP0oo4vT8n7mIlrwdSHhIQK5R48UfwauwsDQlxZGNR+/8zbKlorr+y2S7kTDkj6Y3P7RiA04nNLX5LZq5i5QRYru9nSOpTRIQJwRVD6GTxI/mdWznJfPSIgzqYtqs3mAsPk3zG3pqqvvXD3Rj8rx/exrlT26SJLaZTjKrpt3QhJhMBXDUMfeQ5lR4l2CuBSQHhXYylGoM+QoFOekQ6ulDEKp05qU5fy6QF3vrkTypkPrBbG3N9Cy0qvBtRvQcLM7Vx1ybxM1eKz4KlcY1z8IuWSUQKHtaZr2zFSj/6R0z6RE0VQpF9BWW624P+mBfr0XyAdjk1H5ytLpzkXMg+UtpZnEGsyB+HR8DkJ2mSWxNS8ccpnuPL7fR32OfUHXf31201e8BzXdAvNjJQ5mEUJ3HFMbz5zZr5zUjkawq/i/5rDf3X52IvnhnZ03fGC877Eod4wTZVEjMHwbkej64pulGl4b1JhOC2NpydMnb0fNmQU1zlNh3+AN1ae2XuRzCyR2aQTE0GCFhNTHDmlWF3ti5lW/iyW/gTAcuaipbLyWGdPuCFr7Knk6vMaE59B7AtaB78equUlb1j7+CHDUUriypw49b4Et2Jh672hMRBpEChihCmNh1QVf4+4WU01qCFnqBmFdmpQxaEkBinzHoRpgh+Y9szX9gp+kkweSmaVFHYsyhDmrV4vVHlQTRWDPKVXjHqzZ0T1o7a7DBaIFW+lYKdI10AW6Y8/6iXNYyB4jFTA81bl8Jv4zonXYgcy6fdXYoqk/3I9NtXrUdjYengsDzofu77K2WHQmWeXRJPmzjObn/HJwY4xa7ZrGoNqAlwu1EaxIQwql8WGsUihWNQX0kQ/YCroRiHoO/KRFyxCBkJwKBfn027NoJJJAfYW1+5b9jE9Ixk1E07oAz10r+w7rivUFQRU/ZBPvEgg0SNT3NWhSp8m8XOjpPj3iRxWQ+8kF5QVlobtVumzIDHHAo8VCdLaN0XpsNyhLsUx3yhgPRzrDkto7wxYlPhhi0nDKE6wSQSyjgtBv8KOBXf59mHKMnaLexnZRatJQdj+tJpdIlnBo1rNXHQ22wOOXcaaaQrJxGNG9/waSNJ/YZ8WgwhxPg57gETsTbska737AkPhlMQi6uFNfhZXDvMOfDNsNn/lwIel03MeZk7VNCSqP9n5lSnsUr6lG7nQY/uK9YLjjlXCZXD3wcW9DzNwblt0DdoZtxwy3shcwU+jEe4pbS0uWgr92JnberlQD2aR0AYvPUlphXp9rZU2jNC9bvP29/sx1G0+pW5q8XtHnxunr9skYJE8P4ustKv5pmFmTp2+AS9dfbP3hb9XUELFpntKq02D9NATnn+IG+i+s41ds/Qlv0W+YuAZkUTeFABysClRT/sloaleTmEwmqwtb6Yj2InHQ/KcACSu2Zd7gGbzQMPhJl09QiscHHirUNvTgriMjdQOv+PJR4ylrL2jDySOJY7nrEM8O49HDCqhRW/EvaCixWf/piRvgXKmxmU/cShI1I4XI4jwTwfm59Rl8kU/YNQVCnjDrowZ5/FY9zgVFzmwMKbDuY34vq9QUe1ZW+76gK5lSgUlEulfLI5bV+MeWKWtO8tJKCGmoWPvztb814ezjXrnrGE8lcTE4fcDOQArdmmzDXSUKu8IhPz3sS5uZgrSSJQbO+BBunLi91p3mXnlK6347bwos36XFno5HzZia/L2PG2IBpDWEeARY6YYc5Tuikhb+RC6WWgswNqmOuLpPusdavMtBglg/gYbrxfNL5D9X/K19vl5OVQ7Wun4oju/3Fjh1MlGXi9fIFltJUh2PEg8Wbpz76fJJxHmMe/Ja44hMFYMqC48KzZPoAAbaNSCWTIcF478L8PVrlFGZPll9WkpMH2DDOBQxQV5jrKT/+PHgy+GeWmowOVIONdEH7kdl1pyYzp+tXNHeWolsFGgf5F7sl7AbB5+EuFsZJMmC6KpK+0Bo1cTEQ2QKxbNPMSdVRAZkaqoaLXFg8X8Y/RveTqiZU8R8oNnRf2OUes3xIkkSCLNKF4xdDtwmMLJElLFfhUTZW5qkAPEJZ+an0I4lFTWqAsmCne6yW4EJuoInuMUDjNDehJ6vin4MrkNYIsHrpcsq94+HcFWucpv4k6oXUjT5LNhjLk0u79Rj0W3Tu/sxSQK8T3CN3B+AtSnaNI4pnxVlvtO8VSYxkDlBga4akahkzoVz3UsWECIjs3SassjNtrvDWWgbY9asjyVmt9ZQN0DS4Fxe1dpXVoa2dBS9uDXT28N/4zwZfn0taogf7nWsY9C8TBPNu+aSj4rxK6/GXL93+csydAC/StyvVDdQypjxuB4kj/GyPKCjzbuMyjNHg+9i4nNart5klKrM2mRBVrMT70e2Ey61UAl3+Vh9gNltkQc+RBJmX2RHhVIlaRhzw6i+rL6niLcNqTedBr+m4TLultrUVHuY7fuGfDHQRNIX7xaaX+8lQH0KFhqY493SHOAoTWrKXAGM48Y/xBIRLJqnEq+TJObRjVeLxNE2EkbrgSEngHEQ49jYjYngrEBSlpYsMMiomfrIpVHF59+kBFPaEOeZrju+jr1k4XpTz20233VL2Lc7+mWceOcpUlBZhVeu97Zln47RppnVTEq/M6SLPul8GQMVMM84Ubk9N1c8QDlIXCW3J/h6C0Vg3vUcnnxLeMLc58nVNGjUkHeHOc0GCW1uCEfYpd+641plVwg4ldWgwAWLdh/0I3HH1/IfGtnRFBPRrfLz8yaQl8AErEerf4fBx8J7QsS0RLRrpRv38WahH7GnlHznTc9TV7RNLIK9S9EJPR7hPMp4wqNVFV2GXgKC8MKTABJnLRsQy3u85AHTjnCpxwvV/KPIB1xP/6rzzZJjICK7DMN0znLAIB/d/EXNn66kKAcOYvOIzQJ8f4m/G2zQ+LLAZuFmYoK1p/aAH8Jnv4qdMC4kdm/IQWs9LJBILmsdMBDFNc5kp08D5wHB2mxHWZf0ZBUh47QhGZhS5uzcCrSH1TxxZfqm3RxgMh0ffqh77X5c49i0I6PVZWIWu20VA+C6+2brMHkryXPgCryv58zYTV9C6GQ1ULd7+s1bziIr+PYGlogGuvtu2rlS6aRGvfTBClv3SkFCSpFGBAXl+KShlpycO6siQ/szZ5OQX1YGo9wbL46qfYhhBREZVTXd8nkoJdamDMY9j1lFcMzgCqlk7PGKRjgutDNmmeVtSTqTsb8VxFL/kFD6N/bG5O0gkHyd1qOvC/oFG5vUSE7tyzYxNw4ex589EzzTBJXjpogct4YvW+T5pZiYm+LT/iDWbWyWewP1e9XuqLnfpOk4oRxsKGv54WP7wAzwTsPWGoLAZsGmX8ZxmN1e0jb1fah8hkJROy8L7Bxk8VjFAKyaqt4w69QX5EjsDyveKGjFtc6NPs086NezDDXexDkSnidNTnNm98MpAhaaIzBkrRX5+J2irM8+c2+ppkFVy63EJ/GDHXXsXQOILCj+INkDM0XLXkGDUYypGxEQIigbTC+dEgQqLXbBq+Xul3OL81E3esmm8OFk5Ufxe9yt/jfqAtVIiO96SGsZFD6baieJAlxKJ6jDBmS+EYKCkttF8t6ahLgm8/sjWOrCqKrnO5Ei44/IYAZvEBNjasq6sNxy/QZPf1vgb6NwOHV7Bi80TUQaun453w1avUsSb6F9rjA1mxmOazjT6/jxOIOHeaS3k7BfWuBJAD8WGzpcboUCKyA5JMQNQSJsImqHND/1bw5FLPnKiChorJ+X56o4rUDxZgxaQyIMzS26z5NmNQwBD6dOYL02e1aFvK0qISzfyf8SHAtlyLwe+kejw49lzVWuN27GUHV9O0EegoymTEbCn73P4Vb4420lM36e/WkEfMF00+3CvQWtUviWceZXge66GfAGk1QaT1q1YtLsNgkimwNN1AmBrblDrjTZI/5USglftJ85ew5x6ri6CDiFXY6n4QNdGVnz6Xci//VUM9LyjeJeskvo2WwlpZsP7xqtHHd12L1OWnl3sXJAooxJ8/PUOukHmVUL6xjKRZEXcrR2nbZPTspRhu9uDwY0uq+Oy+6JG2CSs3vAHN+OKHhC3IfVJFfidbrr1AVs4VO3s16D1m/m9jAWck2kk8RPokKBXx74fuNVnlB+RyjOhOPFqZ7d+Ghl1CftzVZuwg2grRP1HtCwQwTtXiyrfzfabt+i9Xlj540kOTwlmSCxwBPsNIF1P4c6FN6MtXZCZRzk6EOtq8pQTZZ/sLG2pY5KW9rkUrwy70+TPLo7BYQil9RRjwU6v78UoqW6h5ioX1kiZY6+GYmHNcqt6+njvowE15tJALFaLobUhSd25qDUcs3F6wHF1yipI+vMFC1J+GDUexyTuJlABwFKUaiao/ZlITHYUHH5mJGE3hfwYyQ8IcKm34B8m18bvDkA/tQb5tPZYdSTUceDlZFo9kNmwg0Q0T6+Gq9SCdYG+ZZa+Pd/rctZUlbaD/qLyHO0XDA042XDlyibwTHJbbKt1BHNgKzK7HyFQ9379GQUc0gg+pA3xp0GuE7Ewr+4qqFNqVfBTL8JN0TItrMxi1R+CARsSJkoLX+Dc5KvJdQXTzjZ6o4HYELazu5wpu36OSCIcYl5bpya5lEChgZtrQFM1tJZZIcZkjikMu3P4BRGtt0noCo48QHPeFtgj2w5lHFX8XUWAbQMjMJNicrcVpit5uVLncx6sjd3fVYH+OdW6rx442aXWBM/23IVR7PRYWeCu8p1bfxklH4qQg4Om24vh4s2L4uZnZ+hb8u1C5ROcoT9kXiGyfy9O74L55zpXlUW/S52F8vpdPjj2Bgny8W+qvaVUQkpQymsuYA7qCTXODv2Qq2pGEP2mR8+1cwZoFF5o0NvkDT1zZFOHNg3lie9K+BZPllGGC5n9d3DgEkCmQI+tXYIj4a7tJQ7vvJESJlqOpVUdq03Krjc6/Tb4JMscQzNdwUlTvhECJyp3Hkr7z/hJ8Zd5htXqbIq44B5yl5CxY/RW59LwhPS5SLF3Sc1SDr2osMG9BAjhBmthnI+fjNMLatYW7bM6a+RMUz5U+KL7GHmbyVG3xZjRPc//lUq7DfcdXIf1zYCiUpXHZSveVR5fdM1UvgR2Dlb1xWc/lQvnJzX1cjG+CAHVWZRUFLFiRTb0tH6nnD+Yi8T3Rm582iSjvGfI0psMoijUhnx5FXmzrTTjtVhwBmXzOC1hB4kemY0vVBKziV1CraCdYpPRYK6gz5tGgQ4+daV8wnZS1fFLiBizQLf+ZpMl7MRbvvxlMg9ja0fRNXrfE68scjZEIXmkjswQ55x17QcwPAeEEEzQqRXJIFvYrwSA+0FQpoxQtLOovvKZiSYXU7HpXDMedrBXqf3TB4QfvuKAgkWWX8qABJGUIKCcUzHmaxo0mWoiJBqZag11JljIQCToAiZ4QDdAVd/y3Au/xPr41y9wPv/jyFPhU2bMK14pvhpaawr/w3luXE52/6ljUixZAPOqpJ940tE7nQY8Cs46vxst0iwCZHafZ56u74z9h7dloNyROHzbMPfmi5P7QlD+WAaaWTE5vGaO/8fU3VBmBXMRPTCCtAQb9kJr755hjCjakk9CBs66JSp8/ov9YsjXlOQc04dvbsaAjJMyoU6t+F05VWySp1jpcLsJyUmvjO7br3aiI9kBgBIPSNUMoPiWZrK7S+FMjhaadHnHbAdVK1v3ekH3UkOqSqxaVdvUKrf8xhOe4HjzJh7fdiZZCZ9XJfWFJxDpOf/9PQynTaE5Z2rWSJR1w0DyW9D+kNEkBJj9cPY7bNMBW9eBwpz1lnlhJ4jn2Ya5D3TcE5ipynxwmdCbWXCWBnlCpZlsqy40HQ7BITUZw5h5WLcQQufoNhXSAKFl/K3zsSiTS4XbzoQGfMnoljvLdp8F/0HMAdym74oH9wblnbB0FHsHQX5BwVV/6XQlvjdkindEVWs2z9vJHEKyDgjgI2mGp7xsccy0qzWwtO70gNHOiumMHCYir39ZRzVFquZE5XN5bMDPfyC1QAiseTD8CD9fFqyO66OBYjPNdbp9+ONPh6YLz2O9xRraBnX7CpWsmcBvHveKQLhwxv/9zjYqiTLdRapl7MyKL9kCKf5EbOztHrk/4S2KqtSQHzzBx107AzLQENWNoP3xBOF8gaPxeJfJL/sW0tVw8qnPxpgadZprllB6w92u5jPh8nxUe/dmZytAUjIWZVY2fQnskyxNwLg+7VG0FBx8gudMsRZ/hwYmpfVrpSC6n7mkbC/aTbH63Sgj9pSraxob4TBcSz2lmxQ1DKcEwYs+7czunOQRWb3qIPWZlG0w+4sc2wf9w+oF1wbaldL4mwUJFnhbGVdy5rio6als3nG13JbS3EId6ZV+cCCA9rVv4JyF9ytaBaBWuJ9Uy40nHqgfbnsouWlsITpG/Y1JQ/nLWpTNwQAyxcnMyl/2sVRja7iuo3eQcb/5Y/BU3e8mGCZLkGXa4L7sYkRnwJNyk1/QSjRgoMKBtUob+62DUhP5kRZ1jNUkxFzgmTjlBSdBnVn0ScX7LBUp1KR61J7tNNM+KQ+E1M5wM6C/n+k+WB+A95ubrdM4+rvzwhIgnZD2xocCDUHUsD4BDongFCB8ksWZZ2m6PV39/hIwQ3oiXaVA5RFSMY9Q9ZHMVsu53PU1iT0bNG+7ynuUGuVIelqK6wh4Z51R9Ov6sJ8v3R9QNJfOlI0hDBDY6EuU3OzhuEO75hQGRbg6LaaLZq2zahHR2VjmsxkN3Ny4dX947pNM2n2GmfYZa9ZJmPnc4kGF9HcihIkEosuVZeCLxf3UbZHA8OKSc2gwLveVzMY6/Rostld3HgOOFCdVQv3OvaDgm6cF92xtrgYGLrGm/3e3KJhMCeNVu7xtTm0J18oeNrvkAG7IjjM2AGehRlajgJMzi0V5QOcvfB0oHu3fX19GI/tAdyYI2ECJTLK7+BimBZ1x3S5we6Qjh4J+rvqnR6xQWGdc151p+5gTkSbrNbbu39cB6cXAg9Z3PuI5GaDGUN6YZzn1f+EhkxO5ygSBZJ47mSXjSKLm2IPjq1/5voxQLvEwrHt/UzkgRjJT3/pf6g3fQ6d9eX/QbRI8t3+cvNCDSCqziArzmAyljrVrl6DIbdJqyYXmvM9BTxcNx1jPDqJmgzi7ikhjT6LL5b1j5PX4z4R36Dt26PrXApC9LIc0fq0hBjdlb8z5eSvbbPzvrFA1BE1DWUIN2+eTnZ1enBf8765Y4kdVtXHKl1qWnORiF1Kfz2GOyYF9SGThH9UpworMlsXAlFnbYjkb9LCc5lIos52z5gOB5dmOtqkhPmHNYzRiO4/W32I3lDHoUjtCommMnBEer4XvxRc12Z+gQv+l+hiWCJaEz7wbIuLzNC4mT64X8dXVMq4xLJ7sMVHApWQHaR4tmTwXGKReSUEnUpUW5q+Eyo8tHnJfgqKn2lwffy6GBGfJqpFZNxAUf7GU27ZT42PV2/uqVEf35MPFiQ14Tns942U9ztafz+lo9lmlekN/AR0Iw8EOcNnieqMFJkDhbd/7X5LdfskUMZ7KNgGXQ1waB2PoTsL/JyIJnjTQ/ku+xeFyX/gJeu49gXMLP5/NvjsR5NlrNL7jZQO9Yi0OCHUM4QOTThqqHGO1dQ6eRoJa9lrPiaKikS9DoYz12uQ//vWPPTmOtEEG8fCcOJrM0VBz34EjUUzyaCXCwcU+RCCoqiSOq5l1CQw4cKN9daeyUbLVYfEySdDfmy5yPKQBfmXOkcO8t0DP91XJXzvXq5qZZA9Mo7y6nwPQ2Q847iDOpndkZDHPB7S8ff57dTftCo/Rq7/ak9He13vXQZ5Tb84WuOqIkHM5fgNVw6VwlrFwGoWozEt5ZVDQpnZKVu3OxwB37EBv7txsGb3YciBJeA3qYZsjEQEZ97rVfofNWa3vgBDqt2IMhdrD78+eMc4bW3V+4ZWLXrK3QNc+V+/4L+qK+iSVp014m9KQeYJE9hteK2/SRp7MWlvXsLfNCckTDFiOV7+T+2VjkGsduMnwYr3KOT+coBILzDI5K5tWGz7ZuZSTILQAv1efaDGPqRuaiHCUNn6G2S58RQ/Wk3ytaru/gbThZU0F5W6qTLKIMIQSa8NRSkbVO5sitqEf64SI0ZPpyRw8vw8dBUKsz1MRnLvXPIFGntJFZkcP6VSiBKnBli+m+zAKwiodWW7TWfDrhswtfVS/h+qptX/rhWs6Os4tYVgkaKPjLGeORFzufc7paKVMp+FFjb7hwKGNCQmYqBJ0X6by9sPf3LSHnRsA1OTBWIoTbPaYZupNHLra1inUCG/yCL86YqZp4//JimsUaFMZPy6Wu6KvwyXyjFPvdyGl5YFQqeapud/yu6SNK3K55OwspAC7x3hCQNTFpsyNeyTDP0NVZ9m/M+wDbyXDNVhBJhvNGb/SkI82dgEGBq6O41UXVTad6xhPXu+tRfprVLf+O0h2vUN5r/eQWJgv0337phA8WvhhpG1ps+J2v2ZU0ioFt1EwJCJ/hUUGQCqKkcDweYl1WR6p7Q/bTHGa4RT3ZjVgKQZWsZ+zzpPNE2uRIIAT8TlaJFzy3yAXqm9xkRFrhm86au55POPoY4AOmiGPXKi+oJdE2ztJJcaqYyzuUJsts4JmPbwcRzhNKMrAb6GPsv4mdkFfoUNa9+0tRJA1D8gdZGx+W9qlrhmVApExi0jvJjz9hiDOonqfEGZqgtGYlbUrMBAZBc/icJ7fadcAL8C0dZXSv6S/4F+V0xAWFrs6HT6zZh1XKpcke1RdyG/h2qfETZ0VEX6rA4Eap16U+Q47nfu1S3U5nawxkelN7yUzEFYBjPkNGN91S0IxbJ3p/qvDN+T5FTTsG3TJx/rkJrPoNKfmR0vQbFfljig1KeSe5nVoykSPRCNfzvSMIX8vKaU3TeJok521CmEMW1IFEvleyHPGlTWnBPjZy597op0R1bBOZ+oUkr2D33Y+UPi8N/z5YixR3K9GbD7+rKlewDm8tFKxMp01z/O6sLBKs3yUBhJLtkwkDSsnqvd+2rprnyQyDifadHHeIOQFg4F4zBBc5NCDmM1Tyj8JuE/8OADlKjVdqW5eBNNjePs/bob7+EMP5hHZfHsCwW6gLlKe8Yt4A/YZHi4Q9o2ekRiQpddqGS+ZIoQrnd8H6d23hoJ5JjmxP3fakGWqiferNqjVdq+ANXPUaKRGNhyJRUkwe9guRdcNmUo1sM5qdlomRvK9AADyXxAoGOWMGCZnVV47W1+VBEppo5bLGDx2YelXGYThphsfk6D98X9hmVTUUjEaWytL1OsGbh1m7ZgvPziD94zGHVGc4Y61mk/+SsDStoAf5jLiAT29WH7WWdL46NRcfqzaVieUH9LRSeeMwcquB8Ltq4xkNH5r3UCxSaVRWmn1U3xjJw3ge3TBcUrFMiwGknsHwmj5s1yI4dugMVJDmluEkR5VhpPP0PXx63T7Vd4bz+T6+jkfWWVG3vaikjsVyXMg+Ydj1wbzktQqThn4CfXoX0Kd/3aWR7L052/xk5LdA2IVTZl/SM7ilpvj4NjCJh5ojfudsDScuTp8savO+oP8D1P8f3kXx3peGYhG9Mk1peFKogSEHpK4oclKU74yO6bM9ARJXCOgwxurxtuG27nZLorhn3xG/ivzjefPdzTAIPYWE9S+aVE0rq0DSPaZ0qzP1j4CBR6Qe5gFuEaQUZcU41ypExO3NsBCdiuNqO0LUIs+n2hiXIQwCOq3zbpU+hwBRnzXwju99Kat14bN3znC/6bgPYcjkfOcaIXLAI3A/3JAjTMaFGTNS9Fu/NB/oEE0+vftow4LtP2zyO9NqRrVB4L1KkE9vRhm9uUsWiJ28zmNFFXkgCV8xoMUqMK5hxALLWsKiZkur49H8+xm6ZV9PpvAUeCm5q3d74ucjob03XMB/z6SVd/Nv3fd2ERsetKo6icCODptaVD+RNs18ZBBd/w2/fLpHfZmDvRSeIFIzNv7K90jtZORuXcyXT//U0aqMFWnRa+EnNY4K9IxiTeQtSakJQRcWUSds/RoKozlEOEdDaM21wDoWxIMVjQDF6rNSTCSS/XrhRIU+r/SAmjgr3Afth/ubMF/pvXbXlGPVX3ltOHsTNblYyEoz53KxuQ5+QfMce3ObFHaTlCyzlVQN/CCVlhus5PvtiqwKKhUyDA2PtECgBVBVcAEzgK5U9esOtKnACAfLUeH/d5XtTECUdJEEdNXb0nAVk6ZghwV+ZaVp3xR+JFfM7gXQ8PKeuV1LD7dfcsQhcoAscLMzMljAjU8fsTFjRKK9hCPEATvfnrCTM1uLmVVpwlqea5MxjM+dcCFecoUop0OzTooRs+jcNFffkv38NYQtS+rImW62HxHDa8+YLUj6Vb26Fjm5ghZebfWSZ3nPFrItiI5kaUEETYwtoyr+RyY/wS9H/Kec3EPDQl4Jwf9Nwr2APaQApY4lNxbXYAinntPdcJYnLpOZgzwhvom6MxjzKLNfwuMhgq3OGqc6V3mXGBeHSKvaLOKZyVe0mQTSnJgdA4q2UpicLDXyPxO1xZz1WYSK9zgDJA8MfiDiv4c4Dlb0ge9dYCulROph/GhbGUEY97akc9yzxd138aurQ/47FzCwnNKEEJWCP9eXk8/kfubqIky6P0MJ2qXl0ah6Zj1AvVRZVLgS85SMW0DA9wcjNoWbx/4f7c94LHAo4C+ZyZoNXXc4Cwsu5MPujz9fRTHZDiBLnq4jOGJOsvS+pFikQNQU4EdL5dvx0bBlPqaZy7uZNxibH3/wuFp/7Mz4zah82VY8JZkjY5eJZq1RGC6h3YiSu7VguDE+i3Gi5wl67c73aVZAmGE6lwGqOAeDMt3gch17qByQM8cAtYjBBwCzKK0AlYF2hP6Rwt3CJQTMmS+FGXFTCw+CdQf8Kaem4qUQlLfXv83X4WNWFl5stYth6Bb5QktaoQ242w08Hom4EGZElwrYkwnPZUUlUh1vjOu/e6NiTG2Jo0lt+DhtULdg8iuvtKXkGaEd7Mc5L3dXfEKNP+dr0GRbrIp6ukyRl/8Cq7sQv4BaX/pR8LIYXpgUalZPDPwRa1N0Tqk9ubW7qC6TwD/Idf83K+DbMh0FNa0nOPCzlqteJcL03Uvk4MYYastVsHdjvBl3r1o8SRXtfyQtN2nEFEsohosR+rLziUOBtAO0fV7tV7A4nPD+ht7YqRV2Iuy/BHGtLouYrNaELatsOypZA+3FHRHDUAo7R+0xU68J51hmNZ2dSB1PSgycqKPWuOVswY0g/ALZIxGasBMP7stfMTblVYnjQV+ArOxdXMPnpXenaiTFlN716/PJxV0a/+AzxS6VKTLTZEAGuj9/Zc4wdK07GY+UfnLVi4otIYtQaoC2nv5cyZP0AaiGqSk9vAzYta2Lu3C0r3j11VY9k+LvsceuZb5E/JeX9Fs6eniCGVbSpogiIvhxxGC5a7w7DhSRZ9YKWYPa2JpnsBNEtY8hFrKc7X99qX2eBp8+UpicXc91cxWDd6RDAHuvOzqvYW0raAFWfOBvDG/KLRAT9e6hIvtouruqmDnTx6bUcYgBO8NRYybDc5PLxEc/+lVfl5yJJD80nQF+HonZyLsQ+fcfo2ms4+lXUSfNzAwGHRAZC6+I4Qi8YrVT1+nKalyv9FAr+jkzmpGnnHdDyDt/+Mw0tOOjYNmwYHRn7ghfE8EH4/qqbt/RPmPVtSvmUrGA72TliyGn2wpRNkaaAVK1o7+lNBpXWKgQ4h1k8DLeA/bwr+8BL/KnucVQgNZg9wwimnNm7jk30PIBMIZ1BsnfFfh7Nhl5qQL961AO7Hx5lIKp0+kuztZ6EWALpQpXBsw61a0Qv6vFBzowqZzot/Wp8hzF3cv9pAgjr5pgvyCGqLsv4XkUt5As8SiOHcR/3TAP7TPPwxQk9CllGWd8cc+KSzFfNh0KdNwZPChyfxAelPpyz2sJvi/xegy2ULvt0upYb0MCGuTllG5Hn/BFmwM6hwEN70IyCyHo1yrUyn4WEFOFSer1yH0F4wCq07sXgH/BWEeAFFEBWarHRVT9wx91V4XZbbi/CWf4Hd9wkaBtkRp97Qs2EOJP1WaTzF3ehbzveQNPtAtmOrmBn7sF8oo4tbQCnIuA+mHH89tfFUxu//aXvssMD8NTR2fJxv92D/16WmdGMuW7Hv2YzcNE4L2q7zbdqxx7sJNgLmgFEILU7DQoQe/Zk1S6jly/Wff1WjqCkPj5RZWeXdgMwJlzFr8G39MB8KKpKTlac/AtiM4xpESpkryulaL0+PjsM2ggbJolTfhIzsf2jfpmx/K3fsV+CKOrDlAMuPCN2B0lDgbzyejDGFAG10AgxZ6NkNmVKnhZ5GOl5dbiM4plvvzrzuk2QJlzJnE/ir2ACxLCHHS7KsTmQ/AKu29K3Y1PCPYIU/bdcpjW0YKjmskckEh386iGv20j2ft5U7LE2uiszFzFL9U9xxqWnc1xGe+fsiFqWOj9cFGi2ZDN+F98VV7KZzoAXwzKGsnTvFijiWK15gXMgF1jJYKi9GHf1rb6y7hL7so40nhAz796/VW6Ck9PHuejabX39ZbFjRBCkcfhBFSqzUhHCQ/7U1OJiPYgjyGS7r8tQANFSlvNec5HSpTG6ugAOy8vBt7XnenxZFJ0iOt6V5ZhyTpSI+lFrzBv6c3K6B/dM1+td4R/HFPzMHfihjtE7x0H2nUJ7KpZ35PlbZh9Egi1d4aDjrF0C0UnAybDORJo5cXCTUp4eYeuWN9OiTJBzSkPiJQSY9D5wFqK9pq2773X2POhn9pF829nwbh+VShEFG99azTHe0CwNvKOm64PW6/8N4RUWlvXnVUT2kUEMpSykhRxjdibJ1Wpmj7VeqnUx39mUoPF2+/443SHRZFu7it4e2v6/vHCQlJNyYHWsSZMPW5BnkLGRrILYuqXU8i4kpH4RTA8oLm8CKArDOHbOu4FyN1EouGCkuDuuZT8LxILkQ2fOvd+8Y/BpghOBOg52YIchYwHuMxKhQnsNI0Rxm6xvw8cPG0fexcOQc+i66WwVjGnNMS4grEkIvxKxQ1qa88rcGyjAEh/3VutvVXt/XHVq1p/GXwDXP6/uWYT91lfPUv71NVgO97ePLkY7bcG73LXACH0mozRB9OfF6X32YLshvFSBJ6p3VNO3Fq9l8u8WXnHW7i6hc9LTaS7NIv0WBG4Z1SmIF8x4afoCpdvGIf/PzJyyW2hihqcFd9SBbW0fXXwvTkXaZ/mT5UE0VRrSsTXZX0BrjmIgg9NpHt0XqsTLeywpBjxN9HlX3o7jk9me1nY/MtlEMuai9JAoUZOI2m5nzAWgTFF5X9gQaeOxnMQ3AFFmanjNgMdqgLYjPtMG07j66ZQnh+OEPF+KNIGpywNV+OMBbTNv2WzzgAbr+/OQiMN5q9mv7/uhDL8Km0cqMWjJ+kw8YZepu/WGSKsI/vgEAJHXDhgX8GzKrm/bNU2IVumBeneksARBlcnW4It4mgB3O0m/62xJdbws6xyFlosG7fEfVRb1Yr/p8eUFjW2xtjsaWWKqFdhk2ILfDmeDjvGI1qkXHXwnSYC77BOyENoSrpdiP0BEsROjhICWUw99UMRJzx30dvrO6JF8Lmo3IQgFpMmY5xotIS+EWpZlwfnoI1Tw4AYGvFkBIFPQ6yCSaHlKVwfUcSM61ECDWrfZJG/sU0x9Whg8QsM6+6/j5FWsppnfwdvuK0pS5aHQJKFNqB2Dnd9DtFO2Z+Rjk4PLhWLscilGNcrXrUVBQxXyfxeGsj2s0xILbMFiNmg+CFo3IhKXwZXl+nNOSImmScZWBgu0xTAEGI4RRyHAKsDT41zGrCqxjA04WTNrFWZHaYvmTNIQB1B2rYOSwGzO/nbedkkCKtBFYqRWvGRHHw35TB9f0Unpjo1qByFWMo7l1lbjNxr3H5KlDMGeg+LdnzLWnn7iperK2/DfdROu380nrmWEeYXNFZx4w803ypyYM9f3ng77mZicjSo7KfPvSUlkhmWQ9qQfw7o/qO5mmqVpMFtaNBHJo2HW+eH9wrFiUWNhk/QdzkCujzCmidtfjGgZyiBVJp0Z9qeAQuw+hg3tkTHf37Z+fX+rkChCYtNnfrt9RQHej7bGCXVPLUCCv+cm6IcocLqo7JY3Zf6RLb6m3astxDh2bRB4D5HVxn2I9UKrCc3EdfHnUqzR59lXk1R4uZwy6dOsZYjj+NqF8jB6PI3fVxJ9WidgSyJgl0mCo4QSPz0tU6EutYziu1o7sqBMUDL3WAxELOwsUry9QEO7HIDy7rwQkvezH68sfZ+ZdRISy4Sw47Hx9MhasduzlUT8bJwuh93vE2AETXrTwge2XNF39JNt3QiVd5bsOaNCClGfrzrDlPsEwyDNS2aaTRJgsu5e35o4Y4HGV67UEwRw22+hK/4tSWDM/diI7dG4MDYujtL+fr8u3JHsqAWQiggHbCM5fzw/eZszP6R5C8SQGbeJd8FqC6uEjG4MQVVV56/ozbEb6podOFle+X8JkM1UwOSJSTkdDgQguS1IdbOaStY3usQfygggdfpi69/484WPHj7+yXrfjYXGsFNU/1y65W/9Uq55QgVzybjUb1gLpV1uALfWP/PCIz01xJDeZkk5HVQskaLPI8hDuPikBw5ZcbiGk9GtEApD37hB+lGqE2gbzXjIPLYmWwUn76ulW8pe1+LYONbCdp/v0jdECeByMpsd9FPrjURmJhgK2NbekL52J1yarCgE1U8jAPYSaknylJsdSwuka/Qyn2aqdCp4dvrAfMsnmjZmdAbxns+G/9XR8fcUUiZskVk99PT4ISP8I8av6xMd04jHZXMx8HmfuZPfnP/9X0d/HqF55zAHk4jO4TguXJ3IaKrJ9g5aHJRiKiNY9JqUZsmvFX3AymiOxezgvmwlIULLpmDViLe+33hVcANhGjd248YZ5jberj+c4WcJP/nbrYlhFJszbTm77HzCFOnmNL5SfxiWAjX5c0Hlb0HeqGfY3tlYsQWw3n/LsqNx6hI2bnQNUpmS55Pz90Tw8ED2ndxcARyB6LyTqnv/eE7PmHrSfLfLaSkK9RVtKdUXOoBAhqWc1mtQVQmrq4TiOzEQIDHdEo0mHRsoJiEvFdYXiA0iTuWAS35CIEYt296QAyI4c94FVb2bAC77kBO5fHR53UZC3BJpy+3a4S8yTRLkFzgBB92eJ4wXFDVLfVRAttmV10AAoKsSEW8fpDu2krg7N0QUlKDvK3oP3f9ttHo2NtLh2PCn+e/ZW4A+0NwnFO7W5Hsjz3whq4FMf/19mC6tCqWmuQi6vKXW6TSnEnGzaidqofmei2KOQlNvPscmC/tq0Vtp5umRZemE4lPsC3YxjRg6VHH1L70wSUAW7r+Z1GdivAGMQ4ZJMxUnltVEq5zphTe6oNXv/NP+1MjiapIEe9s/2Gpw2kMtMQaj9YYTV1FXDNmi0VCpNLw5W9lIA/Fuues7hdhxvdVaf6cSzF14tKWQl9trN4VbsjlZUGlT9UbzGbNbrlJz2VeawhOgJoyGjiBySKFSMvfeGvcow8g4uo/ayY1jLoJvyySnEPwZVGonmPmAR+O/q8rSXz38B0xfyucDMQZTVtooGlEYnQ+xDNOK968EYwI3Tcx16UwB6EZ+hnemaWUkJgUVf28u9GWT7dCz6BrnRNKDAuR1mRw06lDGk1J7QxwNNd2QUMrnZ1rkm0dSBNRhmNIIKn4rlgIMC89Z5FtN0Jh72sATjOzLlDacPJ7MnUVGNq1I80lLTMBCAwqqB7yrxhNf1SBktJkwDoBsjcEN1bTmjEYgDJPc54kFxc5CsHdP9l7UFEBdjd7HlCx/map7wSjFQY5p5keMVE+qZKAqSUONlTGDuGf6UAX44tMP2wgmbJjez5Qic1ufiq9c2OT0rgJ7kH+LWLa8a44r4b4SJCVZlU3jdH4R7OYQTbuMW3SZ/jIieJ/zP43z2whqHRrJJpjKLpvJ5LCvarsYPosrOiPqYR0yH9aRwAoY+It58QSrQgbeNQuH9LwqA6+Z1ZNtlGdGgxvcY30TkHomazKGJCgjbSUTZFoYYltGvGPUkq1RfEmAMVXDz9BdoTbKWWuOJvrom8XvASUa8PJD+PoCVgJzGRjw+Ip5NdWthPd5637PT8NCjzQBIm/znhqVCNMIl63Cfphe3PilB102PLfQ9MTyrChVo3RrCj4Qw5mm8tbdslUyf+pijsVbxGAK46L56PLfB/OS6LhqoS0rYw6v7RhGvBzouGZ9f2pEolUBT2iiF4R90O9nWtbhzjBDWsR0jsfBVo22a9af9A60BoyndyK1BbCYJJ3TyNGCXAl8VB00ZK2ypC5scM2tlnPo2V5ePrKX5U81hz/JMeVsttk3md1kNc1PBDmRi7QN6Z31wFt9WmKWMULWgcZO7YZYt4IDqlEJVL1jFHdSFaJSASykTaLxFG0UG17aHlAAT3iyHqRWJNJDHctSo7dNqxoybdTu/dyl00nfQw7njnGnJXsRVWnKUQ50sbFWp160N9b5VHOD9YxMQkDXkSFRWdYeMLF5IqUbO+ZdR7EmetNCHwO509JQ8G/K1oG+qsXV/R4+4A8MiguPpOYyJHJ1gCX3pRip5xqXjPDPBLOGZuAduRaLSGqzq2iVm6KU83BELM+j+54ZA6GIfSRJG0w/tkzbmNU5DY8Iol7/rVwpIqAiQ45jix0tu1EHTmek0MfKb/AePxUvwC5YlOzhbJXiLuOTqEqIsY5JErBe7N9XUuOvQhcFo0yYXsH6xS1F0g9UpobjNOIeGZUJEHg/desswee5c1WVg3EK4Th/HaPqHifyidXVFbf7hv9ZlPm/t9t2JcXA8x0ZB5sDT0WxM1RW+1fjzm0sMn9cNZB2PWDb83orU6J3V2GaiJBp8uHTOahKSBh/xiYfxDeUdNFDhoRJAj3HG/zWkxr74zKkXUZEdhZy4uuAHL3FlFo24WkBtzvUadmQvN2Rsu76uFMdLwI62W/8afiu8IQ/ymrRfhjWCPvf3Qb/Qo+9fyJxmqCUdXEmeCbUIpjX1/HIPCtt8KSEHWakrJAdWm3Y3DrvHCuJEhOCeqsh5l0lQ/KJRV0h0s40fRWmxXOVIpOsBrOitErDd/jexiu3rlO2hX1NuYD0+Qb5Rlorem5AUo2ud2a/+D3BApuQzbP7r5Mdi24fPYsy3exVch80dnEXAe+jkceXiY3KEWeumGftMJSQUT/3s8L7mxXrZUPd/XP1q8k9430g4qHRodA5uVBoAxTtaAJODP+1/TxttghDnsNkRwCz0SSFTZYo7OMR9Bq1jKG9HnCnPRZ67oSPWjalcqYbqrqNEPRY2qewMwkIRG3gOC9s1gxoFpWze/vz8lK2OHSbOmO0vs2RpmGWfHolOGb+G164NX6tYDV64IFXjCChEsC2qTThwajebdS1RVgpQlpqFRBbkL6Qb2rEi5RRPS9Rl8md2K4KpvyUBiGcScxGaouHegN29ElkWHVZDr/LDJANwz+18a9s3fzNfoH+tRupFETHQ3BqnUyD8ijtR7B/CEXrBjl8Me3GLH1pNlLxpB7FURbrbM4vkEDNd0GWd+bvq8QXBhdWRd3NaEGJLt/ynp+d7TiunBKw1Il74EtyNolpQLkQMK8fF6iZCnU78q6Rh0zntCas/6fTOHxbeYa5PuqPtdT2BlqquywG+jGCWMP5M0kbWD3EcpbUCFlq5KG6354VK4I9oxO9T04PfETfldGEdR5I/hkRPdmw9obmYP+0qf5TFvFDAkkdQMC2LLhx68pXCaI7PEbIOjEZHdlIhHP2bvIvr9ZfI+Rm/mjcfF9o2qeiv1kLsyZN1kEl7xciQOeenaVtDDxVrBQ0Km0tpAq7PiPEv8/XLAABxIbQBKkoTXwqe8u6UN5WAb9TN1hlDf7jPn0dxBh/TUVc9nnysYsa7SeCb+ClQ33tQ9DC9gD5AFayT+KSaPWzcPvKmo3R+wqS7YPmAHrLcgVS1/1j682BtRCSeFKVAYhBDNJ8k6tRBZCyczGo1zLy8hIAjuIQf6GVS8GZwL7Q8N9L/dVcaX1S+obwh/dsZNRTKhMu7UILqWZwe8fXlHF7CKTTZNHPYjjSkVI6X9yE2pU5/zoJfdDQg4EK77vDBOLujVObtLtbPusZarK6pIF+EhLhVSexu+hsPIynB4czsWNt6tl0TTrDFkP/1TOIHJ+PX2FmdI42ndqhp3f+hI2F52a08lpmyvzutHIPcOeledWwyFH7WzFIvSGPzg8mQa+6CORtxt7zJg9gTQExBV+z4SjqMqoju6TgzL1YGJlmQeL9GGGlRLhuzyR/7Vd7lp6W8QTJ9/taSPF8WchC9YKDM3TLK7px0bUoqBDOSivk2muCMoXDLg/1AwHSjDWmxdLTkWCmJY4HFueX/QfcSmHOi9VSsjBMcPH6o3LicsO821pJxBgrlDEe82gnkjbgL/+auKVtFulCYgkwLsmaPo51OGIYccWc62jKdpafwAxLlDKl9cT+YMKbqtp0qrOXxYdo9o1IFIRZ4OTyXZniYo0W9IxDhfeAZYesqI6cME6+xqhuyz/2rg4F21FFfpV8LWKHdpEf8XKXn8NR6IUtywZH3TcblckLTjddl42NAU9ZWD5clP9svVBcefjnUJGgUbpFpEKNGuiAkX7jfIcOX7BpCy1ff34ko3pHfXn7eXvF3LSKGXCTt4PIP8ChD21w6xPp04O37ZGUiz/+GQkK38vqr5OLuk8CBoBZDDU3sjNZTtuPSoGfo3Z/Y2mtHixXT0LLY6P53aT0lrA4vUVjgYV3wNSIHZxnCtO7jhJHS/XgML3qMLiCCOOVXOJfsWDx5DDSeHD1G4Oe+xx51ZoiQyzdfHhMEkTbPefgOoFDOsMZ6wecubVdSXea+A2ijHVPpmvT/uyYX9wILk3ZD75DqX320ZLtHYqKXRc0iqK40ThPv+63ibF1QQgZ7CM9FGuJobCkuswtnnE4aM28omRdAjW7051P1/sSOigm+TBpO2lNiImWfdggicMaJa+c7eX24PLtUROxKh/dWQ4NEMmGBQqKuuc5v38rXONFmx5oUdovgseXyh7V+D21W6KojLzUDIKGECmAzffW1Jnb3KLGz5X9V3Kx9I60uKcMI/Xpxv9SmHV5zuZ0/6wSccPDAp/1E4HG9hCGSSrwZhAqHBsB4K0QQWXOxXGHWB95raOyF7ri0R4NvdNwnsmTRQ1qZLyNkNkP99yvP5xydmrlW99i8QyVyDT48//AdnX5+D9TM9ZHGInNwkGTy4A00gTffcVx0DubUH+ly287L4yInJIvNsGOAGEEYXubQrzb4SvIkMLfxCQfB+WMztdyUgf2Cyvw4JP0u4Rz/aWpU1Ss1+52KWJHy98fTkIrsRDQjyQrA/1iduqQkAjrGMha+DDy3BvutA/R8pc4xYNYoeZ06XlJQEKLBqtI0FuM3x9iqScMqfL8wYqggviR/QmeOUzP7GVKRcXpp7WymHpuEj6pnG8NSZKhWWOtwPdl6OAR8jz8psAEkThrfFakGufc/9Ts/nDHAzqkyEwnd4uDkaIm0HlWSSfOj3h+gydFjtEGwr3Ka9XmOOv8uZLMnCMJ1lFxhjoorGvhUeBxK5zfFOKSyJfVBRDe964tUdEDH1pYNoNd5s58HZXxJlwbUOV4si+pkC0BY6kWKA1l9PlZfpj1dC2S/n2MgoV8qHqgy6VfMRMxI4BVeY+LpKVMFYG8l1d8rOJoRLdFvU/GqHQbl2jS96Dk/pD0siGIff9DiMq/O28jsSDr/d57Nx57ePp0K25UotFzURpRJf+4PYZ9JlwsgP0LJdV6L7UDbctlNgaynLch/tiHsN6BIy1zP8vAE+34Ir+DU1/9KU8VAjtTnPYlEt5m/ax/RqVP7p6SMmMzSEX4GuqvqoxcGFJL2q+8+u1Lg+9NzjyiwGiVh6I5zbgsSFgYqCyEZLOoAlQbS8bAyhc3+Z4FItx+oYBx7f9tZs2L6JAAPnLBmeBiaB+mtNzbFLbODB8d2xJHKx249q1D4ue1UnHI6Ti138hVQVWi/8o1jgK8A9vgUzAPU79y5wVqcq9TF7tJ/SS/0OJ9UYpD23Kr0JnpwD5OWgn/R1/LcF5lTPmn64uZb4qQDiaHcDA4NZw/iDtKVoOXwMmdO31aChYnDZMSjm98mxYKW/nU41QfP6c6v9dgQ4ZR8yDagYPFJYhHwi0yQkUngWCeQ0F/hilOK1aBzFS/tyllVDcxynspeAO6fFJwLMVLZ2EsyqOZ5vOpdohNVy7bTHrUZllo9XSS0nItMauw055fy7EsbwblR7h/NCHl4gxWK8vvrblbV430TYisXNeozSZgqzKtJn+DPMUgtkotJRjfpyW6os8B7GVfEwgHo8r1aUzSGrC1O4GtDRpl272vWuXG91Q9R2xCLlghr/+V/hI9gfFban9V22ofBToQYliuxmN/tOjOL9rpEyyqXh2BkbPW3oAtpi4Vzqo4iRNg6FOQ/30ZasRuArDSBxQ+POkYs3jwmPURdPWF8F8ZuUeVHLmoqaWVYpLZiLy7fREJCUfCWd+AZx/D0MoCEg42GPIiJ27ePav3sShTP8H6dVdOMHx5R+v1+WGLKDnaapn3p3KirqiTB33rKog/YQwUiblfeWp0p1j23kXx47KiLgvAOa2biElzTkaHt7CZWvjplAa5HRrxJ8mQJ0feab1Kc4gIQp3f8imS+8ZnGUDl4IFHdTYynDzP9ue8YLgiPoC7MUgvdGBSZXVEMD25gcN/Aw9Sp/857cjxZisT0zbp/Fp9g/DnNorAaFeJTyzDypgS1KkPgO+yh2kUThauVdqjLyAptewBL5hJNnuP/46lBUEQ22QfmONbQUsvreQJ3ln3dJ1cYptIAphNT80Wq6uzIOzFexRlfAMgMlnq8nqaqyNOuGcOX9ZaPPLRla3BaMV7Sy33jqZzsPU/VFS5eIA2NdkyVDHFp0lnrIl0JI2bVkxj7NYMnfgNQy3xH3H3WJzttY7B0mnWhKhB0OncffnS5As7ikw+mL+j1ctB3Hs3hoXtXWr1EXXdsZKatar49C566DhkBheTaaj46CVct9+E6abdvO9L19M6uqoXRwlYp/5v+9UY547L2nceBb5M4rKjkLWcisztJvICJoBdmm7sVixV9KLCe8x2Jm14cuLpb7UxjHQ8TSes4o8NHKM+jze/PeF4cBLAj3VQEbwcQMqXr4dpTTeKMW0mGQUVStLtRc83SIq9WEQ+7kHHcfWtzzBSQj/h1gbHQYXvGJ1w8Sn6nERxhPfvDgMRp/6snJOPd1NJBMZszG2tERfUKSdoT5zjHLRqt/ODDre/X9jjbSS9qCnlCtpT0qo8mpfLsQA9OWTHKBQHcZj+oJSVfTZT2tHaV8+Xr7urpTXias1VlXwXW9XxXYfAD4FKo1IOuqvMI3UhOoG4qzk7lhANnp0Bv04GnrOsvHgmWoNvOhhC/OfBYfPtKRexPpQPJxsSxsnkOkhFYRrA7bc3q1lt3rG9PG6tydZ6t6W8LUNNQ6pSoR6KFK8XU56/gXhsV5vTNVmRc1h14CTIoK3hDPL+AzqfcApxI0qBJHhvu4GyhvYujOkimlPBUdtXTaiLbeHnHW26l72sOoI01MEW7zxuIsfo9NSn9q8n7JQS5FrHEcuqGlcLoX413o5zXiHtlSmhlAMA7Nw3F1GmXe5s1jMbQYd4kRt9RqieGgLzqzZOooNnX+YyIJIeIvbFgIHexngauenFZ000gIjoHg4JrY5iuNjALIrHd0WVI+dIZm8GwHPI8/vHsPSQikcKcNG+ljiwzF3KwGyF6jpdTHRaxTcul+HzRDtEJ8irTTTzzyigrzoD0mRPcJC2OAwNCbA3IceMz1cfCxwrdUlU+UQJTY1Yui1+p/2YWUM8MK/G7V04E0265v3u9S5ygKEmtZJY4PXMMrgU7qhyeTDXcbSQZnUJl/drFW/f1KndOrO5zOxZfTg2Kpvn8khHrhs7KbcWp6IgEaIVwNnl4ur82Z+ZAt28iBk6oirSXiBcAWNgJXNAZiJyZg369elFotqUvCU+PJYaEscI6AILPiAXat7wcvQKb/69xEcQ7q4rrqxNiy5P5iju7rPaF+I+7P6hGAersGM5p1duYyVaJ98K3qHB3LmC+64lPwfH7y3ClSTu2ldoX4hHXRlx4dznSfDHPWzy+Il3VIR45ZsR/hCg5w72A4CCb0UZi7eWoeq6jxkjVpY9Z/vG5Ra5GlMLnivDndL0jOeDxOqJhZRwZGm/Ok7hP5GIkwNCLNW2ZjRHzQj/de7L2gbv+o72XN+f3M1/F0VsGN75jsQ5HEGThswUV30w5oNlBmGDZ7tKONveuCvv6YIo2U3YlwFWxsuijxs99h/VrGn3tp+kehzfrH/Z1xJvmcVAEfe9gqjGeNf4WldoZ107GpaL9dmc/BI4xr64n4+IIP2kX24CbON2HHB5hyNVbBlA8SPvGRHdwRw/WbdBzdvjru9rmtEN1LWyAf+vXg9z/9tNmIe0mflDZXRcAOHDrSzstZqTARfxGbcdb5bZTER8rD4TNpok4TuTkZFByuxh3IujH2WtezvEG5j+LKWs3HWhCLD5zE5w+WvFYYEGlGlMkEarvvMGhJM0zUHJMH0LrvcIG9atYioH/FuWExYhgOe0esxaJ5ZN/nF+aLLZ1u4RG7Ym5/fUF7s/STJsjT3nOSlc+827iFRB5n5/rrTZ2uBfnNWoPDOIbBbXQ86d0h9n59dtTNiXZUtWbdB79zE6PoJ7SxRotNS19VbBcwHStY11fzBHR4YHw/j9HuvHrFCmnT7gzX+v/ieuE4sJ+bU2CnQ1V2qSKFsyOzWVAa+U8YUnRgCLSHjGzWAuaLxPBIGkaTbVpVq7RgALyWJuVJe724TbbaiV2UdoM/o3rX42PxVIUHvLCc8wgEjvXUvACSDWGnqL+ecUsrNUuBTM7eC/5nNU2LHgjUvBqe618yW4wpse9BC741VDlyBFA0pmhRf/ADThlgmoT3fTorZOvPWIETg0vd4bdBU/hRVo5E/1FIXjnHpOdJYpgO2I1A8jgeREyyc4jk3SOJYWxNCskmayYpeik1OgYCuNwImNLanVBemoaH2/9Twg2qh6r/kKQD2Ow4RuuWbQDgyZz4RxJKd2uReyWTK4h3hlO5y3cV5XGJRkfW2OEhturQ+QOcECiv8DjOI1+t7GQx5ZIPUPGTiFL1sgnfRLvcFg94kU2NSiaSRWEEKM3yEKr+ba/T7o36ch10aYJFsN1wUCaVrM2KvCNHREa5BMJtL3ni5j1BfdfXYXndtXQ3EbeYeyYeTOnWtpp6+M0U9NAfqcqvZY2+GTpCxKOm/62HqU1vJblK1ffYkiKNw0BD84QRracZDnfneT3/RZBuOf3X3Us3SI40a6j1xKkp1sYaVXjC4i08kSFoFIEKax1mXyJzPHO7J6PLQEO3YHTI25tAajwDHXT8dyRvomSW4HCrXUdjNvp6xYL6XnQjQZl0D4Wk3wfUbrVGHgzEtb+vAvuCd1zs7i0yMLqVvDcyaHpqKAQY/C0zWHkvXZPgrTK/3cnj7cB6S9OtsH7bg4SZSNKNA60oZJxEo38/Vx/BIFSe7QHeVqyy5gazSt0OLMa+TAXhC+xbRuX1K0Y4A1gjhQ8YnGSee5VZvZJIrduTgWZWKH8gkudA3r3aaSUflIvey/AG7pWPEAAZkdzfM/67B5J5w4gocXJtpMagnBHgXQzdKvY0b7ibhV7+WAHsaaSFj54InZPmPUT2bz0trn8K5PShyKESsaANJpgEgBPO6ebYSfSZW3Yb4yBAr8qYhZyuxeCsyzB5aizgDpX46jJ5RRfuQ58z3/k/rTvv4M+aKB2WY+cEHHlaXbkhV6jIcXpXeJipuXF9w3PpQ/N5A01MKBdgKTj3Z4KSTir6PfDPpR57m7eAGRzfWK9Z3XNTqQXhFNjScNRoPGyMExF3yYtpMe2OwcLazpgf5CuWuMcWrOzEt3emRsl2dBLEyGleoVTPfv+vSBS/ihQnc+9RhfWKifRwKRdOejJ8wzfrVG2IMhuDXrJ2sNssumHn/lReKtxqmP2oohD3S0rYysG4OGGObusaYY9LJM/jsbYbseNKw0NOp6C4ZIEBcdD1cKfd68NpmwLq1a01g+wr8TaMWkHUlT0DXIYy5Z1NzQprcv16iog1t9/+NnH4lFU2ZhSIUSo975OOPjlGItLQaOdXWl48a6wlf3UNQAMFYJvuJFR33lOWKgSUnD0MNSL+G0UnH8876hQ54Ym40KWHdRx3OciadJMkXh9qsnJTjQGmquwKWu9Egyn0RlfwwKfo0+3fxvnfjyqb8Rr+97dRf5PjLcfGyh3IAFI0TIZo8G/nhdF1c7ig3+F1HyPNz4rX1YrQZRwiQxC2oudBCG3hkqFkiOTTy1fWlcWaiHtY9JB8oRTOomsHYy0hgHmTVs9WqVeYxgHVv/MtbDpMfQ576SfJANGSlmYZCSOb6PriebT8H3n3fZz+LyMnusE7LMIbnls/Ft/klp46OLhFZWbxLE4/ykxXsXicQPKUDHUxTAUANYg0VEdszqnrH66M5sbI+M5LhL3CSzVMLmVEUVvXyjKUVMyxyQqcnbnPCmj3T0O3THQFQNAcJ+lpqlWWx6D1FqcYyuEmiwZs4sGk2+hBA2ZZY/aLGdvvTl/6fVvf10xORuG9PNLQQZUKsYJvmqvMxAODVOFSZJDznE9R0IUnt42bGzkzfP+PdN+Sd45ikgNEj9LHbMiNrEJog3EfY3wt+WnVYZSXr1Pi/3c3XeRhwGW0236Rzqa70MndyhdxaUW2wn7ZwWkRAP9/63yupDd42hLjWmz8M8gjLY35oYMF0pIPEWvwVLjgm+bNAa1U13PEI6EWtf7wbTEaPAa2yLqplDrZ4/2mXTXH4CqGFWzZFNCp0VO/Jvjzd3Tc/PlOG5+Au/qywcpo2wpAyJoKXKl6cUV++eehTcgem9hb6nKlO9cJBEUlLYagG+IYJEHNJ5kq1Xcdre/6NpnOJXWTWCQQ4/YRjuI45xiet5Zxnm2cGEZRAS5JwECN0eHFzyVU9Lcba8qAK+gZCU0CElUEwLiqO41aZqGc+dRNOzFkMKYMoq3QqKklJi8Pwpe/fZ8L95aL4buMhIXTqSNkFGagwGY5QK8IHLbz15446zm5raTXta3d01Agjoio+Zz7xVTDpF0UxEZYJY2RSrssk4OoyGTJjkqws2j4BKRT0haK+DCdC5DvU+Qs+ytU06J/NtwBx6wRyryb4DLvxB/5ix48VxU00GkaJqzXIVsSG+hBie6UGEH0orPgT679fH4dLbpUyFvFZuEuLkeGJleDG9YJLD9qkFsi0uyk8Cb8BXGocualKRAr4ijPFzQJX+0rqO/DKHZGprNBkBhBVDvQZx9fE3bYvkbZLlIl1KvjehG6OEiie+YKob42W6zMaBPvflstmeclbP5aa95ClPiqc+6CgPzkUPOZvp6FIGZgsccWDPYjLQLxWdtcMWMD1ZL/vTnocU0XQG58oshxFWY7ufHii49meMoFF10KKwqRTKpTLAkT82UGypseBAqIMbO8En+bBgH8WQRBIJHCpyKf0XFaoOciozN3VW4uxLsa7oLMX6vPmydZ7CV6ERrsu/2x8Nfgm7ix28FkDdD/nut25jmcHMvWTuSUOnlYGaJQkvhNvMpZImnhqfo1J8KMjkNMq39o0IQVlhaSadWQCc22cZWKvvYZu7a2UaPzLEssE2pqZ6hokpYabAcIWISYsoTljiRJj4hDfIt+TXjBhORRGxX5tzl15iOhOOb5Yi9EVASi9+5w6A4J3ewjS1a7Tgs1mao+7qEHJZassB5bV0urleSNF/NWzL0iVX8kDDLDw9itjM4FggnB5IP7MJHEaWnD80faA/zzYLB6XQWfq+t//HIyqit3tjsanvbig7+w5Z9pfdozKHAF/eJw6JnVL3I1ptq37OSLoxmEt83ivpi5kRt+rlaEnWQ+Ih7n0Ce3KU2QVEy2BjkJv8tnjbBVQI4/MnxaDu2msbEnrjBDy4XgHx4YoXcdowYyrDHKmhYufI8cQC0TSyUaLk/5ve0UbZySKgiqbjbeabrQMV+JFGgiYlWwv0DfVO63j1RX/rycQHROPnM0k/3fKdhMt2Aib4c4aMsbU/C8T/YqKnwbW6yeqiYaxDwuOBw9iQdUkx8wxA7MUg0Zqo7dnFA74xOpXRdEWX6Z+njLI7X8jAi4ewUS9bhpAJ45yXqzk0kasB7vsz9koF8BY//SvTWHUe3lh9yVDz17Tm5XM3JTv1ZKwja/+K18zM4qMFSJY1mHIyoOpW/5JhXwuwiCH+ub3RJN0Hf7f98hAEfCytrQ4UkeO6VXQ5wWZ6jd/CUAxBNzpubsvUNENKp34GSzL6z27JdWbrSBSJqgVqZPB3UjEnG7BHHY5zkb8Jg3fNEq5gDDhJNGlQ0wgF7oYA6+2MLuw3QIismmR90Hv7KLX5q0oKmEgF5uCtA4Aqkbs0auitDUL7+ZjSmwHgzbi9RWtfpLH3hgg8bQ+qrapDhcTyAJ6Mt97LunMapjW6y6fXxHTm4taKrjrUMk1l8QHNPgQrJhvPzzCzeGTdL1SlveLoW/eGPXqqoKv/mnWBy9B077wpPwCcDuLCNgGmkVtDK0cSSo21AzH3pl0cziW6weAlsxW9m7oP1YUGwLX6WSFt05LnqWiqRy89ATftfxu4bsbyLdFz+jIfO1mlGGEFDQCohSFDxPRCaA+GiQcB++qUBhSjEQP7VsWj/VT5A5M1WMtIJ3sex+GUacEj7j7ORoN0WEv0WoS9gO+Sa4yZ30VD6YcO78OoXRTs3QiJs0klppxV/QwTT5n8j2QbB94CWm2rvgPz8KCM3RWmKF+0vhX3UID15hUnFPnZpYfZtQUkOoTaX9z9TBpboDl0P8jwfuMWqa33cM/7V+yE6TeDWFdPECYeNVm6H/Yeut4Xw0Aaep0M+10KUFF32PkblKneDXWTmUN8JUzmjM5kbZ+X8uJab3d/Kw+r/xhOIhP8cCrGSkQ4LuIbj8t0wT9Vgkf+PMr1qHZSM7AiEoLLBZVB7d3c+KNn/+4cdDpT6zVeKvp7EURx+9mqSopBmyyO2EvzQcX8ZNB9dT6I27F3X9CSLh99os+4Cwi4mcbfzbiAr8XvUBWEXgp9dvLuxx4j0D70rFjpVaeOaIOroD1lRZuWFOBKqARea+XeipYkrLW4H0W6kJiXKAl3wW2VM1ah2eOexHL6l8a29Qw9tkCXrpV8npQwJUtit18xhOzuCA1xkOPa38GPa+O/EFe90yg31TOXV7q20GNyUWMW/mm8ljjNUsdTZGE9wb17QVGJQtH0svz3HCPJct78A+crJw1PxX1q2+QaMcMx/az3gf2QpgwTAULRgWS9veaZrKnXBdMrgaqkFGY7LLY18hRFElmajsrZkx+xL9+9IR73OIdOQ2F2kUY/KZF2yhaqJHXybzTV5NjQBK6orLJ1Kzx+eF2FqJsWVFNtDn4QROdw9Qt4m3qDUrNWoQdhhTnMl7jYMzbI3sZTSuB+cfNWOjOAkkJ/XElRJBqnpY5qdlYRx2+zMyQRnhPTQVZxyqshG7DINje4Vbpohy1KpoH6I9J7i/qf+Zv1BRwCZmU3E4t4krMuvO4H9xYd8VK3BTsO6CHKG1ZjqZuZhTPvj3j/phbrgW5a3yRiMZMSQphx2l2M0BhQb+RFaRhafaw9VJg2UqoSmLfjkYiMtOnpjxLhPTx1HKFosTYIVboBvEPkalhCuSE710pYCRgG9+FqUf0Jd5qv3RPR3XsQAKpGYwJAhr6GdPqUdbn/A1fF4v3EC3BgqnvboP9mVl+VrVI4DQ2EUkNpB47M158CrPYbAANVp40qJ3TcaUae4VsSNXLj1Fwr6XbH92kOVLbV9PRQaa1nnOU3ODKIVZphToyCUEb+43DxqiO7gQksYRwtEMrW/JdOuh66jOqZ2OQIcQFqAGz26+5AwnRfgVCdvlOZveHT0sBQ/SlF5zkpr9vd046Zt8ML6ZJBrN2yP16F4bO4WrUF+9quIxOFmQeTC2rNZBmdknE48jQ+Y7av7oFnRn+nhVH3DyGb1Dt4xtNO43y15QUDFDqZbpwM3YX/QhZjGbVygzdJAp03a8TsAq0FixJaKW3IEl/f87qsuVD3BUhLcq9yu9LSBjIoiORgUINo57ZaIlQlBh0g3ro5DUbYErcWptgimGCImmJyhjCMFdXwoGa1/FJeI2o2Imj4SY5c1Jen/GMv390KjNVXDbbSz2vmmXdjfy8dSE2vBpyXEUnXjP7RNtjNEr98b6JTU3SqJbaIKV1atjmClds+HFisyv/V/hBVQVqFLN571Fp2tuKu29LmtqCJ40y+hqfTzWKSUBzS7FPlpqPoj9a/kWFXcqrkLEYelqqjYBWfasXjQF8as/9t3J2CR7OVTRgrMXIBEnHF0c5OT/q7tMuCfiuPzKsKXH0HRnnqSUzRx1vZwBn8Vm8ICDkyZula1nDMiBO5d0xNENNCy2O9y2FhZBkUMPl1Y7ygfMKYbZczMzNzMA5FjVt/JRu8QruYEgcrVsfcceWVBgM6E4cnEanHLfs7xABgg3g50BtAzUfBBFV4H5aNcLoSxB5G9u4LjzIlA7RG5W/jLmMp/D6gOrD100M3tmuMbKHhajKe0UF8RbAjkg4zd5Qx6tlUs7vM6rSbyRVHw18B8L/6yyU7jNENGn2UBZGigaX+yfySRTKcb0fYCxdlssWPb0fduLMtRo0Xp9V9uR1zPs6YKygIW9oHRMefPXNvG3jjbuU/Qw5FM0m2sjDESssMQjE1qtMy8JitJP/Xym3AJg9Vk+VuBrjP1Uqull1FHCW1llYZrGnoQnzjjzk4cHPimXJLxqeYl7LYeAzRFrIy7W58me/TdoOxMK5l0JpgxKEIE7inCRd3+Rs1t4oty0/C2SQgfG8FQwDJBD8B+VZB66KmDAis3a/luHlO/y80C8hqozPqjoK4gyBuuuEvxchUNgcYJXgd9Dt3pGK9nDQ8D9+Hi2rxfk0dtAj45q91uMTzjI95S54hLf6Ii2DVUpOGvygRwrTA2YzE5CAjTx3DILr0aL33WAijvwbeVJZ78q9eAAGO0FWJU5Bgsde7NPF2uwNBHkW/D2LC7br63oSDG/rk05F7pXPinU4Dfxb5vbxlKLJU5ZBvbztfOdOfe2D6liJ//pzndJKe7C2zpy0ByekmtKvbnNWxU/55n3RcDIo/eeNtkqS4LngD3qAWRDxBCpUUCgcTV+neheZjCSjE2EAdtMvwYE1zufOWQO6BOaAz2cMr4CrDdo4Fi7a8s0uSwNcN4unXXYVg1LW4rjep9n0xFD6P4XX78PxYMimXmRToTdm10SvqPrt77q3iEO0TIAO7VScHbDLWWudL4rDHq80PyI/DlD7IwzKV2LillfzoVu0X9u2F42H0gS2VdZhGQLYZnGySRRjrInpYTb46p5oaQw2Rl2kO9XqhPFHuawkeH4eFGDPw1c9P+nrrhFRauAbTXLl6lRlBkisQ1HHhv3FI1ULZ6gqHVFfvol2DVSrKzluv1H+8GUrMz/ojTJKEOenre/PW2q8c3yEc+bVv/tNf8eXwKwG19lHWlc9TM7TlTSFseJGLpgglLByPcT9vBcWvVRRQ1kaZekaAdB+MOSUkpTotkBafRH1e7wn9xFzSf9jMhO9pwUHim0VZTs1jPo2AvdaxzYok75lpQwmaGS+rbZivRy1kziUDxbGYq+WaoPvsuQK9J51ow9IrqCb61PED0Vr9vh1cWvMkF2WBruj+JPs6VI3LlPP76g0NQvcTv4bJjWsieZhxXiePJlIlcNxpF+HsIt5Kt/7cbtWL1X14G7xg2cKD1kqqtdihm5UIJk8LEBe6bSHKH6r21BkRH3yDKd/He7DXWWc312NI5z0+VyH96sqHU0Sm/9zDHjBi7Mm9EBQBfEGHvzQaovIPO1uZ5NBNSHAusXddAVzKrKa6weo69m5WCQLcOEZwojGYN+szwgYuNy9Ti05az7O9Qw24azptZvxnmOg7bWboMykqd2rs/QFtkOTQN+VpO90bbsF09+Y0TeKmWrArOnZMozw9MlUQojhak8p+X20LezMH+sd5YsJXEu96+xdcmKLAcB9uOrpLgPec/QUR/qq1pYw0ftlbLEN6ufphxYTJqRHXxVxEydD7XgWiLtSjK64LCTCqbUV27cO4EmPOzmyL2ifWq2aLGVghpYwTcC2Xt4v/z4TIZz99sYo9V/QBgDLOEKbGqxdEvLqzO1iJPdewre+jjOhny80uRFQDnYJd4ah3IAiwVg6zfe7bjgzZsNG6SBSoN0fYfft+j7DUD60Xy6pdWYFmNdqx022BAGqBQ/5diAFbEiKr5lthnYCB6m6Gdfey9dwHiCybFipVlyKOTa8Nn6YnInoQVKsyuFErRKdR+awWFYs1Z8wOqLNI0KTxvJKvIg1FiRD/67KN+riGpCU3/Rvmn5kojH5LwbFqfZour5oq0OgaEBK1ZgqGwkALP0CgWwl0qPrbys/+uyVyv+zc8fCkI0SkbGxIxg73a9uOK5mWqkLlIPaapFL23Nsu6my2qu2SkZmZYBtfXxKlpswjraCmSMtzkQKRTW2KDTDEeFUYKFmXZLcg3Z3VnIEIgEXWeH8xA6O2AwDhK60GJ9GXvfofSqF93Vr4D2mnrDjUkGYBr1vULv0m3lEzTtxDHGuiy6Oe/DnvBlpCCmElxRtkOHlnkFcVtRSF+3jlwT2QlvVN/EKtXXPB09XiAMO/W2hmbeR0oH0U7DLUivNlkhEKEEvTsf3LiqqibS79eb9FhiRWLcgp1deZJ37lxDLf+6s7yIQj4uY3cpyG68ydCmfIbScyb+kkbsVDorOuFQomsf+pMhxTr/9I8DS7m47RM4Ty1G3M94OeshCpPxAQgpY+3Nra24xVnUhxRXcV3Ky/5u/X9K6TTuP5Fnz7Fto2HDTsH1yhqIbBObGG7Tr/MulalWHl5LdGt9fyMxU1lIB33lEnEt1fZDqfvkoP3+q3tZYJDm97Gm3K3KKETTPWT6w7X4967l5Gp30XRNp4TsnkDi4nC+WGw++Xh269ekmw7Xum4zS5V0j3Cn1vhuKw34yCdmZF9c1IKPVRT15Meiejb5vadq8hyYbM2ogJohcPgFTDnzEKVNSb5CgyzHrV6ygd1a/A8llfhCeBSucKddCSVyLtbEwanCi29EFLIJ7CwaoBeAWKO2gJiMsTBjFweqcq7U3QzxFFIty1rU1ngqtTWyXJP8RgxVlWHaQj7K4U8A0lD1IentYvQNEFa8zGupYqE5QWNsMYKGQ6+gutUcfYQ2pZnqn5db803bP+f8D3usSqBJE13NDFx/rosw8JusZvSO5cflSEieJwgsGVoXJA3mvqXNqhY+cT+113202/3LuAiTTQ+yDlw499/Oc7llLtp1CchZaJfJkayVPNfeY3PvPIJ5/h7/oenes0fGfrLu3YWPNBzaPY+LK3LreWd7YXpdJ1+bsgG5XPUMBPFX5IjOj8qQvZxLLiARrO5e3RBUqc2NfKw2q0B4wkS/VUHxrK/FO/9V+26+X8ZPhSC9ee4Q6jnyWoAatiPPUA7r63VXWBva80IEwgVa8BRXSUL129dsKlx5EsMCBHqcUIUE6SEQaMQaxxWDzTFAyHADwO4xNWqSeUENE2yLp7JZp7DSniOxSU/Tfgg8/vlnqxXMRvKsWBr/EWaATo9bzOzohbeoB8eJNpoPvDPoNgTxAxNXU1ERxC51avnQxjomG7HXdeEmT6SH/8XIxSRV8RitRKd4r06I77jyC0BRmHxdxIo9m2U2CAzF3EpWKsPD9rVzjihx6GxU0J9v/a0yrgMm+BWKXlXZMPCfWjaQgp7xsOZgjplLRib4R75rAYftKyTM2PvULT3tZRF5QCuMSgbz83CT1SLFLFe472NQitC8IJ0LtGPNYX1xrKdpto8WNTL/ClFvC8+eaJONW8jhAt7kZjfUF9zC2kqGxGPZFrSh4yhxmN+6WCack0O82gmgePNlYHMviBqoQ4YZlOepMKJwp5AnRqJ42ebKGlstR8H7V6vciexJKicxTkFfvqIW0apFqhwAb0Bx3Bf0ar4NW0JFrOm0GEW9GdX2Xu4ebAZmeDnBTgb35RhmRtZbRH/2lMgUl9aubGW4ENxhyoJWcFO3rYmaqgxENnAuqRQu3vCWjjpI5XEibBLsiQr1uYqijXo+uq/imDuw33yV6CzcL7DT5XMiHl7WuawbqS1yC0CpWhJF2Ml5CEEkIDmGitHoPqzAngAQ6Dlb2gLMXRdeqtteBT8l396CnfkLkSH0QusQ+//3ikppVLlPL8AYMmSjsPAtulSiJqBtUh4+1JeV2T1QLJjdTvfGyRws+r/v0jvDNNy2wrEEwmM8NTi0SvGS2yVyCLfIVnUNlZBOEKo9LDdeStlV5xWE3nsEfaQmbIQuDnqgnKcwO0/cbkuGXMxa5IArjUViUJAei9LcAUIHFkndb5LqfsWubNyGTTAiGq8hOS1D/oleYWZZoKhfg5OOkodNhxQFtRS6tOGEEBo0r+Pea7q0BqiBvyX4AbNIdbQOz6reWfq/5CMGYGAokFcFDD/ECUiWqd8EcpIaxZj6y3ALah8bHHB4b6jlDB0ua2pcs+IYUaqpAsOzWITrNB8Xlgoio8MVV8o2qBi4lQTDjEsw/JX+hmw7UnUFnfvstK312mx0sTElp6sdPzeM+txoQGJbo0NlSGaXvpc6Upa/1bWSwHM8fIEJR7Htd+8QjcKJbRJ4Ym24AVaI7niyg36bM0JSg++M9W8yMs0XlEFaDoFiCAnz6EOyiMeSB9+aNmqc2+9IPVmPM3SM2WUYZdbybeEaxytQjDMQi0BJ8hM4s+o/fNvYLBO4vPIPMoCq2bGW6AhOhCRWLhe4tOAzrWvOTslKPhP2j2WgI7h+dvwcW2uI+R12bAyMzQjkdqR+k+E5S0ESr+XFrhyjP6/hqKlgNoCwEOhY7IsmJBxSHa/H3Z5e9fNYQHXkCAamrzubNPrAHM9EUfI44XGAND/XSXVWZaU3MdEV/9LlUalnxcQMruS3iH2h8dHUMmU6wAhUiOpMGfUKSE46aChf2rwVeXbJDvvbmd8K56qxZ1HafKoqXO8zliFJoS3lju5E8TumJHIoZ6WqtL8HDvCsuX6rnBmWmVB/bsPC4zly3ksPD64x1MOVxRSwCFHpm9P71UpWgsn+KiO3LB3qcCZWYCaHeQuMCay4RZNBj20K4bcv4xgA6k/uVtqxQPg/fArNQtaFQL+PnCzmugEFHAvrkLX36CdDu1vuEoXdrdJjQO3PnAqPhqbQ7sAyXy6iMkvDsob4n28NB0ap4fceFDiAAO0X/zVaezF359f8DpNjeNOJ3vX3qWaKyo5YzW+776gwYHXV26Zq2UQSeBc+H2fEKqHFx7oyFjiTkWiqGNr51kefsXztFjcFkq4K1xh69+o0BO/R/DNaF8DQFHucJHIcjnfgPl7ExdvyMHlha/7rijG5gSRW+3iATVsqhyuHkPxm0y9kizI7mCaEN3RLgHjTP74efbM6fKReVFifbxc5wcQpPkh1ECIjU15WgmGIJSXvkQREVM9rhYC5l3UWTuDpbLRqPJOITXxa2AwvM9og2h2FGHJfFp2rOqou3gz6+H6OMfdPYioyPuVCkNZJ4xPMEWYOOCpk93qhHw553SwqO7g9cKjI+azgIdWF5a1qveoD+PINJrZ5MvpMCBPTJRW7q0RS0v2RSETyLw+5ieKGVQvOP+OlDZtUXM3cYo6o14uAyrUUBLFdksraOGza8E+YNWvTW7e0AFd4kf+w3aoEfovS5/T94zP7JLLllWbltv2XHdMnfgK9O/w/LnRe3TNCeRML9F1d9SK1w5jzKz9LLS5uWGG4RveTutxaQb+WOylQ5tdT5x1fZoUEu5i4JaQQB6H7wYcjy/FPbGpn1QrRqIYe5rjVq7oIBU490wx5ka/pkBo1m2iu/BPR5UXf8ifoCVV+6H+7uUhWtDpMxcloVGPyVh7UdreBs8PZt+PHcpPwRKsonVpLAyT+L0Sj6q6bXa+lLkhI8VJDiGZl69Vxkbu8KPE+K0cqAVRA6jeyVHEGXRU5owmMEnWsg6OjUtuDd+J3tJ0aOWkoZdyUIFx8UmmRFuJK2VZd5JHsZHYT2zW4+ECgDJoFATSV1PTnJ2Jx5eqE2lbfuwV8aIuKi/nYgOgAiLOPU6my/LqkNyB9TYOMLTsRTjpzhgQn42wv41OM0igRSuiMLUp7cYKJou/vwll393hY/oibrYQ7wHaUGxRA3ff+y9BhIWuCzCQX1hrYyO0GwIzea2s2N7+0tYao/N58er5UIuvEH8w++TEKVGWPV7yLr/kZnZjqOsEw+zQxNpqj1AKukEkaYhuYglXddjcgjv+h9NGpVt23qenz5ANRHUQVGfR3m8HwovVOq60onOdb0PVQlXfuo7gC2GGwmp99I56rmuetcT1B652Goi3rPk7g0JOtg1uX/LiG88m1DIEEkZiKnBb42xcKjY+dFumqt2Fw7C0kYFS1XwPfzzZIgofEHsDafqY4dtqz6Gtf3bF5YkySPdd5AoyM0NrUwv57tjxaFRGYoRqDHVC4ePp9Gswq5qNXNdBG6Kr4ZKl4bOYjIvsH/++PNmunUAhSmpZsOqPM5+WWbIFh/8ZoDlfUv9z1DmG+4Kx4L7A59dtAt43X6oTG3hfYE9yAZsRoaqOCFB3JAfP32sZgoX08UTukbZjphACjbp031EiQE0iSqyMRzwDZ2a3DCfBHo05RcwSBW4lwFf2GzisqF3Uve2J/OB+g8jp47K75iQlCfIgFYYbjEykq/vvpiAPfnY0Bc4CjlAv0O8qJlqiMWmcLtopM/bO+e++9xVXmQN910VALr2R7quU0qJQoBU/3j1k8Zy7mO7yt4GYk+nEqW+40/Y5nodr3S3//SuDc9+Q0515gOzoi6p/jyRRafesIG+kHSwQMIN15P8EM/mJm3PTxJg5frPTkhkVf9/HBrSbpBdCw+eA6Ks9FzCa6YpRr1lGMdfanb88H/gsc997iTv4L4Eq9HBG5kdvD7i1f4IoeO34MOqC2OEw0Z3BCB1HOZHQjqxroHRyTAsR9cMyBujcbcwaFwsDyRWzm/oCQIbD8RqhG66y8wnrNoVoTrDYq+jcXf+nhDI8FaHEtdY0hohW+Os6b5FCHkQjFpd4WZKWCRtA2Du1pFDx6g8kilSlbh5FPAavEz173Vsmqb5BcgU1tMC7fvuWomR1rpctqe5UaZU3ee6E0UWjsssSSdxYBnatgyfzdFC6V6MgwBlXROCJCUFKegUcP9JzNedBQoA9zb9j0W+tEVI7PhXlrh72EoATxab2BcqNu+Q75KxBB9CrIeOwgDvagOwcAStv8QDIGd0t3aK1WdtpFopib45alo0f98ZDoyiuHMG/+niftMoOWs29+LPzUnSB468AckYRvaaWPs9xS/6Br3y2fvAFXlVga87jk3aw9iMuqXqzSe+7I8YGbqxNBbT3e9JkHBy1tGPNRo7KG1aebaQMf5/vDvCgapi+I/HKjsB8YdDtmDJASobKH8sCY/Exbfo44wI3AsEQ+rXPqlCjU3ZHYgco+1Y2rJtlmxalc3sdUuUWmQo3yZ7T2rUvcOUpN+MsrZTgfc6nl4QzzhdTOF/0rYhvCPNBX9Zg3Hw0f//bNvvKhj2wVrEFCfRwC9mxJmSAArEf8rfRH10NCRyO0kpj0z9uKDVbd8OIgqX3xPYRsXrQNb4p+t4inajJFSXXdZiGSft3JQL+caQzI+2lt/4+dmxfvKzStLdNzM5wowO/U6nmn1e6Pfp5BHcOZPXxUxpMKtw9cY4K3cwEnqkT0dw3mVYuvOwoDrKGGh9WvV0KJ+m6ozPm6zj7AsZaEp39xm5W2z14alckvgDUjNHMeA2dzesWSn5lA3HbdODFB7cKpJ9b3dTKuFAuJoXo029AsNr1gnBuoHYW9gevldZkAKBk2LGYWFITDUy6seD7yy3uE7RlEtHLXUWjT7wb+eMqVWfLDyIC2UYjEty/FB79HU6LLznq5xRhG367hyhf2m+PXP8SAv2km+Nhrr3SbTAQgHnD+jlcBhQTFJoWPmDd/qstqjN0QCNrG2nI2h4fH9uzNbbK7w9BcIsamSqqNBViDX5K39zdqnNqUbGNYXK2D2ELQEcit0QInFcqteyqrbjrsytaiGaEZrd/qlLLD4M4uRNxKehc5HtHu0Fyem/ApbKoq82E0UnggmEdOEVuGSRPtXu40AN1pJalbWCLCPLum07piFEqM/ICHGr9qH7WIKGSS7fcNEeKCvhAmuWJelcsNJawF/B7Wz1zderN4v2pKp/OlQCJMmCol8L36NUWKQAdW+zVyW7bPOLN1GtghEG5ffuC/n7rKXMC6tJBkNOy4ipUH9N4U/rl1dHb5W1qnnEQqqulDTGGJAEFQwaPytYx1psITDWYuV/eMfaOhn/h/9JObyq4f32ooTJQEttgHOB7w84fXKZICmZO/wMtSjJm2QToucQ6OQI6zEq4aaU4ch1k3JdbOjry3LxcMvEW741lfhcpiqLgsuk8zgykO95HbONDTKleZr1ksJG2ZK2jH48Jebm/Khum7mnCYynwHLwQgIRqQ2J7NTkLYTIZB1hGpu/YlgCQwior+EA63qIDF3WB+cxsBdui+/zUho39Fy6QMKDnNLpo4yRyz/Nb6GB5F0MpnxbIqDizR0lf+FPfTOqEaVwaWsH/ENdNZs4wQH+6Xs35q59DgiM5Alz8ay5fzOXi58c0Q7ZbbnZsbnpge4uSxOYvuZh3vQt0u1AzK+tfkQW/57rACLjhbej/yFDasozXfbqv/wovtYl6P0kQPkfGO+ATmp5mbWoADA0RPCyNglg3Px+XujQ2qM+oTlv5Rc9SmmRnL00Y54A57P3khra1M/THlMUdSX9ZonT9kdXbytzqMEaE3LiYoJ2csT82dItX2eQT7KmFuC7AzwbqO6CUErNx1ni2gsPgVqvAKTKa0UIXidmOxmSHt2k0QJkmE2glGuDteNgizy5xu8Re6zTaa52exSRjYDdY+g32hgOOYSi33iHzAXlUQf83+Ip0RZj/O4hh2PkCLzlgO4zdQUoJSuM9lUFlz/pj/keNycweM+f4g59FlmZys/qdfFoEhslYlV2262bTaDJOm6IuhqSz1mx/Yu+vroW12bexSeja9z0kHvLYpYo+moDvXRJ9qCpBwEJKpP8qOZHQapH03q5wumNmJce9bVFNXTmCsLqQVNH5Vuwo/kn+INZpX6zX61jzJN6cj03TGhuEOJyB9h6k6aX/gHdFa4uTpsluWurX1EzsBk/syVUBmWJtzr1KUZOfNHwpKAkabzeegQdFCP6QoYEOwiqEe0KQkcF/XT0TgPuTMUYwrAWff0dUb4tVF3A1xLk5ByqisJ8Wkw9CTLVBnppPPszh/eI+HrPFF3KZjUDNi7ho3cDQgS8zvsSik9diMnKsTL4cVynYXm8rqq9Kv6AsW9rKilODxJpy8N0i6RMq/iNW1YOThW7fNER5XHhhy/t3o6+RrD06z/k3FkQmltIbgYmWMTAvvrQFQ/I0sSGIzeIfOKi8OAJiTf8WhWr2s1B5rAAD2srMGbE/WX695TKRVIRRVhy1kZX72/cZPwda0vxOb2Ce1V0RjPyU6qMXvuslk/UMXhaGlee5EEty8gwN4QNJ1wCM/lKz08r11OKcLpifaRzZJIfGKMrDwp3iO0acEQWmBvWjNGxUBfTYt2dyJYhU6lKHw5/QvOQQ16+CEJFNeFTl1ECfz/Q+PkHWP/NJu5UNz9AZqf7kQhnhxKLZtCvasu/ASpXeHKzphdvQmyjJpDwalXxDmd2JhRVwUxPZp0yLoXgYF7yed3NduWLj0AXKNiNDE9HdOyhZKVza/bmuVP/1ZKTDwEOgwaAmXohChuMY9c5GbZlYstd+3HQLvcSR5HtBYQ08Sc36rTLNtFiJyJkmouerHYX1OjppJ6ZUZRPnfHmRFchujXsQpBQm7shZyrnjsnoqYebjiRxTwPNCvByQmc5pBM+wrf44QuQzawcuBMYqLnSNTOcr26RMbZlVvrd4UtGHkm6xyavUPKUaSR1EuHwh3b8bDLdjLrXtsQncnhzxPZsqXEwe9ICZDDZzTj4HXYQTB63lSGsyQAJWRCIhVsvW2nTflcVfKL3JaA+CfvrZjeBsPtQ0KsJbDGickAwmqsuatPVVDm8WcqOMFb329DGyHLXntUe38EDmHAIn3pVMF+BdgltodQG6WkHqGqa3x5Plc15iVZBO7pURqjflRMvWoDj0/FGjXUW75s0d+MlTDVsQ0vwTs1r5z1tcUB3vFamX+ccKzecEtAhn30uOv2PHhDooW/6aN+dyEToqiZVhlYJzjFy1NozAAtY9x3kkzUN6Q9TNYNMYlJI67CaLWBdqlb2qy/OMYFwlft3onLAQnzIDEed7+qYXdRQYqq+zdboBgVQuq+rRTpYnOxKolRP/gADKXB8uVreLnHKYh39zlZpb/Bhzw63YxFVDyTfioUFSY71zzCyGpDFj8AFn+zW10S4cUU9vNAgH01+HOypINmuDx7cSj9zGLZxrZ6SdMttTw9nZuDaG9BPsZjzHSxHsPkQtBsss9l3vS79wKDjH2b0t6GdRdBcCPoBVAO1gCp3673D2g+0ZKJzHCqXU4DUh5ugraSVSDaMdLX8/8IdrWAjUKnjnSBNjFeOK2ipAZ9DF3tB7nna4aVRBSicTLVNNQClwQofFTdwY0xhGeW9F7+xsSmkr21lzcXFlTwAaReo27aeE09vXdlaPfXf0VaBkUikPv46Cup+sGgPVwVYhaX7qIfbzU7AC0D1DPpCfZBo9n9bvLZetpaSfE3931c8UbngTVYqfYTLi24zUzxCXsafvm3ER/Ruvf7LF9Hxp4e7XyO39WJxAe5pZEk1J6j7CP7OhxTBQqdVFYra8h+26CBiGNc5eASph+sTcGVU2eyYuASwtNhe1xmmzzCSpJwU1Jq9f2+g8P1rRHEPcfkx0kUhffi0bjfG9g+oQYtoyvJ/FgS0A3ILDd5uJ4MyNkrNP1bCrhymGC+HEHgKqZphWywYZB41+RAtl40PUurV7f3Bx0shM0vIuPnj/2K27cObJbtDyzFEG4ptBoMNKwSXweUa/Xw54ROWHgnMyASSLdyhFGudLvja0m39XXPH7UeM3MEVhrfydl/p3IqBJMz2L700zZKudTo2w6v+lXgQw/J+FqyAH3tzSX+rODUBUFrIJbR44FFVGhVmp80xfBoRIdTWek8i+Cs+GRuDOa7UA6Yap04iqd6WR5EQbdmNbO1G/5tKaFLugWZWn/vSWF9UTApqCYV4g35cX6s5SUbwtLAaDBHCV+3VFmztkD2+oZU7D9YGC+xDPzfopJLQmCUobHca1JH2U9Drf5hJtgU4yWQ5FfuPX3AAuhATlZ/TJZjXQW2BmPqIzUeVyk2cTi3ofFeHc1LEY76XhOoh4o5QsyXl24a208NuDuyVP+oyV2uN8MuO1b/iuOyAC0SOVIgVedr1Z3ClGntTailF4T6kPYRf/lt0iMmldxHIbHkcsPyCjRSDUTOOPv9UgXpuI9B//ZsJW9T2yVBtaTychjSPtNO0LDX2tdRGcTuinG7MtZFWDuRiXjPJ/if1qZ5Yguq7tAdP4zYANpp7Y/TzWnlKhxDl/TQeHiqS+09EH+u8igHa9MyCr94jvH3QAKGJZdZoy4CyT0TzQ5UdVWraOeottSwkdpzcI+0nNNbytMx0YVqZEE4z86AcXDZiQFnyPZhMpKM4L1H2qi+YwV8m7hS1xsXYHxYilC3Ef2cVM2Rr5WPCfv7g6KJkDMZ6DjEUFRuj33e5TgNAfEU94F8XVLyQfMcTwq40RFIIDUva7hk9nb4id+UmUV95+nQuIBidibS4dvYD+tXILFW0Q7YxlKi7hpRJaN1c4Wcw1pzuuKMu/hnX0HujD76jIyLZlPxFL/o7mwDdvk6wim8eWuUsUwrj5Rm9Ksasp+KjldVpgRBQeNbFas3m3zxWbCaeP8kcW51XajzZIPBP5gRgZCU+pILc8+Rg7xNEsBjmIG3HzGDXStMEFv/aF5/xaJ+jWOVdwjR+lAktMEe6H4QZ7vEBwJnvFK8klAoeu2faZPICwsIx3qU9fZWC0cskBnmskHXAMStUeyCFS/wd4sd17nE1f4XXx6mP/P28CUx36XtqtS9UnNR+CzKcAB91Kh+k2vBS82uP1NBBYG3YEduUhJjg7xFUrJZagpi1k114ZWWZSEa+j1icUfy7IlhK+U4PIQk+alm76gIAkEhQW4tXyaiPrxJ9B2Id465cavtJPlDMoJjZ51dPtsYBNcAPcmRrOnnX9vCDXLaEBWyRDushidgHw5mLhEubVX5hBx4gqSPLK8aFFpxuiYFbJbDZl3tw4JIv/S+Jse7r66kr8/P5fZrP7u6/peZQWD+Lfp9sDXIuHEzrO1KevngT1vIJhtnT21uqGbDkpf3PacHf31N8YM58L3uKN+pmpF2QxkdeapCb/EYLQ5QLAamBVjBV/4GmxNc1ogZvDYzg9wKZkfeYKYjG29xgPlhebKZQtZJ/FSeEjy/LD8bO/ZsKk+wFcD/wPpfAzapmzhNgRkmyE40cwDFjnJK52m3fdFjgq3jiwM8ykrRhrhycLBA6vYko272Z+EWPcUraZ15tG4cn73y94Lsb4Qton1Wd7Seiy8MrlU+IfvX2JqIRMO8LgKu7mkqjHKTHgvERf54fnP1EzHzaBOlbIcZJEn9Kg0KrIT1/64U6GQv8WnqUTrnmQrOYpXW0N1WChqcE6FvsYPo2MKytAnJMdNu4DckNiqYkLOJRTqBi5h9FeAMSSat6nPQ+sX28rjJ7Y7LMC5z4HN/cuodZtFXdeylTuMSX2uV5OiMQ/njNdyYYVbkO73Xk3Aw0ZoIzaBHqy5vNSSlrI0AduF6QjjclJbJrlwEw8lmJa2xwdju4+KJzyHnzlYTHNSUguHBSWssFadCYy0Nyck6KQV6kdK5bTrQ65/oHI/Jr4765MpztFyXx7OT5Pt8kvbLp9EXYibIql+RQcZPEyDDleKAr8pLDNw8v1BFk7CnQi8nZgfxFmjE5scSa+D53pCAVdrXub1Y2PjnBOD8W5A3OS6vJodYfV5lxkreHnMG/jMy3OdLq8qYC1PrTM7IBwHCPha+2ZG3bEug5DdkfKfVTXTJG4Scymmt2tgtkp/1uxtVwj9SOUO2pMR4YFxjwb7X3zNbeiilMhigIT2rSZmml5Ym6W0JJZ/5rFSAUIjV20b2Qq1zTu/v/sga9g5FRX+7PlKvuxBG63jUL21tuiPKakxAh9Fn02zrqq+efyDpc99L3A53nx8LzkAEE3E94dPL1kK9HikwcsvV8WbuKs4A8n65ZfUlv7g6BrXm8fVMa7HtC3nGZThwOaSRd6mIBOV9sB5Uq+kYNyrsrNmHB2wvjnNsWQmhvZS4vvpD8lb046/ez36xrcEIWPVPF4pGo9qybivuZUC6gJ59ihe6O4j7ZXq3f7ePFO0fiRGVCyZ13vSo+yO5zxeJEACN4+mw28VuzEIOi/ZyVS9XsIUm9AFiW2qUIS8Izp98zG/LTh7HRFnf/kcxaGD2kiMtUxS0yWXEWdfhFiRBjz2Kyd9Yun1G7NmaU5YvM6kiGqhw34DPAQ00PHcJS5X8NSQcqb+SCsw1HVg9WOWceTNPPhTiygReZOUWhSULkp7q6bEQ4yYutKjRSONbjcesOhgUvmfSYKDoxqTeDQmskxp6VrnA/lazUcYnAPTUvaKNoi6LQ6iqtOKxGh0ZjrWb9mbHce68VqGpk0IBlAYRn9UL8ggcWXzN8adqt+AuagyGRhwUsZMjgIDD5KvddXZEGWeF1LMXyMh/Y1/DkS0rIQHYKPG4GDZ4kJEpT3w1o3KAMYXsLp0r4JIy8HlHEeTjj9Q6qyw7SpMqIsLMcKLWwO4HBH5bDyEaESsIwYyIM1iKhBwx6mzfwmmggcMiJtKRNTI/BMp3VOW57uwC1PCxZljxnDw1VAoI2eU2Mo5U6b3WEgWrlPjjfxVidSASN+YOoSSZrvhnS9HQfQPvXjm7D0aYsgBxgWPTTE5ecxSMgZUBRiPDvFgJSYALKHfuy6grQZHgoruH2DlxvR7pebr5REBzTELvbbAfZj/t9gMvx520zp8pP7sOP092vcqdjtn8ilhmfuNQ4Q7gDARBpWwPx3fzIumdvuSAaXjkB8TJoqO/+HpQKsCFvXF5RJlFA/FHXVBJsI+dOq0cEamYYLiF42sHXc6X8BiGDUdFbCbF4xJtB1TVkrm2WxNIJB7w547xakrW9gLxCTfPGcctbXEksUut6O5ZUjDBgvf1cdfCzY22scdzGrQnhmp4vgIjsipzQ4VK0bNOZHxM9TxVhukvV80Fsytenyq+HVF6NXPYO4TpjENgU51Z8rQ5/8g6URjthmaZtnC2TOn7PlQQVu90ZSKVcFvW3pY+uQtHbUxbzSduxYfH9ru+M5XmGB1l1kUzeL2034B37NyrRoN8PWNWDqOSlTmvaXqFuyLmrxhCWVicLvfyebkWWOFoF/W7omjwiMcsRGwIIPA3y8uHcm2rY6GJchdcF1D6AhqQFMeAOGEJ9qKo5oGfeGKKVKtANiSa99kbl83Yt7OXo+56kHG+ZkhI0yzrnpaAWZAz6FWiZtsK846pgkOPd56G+fvLkAJQ9PEKoyjRMYdVlkZmebR9jMYrAg/FxHUQgg5HNpGMWpbwH94FOI0Q+EmPGd8my6PRCM3KRSoET7t6zs/B5ZW88KS+1o9YiO2u/6Cs2hZ3iqAZjp3Ki5XKp8ABwaKBDjuTcZBvSW48QAJke8zN+LYFiR7qsNAFarL1+VmgNrHwhI6hv9tjtV/YCUd7WnACZLLBrR1DlaA32NCWSdk6Yv1IdOjZvLHd2UEuAUTFNFxQPUh47JaRQVTo5Y+xp61Yr0B3FDzf/ZfzcJAfeiimK7o766RSH/w7Vbl/R2k26iJvzoongdeamWniiarZ51e2f9REwDCRqbTPubStm0xhL9AMJvyVoRwztRjoHWeu6FfcU5+BMo/3PnPXm5LI2er90SHa1ApWnGIh29NrSUXHmt7lSnRFYXD/Z3vryIaXXKLHTTN3sL4/8pALcRAmXVYZ34gUIpTQucuV9Rl4Mys/5RwJDTZ3LMYqI3BVecIL+Gc+xWC/XOLy/B4p1L3WeZvsOfx96VuleloVir2KNxYUSzOQyHl8vKJ1apvpAtJdFECdHlsdk904LkWP6/9qDjohcg2N+KS+25lbEM3/VOuv6NhUFDu3ifiixDY7MYcE0CwdQLHvgLUuPJ/e7TpTxlfmo8nY6hOd1NQPALEklX946PXDZxeUKO9quewJ5KmlOetAbyRUv+lI7eg02Tbus2feLU++iKBZSR5TsbBwPCemEtIvtXg6VQAVVENyag2Kgs6qo+S/gy5mBP244OJZb9st3xGUkauT9ISg3JReGLr2/CbelnbhqQPDlkUH88W5//6rFvNSzwq+UGMiGcwm1Fwrf+MYFfH51iCtlNMNisr5oqwqdvBL5qNOb0Bg8g6aAscZlZpvkGL08kNypXs8cKrW7Tg3RpYHrsO4T+NyEl54mDH++saaJhSHNXIgxf04CqCKtIcvNrCiJbeuB35FOqiwGFjLQ58C+uZXjYmtoreDvUc0W1TF9GD1DJQA2GGL+qQCHsyPq5skeq2lptThqnZFTMTNEx0TqoSK4BwgmJ/243X8qKWxMdlGb2X3VxceddmZud3onBkEZR71FjGF2JeRurpyHZOm+PSQRRUUvLyqKqRisFjmIcxUEklzQO45dhCilAEYyZTtqvRd5Bk+2WrbAfQYidolx9vRbTog8qgomxx07vXh5sE5ZJfHNqPnJSUocsklizOaTYUkYkehIlzM3N6OeMz3gjB8CXTmr6NJ5GmIW6lPT7JHbzGIxHC7l/T3kKPN8jY1o2be3+Oy63LZpznL3fEniLkwpjFSUE8UOpNzbARaGA9Cx0cxriiYyx/EznpkED9j8tF/GJmmxzQltFUauhLcPsVcjUQGw7fljTHHf4Nxk36JvmyOPyfAFIIJbVhJC7dXkNC/oLCtAdEw4D5bmi5KjS3wt4TwnMXUS13E1JNjwJoh47D3GTXUAP0VPgc2uyp+8L6SGP0RS1fghujefGawfwDBOgw1iF0gzpmbzDmHCNzQc/U3z9SIU4nIY524uWRaxoh2NhAQAZ1LT6jDTWaeh6+ZQg68aiMjYoy/vA9XkwSmkQBNcqjrXaUqGrAfK2N9HNldmetCuW/fz2HUz1XCmL4TjlIEUF4UNbohsJ0ZG8fxG5b/9UyJpWUarh93dKoUNfIhfpP+IorCtHXO998IjYq8KzJfm8HcJU5o2Nx0if7986oggrC8u1EhsmNjzAc5b57lBHXIMD6hwMhtLIqK5jkdZXoz4yY7hOzOBtiQIlOPHPNOD5WnJY9MG03Qo0lkLslwCSzlEQLf0wJyNkVVqzqHyUDYwtxlACQuuN4eLwnToNfZSaGuTthkpVTFgza8WHzW5KJfXs49zsEkUsa5KpQ9GY8XffmIn+u02/Pa2lZa4nvPKoJQakTpsP1UDZoIFvrPf20bI9sQeFLgXnozqQIzQt/B0rAEzUXOq7OHD1lfS8KNUM3hoALXhUkAW2fhmKDc1ezIVWg/AYeyBs9i5lyp7TFfZ1+jgCzqJTnpz7Ubj45ZHkj6QLCoXcIewsori5m2PSuSytN1TG4ca/0w17RwsINeKsaVNc2M1z1OW13M7oeGijN1tjn/9BcfytILBxXgtww6XLcoedQvDepXDxar99jaBl0uOclqqI+ZZyao191QjpZQtSCr9GcuUTOYx3vNRItb7463+vJ7zAs9ByDOYb8UoBNcKkAqH+t/X5pFGmJutdmt/1brsVUU34oIM8miBZREKtN4D/8120W+pHasGMWaC+ldx4pdaxlTRy/V0O1T+2LFjjI1IudgqUL9eCMcQCxC9Ieu0byvsR+RLCycC6KcWw4hahOA28G5OYr91fd+pu/95sX7P+HuNfMiExWmpvlM5mzdDFMUeMqG98HqCOI0UynWmK6dXbm9ZgSOMIq+1gG1BbXRBjUzMiAZv6iQiQIxazvfwU3sUg0q/YSk2/Gc0alo8aWY755Z5BpfNLMa8oWErhKFFRM2/pqb1SdBsAIL9DgUjIvRKJSd8a7ff/fn3CNBZXfi9xFjsTxyhhJViy6utw+1ROg45Kvf3egSM9wDVA2bwGgpaEQd94gDd2NAEMUCnuVZ9GCVQf0enhsEJvvDPTrpYN9K6MahXti7EjllqWII0gyEfbQUOTnrUxkzg6Gx7dF0vMBHzltwg5OAt4rO/9TZv4MuR/VhJ/FzI6yKbUHG0sVU03U/+xJbOXlBcPr9ZpksbsTkk9LY1n+jhk965caGLghtg07XQ197At3ZnvdqlSy+l14uZ7jTL+XmLfa5gtXdEKncES2712dBS97KHfwnOxX8rWGx5Mg05mrjwertg+mnSqgPfOMnk+HtMJ1+1lW0vm3yGDCgpzpEoRgNFyyq0f/7cdeQ1HkKQUj/jOkQAIh/wssD6FfCGFFrwDp3nvAbt0eguS/NH/EddmUbgtWbkH4vMePYxL7WVj5LJhCwbluzJWywcnZaPOrlBlrT9uHGka2y9KnquLh0xCWS7+nGbPoabWdFFfJUPOIYiLpxJG6XbAMcol9Qxa+WxKdudHfxe4rXrBK/5GO6z4plLnHdqJM4pXHWStrwnNt60LX0hprMEMgAP2h/kKh5vj+Dx6aW7b6dXCZ14JJmVuPCA5CxuI2QYNfP8kGGxCXthc/0MgBYD+ljIEmnvxawCv3Jlxs//cG6TlGLeJf0XvJ0okJ3YmVDJJEbgOIYOSPVLX1hGrxrm0JGL9Z4xCLPKvW89IO1hfKLqkGu7equL/cSh+Kq+/p3wxivFzbk7HqzrlBrWBy0l/zuTq3lmvhK+1S09PQaBGTOJQuIhxHCFTEJWy2BcGyQOAmzvANQ7Degex0jyIlHdOmD6qxqNlSk+HaRzSrVxXfENLejhM3tRjRTAhR6/J0njg58jP5ViViSc9wBqLGeWsUDkuul3GVTDwsYii4EPA7vQpHPWOosVfUaiOYYs73tsbtGOSY7gwbYSYrlLJjANpOwB71wX42UQI+sm4wLlsSD8oD2w/ullObGfrwHCI/ioTvEDoO0aUnXOp/M3hW8sV1KqwJBqzoWYHxjXiKCdj8r1E0YuXQn4cupIBJAfevZFu5l6tQ9IAL7RU5gMtSyiBRj0Y34kIoLWi78x0ODvU5R0NBpQSPc5vXE3ZruRKf4yRIVN4y0/4aHPNNfSSONzvl8sk4wXHwiBp9Br9EHPrRAPomQhTFzgJpyzzkSloKkGPzOIoJNhnZ16HkD/y4UcUwqIizuU8bZwJIttmAcuTr9wtajxTM8aSpcPM5iG/Zv7XMmb9ybA9ggYJplMfplZf2t89tElkt6DWPt9DI+UTouovHDf9f8ILiO33Yk5Qwr6j+BQtG1Wsf/4YeFdtjC1G8+M3CahLM+4Mg1WBlqLNZbmr3gb80mvLpp/4Glq++ExV+yaU+L3cDxxKTV85RoV2oasG3oKNIf2HzOtLKFXLapPY/I8P8RDESffxuiRkQ3EeJ8YjDwW9z+rhj3tXFyGn0d8wY9rs+GzY5xmV0XgkFEsIdVaLdpOSdbpwFDuVN4EFCeoGGRofSzvSBMcahh0i2eelJlZJ3Krj6PChESLMcKWwaCONW4/bxhMx0tk0e7wc6d/kQRWmhyKyU+xZTcnYChKUCogmNp7S1OBG8goWoqtxMf4D7id0jshKHOwzJhddbKmChWqGQVxLX0Df2mTXoSRJGCJW7alRg5ys1ST4MuAsVnIEpbnTO2h4nPNdpuETJ/my+pUOmia4PFki0Pv+P+gbA4P6rOFKSFAu4ypKLOUkgOaHb/Ab58MeCcO5QikhR1APyDD5xWkMNJsDDWe5tDRL/7oXHvaYIh7etl+bcSNYuHtoM2a96Fahc2k6B851JCRwuox+I3ACyw1dWaGrrDllDGjLs6712ZYuGmUuheh+C7OCMDpATkZ7h+2wdAvnb0XkNjAo+3nnGCIW3ZRxQJgbtoWSOv6rjPo+REG8BuXO/cjl9yecjZM4E0Rs1BcMhKfsyFOv579hfYBVDAiQNDZrv3zC5viDIW8xzV2AZLvaq471p9+20dcCoIo1V2OLT5craP8QEAGJXTrtvRuxD0LCJcxk7lzsGfQb5wJkX6aLoTnnXArRiIKWkByuKOULmPfgVaOhF5+KtT8cI0qATlXsCNrMQ0KBD9ykzN0gXxZjqxOjWvuCRMEEbnVBWMVxCqFP8CwlH37SwYlvPt5pk5KUiogr3xfqAKo0WsFLa+jD7UTOKGvYBjgS3D3WwDYBiOU/g3kr9thyDR5W/ar4IhQB2mO1MLpq12RirZ9HdVbjRpI3w/E6nrt1/eXBkFTqNnUCEvs+sgE0M08Ok4OrYvt9Pf3HZ9/SOc5DID3yCA+ZrOlnzCTyEBY+NlmI+ladpUcEfSaT0Dh+2fDMJDzLkOhB8itihBb9BkfQeJTi03Bu9a97vQn8n8hPAu0BAj1H5jf2XHnMkTR5Ql60Sl5WoyyVHNBdUzhRG7eU4WR+wEActl0WjjJvPRefLGk81lCkt8b2uEKnZv0zCkheQTyiKxg0MCARsWEsXd6Z+uZaszFbsnJX3mcDoq6tTVzfeQwBOZQ41XEw8RanEFiZR/V+I7pllRTb6bxcd2KS1cGCqaZPSNxHp22+3gy5Agyphs8lXoAn5MFp8aS6L1e001KVR78LTvLbJxpdT0SzNCsNU6oiERUPm0z5C9PuBATakFw6Q/OtB+GO3ARfHl5IDkoJl66edOqWwu85xxledIbzc0/fWaWLMVytoKuQ8EsOPoeuIt8QAY4GvrJbmZzvQ0yIH3abqohEVFQg+TpITp/JKk86vpc3J/aqP/+pM+upTMASVSmLOeLwuK+QC4tfrgtu09JQQOeZcHIG5oudvQ+FUAZ77g7iY1kPmKk7dajFrhj1c2FYVMGz4XhT9avbcmXmAbboDuB5okwsvasxKd9VEvnVW8HKrkJbVE4Hxn+17pU2UGpdFghN/s4utaCUlklHnFkRTaImutwi8MhEhDjYY8kK1LXPYJPdLItpsj94dL5QrPZzO+CptHauOy8qyGO358iM492escfLjdMA45eTyQXXjAbgi8fI8nH0UeQsOqGAYN5MCRc0Fq1yMhuBLUh2uVFq3zczkXgeAUwo05x/Ye7NGi6+YFaDelairFXjoy8BfpQpcEEiAFzikWIlS58TzsyMTNddf6cFjQ27dxvCnX058zEJsGcPTnzXHnsq7M1q3+UWepLTJrtDQ2yi788zaKMzA1aXFuiya1+E7KmhCcW6ieG+4CUgRBPFdtCZR2DuJSwzEWtn+FaJ0xr8tAraAuiAmgeZHf4MErnf2j1P+22/IRvT+E3jbXpUmQYByR0DYciNcOoU6tvY99Rkh3vrB7fYHsf1tnABoFYQ+dQi1csBtAp1h46HoBf7JDsznnlcrQ351IciNMx78w4skkecXaVgN1HvGdHMgAZbUxSN52YVZqJuhbDHBJ2g0oklKnk7/ynZUjE4ee+LOyAyqYtpEIEJNbb6r6S9zqxiUPSVYXerMPb8SUs9shLOLQd8/KbYv8aEJdXIMPTBdDsQbDMvxI4tKxe5G2Y4VI53hTBfBzmFri+5lNk8dCfp518cs/xahfPJqZWRSVtfc9wmBo0wFe2Oe1iKCsd6/n1nLkebLuA140G8Otc09r87PElUrC3Jt8z+VHweMao8agFmRxzwwy1lDUp9dWjz3d3eykwmXudeE8Xkf0u8MLnhLYQ7xUZoGk3xejqif6PU2ozhFdHDC9gXkUeWflnd7b4TmAxCIMi1MqnVbDrwAAcn7krGdahprElBiwMU8tVFLkon7djGEs+00uNRnUV+4wmbA0Xj5GtMBaRTIMD8eeqfuTSm41essBp9k1312/WgNVp7EdHt3u31kgGSg3YGgkHDeOByZJRr8nu5hdjJV4JcuMJrbGDWLvpRzDSxr6C/MpvdKsKW1rNj3G63+HhoySWoJ1wDQoYhLDF6EwmiBPbz49Qey8jHMO6PmzcF20k/gxs+pXPnaVf2GGlhqvZ1UnX+OfMTFTfcf+vHc6szZFns4t3ph0U/dShnQRFRR28NW4OyNE26yvpGiRaLubReMisSBivL0hvaUP+Hso9QOf6BqefpDsHcV/LejMALFN9ipFLTKYnzxBvr8ZS8gJapZnyfq5RW6TCQtiqTED+Sw9j3WbAAW/t+5q7E7hpH9jdVwgJ3pUeyOeNieh1jIUeN/JyoR4v/zv88u3bBAV4DVryZU1b1yiwlLur4qvH05zD2CiAZ+q/e2sTlpiNT7V4dmWWY/jgaO3iBsZyTF7Dbiv4byi0VIUw1MFvQBzDOP9IG4Yo5LXgjfXvqPnq0bE2Vi0dHHESkmsEhGj/3zNDyK4/sdeWGj+TdpfeTfrwZxiC/iUvSBbaYXjIw7e6lQ5RkORMmm5hm1LE4HRc9Z8SbEXv9eAfFne+AvmJtmTAHZ7lG4sctJTSrdaDrjtVxDLYOBrHU1KGJHecHFJlVx3/ydIEKCsEhAVzAbxj1QpIqeb9Zc9gSSMOUITkKlyBislEj7OiXzixnE1W7vDT+gLSFOOnk8hity8PBBd2XNIVDpfWiG1BWA28Ol0WS3N5fCIIkt2UJhQmutjAUWz0hVaoQeRAQEJ9YZsMS83H1FOJp4/h+kcs1l7VpApuEJzJ04c0QBGQtiYmV//4E6Kru5W/WIKLLD6hQJZNROuEncHUhTDKUvwx3P0BzmcguL65HbH/Pmy9tiPpKTfRye/Q+hLqtGPkG7fQZgHLxo7cQZN+segL6S2UBTsShHYZbl9qLQ9VeN4cTvvW30sRDW9DMtOyCJs3iXIFE/2EZAX++yIW7t2J7EVmVng56uVWgRCHUotY7AJGs2POKelXxfQs05zxgpjwR3FOxIUuJFHLeRAPYn4HhQYDqxw/N3XqoskWrMNVbo1vYzrjh4EdQ0xWms6Wx+KemZH6OjxUbzDbo9v4FJTFVpHIV/a91+uFB/HAHud7/Kjd7UHQi4z/N3jgFvwOmImy1osXCHjN2GScbkvpv+DG5BBKZ5QdethI88BoAV6A5YHYDEtZ1HrejAEDSlOBzkzIHfBS2d+sKxTbM+Jk8kl0DNHyqtu+j+a0lQz+/x9V2aL09CZe6p/HSRRlCjee/JmGm2nVMLQcT9FpKwuBo1g/0csZiWmzgrZ69tWi5/xhqOEZJz15/mhNWqVKjKloDK+g4KVIuMMmWSifGVY/c+C9rHo1zgJ2gBT7lRVBct3NT5lJ4m1ZSr176SNSJbAEf0H2fuitWoqgOq+iyhqWFTNkLU/wuBHXRYE+UDVuB/OFwsbPvc1dMDYBNY16Jcwx6asN4urIxZpDz753qg91+ZiX12Y9nzWgzGlPU6k80VXA1Aj31V2LqPQU/0JO9LzUs/zGALpTUj34x1x3NjD573b1w5CTY0bi/ktT/yo3p15eqOf5paWNYVAzSck+ZMbwfubTPsN4EDnc6bcZIxf01a8ddiFT9fmGFx1lhUDFnWKQslHdu2G13gIpQ0lryY14Hh/x9qGsl4hQy6k5F/bpejE4MKrC/kRlt68YZex+tbmCX8Pm54hED0MlbszfixT8Trkab00HVxNSvK6sttJUYp8kR2Lne+sVs0OP9NOreZ8AfOEt2oWQkinTbpypSk89To776cJ7Y/dnJv0++TdonynJbENFqjBmujI2uiZhtIhmaJrQ9cPGxejemozt+q25IMy/SEUmm/Y7RvSd8T/2sx3Z4nGPcrx+k1lJtMZzxCxDuTDulZpLciWzieG5WhuunXkAx7BAM9Y68Eb16Ad0ppzyY9QXMcENuNYeCssFvrY/sbq85yL+T0FzJPVBYYTrXsWNQbGArz7KNZsQ+FiZD0ZeCXC3JY5VR5CLZhAFrCpT8929Y5Em1Dz9KiywJfA4Cld1QmgkguHzkBhQIcYqIKbzFbDBxBTxjt7EhHBP2nytOacl5pRdo5NZrCmrKgvsF9qhnmKud9OroRtDdeCxCDrpklfU9GBt2nxE+D4mz1m35OfM8wZHsOHpgLi+f50iZivec2ZBTlpv2svOGYmCUQjBIWws6xPcqIqU4aiibRj3/hsOXznyJCic3RRgbrQL9TIIXoQIYN6sTCfgRHXRfAuy+FbdnQkMGIdv9hoqgLiFz5me2NwigR8TksbIbZnfjBJzrw8WMTz/LHlmFYq/ypZPBoo+rmt6hKW29wgmPy+c5qXuXHRcMJSBVgvJLbsmHzNM5Ky954WswtmAigvtv78NlpMMpuiATLdQN3c2hddnDXCi1DVRaaCrviXYioqm5KyufzcjYg6j3J2RAglSQ3JJ2X+5ERBI8UPFS3DAQt2XrZe/z5cB9PWCovDI3Hhxm8Bgei/9GyM9kHzfN5R+f3In3C5BkXeF1LANtABJQaFi6LPdZ8piiaLQ45LThU/e53waXleKBLPucLH00SW88+uQKkerXHs0e/JiKx++6zlZ6TT8b3QT4UJqlq0P5DMfSjojdR1yZnUUFvi+vuHxfy1NY8YUMHlIYc+u06qqVGmUgQHx9mTphAWDY6wrzhueO+08bfQtT3kLlXtJ52a3XABc3+bSsl8hitKXNmI5mcxZccD4ligczqpu4ki5EqWz4/UCU17J4/vzCTAK3ws3bmAgKW8f8Vkb4PIHRiCr7KrTHW257VWuwjxmu1fDf7cM2H9JNnt6hIoyzYR/EpwmR0lW3EoxJ2XpEZXVqtoMUgPpQ8T9YDCPil8xxzCaP4UFVjAILsmhDAWrX9Nad0+0Gkmp8NLXkjaCWm+waA+CkS/+5EfHECn28uNYaRpitaB9IYYXQmvLS46uLTovrE8rF2nEv0tvAwtLLvL42icvApe1m1FDCEwa+5EHnErJF/6Gc+D0D1l/eYl+D/kK+Nb22JBWT7PZeQQzKTltvZRY2yKvJBILgM/qBEuVlIoyVmRdzoErR6hefXlv6vd/wlVvZCa0JcfrFdVLfnXeDAZ3Wf+GlyymQhGs3Ro4arT8wSXbNXrF0Ou2jy3fcsRHNOQGlTE7kmnmuIxjZwSsnaH6SJSyGM1MuH4VUpoJpdZptVG6MPpf0+hGG+uGvp3Y4ta779+pgqfcJxsVHJhvT0AhSWLC3ltAhKoL1zGlXHIG9waJN8DZBrWJsLi7JVDqR2sPsBksNAQkbWZF3O3KbPi1ckjuWvAFiX1c3MawN99W6ibYU88JuorTUGynHpimcVy5fCKO7Mz8aDPdC2u9m9opm+H2myv4kA875Btxu8YWiLUAkAA3K0QVlEOUb0s0075ZH+U6gHuTZN/S6puy8f1k6E/QpDRuohwwZgZpy0YC036uENqGeahzXq5DoedFUP/qTAaHlUm4Z7N2M+dWEucxx+RV4tTcfEpjzlpULrxmpyAiocUVJotDfCgoatOv6uCxvgWmjHEevvMeqJa7tgGz/HxM/+7Krd1HmMi8RLO3cresIlvMK3U5B2/noixy5BZGgZ7CLvUxIcML/CQo8pD72rZrpcJtgf7f+cv8QNZ5qLKfvihxdaZw2v3MTHMSIUKkQo89QTpFLw4o5JSGFWFhneXpBrZdzXwjxlwa55p6dnfUlLGJjBYUg0SbStWq/w9RrskWsyXvaPTDQ6/FiwHBbzDd5wUzJWWKzj1b3mK1Hirba0gM1TTSD8sqjyuczezu+WZes9j7rHR1Fi4k2cpvO1nrXQL07UIvTtfmyZzM4kCM5mKwLpwojJj+i3hTlCIeFma8a9qBGjWkDPimYSjrVmHCyNQ2yWLF6flckdrKLK+jZFg2ZGdq7VwezbUuoWQUrLBSgndDk/wZJtF0f1qEOhttqpnktL6MM2hcTsy7b05ioHBlqwdz0k7RaYTLjBo9QZz9Uhjt1rRAF7eQ0PdqTg4S07cus+x5FTQ8099WEvMbPIlpsH1gA58lU5dv+Qboibe/Iz9XUiRwzM0zeXJEQkVL4RPwrnylgNXU5KldDcogswFzZ5KbtfwTULcGk6mNehR2K99e/73tE12pDJMSMUuTZ3RkWpEZvGEA2A/5f2iqiJM50p1SL3y924MUnYH4dcym4GfH9oKASyShOiffONz/Biw2paap3ehr/XIcItO6jfKlPY7ehts1ehppuMtODlp/wFvKS/uR39zMByggq2rwl0K/5ycBFAMSKrRbkVDcd+oaqMB/0AgG39Qja2c6uszKcIJvqcWdYK7bfm3o79cpKXd+boRR396d/Ys5cDd494lQCXgA46stjp+nGjC8lkCqqK9YOQ+tj0MCXULeZVSPqWIQgvlByHN9WHI0xr12fRIcixevZh0TJa7XBjN6cfLf8l9A1yMMgF+vPHzk6zh7yQjOin8nycDx/G0J7kq/eRzoY1dtZpa7o7cBGDwVgisJLiQlwEASRc8SNzScOwsfgEm/ycOrt+mjnZFmEFkvVCKEg3QQvTyy/6FM1AFkQk/dZPBtfhm7SKfNFfIPG+jTpaNsmMz4kfbl7isxgOA8IbytPEmZ2uyfj3YMHbOCrobzp/XiPJgK7HOlZV+yfsMmYUpVUNJgoirn6OqLqZMLyubf3GvpKe4RUFIhoFxZPmdn+VXrHjkS27ybev82WT7E5G/mrmx4j8mNsaWWX9dczN/5ObiOF0Ufh2xVvMkD5vVHJMzcDVDlC+nD7sjjey7VIZ53WoR4gGNtUUg41VjYQ2qgV2X0wqDeMweuhFIM1NT59WMIubj3oquIWEFlHViS3B0aY6k19zzNRLe+ZDf9YnN3ppi+Cc7t+Himzpu2JtLK2u8FdIrvCHegV7w6gWd3xGdvUbxn+xjv69/HQSSZ2J9hNb1JEnhhNkcxGdiSS8WYptvFVExccHKHY9he9e56KtRwAfZm32FOguv471aOuMni0qHvVCL5KQdXorC"/>
  <p:tag name="MEKKOXMLTAGS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iWcfk2RmY+GE6Q6T90sFUaYhHdubK/b9WYMbiqTQFZNRdTaHJ1Coz+gznC5J29/l+uni9WCTqRMIgVGBy5FSCqTCP+Vdrf4pg20L7fH6DBFZNwM9n1LsUHI9V7RaFmsG0sNQoXSeAHwLHqm09MgcFXN66rU1JBmjj5AdPA9rH9HeMv8yYIzdszzmfS3kUAUZ84ZSOPVl7UlEjx6rw75+MLzc4SLp9Ci5F+Jp6d4/4dTxXpojeD+CY/U6NfngENab6z5pEgfCltXWTBNh+62+cZqjnspSl9gI0RDf4nHe2aTBcjnUADSnuY6Ah0E4CIiiNkboPutm8WDAWbmoouBw/ecy+rr8RxQilCUIH1y+Mmjmkh9VJMClVJT2BabAb8yh4/2Ta3fuMsDjYz3pO1A39CQHb7nrS/lI5ZpKEBIO5pKOuNfrLbimlmz6dmqSF7BOkY3jOowBlNeBAaewxk2OZrnexS0nsnl6RIHCEYbuwZG3Txs872axG9pxLCTnN36/CGaE2A/AZWh1J6icqip3qkjjyRaov0e3uOlP8YDLnkr826mUW0D0BFC9DG2gR6DBhAKZ6x7ajl2K98lhMpKnEongzFH38Ipz3/QoQ/nB6fQdrUo1kLP7H2qWjEaKxxuyG8pzjERNzSgG6uxsEv0WJBuqw1tAhabvZPYnZsdCpNf4nfoio9dFIgmENCfEfLzK8O+d0epZd6ZKJHtdYJvX6WktqW01UaZADG32cZbB9p8YLLgYzii6TsEXevlqdOjirIm1VCVuLquSWu97SyDRDU+YQgFOq0WiqJiB6eKhYlDbub9E24d7G2WEFh2EBEuKdtyA1xI07oRadhLy3NfWl4f28Ws+5sjt7S3XmJogi8QB+pIh1MBGfBe5r1bSECRdfB/yqbAOTkQCqMjkFu3u+KstROHttYp6CefbZvX1ZVgG2qnpYCRGwXeB4s6TzuDwMX+5LCkZxJKyNpXu/rEa5X5ElPAmxf1f7+LaAlf1JqUPjF4bbRakUhw5oulIshdVBGEoiVijs0+ybkA8alCdjol/DgOPVkDFVAeG/T2VfTIuT5umaFIDe2jyCVOY8z6909r3x4FEF8ELA/0wIIFMyMrvxREjmZd4GaMmIJyR9GyNJslio39C2gkDdqXIvFMPgCEQBtfNjBhy5Sg9/9+509ZoY923xr1zAeDART/ClPSciJlacFT+48mDmENZbU6rkU8Q0LPju1OR+vk90NxotWxbZn/loDKkVAIFTKU2I0fjLTMlWUXLAeanRgHTvBlkLIdn+WwiqZMlV6bYSV+txrMxbyQGqKYlaHXNdQUa5dim6F6ZHi1MuDHWH0VDvD9PDWIcr8K+yRfHTq7rM+ZaZ1anEP5ONaLRyjAJpsr/fON6oFd7tybnelkCvsL2u+TRMxZyge+DfDV+omLIPwMfW1/Wh+hqpTOwqdnD/IQasCaJggZ1DMwXG2KFytEgXjmzVRJxsfouV63cfWvBGGJyXVnAotc5yFbdbHqAPTxaivpJRu7WrbW5elvtfOyuXFSnJD7D4ROmSmE6vy9yTNaT0zBZLq8vS+GXbc6gcOyxN3HZ9kV/bXY95e6MzoRP00O9IiUS4ZvneFsVKZt8QcK0nC3ySJq5DBPTkiSEuxfLGDeWv0BRz1rm0JNTl3cT0rvYa70Av/bnZaGGOOisqz8kzDWly8VqiThfbP7er8NYJBXPOe59RCj0m56LTvMDQeUkfgSjvPl0coWmXjJT1lwFByiKugwETkVyMNcHqMTZhqyyxGhNi9BZv69YGQmZnUoropvRZ7sL3ypnRJdyA0Nvu1CYttuxCOgGIPOXG7N37SkPX9fFgoI1IWQqBgJGqhF9RG0Jn6QYPqVaQVNt07UClDQJAQXAIQT+9bY123kvNxdonj4M33IxwMqS8cSsmvYpmpHik78BQlSO7aW5wVqPdvT1D2YDNf+UWikyntbQWSO4os/XAEX3WpPLm97JkXPtDfuz0CyEpuBPuB1SsHWw/M22Ca1Bgrsqcy0Th+VnBWtuOXJzcaawnbeth9O1+EVS6C1YPoxyrjSj6heG+ypbzTi0SxcEbpa74AQuYFf/mM1j7xsueAfBfgUquNn90wpGV0PgKh2MKUs75XaUe2b/E/GUnzilgiG86DZh6TKw2a9GJbk2G1ztwgHNonEvZ5OG+UjzuwlTDgmBO+p+z+xWDoukc7tgWHKUTNTdJcOFb74Y8F/aGMYR4jaJN9e3wvKhg+CAXFKho0uaEsZgnRvQI/cPeZkjSVFMfhZvlqBmYolrdsX0GcAwH5CxC75BL6MeL2uB8eC1YYOFQIbNPsPbagTYL7xCdS4r5guWdFXfgi3nTVJKrg7bpirRfRnpKrrB58N9eBg6KwjARgceVb4auF4eBBSE4JzYv4ai+DeExRYBrOjDWHV+ykrRzd1JoXpFGrIgiBl8p+QmnI81hch+x8Pilt4jIlE9oWdJsYfdi0nIrfb41KJ8ORT+r2p4rCul5xU/7HkuYlouzbV/S3HUchbokuqI2Kq1IabOZkFRx5l+ETX7gh+BezyLjXl5Lfstc3NRO7J8SaQmXd76s0ebb2d+UUB1pkJHyO+bUBvMxyjjJaPQzTW7rxDOeH3O4hlB9nR/+MBfg+Ctcl9N6N2jtQeNW1GHBdQE9pQVlU5mcvZvmniwnRbF44ZFilaGzY86y2R6sxGb9mevqodS8ZPzixIHENstyr54mkBu1Q4YvHT1qz+6ngsjp2UpQGSMRLMmpKkARuGu+4SYjJmyt1TsPCXlfIoXyACixLrbRwD6c4D3LLavc0l2OAtZye71PoyOxKubYczZkozGWXcrg5Cu64LRN7fZNj9nkL0bPBrBBZQkmN1wqUNYQBPiESeve3mM5KcP4PfOi43irC4OkMv3EifSDPOK1aHyIe+BeR9kiARFjdR66o+gWM/U6ScV6Fi7YAUmLa/3DYjhzPpjIMisL4bnDh8MYHSk9Hzvbg37aZN8UNUOu1YhDPpuj0MoZtXW/XD34ZqtW4IIsmcZnTY3JlgMDmvOJGSyP1q0ND02XSngssMZqkRtlm18l+ggEPn2fVW9wjZ1oug5Z6jgHGx1PWFkQ5CJI3j8XuyV5BNCDgARlV4FRw4exAZD6+/FUqYouTZLGYRUVNOHp9d2q4qGdS94MIG4S28vU3ee20hgovijus5IWkkFAynprBYVQsZrIYhNIG7qNNTVFbx0XT5UIx7ogt7POQVDdnEFzZS+SZQuzDL+32MhsRT/pBuTrQA00YR5u8m3d/X+CzSkRifJzRDkShII764JbF4udMKtHvvlSQYO+kw8ThTG2xhA/EV4dfarw/dcS5Ppi79gE2C0n2GsI9avA8LeCQ4Emo8txrUdgKuADkAQggcK/PHOdjkXUDVQPwzmBn2JgVt+3EqfYkPJGAxYl7502FxRYVW5cOMNNKkOKDbve5cp+NeEb2rZ4z8RQwlITVrmetLxtn6WfcZHe1fo0nfNsntEZclAcJPH4hk8CS1dh5JPHdk6zv3D3S/CEzk6LKsu6xANaXtsfyU4jzq4viWj7rqtNHw7SvSVbHfXET7fOJbIdWthVFVd7p4RDSYT7KnLkNI69lZwCHHArG9SMmFz84cmfgKdmCxUGbILzJ6AEf2h6b1TOyInazpRTfzLsvxWpa4rDyI9kjcPDXYxmdVg2VuuGec1nSD2UUqx5qJVt9/rhMDXjyaaaykpitVOzc2okHRKTb0VkP1ztHGE8ttPe7o7+WFhjRz9aNZ1mRvM40T76LpPw11gNmP5ClHa+8DvvCkD8RNwX4edhhhPmFvhIdehrnY3v8je0K95bjVZuuAOJdY+KxVgP67/2NJKgW4ThUyq6f4JAwiKi7HlQ63mA3m7ia/DU1pyvYJHzJIYSOLY3I5UZhVePbT7WjJZ58r/bZlJ391zQEiEfLadL365PcFyEX0Kne4k4vnYXx0K/WEhqZjv1IEQeoycAUjoMEFr60SpxaO0cwsNSfHJBQkNMXfBQZHt1YqhZpz8Em8oS0Q1EFTIdSTq9PeHuTsfbDAdBuLZ91GxGp1uaUhJflPEDrMjo1mwX0FtdUhuuYA0XpRvAgAvniQAklZ8kelNrQ173XnKJdgC127TgGmfmo6d4O4pVmYGXEbHEQPA6Ew2Bw6JXLVA5cQgkocPhACRNGk+B/wd6xnmJ9BIEb8LrYmUivivayLOGlUKyLsEdbiQtSFi5Ag3uTLRxSzaoPZpv8P4GQXU+CKFzn9IEQQfT1H6LXCsXL/Wsik8jQuZnQh0AYTvyhehaI3oKw7RisuAj87qD2/9cWZO12dEvmFEe2z0OAB5ZYIrQxuM/85M2jLqEtLfZBug6LBAJ9z/g6oZ5aIRTbzmkhVhlEIQTqlA76fgWIfr6HjzrLNP7ztOaG/sjydTAB1FU769i7XFuLsZGPEROj0obQiC+0Z+iSQNiH4O29/trQUm9Y0Slt80RqOIVcLb3zgwG4y14A3wwJjbN+rNH1C3Kv59XeKZmzZ1Z0uAuZFF75iv+w6+22sSlbT4JfIJ6wQDzk2vqqUYDYA+SnHFd9S9npSOq6kGAm7Z9YIt2mp/gT8lHfV6Seccry5zjELQnouizuXG3pB3/GGrwMlgYc/AT2TErhGpHYmen0Ld/orSV4wzuiw+OtUPnyTihwVMzL+ZOLvSFb4qKjoEKZmVHmXiHizK/hlBhfvrPTROO30JVEoSKITb5XGLSgjUbb9/s2Cmcw8uI+R0YRa5F1H+OlHvw8rTxdok76dr73F7U3yvXET4tl0YWVq19RWLjqV2li/nxDwhYghBfNMAGAqPfw7TWQqUmQ/dqfo/hhGYoS32NB7KdxMLIyh5ycNxyhqzBMfd/ds9g1TfWhqKlFqGz4cqOw2YyTPCIG3V0YRAjhHh/RnBSqQozGH6s7EqFeaETDAKxDl4FIDLDtgfxnmgj84gYvH7o2Ni9N9hiIv56k15Rhx8c04SBCH0/rkW+FtYvtMYJlV3bvJ5BvCN+/aKcwbkYhsa5djXHRFeiq+EpPaEn2hkmC+uCx+JRXSHzT6Z1uXInVZjtwW9WS9IJ1NMbbYrurax6ri0tyCyLSzhZLTbArTj2klQcyMCxaxhmv04mjque6iEnrSP36efcxn6R9A68zVmQegri2Fcp3Mww1R8XT5ZanCfdBuLWJy65AaFkzDkGOpQWlCDwR40llrByzBY3zrpbe9pGxAdBMvOkMbgH8cvvOB/vWXSBYgR396ShhEGbaRP2UYmD+NRpgu74dx6D2nWd5HG8Zrsb6BsNBkIF5TYX77nNpVeB+oidS7qwjljvsU2sgUbiFecg4YUcehlrIvA+fVPBoQTpisf3Yh7gOK9k2MK2gp2xKyBxHyVgKXoioipwI5VL9QVTeMRsxvtu/zcftmVEeN8IBfqIAeRgrZeXfN6i5hFTy7gMZLS1HnE1HPlq0nHWuacGNCyxmybK+81CwbGYnfMRggGuNlafh2NfKeZOxZPI6cxY+S8cWG0I9M4kv/VGvC3ltaBscU9cmpszPRYu3iXDIWqya0V9SDDFC8S6YLaWW+OGVI10fb1cwSpdNcKczx8KSqff1FLqpWT/Ak6bhOS08q7mfovA/05dDZ7A+sOM1VTsXvc8TD+5SmPaXrqHUPgjyxoIftpTmHwD93Gbj6XCr+mU5Uv1LkFm1woFqm+Tc3A6FeOru50vNU/NTCXrWfR5n0xO4ZFnGeI6vg6ztQl04d4j9lOQd8rFXReY+h9T+WoYnMgMqspWSpM7+pCQHB1Zyupc2LnwXyFT7UWuZ1VbU73z2HMMzV00YHmlcNzPHOkM6B4B4WoJDFjht+Qha0FxmAnc9IKu9NwQ7jfDcGLR38jMFmUPnw9QtPx/r5FFu/tnz5zzMUwjSLVmgxICilHI28dGXqTeZkfhuRP6hM3rYZsUB00lVDkcbNCKc6bvwD0HE56piaH1JJiQeweLc86taXN2QGD2lGJRraQ73Ql0bhXGx+Rj6qWO7JJq45InRDhI3P2X9QWritdXH69hatEkUg2igokAjh6RGzpdvGcjDfXkqp0RlswQ+9Km5Dq3w1yHbHiEzfq9A+AyKh1eFdUHPA7IEBd0qIu9/VjLGZa0UKJInR6fjHJ9teRZtn7qo0BYFsd1Lek3dxPttUBr+6mLNp9BOQHxO17SmtH9rwIMtI/o5Q7wOV8X1MM4QQPQbsGr79fGY+r2qTv0In9nSauSSTqV81NTkAD5iVaF7YnzlPb+i4n+Y+U2kN6Q2odC5KuSG8xGwDBFJ8LcsuE2G3ajX4nQh6MtLnp2MF9mAuoRqgu8GsNbD5x1KDjs7jylHYtB9glriybpU5KA7stL2VxGoPyBoIkigz+SGHnaMTAMvJuSW8sEa/XZOjMYWpk6BVoQHGRFVSL56qdLYzZM33bAWfg1cL8aImmWe5hvAIiUc141QJds114GtDPwTJUHwVTf6tK2iV7R3J3VY3Ayl5ztiMjdeqN0Ro8HYmKpxRGU2lWkPgO1BF2GFuJYA6uDjyQknxvIudigAs8O0nLboaBBTHFuVs/7ZxTQ2TPDJuSrqRXSAoiKMbbRPq0leUlhqOF7OVGUBdYbOE1EI3vpE2qLMgdlg6jy76cLbqFwdjZVdw6JekSQAJXeDr5h+co9pvjjtb0rGmaJ85wpC6IiE9gvDFa7QHw76jpIIZiRTgAitohGMZG+N5W7km4f7xAaxcZ6Mq5UyXSXe/xtUFBPth45UwdFaU4rObNo4VAHlVI/9RXWrpoLUVh0GCFVWtB8UZIx0fnUfaHnaqXyru/YLTeNR0bW5z3Hu36VyzLtZ6ZyjxQvbLH3LE2OjDtIfywzZPn/VpvAJdH/Ugq/mVrggy8DdlggnGORRaTE2fwCtl6Zoi9CWNr0qAL1HoqGR9xhJWMIfRLOPO0YoqEJen3O1vV0lr8hxD0qmWrqFkhsao9/loWwt7bVn0ajKx3yOYCshbmp73WIigYDcG41h26hEhULQ3epJnSmPRALCqku1WvUIilwC9s2C+59RpQGEUwetG7QhYq2saAMG/KTd2FU0NJUzKtF/MB0zRNO5uczdv3OJqIjdtL7bNVYNUnxF2DZ6uojkEs5wQunej2GghIU5NlerT79EnZuQh+sRaue/1/4LSfS8VLpKr6tkZ/oChE4SOGwal27EpJXyzgNWE0/j5F+TKF4mHfyteWI8LweJHdq/n1lhsmT3uQKjVD2hwnQ+o8sbF2nbnhn46O3Hwg57mGLsBOZ49CTxQf6+QcHAL1iA81F/GNsetBQBZy2DLlGte/o63fg1ds+3LxFSzfdN2fDuX5tn62RG75QKAMcc0MYlEkWphlPuboOguGfpMAhyNBzR45Brtjir45c8dfXfHZsW/u1d4wfriFvMF7uvrT4hruYCYJC5goYIUvaMU1IslXqs8Z8Jp9MvvYaTI3Z1isHGUnKiOyiIJNb4vaKuON1LWeGk0mG6tppsHkJWsiy6aVNIjp/3buajDuoyH2ANKTnN5kNI5HRp19ZiNnSB5nDZVMR6B97Xi9Yzr+FPMPCh5jdhCSHr9fnYHBzmLRxwBQu85jH+lkgbpWU6LnjNqykG8riWbqoq0eQJAUp3vWzhI5yaGAY0YCSJy2eGKDIjnx76TpLJYvuMKUeb9hnq1dfodtTt4kTzJv/ZlRZ5Vzw9481+QtK/f3xmL2ykrVTXnLQD1h/sEjkzmJb1gvY1G42FHB595m47EX01SrDWJ9qgE2Ta174qLGQG1faQLlInKUMIkzTnWPuBnZ4IQLHIOUwMoDDIHLht2A/7mCW/iDXCIiJy8GLEXNOKjIOxscOSA+Bys5xIoSbzadkxYNvy+SSr1N7pvdBUOR87UrpIPYe7S3voMXA3IT4a2XjJNVcKUVSUqlNIcNB7MnRenyvVKnz8C0hU2fSe3aYHFbHznlwUPBXYS7/kcVHf7ZYEM15ghVlgABOhkshF/8omDp4B8ASCEyhFcvw93EPYfqh0hkDpkom0kwt8cWJ6kpi96LUSw2sK9j1txpEPUJOChfNwWJjE5PDD4cWFDJfO5YgrlRyV7dzaryHfbbsS8j5usNSNBbHnKITUsXQEa6R3nndDrhnSWE35RubLzFothmDX+95hcS9OFiu6tgmzt8YoDhBEfsvL7m/HkHveaaYuamaZa0gsWKfGx+y+z+cOK8LnzWuAt+7SMA6D/6+2EJHQoXEXF9mrQhD/Vl+ZmmLMZi8GVki5XiEKx6C3RT7gG39b5zTsqoKhmS2leXPObL/+MeJ/Az804n2lcMmcxiLg9RWfgdbfehkh1u0bSuP1aKqXyRJ4HZbGAtzUXPP4N5sxKc93oB8voMeX3xgjqfwi7HksuawQTiTZfoAtU7OZYTMFZ+eJIG89iyMfn83YpW0OpEfku5Cycgb9/1qW4pXv5VKoEWc1DK4Hz/2tmEySByLv7jbbhkC7PM6470lF2Ykt1fdzmrKfeKW7D8MEdK7PsVsh3aeCldNyIDlPTuIJaL8dv4bcycopIhdPVWMDPR7oYj+BMwUBVQ8UjKkK8Rnk95jw9aVsr4LG46TWSmMET9+BnGJ9B8YsCZA8gn4gBZDngmxmo5i+mZwDEgAkZXvJksNR0yANQgwhQfh4m8Mxb4BTrnpgXN4gkr2SHa+B9SEC5zlSReRko1ijTkS7SVf6oDdHsljKUvD5L8lF1Hid457ieTFEbWehjrU/dhEZwQ/7GxwRB2sob9otd7VmH+4aYAjGaGj+2p1m/HEHW38X1P/hFl6U28/W6DORAEGFJpaquyhW7KXjK5qM2LcqEz4B3ERnvL/6pafWmcC/nVou7GJGL56EttMZe3JslYW4TezFF0WJ/e8m5fKMhbomiudi3eerVd1Ttk5rJhPLQJZCu6QxKrDT4dQWK3/qd/tzTaHKVA5qjP1RzyY3b/N0d9X3f/ZIjhqj80ulk4wSllrHlmHfxWHFSckpDpHg2Ykq9fkGgEYVESLI5o45v3lUuplw6nheiBB4YYSB4iTskVCXFTgJ2gn+/5LxnTHk+YNr3hXrTbtAknqaQ93ZKKCL2VxVN/+eblF9cOgwj6r5R+0TPsN/v/PBn3PRMUT4iDt8ixJryvv/GZ1i8U60iVqmp9fJ53NCTLstNncVeIgVSj+Y5nOp8OvTvpzDuvKfcGddrF6MxMVrnj9O7d7U32t3IfuaMPOx3+7Z3aR8xakEtKoOF/QleVpfrBG0SYl7UEWxTbxByej/znQNmQjBfTdCXa83Oj/D6DK69JZUS7OOyGyWtauyN+EI/uclzPeKRbKkA2G2B+H9D5JPz4BfmGm/PbKZYZlnGm2+dZ2S/v4LZsZ05pJsycakPC1zsMWuxMJgU7Id1V9PoZYSiYcKvMtQpZb2T4eOF9W+i3kXAdAL8VKQ0ZZdzLN2+bklnMBq/jhmA22QxkbrL+gF2zw9TTT2zzNACUims11U/ZzmfrIRIXY2oGoXKSyTOvtPpiJtW/pgdeDdU/l1JdsEQS0W3kph5E0CYPUYhVDgTMrHnIP2Un/lgqQk9bGG3y0RkzluuKUBXfPq1PjIUFQM5lGE8zZH38Mera9Fj9iaxAyqEW354jQJaSJ5V4dRTkLlHejRkZ3OuwzK17vMWKAjS2tWUiYb1b0S14Rg3b59UfF1H1NHsgJHWQPEyfj+1aidhhBBgAJ7LXk9m2EM4sAH/fOlOLx9ZkA8taE9eo0kgzwCf0epIhME9tuTGJlruJAwTM+Ml0NDKJHPxfwgM03rVjmVqdISKrqmG6shPavePOuPCZXFqcTyv6ssx7uaGb5ei/0e0zG3HFF4xCQIu+5I/jwXiVnQp5cpeZdjSLD32AdHdR9UUqXhdD47u5a92zmKiwS8Np2Zqm3I8atY6fAMqg4HZ9UAsaY20gLmkjEzheg4JmPc5blX+zD7QGzialainQRjNfhhP/AzUqcKCZ9/cPXMpUAr0LwWd/9M0CyKkf89hkMLAHdxOPrv92YcguKlv7J98CdxaxWLYjNfgy/7A5mgIL3YfIjNcw4IbwkzsjMt4MlipV2Xxn18/7FLVGAtZaZzRWR8YyicBD61jIwmiKVUSHuDuhBpKBacHZlZqMjwflJteD+aIb+Sdkldu456lQkhd2GhEq9hxCp+nAoCHzlHXZvCjhiTz3wM3qFfRiJ3dZHuOb5++i+DK41VfmfDllMJUuPo8e++XfmlHXsFgGCRkGbYOuYquOiFD9FEcjePwCKD6fVXvTk4u6peM3hk1mcWqSTTFjUBb2BgasYoJHKps+/zRwIhVryrc68e1DuNPNYuAIkS/D5NErLHEJYE/wnmZab+Pyv+OS6/uE1rJv8rc0J+kOLkdchw/y7Afv2osz0spiDoEiTfrZbS9JbctlwmY/u9aoUCeTaxoqFCLSa3GQoJDJvHw63D4u97GSb4n8UYt1EBXMAHKXmF2qHGbkPxpLLEbXsn0ysDPVAnrjaQus61ZvBWuQ8LStX+t4P4YsiuzEJYZKlfXSfNO/gh8sz4zgEsJQeT0izcN7rTESqDQmPhOJ5JBqzdglnMxbV2CdajvXngg0FID2GQNLQOz3vS1UVOvvN7v+CSe+gdcQ4r3n2CSojvICoHqdvU0427yvBJqogD56wyzQlioCleZd1NA1cgv7csmqWgGxprpPGaPPUSgfW+UDIPwv8dhi5lURtdvtUAY5zRCiVe27V2TsvJacTJdiFyPvTc7DoLayLbbWtv+V1s127wcNIwmqWKkRGpbH7lFDDCzZ6eCk+ox3dzKmgw/ySqF0UluXF1FwGISEmcLTQhIvsBYj2b2CaNsbUsXP2vkwrEVebmkqGCBzpUWzrouI34i4x6ffTB8KgyLwFdQ/nHN3vjtzdIsIyMvXL0lN0zQdRfzAaLwZYbPM7PWOhMEGtOkwI5S7Y2DVMt2vJkuAcY+FQPgRgM2Fs5Ts2G7Fn2QVydxsptG6+vIg274CiLTUb+tRCL6jVa6P/SLbulfKykV5DrC5JlzO+sulgdRNHdEGE5lj1Sn/g1XZLMQoconLW3FuCzPf0JBCyfKMvnuB+BXruxt/s/zdYAGPHktsJSiNPi6bhuAmj3xhLnKFzAuPbyJKeNeOHzDFJTa1F8/MN8kRvVNKLqdtylEH5NFIeiuyBch8sKNN1iAZTSZi16Kt3VSfP2d3JmpSIdcVHg+4uGfE1NXbiyUw+dOdTMA5s0mmruK5Xb1pyPIDSKoBlmhnGuBWt2tI6GEJVFH0LHrow0/hxB0COdj/A/FoIlVHc6SmnsnZ2O3V/zQIuKsTZGzMDopkF7ixKo+/oiio2orpX0yYw3P+rIqQOFKZtBRQVycY5iorM+b5sBA+YoWw51G/SYr7Y4oGIvTYgAdRwSoH6fbzNDyb1CDfAvS9tLdtIXUaK1YdN6uUN+S23qPO0MEkl3hO05/gqawbBwWV+omcIaU4NLF5MCDjOpuTw1ROxNB/tU+79BcA7puPZtI0SgEHSCBcB5NeKoDVLvFRiXuoppYgdik1WqXRBjUd/nhW55mkgnIzKKrcVQkHY+J3uuF2hnTHq/xAQoMaSdo1gYejNr2WwYtNHl4RpoIaYAYrmsK++3l2ywoEYWLoyuhFJmZyNt3CHqMQ7TB7yEgQNTnGYKriiM/nRAreEOomRGFCYO4V3RzTiSxRcdzABwTj+C7unOWCOhxI0EDeZgpEIdcO8OUVzvBYaWeOGHPu3LuYIG7Ybc9DO4CYY5FUo2cFfXGa6qrWjtDF54drZKsNNshN6hfx5zdKaYTATBw5Oc0rGZHswKEVf6Ssgd5l0W9af5mkZMkUPsc71ACfcVDzsS0lAcxSGIqsp5dy7ItP6/L4GPWuoIJq7FFEDnnOiMxirkQAXzcMiE9oewCTOe5o6WaF2gS03c9SYUIaPOK+RuFiQWuHbMVYMi2tTEuFcy/b+4kiavgavnKfD1UoxwYCIipak6H1c0t1c+6KfuP8+A94P764uSCgEFq8wB7OkOyo1jRQ0iVtYnQnyCKqL2UVAMcOToa0NKjouOsyJZJRrPUKLx7fm3YiMKHCr6e+TrgUSoAWqbcmFhMyvZ3fe1xxgWYEUBfbrBvWh0no2nkE04SyxKodSF14rDYNpyM4RNgSZNaL+F8DKaTueDPScEy54F/GR20v+x+xrCB9jNUNCHwtZ/3EsfpWlbQIx1yEL8B9wwHoQeJUc23+yDqI0XY/yuUG31vRvz1y+ni4MGP0MB2tyntoA9QpD1ye99NtJVp30+7jL5wtwk4rNFkdfAobVMAAqFvR/8ra/WnHQ56GOaVl68RTV7hGP+Gjmj13hll0wqdENjE9mQTgPzbeE+/AWLLlByqse7WM2c3A/sB03cLTvW9W/n5X9LhJKyOc5j1YgnJTNxlF4gJIfZ8QGq078kkP2rkMhO28HHBcEPl06Ve6gLBKk294VUSwWQibVRoxAi+Z+/PRSxWxODEwmK+WSYz+3W+UKvPuoWfj60t2PqMQQjp/EBb8U56TUqmBxIjEwtLZc7cZqTtuZ9Tzd+2v0TTgtkJqcaG9hCL5pz+utKkRuYD3OYiZqPQ8cyVuozCdqsepNH6ANMo+IMFn8Mu2gj3zrzhkvLkOM3OVCgCRhOhfB9YmHipuS/4/QGRKLY5FlnagW/AYZCRkLfGrY8oLd3AmiXDZUWiacxKsZD2xjX273q6COKYisUcz8RxlBeHJoiomkmQkS5bGlty4zx1x4dzCQ/ZwgM7voTfbwSL0Bphz4VmgKGpJwgFNvoI8m+xErkKWPgMXd6m3wJoQiAZ0O0pRMDn4AoS1UK0Ec9+TP6i646laoZSgnbwPVrrB1zzr15q9Iz9C5PNU925fP6zqZ4nmGUso2UfeB8e7I996pqc46E4TgCJNwfCd55hXDWs+5tB+KKPCcs38Qu2Rq9xVSVPQpWBsC7mm1Pfg7Ukqf9Vstc3FBsdhx6vcVXEfTJ6HJZ043jhFAUunTSvl823Ze4awMFSgZmXCkA/AnuhHXoKtwjQmS8tmn9ChejzgDWGbGsBGD0Wd+J4r2+yb3xJUhZTebYFPza2rUqY2fL9QhBIvq+mni5aU6UH3iUtx/P1TLddWoZAXtCdK7QdF+dRxPpQ/Wh2juq/vz6v5fvKRiiv3ZYr7foYRwSq2Hpk903X9qSObPjRjFvFR8kkRBWzzok3Ya5o1+IxKNrqTWYUBg322K6lLKUIJYBP+0JAf83GQkop6/dABf2kmgglng8E/TWPB66cuZUfHjLLWbb4vHlmAnV71yT9tHC8iaUhXKu3bRF1E4jYUdWVOsWTtdRfkEO9dzLv5CcYrfF7gvXyIPcD5nmCN+IKleMqilnc9XD068ASMA9gcbOX50o2HbupOOLabqPp9iSZLHW6FbOMWPQqI191YJvyyOR2HCz1uhDUBOdNwGnk1HN7Bd3UKWLFJYZPUn8fncLMNr87EqMslDdO/BiH6Jx5/zwFNdSQNKukWG7J+aKwwHnGK/aokbjcUF4WQeh9EUGY7ylUpZVR+wf+Mp9ZLs//PpRgrjQ9z9VqnuKeQYQD/BhGvp59Om4eKYbqQO0GC2MftZqTwY2eM4EkZtDKjzSiyp2PWtD98/KEcnSTBskBwi0X42VTtQzITpi7tZm6pjc37bPnc20hH8aHC78keqrI0f4VzuJPqiqCpJuS47Jp+R6+zzgSnbWAkHQ0cGRGvAcxG+k4Lse9cxELzvn50KBQ6xMlloBGIlU1+tr4h0JDybKEZAa3Imtk5q7C8HyeoSP6KS+KTovEEkOkauZwzuCvk4Y/ExNocrKzP50B+Xy73ozvXT3AkHiX167qeh5hqkRLihLYv6Z3YPbTv3+7JdbPR9M3yVpjiHvWL43fktM5BOySOKf9VzP1KMhGNIJP5XCqJk4Y+Zcn9DRBXwyIxdycNAx5N1B59B8KVUU0hSoL3c9Je1dxmlzKWf44ovulXnA1DW09DjFoZGxdeL0GCEeXBwYbu6FbacMIL+RCaTgT7pLte/cYgVBWSooq/++TdqKFOsmOtqtqWSbHohkdf2dPthjAzDAMwa+PnvY8HMN1IbXqD9OAcfF8uGd9Egr1pnWJnH8U1heZNdQMdvxrW90Rp/9cwqlRoFMhOqBi4lNkdkaT47vU6YIVfFmeAqvQ/QkNRWPCcLbf8MobhwYaYcwnIig49By6RI8DjYvrL9q8R2VIlTLk+ZvLmx88Kuj93/N3I+a/+f8zxMT22OsKDYdimmCio5HJUaKC34ts+tGcHNZWUxjWkYyexKJcXtnBATC1zIHhygWt/ClZuUIl4Qjd2H89x4/Qm7pT2BS77OnDdsnZhq0fCMEPcuwMCHTBJpSsPpcogm6LV9YFTO8nYYLCQjGHyuoo0FTvYXsOj41iM0MrFBVhEowcR93aLUWOp3r22qiTf1kIrEzIXPh0+GXgKmpLGIgxuiX1RZ971e8xrJXm6xA4x3mLWHhq8LNnHQDl0cJ1IXLAZ2fEzj2PjKdkxaZSgTZgNS5qxG2h23a/EBO7OlgoMlam7b4lNbJePgNd+tRF7NpDqrMV3LJ7W/2OCxqqH5WVBUKvXqlCd1nKe6MiTs9sxidiGNMHLFQaNpeC1LnBISlz5HbUnv+Ns7MyUM3XFuyDUEvUuuPH+MbeB9TnVNjDxGB//59UHlstoo8p39mXcI7p2tAov7Rqk32lSB4umVujA+NOwCJUaHKPftJWyyei6GLMeM0SRoFZ60G+s1nmhL4TyOifrPNYShvgp5UBOcVSh4CAnWBFY8ey2hDiUl3pfMXoy0T2IxwOhwo7d0PrbrVXrAujYab9X2IDAc6r+ex1FPeD5At1fDEl3zt9NpIlZr+sqI14JMz/3Ied8DG51Jdn9bejjlMQPwEaefT80ScieKvR7BVNE9koceG0tnEsloOzckfFbFcPcYQCVXTwTLKHIaKj34/6w3vDchTNxpg0wousROcddKBH21/RU+31wrljWbQhFYwqSZYeL7UrRJGOsLY24S+U2VgHc2qTPx+vis6AON9uRWjNtEbBg1/qISup6JMtL7L4JXRtZ1nKaSr4mi8+MjOpzeg5Shaclo6fuc/rZlqNTGDSU89Zu7Re9Kel0CIp/aSPj8LiGwRJHWknp/JsIA5QXnIKRuAUHHYCezuOx+py5VHJOsELHmgVUz+mQ0DRSi8hkO8svY9T+z6VdiZHNRNQ5Jeg086keuv+03y9VQaqz6QEgF5cKm5nWU/1zn1IyDH+8ihuUoMdaIHhtn2jjWO4DVoiwUzUuh+NfL4HkEQZBlHaobo7C/k1nsibAxk/mVemXaNsUr8ukMaP6puZqRm7cuOgjCK57qDAO3kHS4nhcUeWCAHkc9EC3k/PY4QnKF2Wr9a7JaiJaGfbW4aQZaZ1dRLEtGe5GB7awWzSX2yOgJWE2GzsYzTobJfs6Dagm1B3CKzeGhcJ61A12B9EQubakIRBQV4XDt+fJIl4SjWQnKHAPs+nZFAYIYqbVMLj1S/ePG8wZ2vIjfT2XrbMPDQZUmDjREVkkLexjEzyUfitXwk0AWT2lMUmpxPgGQkf2dhWtDRtX4Xn3EeoQFls9Jy7rjl0xUnMT7/C3WGbBQ0D9BS30PMegki5zkTDWiEbDq0DV8jeEiPqrRzZwqEvuY+8ug/VUYIaI5k5s5lI+uBfJssLwuyLyPoMjY4XPuw9UPa+ovsbqrZGtJF5dD4hUXFOBCnLA0X63b/dTWlT5d5XA/mKfroFjHGSFoEBPjBa64N2h2crha7R3qtm4yeuJ776+6npJon7kkrfvuKBkr+xzMkvyu+zKLS9t5jOnXZKJtD6BfggD+P+l9wxDizyG5gnIxsB/IjDuN6eruYKsDd7XczCET0KTMDSCoLflY3q6084XIsDabOY3Pq+I4jhdHZ2TnhXDW0ctqrAjd4+HzD96qc845bHwi1qSYMd2MeEUL1S5rLZRAb6pw7kktMh9V3A7vtH9biyCsDuShSRRK6HdAcuG+Fx4HVuOQOJz9Jb/bIW6BPz4PnpRJQbvR9xNMSqbnUc8ybTk8VMUeOilsbMhQVubofMEpmN+fOljkD2PSayPCpREfdKSskHkuPfT8SJegRCvIqGFQHjkiGAasIBIMn2EMOBnLPbzL+ujXIgcyPum8y27QcXE6U1YsYhbsnuKgeu+l8TAuvTAYnOS4xKeqSJbqWkh6i707fDeJYZfM4Jgkf0zIxl2gWnyx4ws75JtZ0xMeMFHX3Y5i3M2q61wydIAbpnjm96Vg+nju6T0/AKZmREcGdS36OvFJD30v7KfpRQmQV7KHdTdXpb6Y3UsrPhP4LX3CpRgmrRF6BoF6up0hdDVbqes9EBfQb5taNz7/vHpXqa8WBI9qzwGaOhBQJSvKApiYlNZBaAlbuMM3jIsidifOY6iAaBeg8oK4ZFhmv+cOyfZ5grlFZMGFEHCcpgClAUkaWgLz+CPBQxiyqQbi3w7ILzHobFq4Bcq5I+ylNc5W80IZSK6t/IKHgx2orNcMIH8B5sFhulbkaScEbE9pHUVGBAYWXiVh0BpJRkw3FcBCpCStFowMtOK/Mx0VoCU5JG0TkgADL8/o9a2ZYQMUA413FtqLPXmOXfib6TLs6ka/AVAq9/d7HpFzSrfYzwtA7p0faf5WeAfMwUOa5+Bnegz7WZ+Va9tKX6FsBwYJ/+sLYPRyoOpf0Mgej9jxidZ1VnD/nAWNqqAZO3Ns/CTclSviW6DP1T7Rk8dD3Bfru5NespluyFJmrL8qmrXgdGWEhMAhms8v1GDKz/FmPtVJr7pm//h84D1XnTyY76NYgYK4rXN7KG3bcBBVd04zVV38EcBA/yoWM5z3KvliywXcQoXoCvx9YomaVeNngN5USj7TQeecucxIGVKhJ+23LulD+tfbINKO2PztIzHZaHGTALuv9UZMKdmoO+RKQjHMvdNfZfyGEW3KrVNyyPSXvQO7+KwcSudSHdkF1Jlm6DXnLtP5LA8h/lfsHJ/7HOjBJnQjmJC88ptwoarGjTUwhDplzSwKNVv6mTlRnrdoLxwA+U53FNaJP1L2uQnv6S39iS7AIqhoRHFtsbB9JzEPiCCI5u2Rs5FgggeyQ/TrwTZU5R012QGZFzcFOikDUQvifkX5S4HJmmjTM+0pIyD+HmRFAr58Mlmjsbzo5aj3ilFU6hKi15e5+AyVdMVpZilvrOMK3g+HLDZ9zELGbrBvH0lvNwBccD5312NIQauMotubbe00rxzWq2wJy2FdDC4x/NL8CYFs/LWHTjQTDnxAE8cS8ynuWZgiPvfVOtJAgLCpCBuA32eZ+vJFMkC66Epi5SQkDoa/NDBSVNKgwtxarmQtDmvocoW0e9+RfjGcN526KHCs4Nn24Me+ZPjKKMl1BwqOmOJ/5XCg8obj7noatcXB+wCIPFnG0ewECVFiP5cFCsIkImc2kEZUFyyctdbuhbKU/ieGbghMK7jyhtwMpd0+8nbdsaztpZmCaR02OGGZn7EFsez8P5zYTXRNqt6Xi472XuVM/1JOnduAClT73IVlRTLiWDLI5d2P+ZpBa/xDADVi/kkR96fT9/mvjKtM6NxzIUcSkGvpm42lJaRKqk8D99qz+LqURGSrzr3FsH4LejXVp7neFtr6hTFOpGkZ6AV2z1Niz79ftAtiaXbK9dWDMiK7i3FDN+RiWCfD4FqrBwXYG38yhnctihFNkgVeg4pZJ7dQYcOmjQnu6AA6THr98fb2Z+lDt7HPl5r0HifpAACY1o+lmNTLeG0MxBsLxjQZOV8cIVm2R+7x/5yXudvFqKZAe2WFRB89t6ugHp6MFp5Z3ZuzPOP+pn3ZC6RG2brfEZDplEAQ3AsQFMy9hv86Dee/zBKr0LjsZIqVX5pSpDEF+C03SKXD7Jd4UXu4g59g1XrIQHfRuJ7JmWy3WDs5TCCLPQN8DHOhDOJx+fXniWLEUHyQzE15y8WS/QLrG+0HvRji23OJ4Q1z6TbBVDjmE9rZa3+gtKLi2yDy19kM9WT9JhB+qpphYF+2m0sVocjEi5bYcXqIuqFBbOXSrJSUOeO+d/6B6eydGRYtGBOue5DbV1gWlv5InE9tGCBBTr1YdFkUKwSUTLeCgqfpb1QcllBbG+gmZWRcJdfHLNrcSzU3QBEWSFmB6lwj4pv/1dBEUm1D7alm+ore4IANL1/l2BxfUCmaIrSzf4kXnaJTHlHkdeM3M5oEecL3k3JHXSnQStWtsb7PP1KU1dNWfYwXMGeU1YIP/NlAXqF/EovQ//C2F/jKeY4jAsv9T8BCy88o8mJLWTxokaibtHQdBqUcZFqL6FbD32YdY5oR31ZCVShiYX1d5KqNkKNo31iUmsEpKT366qz61j3a76CDgH2ryTqZbgs5Uhp7kIVcQexc/MtWUMIa99RkkyRJvQUJMZ0U5v6qoHu3GrP+q+CaRSnWc2QxTx5/GP5HW5WQzWy37vF+rK4aM0DIx4/6o14USig3dBbuUOAz087ec3U3gVLcX2QUl9Lu5Ki8lv+YBRNzCfUBfEE/kOtOPdnVROA+VVDiirH/X8QYsZ2zHkTZT1+joTdq4WX2udSr+Uq+ZgTSZvj/KkLET5qur9lBKeinv/kz2Gy/Uq5VgozNhZHYEBZWBg6XhqODX9iUvZ3RPtYNLRDBA5YVlqp0Bh/+XHtCweeIIkiBnCK4uvgCOYHIPnJm33tp5BogS0sZo0iXUoFKVgxkLQNX95mSJ94BMB0OETyMnxN47EpvpDi+C198ie3hJijrXpprSrRKGSp5L9E++uHrIW/xMIGLmNN24zfpSdtwya2VYtbwnv35zSuhalINwdGQczr13gflGJgPAU3TVH6zcK46wdoRaZ0viqnnmKOs05rqjHzrKqyrDwCgr9u7z3DPDymFjXUU5Kq+soqXj/b5N5FzJbMUePvWdhM9fIorNA9RrSqeTM+iX4Brq6zizjH0A5dvkB8+DUyxCHQVThYI7JgvOyFSx4n9Tkb7R92e2qo7WQGc+YZhFqPQrfBfXcgrilCEg3XhdXn4ImCAgaEQhwXNdy/H3btPqj2OmwcU5p9Xm0rnqYa2DloFMsduxEhUHPkG6o7TDQ5xMzYIAT5mnsCKiRM5s4CDAMhJhzwLFWTe9hNN2MpC+S5MheeDZgA4WUFJwzDUqWsf3qkiH2iCAyK2A/OiXkcRNTD+2E5ImtMfff5STmb63I40kCpYl1bJjUD3n0cKNftMTBDMY+JKYN2y5b0lvCes+iqClVmaU83lSDkaLKehvBLk9dPeyfRH9H+2M11tcIvCNyLz+nh46d4VTOW1xRiMMF7iHxBR3ALY3M6HwE81oW0rUs9495dCGPWC3gaOI5Snei2y46ok7gEFlUDVTlaKsEJwtx5XMHX+UQvCsxT5JERnU8ek3cUNwGJo43HC6xbAoifBn4+K7vkwowzuiwuY1e8fXo1D3/braQSxt293XbOxTwcp4zKRqk4e0WjLuTczRBr/jrriepf487IGGorombHdzGH7WnaIpyo7Y7D5KxCHBr/AZZK8tCkJz4bA3zYzQH7wIy+fjoWgoj7oCkPEH/4He19BaG7VcGOceDA4uozTFus6eKcltw0pVaiYJ2beadaUagVGuiyRPdVLUm7ADyI3q1jbGyRx0skuoRiFGt6KVEtFEvMfjQ7Z0n9mBi+34RUB3UCUjFlSBQAgdWOof00iwiHUaGSgqr09crbQD5psaRcktCnm4eaStiMFOkrPBlzKd7eFVsx6k3kB7Aej7GfDApw1v5DM5ImP5mWE2t4JhkzR8gi8zrb4/DJ+iFKiIq0I75sCv6wimX6fMD3X5iXwa97WG8YJxbG1mgRmbh75QaoSMefgZrrnrPHCjLXY4GMdYplbS2NQwUWM3A3A5EBDSu9PbQ1efJiFkXDalcJ56SfcGXnsU4MZO6jDpN/1h7jaTsT6xXMffAtbUaMLcSEayhSW2eLvd5/OcVwe6C7i0d3/8owVReTuh9UCfrUwoWC+1eg1tu5vfPnTZkY73t0uDVbllOqE0N+MvD7I8j6P4cRVYCDfhXykka8du/isZT8XyfhnYDhf99cJasj31zyBPq+eas3a/Rcs2fYSWyFA44KIUFrbsp1gnwDZrhKoZcIswdH/7IrB9VrojQ//p+lIWL4klYKCqMxaxLwROiv5K2veF1LQnOflFnA++5jL3pLtgfpWc+oi1mHPlsWzDw63i0JbOmvv8bU7YnFNW7JRPqM6poCVYrVQ1xs+yRisfpbU5saX33+nDBU/eQpTMB3+Y+RycO5Ihs+AswMzhuDb3VjAEJNQyxdQF5LUL1aGrMes9MKJheuoenLgiNYkqIvOrikyVDFfw/x1rVQNfhJjI1hsSKendnGsBBzOFmy8cjkj03laBk1Em4w8Rn5ya927wbFgUkBh8e839v9Ls0Bsri0o+B2hnU1SdW10JQWcXSEFpuYJIkZqpxwd9wBD1jd5laSoBxWdqcfv8wb6czJlnkQo2T0b4ZjPMXM73U8q6rkpietqPDhPhJaJpdec8O39NnXQEUpSLS54oC8uVaVGzhKHw8Mvq2oXDWTmb2MI99OFLydbn1OJMC82fQ0epcg4FSeKANScaAZDKkX0+TcvELGahNZvtHFuVqEdl7gGZZggo0j4AkFwJj3AiZU84VJV2jqU23WP/E3f1XVi6twt3+Fg9G8Zxhk+qfpJ4ri8Q7fTd0dFeLCMBVnHScE8CItw5KgciKRVM58g4cklVZaJel61aHt92Pehhb9N8wb3QKGMKCP919QSeQ6t4Cko63OyutvdTF8svLjBBfXQt/hgblCTw2pt8YVEziBjXs2/qfPT5Y+zA38YUeO67tqsVXWNuXruzmVCJcRxWXhpf9gbCdh8N94A3nwxpQjYdeQ1efXzdu/hvz05d/itd4oFxSVa2n/X2/8v3Mdlp4v016FSjsH99fLcq8DkmRYML4zmYlZ4kko0tf9mwc6/69agDoVpSRQ1ueo9O0z+3QRId3bBZ0WOvRo4Vrc6h+Fxfs0HIoTM/RZNcf1O7q6FmPtNp7IVOmvLLKaLLfp8M4wYvnOiTcTlogy8F2sZf2sJ7/nPeow+/T/5iOnZilyvVqMS0R8q+8h+WG4JfsMEG0mOZbaAl/wPeIpDOaPrb8sIZ+Qq+TP4LLttqUqS4m9wg6OWIAiN1Uz828sICiycTxklCXWt6BAkB6+5oViDjOpmQV7q4Z7lHjarK39gK6jEv8DCKjq7JYi5yBgHUC7/NbtP60jc2Vg+bCeM2qnR5xuBx6sPApdFKYgtvegK33cSyOgx5jyS2jO8B2R7TZi6MlyP65m0mRXRkoXRC1x3uj7VdYp+fJWkCJxtHkYleyO45ZtBFTGJkhpoLC2t4yw0diMdMoxGCI0cVmUbwaR8fvfui6KcaPByiCj7Podkz3hv3QMrF2JQEdhaysV/UXngSaxmhnP9d5q6hiL5dbZTP0VvBY+N+dk6+Ov7IUycZOzpK4LvdP0iFBdTivywm129WM5Drz7MaHSzLvL1gAkzMZGFAHoQg0wvzSwLyDrO68FLEok5/KZtFG0LMBqGAOj1yZK4zUbVkI21W+Mk4q7jqAZAK2zq/3mGReXwjP7itGtyzecH73e1NKVafGs7Ug39jjfW4LEqTqiJte7B0S7tfpJJ14Rrk4KL1DNzG0OrizUOXbgyhFa1gywMi/rUM8K9BVvEF3myLygvfs9eNQ8prCgmzX3uHwdL9NuQkpQqHbQ+1+b8CGRuVmlCSaf9fQXFwsHuEXwjN3+ziqlRtQamDODy87WQsG5zh1oKDmPBA+GR4xFZR9z+YjQYafqcHjN0+iAYNEujq+BFJC/tu9Xc7zGMh/lkVWCmkQJDFr7VIjdSSgOoFawJqYrHWVBNKXNXD8oqrQfIajf6CkfF3yaRsbj/dHB9aV5LPc8od1pIQH535+5E2GEaWFuylDKQH7/zUyJr1bglhgbScspspm9FhOiVNG42gVv6Q3pWCekTqgzQ96sj0PupZD3WE2GclFSKv1xqXsFW/AKaD1PX/SyqMD3R3B8tmwIheMkihi/pmZV9lbABFgSjnkNgSZ5vlV8EAWqoo6PON+sugEqrP/PuLUO48WiVWkr60JMc5LYxvMQWdNXVovTCwqPW3zsyua4BgdsoRYlP/Fo2V7L7y8YXtiRbQb8XyJdiKu6sk5opIAAEoAkDFjBbkhKgi2NWeFg0dd3LICREHwlipSHKSXezzbGzZfQKV0dWvLttcohZp24t0OdROE5YVX2rGTqh/rz/KMIuJ4QLmnxUiB4T1ejgUFcPZwLl1hj4666OJYaoOUfCikTD1qFqyJN7ErIHqcxk6Q/KOKGHsF2/IYmzUW3kLzqQ6zCfSR0bqBvl5f2pF8tovr9xrH6y8ztLWJdvDtaREvMlknAITbAZakFW2y56UZT5UuyvUjftEXb4nqo4JBZS2TpEcblGyM3O80x01uZU5GEn1W/AXWWd6h7fDSpKBnAoEi1FXB/pr5drxPPClgLkPhw4gMXFU5ba6XIq/o2/9aqE6tXN4+/hkuXbajpHmBhGBynmS8S/tmHuwk8s5ZzeeM63LwPdq/otWM/76CazOdQm+6fPU4ezk7BXOWhM67CckQKlQOYgQhzX6G4L9QFs6MXOdqNshTZtofTCtiv1ROd39qdMqIHPflHhFCCavyLpMscgAZ7cy8X5FneDuCePW8SBB6Wi8GCKvG5EgsmGCj49MNvwkbvqiIddpTEPqfHQzagMNkbacGi+5YJsGRqtywvh6jtiEz1illhi21w6/4PGOXaW7GG6YoTmpaP0oQ3Ib11eTikgu9Mq5bJ1Kf9HIUw1qCGN84ixvS+zxEbecO+3syYIMZ5/Tm7c7f7BKmPzHHSztIm0EfHrtnp7ZzoutC5dHUUYgFl431sBYXkCrHZkjj3BTSBThF60+dfve21zaezr1Qwsc/fSRy/9uARb0A6C0RFmuxuhlB0X7WVJwA2c7tLfohld6MuFqsqi24JxGVKwDA5OqCNAat/vh/kv+U/0rZefh7WPP8qV5/2IOXqt9nsr+Mx4cB91Idh8QnM59wrxGsnw8nGZjBCeCKj0Ez5bIvitcw3wFfcX7dcg1d1u62dhAl9uOu/v7CYsSep33MzDnUEfJyZwPT/Rfk2a5T0eUczW8MLaE+obeM/Vh11UZ/zO5FhC51U/KBVUyuDFpZRGsez1S9CeG9jH1xCIqJZYKLtN5Az4mXitn0gPQcxVp/NnGW1HqOhnIEOEvDqhO1lS55RP3AbPOOe1uNAUoHW4MwcO61dyjL5MSEIDXO5gAFMKXJf8sy2aepV3jsodFVxM9PahJDeZAXOq571l4UJUk/93wlZQuA93Mty06hhU17S1WyPksRdyduZFQdynjqLgr4jyhvtAEmikQhuFWLC3MvKs+i33AS2q3iP6jI1fj0Q1yrmaWgw8MftedF8kaQKCs0HatnnbDiVseBVAxWihiLlq+lijq7cPmLcV6+uDqOv/Dobz4gb7RRjOaW53BuJhEowsyL6u8JBPgavgCtFWRCg46/eG8CZ7FQv+S/hhd3uUeQhlNP0+gdxoNG7/c5GlhCU7Hqna0w5aSsXA2TcJ+hDhaFFcHQOiIyhQ2C6CHEo+k8GmITOO4cfDiDlU3oUx0RgvflbwJODAqS0Yi4LymHnfZOF1r48nbKNy74xWm9MRNRNm9Ek+RY5wJcLe4rR3ucV9cgSD+E24tKXV0Yr7zAV8MXjzxZ3fdLL/tDX/mW679/F52oPW5/nq/aUE9A3ssR2CmVmBAvJqci17OItIfQhN57OFTMdOSxjwraujiT6m12Gph/DzMi3mQPsEF2VOWwabxElrTSxh55d6iH+AYHV53vrzhNH0ARyLL3B5Q9XXgs0LaWulTVgYupudr11ZovWxgsanIYkeYV5PNSVdiMizfcvCKdQkVue1JGRTFqEy+0/wCQSa61C4XpOe52ZYSOiF/RxRb9VO5Y/Y5yCrzv9+vI9KQda39TfE3AB4oXLwV6xYAnYXZfhB5TayJlp01Ef9WXkRS27g7pljalJAgU/0g6pLEa/IvMnBRc5HLGTDYXDuw6m4Am/UrOb+645AikBzf+iAAee7JplNs+aqptfcGmEckTFYtjACzGCSqy6/4vQsyB2edCpI4mjKn/zG07g7zu8c6llGOS+O5Ash6VxI1xI8GBX+s6gaQkKoR9yhYKE9HFPmkCyQ6hTYd/vQ54HQnS1zO1kERu+r0DJcbczqAH+pIxUcu6+ebCgyzpPy9GgBXWZPLnFK6KG0NBDi/DgvJkcpxrVfUoTi/6BKJSJKi/64tegz+DJEGQzoShnNrNMnf0Qu1M0PyKiThMTFK9QvuHLsVac74ONlZagTDKRtH0JdABLUq6u7+aQPkE5srqYEufjfXRB6FtGCeHD4A1vnbMiv/Mxwmx6dUYrGQ4iuW1SDyCIdberjdpl9PsYbR8XJnNveSmY3zQmq4hTwTdGrfqw6V5IkB0eplHU2HwIvrP9nRNFf9krMqlGNpWlbhUzfpmJl+wgLpAuxOOEhH7KIZo84A6wBjmp35UtlKmqCbdqmb7EF+oM9s3sIEpwEUy4bdgUIT8JdJqG9Oraqdtw98JFCsYnxm/h3q9yaPEF5lVHaYCa0EDB5Z5UDP099KoMdbzKkVTBqwfZMxK8TQouM1m6s95iUH5EMMZ1JuB9aEKMnFTtodbj9RD9xK0M0RpRw0mV7/jtww29kaJA6xrHKlRd7rpMicIN90+CjqbCR/L3gx6wKPxVVz9flC6ceXUZsCeOXQ6ytYBPf5aixamD+fdKdWv7tiALW8R29nSeLwCqZiGK8jLv5z6vBm72+S691C2ZKPSw6oR0vzyxGuG6hxaHCR8WP0YeUa7w1ps7pBQIjEu030+Q6r5gUkir3fBAnLxd9VaNaViFq/t+RJt8JDpBbZSHzokR/F/KMeTYmSdSaZqdzx70dnktQdMcNghpDhEzA5zln3TjdHcpl//WC4NF6ltWUUcgo0zr1iOCkAq1vNJEcq6pVKmss9/hq3H7BfajEFP5W4FwGR3x3zOycdx78EWHj+JavHrKy9no8UZJcZ0jLuiM8vDxgSY2tzWCzCGqH5SZuw+LqfFgJG9jbaDO6f9UriIujGPY4ZNi6iQ6zHGI8pNgTZkS3bk331EekWb7Vc2lFMXYnzxfaNhnFf9p4A2tN1GgIIj/sNVcZ/yjTm99QhMVyz/13ykmJRMjGmrQxQ0zXVeuMuRqNKsL9gwXnL61VjTKXcBdAlf7Ci+7SLmD4BainnRyS0ujjxpqWZb+mu6/W/Z3Dog6b58GaBm9w6joe/qda1TeYsrnZuG6EaH7EmYvKyWdoV+kQRuvkrt3m6dBKjLyl9ck3KG25Zmd+5LoJLsJ5/u2lqzG5eXw4Gu8h3gfXiNKrw3BhnRJyuQz26BSHbBQuwhRUrJA/cbx4YhDhDzy17T6adTBudUZGDycyzJxNNVm3Z8moDNGSqDk1CukzSJWrYjTkjH4tc91m0TKrOc+2NcX+QIubUS5cIgEYFm/TOF5D3vWtDegsVTXfHZQQO6Gft8a4iOLXLiMC8sDfk9kmX92wuPBXAMB1p+r/4wNoUQZ90AV8sOawwpYH6DGNBsFLOX9ofU6c1sVDCukJ+fEEwzJQJvZ9LeWko4ILXUC8zHYpwyXBP+ptx5Jutk3UVsy2HbmJHKM5dIFCV6S2M/bGa28jMmlvG6Eopdr+39ryuhp0FqR7Vh50n+/fqQnya9zGZRUlurIYvgvNLIVOUj1tDDIfFfzIz0knupLcZLEewJii1MCumHr0iII8TzDMhp3pGG/pPuk21YT+otO/2vFOoX2gfnBDdgq5j+0T78/HmC1g0qNbaa784oPIFnpJYM7JeTytuQlic7F1pBsuF7PXTrozDe55C9zzIaLeeYjUdlpaPHhSiRPqICdFx6RI5IvXvZQ4zUpZdpAlV578ic8ha+l+pmymLNlITda27iagvvV9rCchJ+V8yFGcgPVQRlZgBIfxWLuGT4OD51dk4RLTx+R/aoqaB1YNChCX/VK8SdU1m3NH/vxLw4/x0rWDyi5Hf6V9GNSL+Tyc0XCzxfpFKU6QhVr/vGilhSADrG7xehHPmPZoM94Ke2hzOrmKTWt7ePg+gcn0Z4tKMBNYw0VHpN+q5FcVet90zgcjzC0kODIhzwV+yaVyhgauHnSVCqpgY2kqES9DNIFheJ+frLBaWJs8A0tPjbHtegOoVOBhq1AtQvBZNkoaTDTTczqV8c6y1kQZjHxdIP1zd2NcBkeBWwK/UPTm1uHAD8EghsW5KXyfeZE2hkVXXWaxNkNBJ4xclKM3+fCtlpqN+3XjV4UI1F4eOQPRpn8DAq1Jko6cQDi8dELlK63fky3+0YAwaVWZgoTyUV7FAicO0g8yba6PWjNRZjHxu4JUuXrt3pMBY7attCPayp1pEjCxcTV9GyKfqzBeBooa/LTmVNI5EMc1idpCh9pRaJb+DYXeDveVqL1AkyEYgWe9HXAgIEl6pjzhfbpP5K0ukrFh3R0rYyoJU6eWy2nVpsBghNzmlkDrANOIo5PaUHJ/MG09gouCk5jUMOBBscysPFQTE6vLIAQoIwj5n3S2UsjQ7wwnYUuQELTDwqOKuJuxFK3/6XYA9uBR5QvPnkOvwjaQe/vKZ/vWuJNOI+jmV+/HgWFY6yGlZ3GdxBKRcIVzXG4D0Z0S49zt9kN40svkBB6PnpmNgNk8SSPPP1tw6ZGT1MRTP0EUX9ggwUT6poABgRxRVaIjSUy2JPKVsh0J/ora+rm07mLeqNB7vei+KMtqDIGlkwV8aEhcmH10jQPQugcdxt6XEoCwIMy0ABnIa5p0yfmOaTBdDBbq3Fz/2r2wc1aZUNgHoE9j/G5WbOMf87TgsKVxLSE3DjGYqsdeP5M4LTaRcqcbZc5NclQXY54epqmU7kGsBSlmn1Z9iWIK58b5rlL1yhDBzEwXt965YZgy6Sw4cxmen1er9cUPm0tI3wv0rL/OdqtqfJQRrldcSStRBu+wfb5DTc5NEPTBvtFXt46Sl6OuwvEGssR4DL5RttpIeK8c89i0eAQ5MqA1KpPfSGib6LQux00vH6PE/PnlFs2OPD+FUbUPyTou7hwqEDbE9TyUcW5ZPW6cT263Dj1bHs34L5Fv5ZdMSYM6Vfk0sjn5VZOLj3iieewXDUs6TTkNEUviBoJeVRLuPfhmfOy0+iR/ZKYFFjXdKWbt9YgLWdEpPDDPp/tN3riQap2DhZrtpbqQO8AmGLEySPC/212rniejS1YV5D1iC8MWUte0bdJys5yoRhwrb/FJuqNrrDf0ZsYgJJw37a0+kJ1Am9Je7ikjPI2J8J0UcRK6+PDPPcFnACVtLEzo3haVYx11D2NWzmgSFCK/BEZD0o8gKLDyijFUJAEeTEPYe8vsJ4Sw+toMF5anzhR5B9/kHMy4gv2SRKO2P12a4FW3hYyc7cHmN3/oOQlDHcIhM/IoiEAlz6cuvyFdj0toweWIbWqAColdVWQIi8vt5CrqSI+UWz1wwCvbJfHAVSfjSTJBmTcy9hyvxKqQoPC0rk5mZLA5oHGwNNhkTQ6KoB6RjJ3hpfKdhvQ3adbgKiRA0EtnLauz4F9+DZYe3zpJ6G+HqgXlrGaGVw25/mB8ZlFzzoSqvucC3LYwGd8MJKPHmbF2Pn5lxJTDi3KDZ9TdsuIpENraGmXjBEZafef1MOtlr4ImCR7VuzQDFQ1ZYEAtzBsiWVBWnLgDMbEiZ9rI2ARixpF1k2CAn5mZcLMXWOxjTHbYDGCWQm2Pj+O52neXfMas1oXvi1gP022AwDWdTnKkHIdCSLi+ObfSNlggw1Q5jYOheHWe3hJkff+EjN+EctrnI2KvJFk04orGXNhULTZA2aTUObxUnx1DfbyGI3vf55KLAPdp1HOn/dFCgsikFRk1663bbSXTG6mHMqjzRTyt7aoeHHw3qx0Qr6rNDembcNcZGWo0BNiYzvJO7IbxWJJ9Ekn7Zm6UKEk0pfUN2hCu53zM0NWBdRsx+TUY+CFfGvV7xn2fd+mOX++5hxwHN5mow0LJZ8ASosUfncZ9V5A/BQAQjDxh/xFz87LznO7UZJWowOOZDn5IP8EhBC5BxorXvOjm+JiXg+8V5vAqMhuwARrA2yBjXX4GOoIJAaMOMNHpe6tujryqi2q7K7WgEWn2VIhVpGjcu08AXEAZI+xPMgzeUsB82skbzJRNTmik1F09ws3uc57d2Y2+4PI5p2TKZWrRb8YkGdMlLTT7aXZueKrFAZISY6djmB7IgMS4ndml6w3rBma3gyerW1jI2LIWJ046ZqwOoOm0qcH4sL/8IYAM2+9cLWfOHL+SAaA803kGYEygn/DFVS+XAdpwJfhHyIIiWkkRAe8WBl0Qmt+DHrgdEHsslpGWPMEfD1OnQzXC91ue7lQ58QNqLDVVv/CA94lpnULeO4iZ6SPn6nQLlI+EgHTofbfbZhnRPJEENLCHMm+ErnWgsExVq0cvpph9DaJ7qYI8kiGpihrYreyJQpl3rqLrJMI1BYvqFe1k3tcfSnnyU+Ked1VtOp1SUsCrV45O9o9BJwHJxKQlBUNAezs+dQAEoNvQPPNlPZh2OUwqhzIGhouplT/a1PbMw+UMyfYDS6XwGoG6cX1OB470il69mmzs7zHNT7IRoZ7vL8p6+UC4gmnwRyZE6AB0gka+nIHfdJtSnk1d0DuxdRCzq4yzE2RRliQQVT77OJkafZCdj+ZHOHSqUATOGf3WQo6CCrBWqptVPxRVP75j1kwOE+hHhPV+/FTbiNxwpYeKsnymXwi+WZFrDcZ34CEN2uE+2OZvkyRhBPM8LSA07JUFyc3B3WuZQrHrLSb2dznM+87l9HdNQ95vvpd7EtNSPZdCXATC63IXxDielo/rHOh60qhudjtJiCMUvWDvux0PSGWRm36ONDPjjeqfr9LNgGUhPX1pTWfdaWWeD5Q8kQ28LVupR8CzvN6xHWMgtXOXslcg488udLmqZhYbNLb0vodGEizToDPmuIt6FGQyXid6AjqRiB/x7WGp9y0i3DM1sD7wnIP6flnbM/YAE5ui93aoIYEwfha73wlgjey4QB2m0PhRkl6zjs+WnNABoZy2tUpNISPhM27j8WFuSnmZD4aPakr7Qb2l+K3/6V0CNdz0ioerK4edgKPeVrJoFXEfJCO4jflmjOXih7EtM1dBaoB5EuIhXMy2Ib+Q6STQTTIENbZM3kvsdYNBxAnIbbjqA5yuE603sxwMFser20Gp+I+u4bkH7DTJCdfX1iRwl0+nERn84B0XgQaJ3WCTMKDDM94vQvMCrog1v5rHOIYduBIX+Q1ZPqy5HPbtBpWKpLtkVvBbHo5C8vzEHMBFx+HhdvUkYLiICc8sLStUE7bk3fAcmpCnRi74757JoRRbOyKoj/l/0nr8Nd4fzN/cP7VBZAYhSFf8UEUnbONbANog4d0KEt/K/kdfy8VSs0WSHpY5C6AOZdaX90uf2EYo0uVupG/5DH58LtFLj5m3apZwyaHpdE7qj2oOlkXfbzWdnzZI4DDY8sWfb3hSYW6bDRQ9+3yanqeyK1Y1F+Q0/XKveLSv2M6iSpKnXti2UC0OUf63/SOiU/fUFmmskMQmxyiljWJ6y84ctO66xCV96Lu0EUQT5Yni/t1kZ/JB1lvNX9yWTbdeKjgvzcFiAtRva/piVnq5uUNDxGHBoI08cZWPkzMFVf2Knym34KeVehxK/7UuPiho6xgtv2tdDGkF8xujtWVnBJofmSEqjkS5mLXHK9Pnuf4Eh3FlFN3lxE8KTVhBTxPXyhtl0UcLezfY4aHpnAT3ZQ34fym1SnmP1Si4ATCZSDIyDwqlKGQjz0hnurjIunV6z71Ye3z2bvlHr3MrptIqc844VpINBuXqkrLuRWfWUSmgg1dTJ09hC0BTSaMKtfNes3ffjfbrIFcYcgw+PMqIthBAE48plluNkSNCAmgQTPTporWwj68qJqEynq+BDhhaASCTxFt4RorCu/DCeFrFML9na1mL1CngKrK8tXv9lC7vSo8psR5YuvCc20M4nbSvY3dms2meYe8WLmEBzXYd9AeqhJovs9saKgS7WY3W1bsIhTbR2no5hRamxswPhHT/YiqUcXs0rSEOLUc1EjMwJ3v+9nmCuTneAX3DsDcFtTH4wkU73kdhUulhvfc8TUImLiyQuRm6V1Uty+jNDZkAzFzEpipPjpPbXw01k5NkxuD5ZD0br8QTq/5rAzRG9PLQ+yfGY91q8RQ3MDZvtwgKrUVSaK0mbSAz+r17UO2krF+7ungPaW1F4H1OYzonLK5JM6WY51m8SH4RgdjSGVeNNLBfm9KXVGeSjib4oy3+TaTzglyNlMxqAaUQGzX9VQ+KWK+sTnRiseOjUVN3PlkopNI4TW/CAP8BqcP72Yy6sZyIND1MxJuZv42AEuAewyufg3k0/updHV6OsixPRhdCpWx1EYcPUWM6vDmx/NIo49OTvvLEwPxypaKXDuLbfRpKzc8Ja+UgzY72c7fqkvo8Xy+aqqJKhZqdOfbBO+6xUiS1g5C5TffuUU/B5uEI50LMmTRbZhoJk2i6hLhHCRSFf+yT7PCfO0H/CnaR4gw0dNXRt60E7lWtoJuioArHg1Kub+txYvfD/+6tYIYYsaG45jfgv5QAY/CGMl6o1/xU7FEUQQvjILpvBCzsK25d0sG7l79LThOhcOd/DxI+2Yc+neDsu7M8lbtmVHNRW5lhYAjqxWDpJFa+PReDxH7x3iZKAM9Uu68ODb3+1HEn97aw89JChil0bv+eL18hJ3y6dxs7qsYPprbsTx37NzP7MT6SIEPxH625SNcHDyb9V3AS1JNlJDzizCpDb2Q6er+HBShPo1Kw3L8J3tQWmFh79u6NBpfUBns3bwYVuZs3+QshFAguPvDlA0JQfYL7kpWDXqo/+YuyQPbGb88knxdqp2rtV6KF08m/qjFdPkJ7YDPwLiImjstpmNKBs94wAbM8HbeX7P8MYhYvXiV3kV/CykgxESM9olNM5Cl3qgsJI5k0rt8XAERiuqXNQpLPQqqTgM8ElROLw1nEvbwmmUd+uMQC2YYhaVOeDk/kQh3TAIcc1mNK2a7vrXn13MOb/otWnUwM5Q39EdzcZO3GWR8QZFV4KVpVSPoD87gexMIRL5fAcNYaeyGZORrbr69zpgyGcBFM6BuBgecoG0m99YpBYriLiQI1OXY+jFe1NZhFO8BdvqcA/VNbZi9OcD1DommcZQ20aeiH2x+YO842y7fSAuflqbegdkCoYoyRZp2C4kTLvnsWa1vILKtMKltVbqmBstrJZG+TC30vkltVkoNR7MCjgHyUvTZ8BuxX/2Cc/BFdmsj876ucEYF76qkL3AQHCSxkVwgFV2SalfFagC2WLtUKHllkYC1UVjGn4qKL3zxjWflp90CEs2OgXiXq50nleyjb4+NQ7o6ac667UNmNou6rFn5lm1ERcRX/hQRM6Ir5slki1uy1rtGm8LfYXvCDTycedrgHxpVx3wCqYaoh2thu1Sx0ux2bXzN3JerYso84Q8zZJHfPf8a4LPZnROOM5PcytxpYtFNDk8NkuUaqqeeRhNqPYbGgIWHygvhGDQpbbT5NSyXtcF0FmKI94z4IzfCLG1U6UrVVugtCXD/wsA4nbHZd7WE+OxRDrtX65Q4Mcwx613cnFlxvsNkqqmvTREMgAhJNwvP0aSWZSoqrPu7+OIsYTIs3sIVYZYYFq3wFoTWzBT1L4tTcgzEe1ZL8giqvNwt9OGw1195mgoiYbiQVZs/qdOfPhjcCf9vmNCd0U6u1zgGgj/2yrNYLZSSYxrjJdtr0a8tcAqwFDWWH3ovmIx0tjh9Gs6WvBXQ2EydWUACRSq6wXKqp1KjOX2N/zv56OoVWtVuNe7YPX0FZaoOJndZY6TEflvSHLKpIUlHwtNiQWT8q4m3mvV1QMq5cB4LKy5Rtkh0fAJOULuCpFHlDvvQLyXh3ea+bDilJgBX1FVlaqzBmyx8sKCYCeP8qX5bpshedLxqJQvbnhUcK+kbof87hUReN4mHVPNJzehjw3maMWEhaBrIIV4egimdz/uPlDHCCXcIFVtod/zsK9bbMHfjMBY6b0UKqIxLK1FxhsU9DkCpWjsHfK195GWAAlLqwqV9EwjOPQbE/H1rguxMJX+X3B/NxNX+KoHw8i20sKlp13q8rn2OhCPVdgC82V9FgVDOZQVd/jL1fJaE3X1hDt1CEE0RE9qXy5mmrHsmVeLSJXwMFvygsJdxx/B633jwVl6Tjemo8LXBMgiU6Mxfw/WRHDilx57br93z7e1PfLMebqgPJAt+HUhU8K0F/mf+kwLirnBc9uKQCIhjMUMoFFthNup3bE5UQOPSClzijbBVhGsoi180uJyGIj04c6sFJ38neSqP9OKEfQRYcFy/44WB4lTiE6lciNW5rRy74F8fF8SVHSTjLu5LP+NGmketcwhUGUu9FB4+CTA7Q2stXWaBxUY7hmvvkGzWKvTFkxZfC2DlfLNk4IEWfIqg+Weg/z4X81OutAK8sB7/5XPAn2Mmfy3mC59wb4d67lLpaHhIoM5Y/QEYvQf1Hlqb2I9m6jK0jgnc0KIk5UdiDIl0WiRbp9/mGT4ndYu26y6vr/r5QMa05I2TZKJwzxkQOckQfwmKwP550S2NCqhZwjM7vl8BCbzi19PFVWSeSWNV2ZvLTrJKRFZ5VrqZsAGA3PWTubIUcr69IRKiYYk6KAVAb5g1tSF80wOC0F2VWGBndIqpHfUsj/84gk3ZayinbxHRmPQAJCu3ALM4ArV7rX4iFniGhZCmh1KP9zR/F+2vvAEy0EHfeLrs8HWp8SE+BJPjORmEviC1jpgIQiANJDbY8HaIy4gRIPp+E0V6Pmcjgq2SmkyIYwDu+PB8g2fGAGqNe0eiahzVcCXL1U9AkhK7gaP2JaUoKaUdEWs4mjI7bvgc34dWa3hozk2f7dpaCc4ooL/K8A5HMCQAFl+4zLIKS2FyeRDNTG5cSm3bVIcfH//Vcjq3R7E9dJEA3v8DsXUBCkNZDjGyrhtq5IKzei1yCWG668lNP4YjfvkxLsfC7frmkXIb/BT7wKHYvB4AeilfQbnou6T5innNUJ4FaMrjZKjMF82tfKgHy9Bcs7oXyDlO2ZclDwN5kJqKk+XP/LAixyATtjyheLqmJqJlhn93hMIAsXfKF7PeEK7FvctwcLCob0ygCphjL8Aa6hJaoe29Ua87+u+JNNNlD7Nwpx4lqqs7q6Qf9CuSyxKX0ZfkpcrqddrTjznUO5/pEiB06OhwvnT84YX7hq0dbjIa3RrdlSbCBcTuCNeBrT2BGYea/ReGf5K4bBnpM4YWN2gyk+idvMPUTOKybvM+T2M/uNNI8IliKOVoYhX37QCDVDU1rAE22ZAU0UHwCNOp7fojjrYWVnmx71CNOJU344gsvJMNCgRT8C9LLJ8Xpu1AwpYEULJ4+ZqDTIGIOCREIw2gkewcM2nr0fKSbxwKBzCEI5K4oHqqM0N7ux3Z3+FvnPT8fWFyqPyMBB501W691y5MGtxj8RnHdf8AOR8WTe9dcQKvwhd8d9Mw6yOostB3orimXHf/4nvpxpb2dzFVP4kjFkbr3XoX3yrXb8S2wW2DndNCJEPvtysuI62KT+69xrTPDfRPW1BGseuyh9YAB/AsmOq+ahqS1j+LmjZZoeUeOO+6L2pxjuPgeqJhZvRhkCmb02/v15KUDV9cLwKW1uCvwvCL3dcBFFt2eOwo26RkLDV5AZKE+haKVv/Bzkqn/fwVW7xzyuXf4/rbN39QJq0kzibKuv+feBsksW2AyWW4WFJ/n+LhJ6YlGmDhjADsNzeXMc2a1YdhT0OtWc63qMd4bxSmFhm2GqMDs6c9EkWbCSpp6dmfzyE8rFZ9hy42yNB6IuN7JSp2yw1ov6TSPkBgQ/2+2jDuAy5YhPyWKkrENL2MiVopND/Fp0sQ7p58XEU3j/IPx1PBtCQLUkGWw4HaOXTT/DBMTzyHNUTNrIxF6eW8Mw7Ltf9pRPxa5MDqmZWIAYXiUv4Q/+VGRh0X0cm+8Ljdo8nfQjqCWcaLQOLkFa0rSAwlNEFxEy6GXRzpGO2g/aMU3bxuHl7k4fs68YQJGeA2R928o/nKdqCavAVIsLv/jFjURnYgR4na0+LuAtKx4+GKUutxtPJmferR8NUpSQqmYyFjcN5BY9aaLtK1S3pd1EZbHd+nAvmVYRpMC1QAiFP8qZ5Q0LwaoRtqoVKE5HYpDQNiHPsOQKR21sbgBHQQkwf6Jc4MYvAvX1o2OB+hsKSOKjPTTta45LQKx8E5Hzb6/wVFwLZEf4fFdHHr2M1ZtrKVxvKY4C4I147CH290v4E6NlGB2aGBpjBzXiQwiWAY5UHje7sXCtRPiKYwqGEIV/k7igDjYG2ndpafpariBiyDfeLA618Zo/v0Raiz0IZ4qp5XO0LO6Tho/F+jbMkg4/nytWMvUhK3dIXG6wZNMWWu/Rkz2+0PiLLFaHh6uhQfFpHCz/4erUjlB0DYv3p/EyXIbRZuSJ9AOt0y7e+gG8CxAIjybCfHNezzO9+IXAhd9rIwMO5oCTuOyWHlhiMEyj6SIccML0rur4WVj4u7ZQP5dgN85JpVpAWNrsT+CZFwZb8WMkIR5udRhrkwzsBIbhy//eoECnMWHAjipcnJ8Zv+Sap0xukTenYEyf6p1EnWZVPqTS92v+baeh4V76dKipGU+kYy3ttmh72fIJZoq4STh0tpjQjS3X5aJgeE1vmtTFInN4ZFDW76+R/st8hCjVDp9Hz46xz/f+aI1PUPjZFZ43DUPd9ebcg/AS8oc5K/g1wlmfJLBt8KJp2k2iZ0AZKc5yjd3q4ydDcWptdSa/1lqP4aO0lUG8ZOojEHLTuCausfeNe23yVCAXbVvhF1AuCWJTHOsEPcUMJdkKx9fllM1WVzMLYyNtbpCWg2hG5H5cZ9MP6cwKZ9JjWgSgKCM6CtfHzOdzFkvtXRDLCHulwqL4W2mSZROWeF4mpGfAhvlsB/bzk8ICvhUE1i55sPS5zOUWSF1PRet9uXacfAzedP9ldHI++5mN/Oj7h3ohMlIShlnctcy+ALy2ewsdzjV9oDYvhAiOKbtz7G6NLJ/wdZbuzM8hva+C9fkgpoVl4waJfBcI/dH3Ucw1lCwyufhbc5d+pgsL6eTQNT6dNJ/5YdM9+bsKl7L1gJd/ogKTHoBNHjopafXW3uFhqJAiGXN5XbHuN7paSnkXblkZDnFCpIEoFxXw1GfJRhFF8uu1QeVhmdaS8dWSi1AXksbqwfBoJtWIDgd5OG/W+4nx6O97zTR5J2cumigcbgUuFffEjDeEunYY5OqCU5p3o423QXe53rNky6Fv0GadzSjkCUfKPjOPq6uvHSVfTol/2dNmFViwq2q0tTYO+Ify2Gx8PV1ky1O1nCOdeWm+SQYmBT3QXwFnXI0bXUWwDfMh1QvLbbEepjK7ga88s4MyfzUDEiLMywAsDS7+gMawbQmf6uPOvBU4/9uXrM/ag3OTYj2APsEKJJ0nbL92wfaqhzxP7nqH5z/UTrPOtXav2daM1Y3d3g7hR7AbwzdKh5RWUF/I/JIoB6erAjsF78vM6EEkWTayK2/Z4Cjh6w1Qus9KIFsFVdSfGf25iVYh5XQfn5FCeKrYA0LUO99NpYTlANbngTlqK+XYnGztmd3aOkMvt5/qcVVmghihtImZNuOIT6/lF4QIA9FbfcDIBANizU8wPhQt5rYwMkrMVsw+xxRAlx5pd87RPy3q8mar7I7YP2s280d6YIRUvcwKm2wHksm43RZ5nYyYnoM8JpBUtAX6sRgfh8fqs/Nf1tJDOcz0vE6hYbhivNFRR7zzi/m3aoNmWlCID4aDoJnqGNh+UpnJo9tHbmDp8NWUSGMym4c/uBu0XRkI/ZIgavInN2DQGtW+ScCseo8y1N6tkd7tf1ILQqnigvuni9oIMUF9bgilLhGXv27Wf8MFxgAbT5k7in9ZmFxfSmdt9VPNMsAIkqy+WvGwSpxGhjPcqpVKaRnmH6RO40CYLAUynVJfLF3DrwvEXEOI6G6VfxrSVLJJAX7fVkzze8qyHc/JwB88DgRGkn5JZaVDC7h0r5Ko2JqyRCSfdKry58LZzjQ25lhi5YVzvfEdsguZVO2csI03N1gUOgYGCjdccrAQzIdzljqsVTa6vPwYAz1m6BWDu7eweeWnwG+IF2TKnWhvZP5Gzc7GZatizjAJSZKZ3fz8f52iPty5h3NBWxA5VpGtK9UVb0OiFda6wBjxjuakLlhlIF9TVFfn898dCWaw/IiTk7/7cR/+qMu60by5GBjsTqIPrtuuZpmJ1rvHk1dWEoU3AOnWye50AhSUlRl1himnby2RDCcn7/vPbMW8BLn+rmW34c4hIriaTQnGXw3Ixrx24nsA7pv5RM1+tKedkVxQgRBKBMOKYkiIH5yuRzLHw8839urA9o+n5wio+LI+nhmDbgxHxCRQQAVDebnLkoLMiYSsH/At1W7CGS6RVgi9FPvgKP/5EkVlQbsKZ11RNhTgIuEfW7RPC08o+mCLLhWVaILYiwIsWuaawWNH9q9tIDS6Pzaj5st58BRsj8K+iVssXJnW9KL0XMag/HpisZ0NYIY3xfhkVQ8Rv9RZD7pcLdf4i3ltGkn25DfcrlNbfrCWCDgxa74H5o8LQ1dthDDlyj3sSIkD/bqExjjMUukN6dEE9PbdzjD6oXAuemwAJuLiFZNDMv7ci+iISfQlr+z64JXO2abOxZqYgo6ho/TOXI9cU0mYjIedzmKYmjKIKE2syyutXMm/vvnHAvyxd3SB3OFzIR0yJfKwtyEeihKLNcsGBrEjN0TCXnaNfZ30Kynf8xcDDxefcSdUVOBioCLtUw+5jtkJE2ezWdkpcrsxbY8T1Oc/i8KgXLH8Z9JK7KdBloMaoxx0u7adu1vKwV6bbK7AVcGAquWP2uthbW7oeDYvcINFTLExT2DbflQ29JLxrsyb6Ks6lLhJ6Z6izF5u9F5ihdcRVXwcBOK22YP4rBFsPYYUNOF1pKzpOqV66txrERFK7zq2mCqAh6pu4yxXP0PczbpEszke2wrDXrdqGYU7UnW32vZLkdTWVHLlv/pXwYyq8M9RIWc2LOkGy8Udr51en5xTw5UZprA4+lLiQ9zcT/QtVMJSZLzvjmKNNckxKF0OBNX7Cxx9+3qzSNJU5wSxXtPci3eq6Z0qvVFa0Verg2ECL0TnlLoHfTTUPWoIHzt1ijo/9/Vn1ZpDkQnjIPIf4J2YIvLLhMIEkdfiwNjzjGtpRbw2cPxOehvLjZig4S641+xf8MWE1fvymDgoq9d/BX9KdULX0LCIizS/JxKMF20WC4dEb1ulPMOVWcUSE4HVNrTCEpWdv9As98KlSoF8ktJy1nac1mbKJcNxbl+bbywiT5kMNByDE7NALsRyGGo6vdrswHuOzJIFrw5CiQueG/eKzrDhyY8LpAS16f54lySW7NtQGIjeKfdfd9CG4f+XVYOfzEq5Zdg4dUHL7z8jRGcTRZSr07FT8nU3+bRU7SptfLDP1+QRfSf9HbFedTAIXAeSlE13kw8yynQYPjO2CjLtPHDSKJLKoNEbNcshT2Hu3GnR8k6NMYe4yQ2xmmNClLKzSEJouSRFgN4Kv83c6BkvCu26CdLKRL0NBzGCtgMSI2KH6hfvKB3Mdo8qx8/tnh+9/glyxjNLfgSHhKQO4yJS582+D5njqKZeY5F4c5CIlYwYOL5X2PYdXuDHzFJfQS2+DC7c8+WnjcAiwfCXT6NXSrAF4YsmM7IFDWJJXavqbZpUWpjDXMtC6VEALlp3uwKiBckMAwDgdjMkITGjOATgsPlAmSnDHQ1abZjNTK5IDIKf6lpiMGwigDm1VN59uAn9tTkopvcYB+bKI7cM8BUA0xz4dpgn6C6DqhqDZLV5t98D+MmP9rxacCuS0Q6oCrGNdhjY22cnG+Zd39pYwPCBtvh8s/qBPl0n/1SYnyiWkdf1FYGuAd5cGxXAvNIadrqn4b7azDQd9hvUnn8QOeydB623DSTTujMBzyEUlkxZuFTuoBfs584ByB6oQen94Gu76NyrnXsxAjhHdYZ6gLTeQv0DzeZjqlpDCPAWxZRt6N8S4VPkClypgpE2wv/FU5tqwrOHMk79rynC+hjH1i+XfOqs6izqrcB1Jd+WL96oKeAkLkyBaW3dgcW5WyCNhYQcxSJQIP+7y+iJTQGIxT9Yj+m34ZXW4RJRA4RPYSrBxr0Y1/tXEcnNkSWJEf5Iu3C0REqvdwUsv/aldaI8zVP8LT8TG6zbLMKN7Bs9Xc2b8IoYureMSzZ9vw3UirzMu2WAJsJVq75X6q/QsLUjVW0/WV/JtlHHaxdN7A+kPBK8IDLcEKJWTPLWb6uyXmHE45ayybsP4kHs+0lgMyFlNv+XymfZ02M+oUz1FOuuybhUJjrcZPXNEH97x01YJKCYjQsXkAMrm+wkF28lkLVycKqamyCpLdHH4WLi42+Qd8jmN84DvAs/TCVYXV3EEuqK/PWB+HF3bKLdDVUbpBq7WVIGz/y5Fx/nDqpCFjWXMO7u3axKJ/m9x5faI40qUr4LdnAVVr59myQzQU4KS5z4BE3DLm4HJIlX6kUnwVj0YC2iKgkJpRanmwIVC8R2+a47aUGdJi2GfqVajCMSa5C1QHvRAU3O1qOhfes3GPgfKvlamZX2C3EOdNef9gwcKpyALWcjZvcQjlshtKGxqHnH+rnrACYtGEI1QyBL1Ep9u5flZHbN93YkZXAuuJbSXRFBSxJta9KSxiuXye8JJL5joBsd36PUWOQ1r3c9ppfHSkl/PiuaJVmDBXb77tS4og4JcosnFB7lungNQgLToap7ZhsLaHjLr/JxFlU59xOK2SNaagP43Xk6HZCnMoZj+K3n/fdPv9tx7TQW9aMP+ceYOTwLh/+CdsaeX0wIOJeSRplESMKcI2QZJMurnhNEcEGxZUfPEUneSiTY+v/7zojhM1LIehv72Is29t2ycE+pj/xym31O3Kateyc2VFqOG3up2OGoHfz9VcqqOVgRIL4rDIgdHpbroDnFFG+J2+Ga6L2vyyHHoEFTzwU9PmMps3+ho3LraiKMGvAVdMnV6+lcxw3AqXte7e79jACZTMzZcjxNqeB4FBzxZhQeDBZ7ShNGo8Q+jk+K0CsLboYKk2jVfWbo0rEIuJ6JsFSEGaEBsh7ApOcFW4CzIqXh13KJDYhxlcYVL+UoCaFYjRn3nIDpJaIUNF2tE0HjEYQPdpq1ky1J/vhLz+F9G8Q30aO5SLKt8dOR010X+eL6gg6D+OHOhxIC0G259hKwga0hlHMEchw94TEHDzNfwbZUKIhFP3ynLgFczBmnmpTh7ElLuTWTykA+ftbIXWsC2vVaUiUDWVAKXTgyIXOAjerbvUtWCxOUKg+iB0mEeTqZTn5dJfE4+UMmpfXpFayJwjyB6stwJPka9j6u9TF2amQNchAOJyzN7PUWNA0sfjloZxBVsyJBIYGI70SqVf+O8LLvR4lq+CBv6Ey+N+bOugo+aoYcyDPYrQyiCO/nNzdWVTc160RcGxzIkl4EFQw4+W2gdkJTxGx39qMaEfQak6L+6t3k60n3vJkEnOhbquARVmksBaW1nEYZYphJcQXQsDxwDuH/1IW+TaG9L6Ko883vUORZ9N/7zjD7/muJJQhsVKdh9gt6LMdfyhrRS+j+s6/B8DafC1GYwbOtCxCAonolZ8nsVufRtQ49zdDs3m+KioK2U+B9bl1gHe+CkCMRkNmLuEBVlclPf28560p3i2f5ZedPpi7D+Tc+hxv0RZLF+IYKmLlsA2O0ct0inwrXZHbZtTeSEESKNK1oO+wonikyJu9ZzFLpNW9Jt3XY2ywffihKNNDBzM22n1LbcgQRU+pmg2AQtoTPOgWpMiRD6NGbHCu1u2kfevtr8wc4w6aop2yHvpmQ1P7A5nwULo+849BZZlmTkWO564YawrmAxB812IQiMcFqRisUuihJTCNJVXqTPxZVIoN7O11koLo46u5xL95Af/XvYoFblezGU/Xasvh5KWG8/PC/0eRnDSvNBTypWOVh8IebnGyTRlPKxPe8YfnzU8JzxqxFcN8U/WRN1dWsN/h1IsZeDYO6kepYyoFe/d4x2MMDtDuUSauc2CrLMKaVlFauVLqRIPXdH4HROxrmw31XfySOsOXThYc7P44o/mVuqXGj7nl+bKOx9NVhv5ECQs+7YCdW3AYl4hwuZu/vRCSH0DapmajxsZrHJmPdaVtQ9lim3jOYRS3iHr4EOSJlz0Zvgao5mmsXbntp8pyzq5ccqxdSAYoMtPXLqDPyXVqR3OAo2jWtpr/pGPZzyiTX7iMnGczWD2LzoNPokpYO2JAmh48CTqgMFnaAdG0D1boTQUPyMXfT0ecPc47BL1MetARSPdUBgIPWDtuvU16o28zea/inzHwqrxZJH5wI40NHDsYVemcSu+Pmibh0cW/UPNeWfg9kw9Hor0z3ueGdKBThuUX7SC9JvRWECrDXmmRtwscC1qU+l9thft3UYz+a3cKDwcIPR1+D0IJr2KuPMFRcpCZd6mEyRsUrcoOXepd6/qn/RzdRb7gn6ExYKWRZqQmpXSBMBWPPpxG0wZkX4WHXDQlVt74O8nTYaxgA7v+mZzxje8qeCX9IvUMpLsZlSrsUa/1M7FUN2E00DfQoWBjjykbociLVjIdrPfQ0Mi00oVNBb4Hk+UkQ4Nk6EARvpA+rWZSAVvrsPRS7jl9czJ7r+VSI+2dLu25ikS2sFBmflI3VqFChiPsemm9Hus2wpBf8S5gjmRKpkL9quHsORa8yYL2h8ICMPXGyxv1f1zvtluIBoySDoEtBhA5kT2rQYUrC//bs6A2h/dFGkUovUopf+5+L4Lop4PNlGZqarJLBDSlf9hhBlL/IUsJgGbPAjuAjmccoAK28UiRocwz+LJGMJTF3PM38sTIiB9CUFiplZXT6ocP6GdcyL+sMYFZngy7yL8e6h/ckZkodvoiWJxDPxH8sCSvnyOAFsZMkuCpMj7PUgS67K/sVaFNxwWvGK3JPUxyRDnAkoHQ9ykFRmbtYzCwwIg/F85KU7qris2ahaYLtOwO8ThNSvC5MwysTKVHv/NyGUwp/9N0eJj/D9RW0nwTKjINLcS8M4jNhe6dZmD2Qrh29Oir5fIRd8612TC1CuUvjHeh43at/sBh0Z1OMM1hLlCrXG08geuzIKVv7Rv9JL/etmwVg7tQUxSwFsgjA8xXFeqXYWB9e08MjNr0kbjE8uLPxPeJBJbvzDT4SIXdQ4ECkAqxmirQnJ9hfuBPPo9jEtN3Y+BodYX23FEYyyGUekaQPV9DH34kShQA/k8TZMcPco91FqSFieUs/AexC6SlBhn82pCxdemlKgt5/X3tf6niEf4R3L/4n/XhmjdJvBbMF77MEu1zGaKcREz4SKTSIELtv1EZPCC1kEdnUkst79JVFET86mT083wS+PMlnmHUQMf7wiNs698aH8Iq2jB7BHub5rMQ9s2PIA0SkcqddFqrTLqgeYP42rUh4ZCy5c7YivfpPyl2hMDUQ4bDuDGsTUCxJL2A+GPTMpmdc0tJL41JOGUfCqISJ7wdcqm1akzOGdZnTV9etFyuBQSuQ5HJQpMsuUDddjakviU5uVIHqqX0cZIr3zJSt2p0WHQTm8KX2Kzrw6/CG63JOs8YWJDA+Foe/1YJsC1GFqioJetg3/CEnsivSwMkXZRlvbEozPuI/eI1M1Q7rqr2ApwQUmzJNGBGRKZ6DX2ZuVCtgC0RwijOnyZn1W9bM0nJIlgdaf06GweBZIjYTGV5+8epRb5Vq5Wcn5ThlNhdpvOABXzC1FQBA9go32aAImV1M4nfgKf2xnuF9l8Sk33y9HgW10iI6iWaTziPXYaoZ5kgNAmKqcd3ECTy7/sa1ZB/4esXzHPyqemxIp6RfJDJCr2EP1czLCYRe2I1oKCLByxub6P3dViJaFPMd54qMhtD49+fOAlX32YC1itW048yHu/i9rhb11th/lzyA2HXNd0gt3otgDZRw9F4PlZXLDK7HI4sV5KAU5rC8nCSVO+HUdbZZHMFSCCmxzZodbkyUafV5MEC35oQdqFQcHGFA0ec3PMR9Nu94CFBnDoN8Ype5ET27VizBzqoySExUZE4C6nWH5YBLKW96wl8TrGtmKwEru73ys0IioCsmUilclaX/YtGpg2YcIHKIgspJVZcz7FhSRjYD3COFrKouHmqoD6HQ6XTdnB/Av0svLt6qy2S7E3hriDp7m56mFi46ME5E2yQ+sPFohmkzti7DiN1AO82bJ81I5kX0i0vO+JUic9yFZGoN+35cEQjGyHZuSNe60h10ZKGHbi2hGel2E3ZEEboRTqjkxfOVR0kE/7KdTzsoCtWb7ywEpCwJv5KbxDLIDOO802J3J7xVva4HuXJ0++hwoX6gWn7Bf8z1GapY+43HJ8iW44FkhMnqNmaAAY67UUSdd84E7cEUjfG5enLmscbw+XIdV4oQd+DNEBPyJi8ku7tPacwi1m7eTODIZVes0cees2iQOS+p/pUL92WZiGb6hqOzyouv9bpQdPX3Ky6Zp/dWcyrGvNFnTOlKrpCIq1Lo+J7tqKXDx3cN8ycHLo1BA2leuaoDIba1hQTA4ih+AgbPCCPQJWeFc4kelTNy5GkvOL6XYFnx3+biRicn5ngL+qj5xL3V1ozXQfiuz8Pe+VG6BOXkpusmdAZEpvLYezNSykbWs7GxDY16/sacEAxJhyd+Gqwjv2hG57HR6h0muO5r4pWnfp+A7WUIbsV4J5wBHcrHSjV8htsv9W0agBWCw2RhPriIzUO/2qcrSe4QWJKIqubD1FIDpXad2ZqBuPlJRuEJdTY3rQkvcEUPDhY12qTJrJ59s0rqD6wvNgwwbd7QnIpvvq2xiAlQZu0+9SPm9tgPlQ7NnoABGavL0s9wZbpbvbr5kKuUGtmKfYruDSLdi0HwLfv9d/F/pPhv/cytKHFv9d5btkUH/G5lI2T+4bGA8W1jojyb9eyuib7NabXwKFxDrcTUdeekiQluc3rQIfiqwLofAGBGAaV6GNWIc9Cw+sHq0mF8+IxcH7V41FcgOblWH9nfd/5nNx9a2Si+pk0JRSXQM2JYkSBDs9u9I5f2r93xUHAOs22dT99SvRW8/rO58Y7x+BEuFJ/8CskPvI6JASmVoFvrPlWW3xkFUR/1bdOczF3eNo0yZ4iZW4yqXMK+hfJxQxLCxDp06EbONZk2lrMD28LNuXH07pRZdDP+wm9uk32Gy6G3+vKBDjcY5rCjBDqCsXgj4hLqyaxn2HBjorR/fRhewsKJ12VQRIHwJSghn1/qHvGIseVIpNYwFYiGbOnJVRJ7qACBlTtk/3e8bbKulYFwYhjLPSlllUmgMSG4sE1StTVNuYE4HFKY6k/id5SbuG3Z/3sVgeCyPKX6jHTh/G1pFV4vl/gATRM5Jwr7LISzPfRD8qLPhjJhfnqJfb7HtLqBT27Q6jpZDkpMsltL62R0luOofANdx+HdQussHgZuwNJWt1IEqPmTmdIjMDXj4MUM96OKw6LYNQnA38hsVAYp3Pupn7tiHKi9jgW2pW3Ml2mlk1NHyZOF/5pM0TP5ff9HJr7BNwvhY8Hj7ViecKX6RhoV5uxGeE1khQ26vPjDw1QBCJsWsH0EDKHzjwxhXfDxv2YJ2RWuBbpc95gWuIs9blR8AvhPO7Banz5nsLB5RdCwc91Y9ITY2Dsv8uOyjAfav9L0hJa6lvPeG+gaucGcoziuVcs88UjKkHp2zCWUx7JRrgyTlo9lW/qVcTDDudIHvpxHm0/X1IPrVqb73uoKzBZ/Spg4m+aJ9y0ZpvMXc2ecgo+TO1AbhZF1pGekQFvlcV64TbjgBSVKkT9oIB8KT3FSBmEM9RD/Sia8F8u80l8WKK1pP2gF5Z+SKIFnH3YeGJGmTxrbZbMLAvzsZ6BiJu3E0Qh40z8dRb5VneeNYKXoXd9ykl5T67b5gdotIXYhvl5NFcpUS3SJhX1PweW6L8dyGEIQtlXJET1wLAXi3NrEsWVRjSWAX5EBEOSapNXWp9Pms4shNREmNdcK5nDOIMrG1GCe9x6uHpHtagWYly+F3f1zr/gWHDkQMRaCTiOxCE5pc+CPpM/ZVZPum9vU7s3Sw3wzmXma/VX4SKhqr2a0STQOi2NlhOTSHyMd/O8CxYfG6bnx7gUwwuSQwPpQXukv1SdkCeNNNLWMhZyGesZSKQ+E863yve6UdWrkZ3kQLXWQxKFYbFwlmxS7Pda1B31FsSPuU6z2bJVyF81dmgD7Es1+9cLoKFJ6w5dX2T0irrAelsfYFmto5JGwWW9I7OY9pg4GNfKlYKuSydGHdnbIRxnHbe6uCEdj4JqQMsNueUlg+/lYgKYkDks7zoPkAk2mxKNxEmmSwGwHNlLs9tVtTHin++Yk0ag4olmLhck4XQ40kkYoBjYj9RHxziLV5LmS4GETYu2nNhiCv8SP6ywN+gD8WYfSGVRiDWfthglfkU5NxeCQ0HTY8GrIpgd6E/UWzyHNWZvz+22UdeG9mJPG7uFKtmaqJE7FZHNwKStWNOdJQPQeWom+NzH0USNCMXAah8toT/uwNESUaXGacMy2dU4S+pBMM9fsRWJ/SOjcTuy0KytOdAi9takm7DkqbcRbA646s6lq7a+LuUfTA7fwWukDrzbT2/7eN1uIkwFgXE8PY7CkJQDPerY7HIbkS/yVKpI94jNuoaAH/c4D/sBvUt859T5XhZT3ZEJ9Z5hL3OJaMxndnjdTnAi0IBEptOLZBiuUMZRail2aKUX8tWS4IwjOAXz8l7rEKd7c526oGH9C4cRwCLiHP2bPj1cZuSblBOr2QeaG1cgfZbMbN87uxbKlgSHKi33GllgnojO3ZV+V/WeCXxtdAFQsxWXNIxQRH4NnwMtWMWJNAf5CSYSrbsZ6O5qFZQM3WTAALUXPtp6o7xB8t1d5xp/+Jt13mPn3hSYV8ADoojcWMEU3bNkbD6s2T1uofIxVYodZ6bB7OOdao+D/xKnbuVetZeCWQFoqqpEIz3RjiQSxGmXKueezb3N5IZ4vdsXgou1Ff2ueeqzraiOIEqkZagswP8Bid88YO1kJHg4u8geLnievAMhNqRBxaedjpQNX7KpLM1rEGFcWCnm68azkr8mdJffwzyU3cf3MM7IejugyHafRzZwyrS66lI9pXUlYjh/99uTdwbbuVynITmVVAkxLEpaXMenRWv20dVXN+ovXHEg0CQTcK9WMai4KGPyNOzAZFvALw0JC1E5qSqGlDVL6eOBmcueQ4RscSflNXpKu6YZeIQdGTW22wTM/yncydxkyIFPi5og0+WDVjwqCQXXSxzlygHFT5SVY5x00dFU6fS3/gOqHjsZMlP9NDylFBzGMYDTfmDg8ceXrUvXAjlkFtSzmDy04dFoxIiLXMo3RH7KaQdinEMibAsThBww+ebbE6V9L7xB0m/VajWjC2+qIz0nCXun9JjFrilLTjOs8ofOyZ+HngHHAQbusQXNtUvstxftG7IHg13JkPLV+t6PzUc+118Zax7HRzaNk1/rD2nrihWsKyBjbwbOBLz3P9iQ6gTf8L7mDAY+PDqGW9qT5N8QpLpyb0j3RNQvRkBe1Ktz1B44PrvI4Lh1T5POF+mU77sw2doiRoggEJo6xZRqhrHtMVuonvFodbTsKXkZTudD6hFlxJ5qjNPtai4DgPNVf8pNliA9tPZ2ZsT8FMppg6+vn/+GbeJ7K/8SHEwfpVVkjRaiqy4UDnpq8Bd0oOz4zl4ahEyW1zTxKXkRRweOTqeJ4P0x2FQPvHxade/d2edYNBKdPoKv8LpoPN+NBj3vvjLdcCviH4FY4TQWhnK0CQY5ttMRTKqCQ7fLhaoHYAIDjivfd8LRs5WGEjlCLkzSyAuVuetwRX/ei9Dv1oOMitwYLImYVAuXuG6T2eorJhfS9/oiey+yFqumPjKqXLyAoXMEim/dBkqpH+TFvJhoZb+IKJz8tnJk/C21zAYycLpTc/UgzM8HQQzLxqNNccFZO+PM5Ich/zhcW9Yr6kflKEFRkAdK05g0oGyhYcimBat4BrUtQhxoIPgMVb2YKXrOXzMb5631lxgUxnxq6E/DkES29j6vH/wOcjhzIMeXkCSeYSgzjyoCfb7+YPOHU0365gCortlWrCR1/IYCF1QUw7t809bPnETV0/8hfy/Zlnb3JTs5ybHcpXkOKBWZEZy7AZCaf+DFlXAuJW37abMSOysP3mna7ASxzvg9l63MSRUIu2b+/ULobNNKvQHkob32E+UYERYgLrqjdlB0R5mTA9+rDCTy8VljAh3KooGx8XONzwdQbWLYMEoYkZbXqDxNhXHwRScAEU3dPVJiTNrFDbbRSdFHGMHDAtJzvViMvVwV7nCaIIUpYSf3c27tgkwXR/8g1QOMoj3IKIu0o2/mptiD7eUG/PWlSUFPm5vxMHCe8HIj/uv2CUOGks5usY0VkZvvdHvKlxWTqDahJTsGuT+1/icBDrAdCwM8GraND/UrQafvGyK3nnrdtvzwmb/IgJ9HcB8UqsanjHnsJdlw4oXpNkDLmuofIcQ0GXVUzyf+zHQTAEgPTAuHZVB1yDtT+wV2JFFxN3oQXnClDrohCXyGutO1M5Hdv5zW7mAJaz9FBHvVB17/sLs0jSySFPzCY1469X7+oLyagNzg7hBi0Wx+tXsDFBNh/Y1dAzHHwBx/GqKX7lPuaUDfvPQ2E56GoqoQgrI1wo/0cbPnOrKlsYgLgKyg+YcZ6nSDrP/KppGrOQMrWyNwZ1MEKcFGZ7HBc57SeldysDKw2+M8sc3yMba85FEkSk2ZujxFK464rKmfiNhOlTMy4VrYBNUTfLTESvxQw3f1eyCxHhG1T9YYyjXoG7s1aOBI6XQK4DCE6Qk8NDKqucPVQpJPCXCRua5oIRsVfF6vcJHS37hjpked0k+EruiHEGt4xnc09q1+AimlNHFuJn2CeJWrgVT+D5DTxBlafUycvJ3mGIx3y/YXx9XTfrOjLTevbmgHbFSk4zSiHy1KVBIBaGwmavCwjafigx1fDotu7BG+ajc2FZl2SWN8AcsL7AKZ43Mz/7xEbcndKnnbH/C3YRlgm+ZG4+N+J/j+5TwCPfmvRE/Woh+xbZKdG/0dupsK5ryxYltqh+dY6yFD0AOT6SfKqDMMgA3k7sLpebxHtqqG52ZlEWltqxddH2yLfZU7TT/i8AnQ5aJGiIudp1RnOcfdwyT+lcyvvRMuwW07VAhRvyEXnGJTaZlNgqSgInjHn0NeqAb9QWBFeKtE4G3JpRBhHhFFMf1LyvMTpMwqrt9fpYiv18R5nuYU816pO5aij0Mrhfxy2OEAVf6Y7KS+GzBIu1fL8FjSYDwqgZ0iCGMfsUdDb6J0hA0sHGak87MHQxfR2n09QqXT2ZAcGA2XrLFn6sgQLoa9MyiQut7EEEjYGOipUZsnl+rjGwKMXoduTjpU1Gc2VC7ii36lb0StJNaJSzl5FkIGeUV90wleBGtFmHJIvuXImco0P/SJa1FkaiXkGs0TJQeROX/tBJ9/0l2ivy83knkVzZtHJi9rECW5"/>
  <p:tag name="MEKKOXMLTAGS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3"/>
  <p:tag name="BTFPLAYOUTENABLED" val="0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iWcfk2RmY+GE6Q6T90sFUr0lg9IPP9y8umrse/9AoLT5R0GKq+XM9pr/aTyOTf0wptcuHbHxeyqBm9svU01qeeEM1v0hpSHUgirOnAK/wuhh4R0jlrHnY+9pFyM8mIa/v+EBRT4DxCrO4MOZv053OPZGuBPBkVTM93MBe9Uwqf4aYnlMSZvsL3oxynmN4ZyHez2Gu5Besl3qxqPf4w7kkGjcfx21rtUtqz54pGW2EahJvCwJSTBgeYUe/G/Za7TK2ixHK+x3nW56q7eZo+z2won0JnoKCGwuAbm+KG95GAvJp9MB862hQs23z3qdKCjiZwGj33JaHcf7hyG9TAcfS4Q4kM7UpETKrfjCJJhZxJ/ddhWAVBiI/BwsHAOu2NO7XupYekC73SwZ3vnasUIHnhZq+barR/aD+4HKFqBuVYhePvnjz0I/f4fC7HV/tPpfKaKmn4Kv1Qe4KPiJGudxPFnFw2Adhlyq2NIT7zL/LY3IHBW8U/7UOLmQSwu7RoGgUL+AYYaB+fk1NgghaoieukEMxzHgXxudyH/ZTd7zHFJ2HmjG3BqEehQbp2PdAZOE7VnPQajCgUW7Cqqj0YPYcD/U4P+sVzOqRrBZrrAz3YwOi2ctMpvLKc5McU6c2NJJUvguvLvNConNJFp91oR4+Qyufngb03beeFoJMfiKxMHvJK41bSUqP4Y/EGhmwixD+jzGn7n6YsQrhgR0qm9PGOuOXyr+WrS2PHvHziiAGrE5fiiubSiHmmjuiPI5fsG6pLnk0GgOLsxPjM/QdremOxEmVHhxszdBrXujGfBGBZQnpiF3sXX02G+mYQ9bM9Mb3EjW+G6bp1XG2gZx7qJWl7qznZ26kbfVuyadAAFBXkXfqKPLbsyi6BwdyuaZhA8YgEFKP6NWGOaAKhSQmG3TnLFdT1rp+x2yvLP0MRJYrJ28dkqDremb/4eLv+Zkeycp9Hyf9rA55vK5fnhiEPPZEsm+oYqvSNm6DVvb5TSe5mxnJHew8bj9a/eLjoZeQ37xFJh0z47l5pjpiAv1q2vv6wh5ymZPZk8hymRJ4wSnBFFVPNhuCtwRKhGZ7eXuhUTRzTjaa9Ka68DvPNrje+Tmwlxq+gDlOi7RxCEmBJZEvIsvBHFmVFkZDyxP0UzGLnikAPwxnBnE2EH8cNn8+OaU2ipK3OTEJgMQCyLRbjRo1hr559VLscxf26cEvMM+HKeT5MqBwfh7bZ9StUgNxZkm7qQePIypO2J9iTXwLhsaET6flIOg6iIKF7+Z6GRCUCmh3MLbR7+Irj4Zh9MtVQoR8zPZaYuq7E1uP3s5TeS69ieLqTlSeNxShX+Ztzh+1taQvwji+HjO7hFdbIygJGysjCWknzX5oLiIRSgZIGEw7+w+Ui/nUwJOcDytoEf1Gr0hBHIFQU9Yv0EfUr6LbZMcq0xS3AiGUrW5M524a9HCTJ8QdFZD4K/SYgQofO6ZLle5drObkT9DTKRJUNfIIkIqJ6pDIEwsxTdZM/UN42/MlLTXpGzwcL/hni1efUyLZYD41yyJ6G/J8uGtBfCKKLLdygo479u1PKSjSoUa04rjTOD+mnr43vw3qSopBNCGsipQISLY9ghHMcm7AEUcEOGOMbECk3rnHjSfhtKaox12QecungfHfYnV3ovu+vbpTUYwNI6JWZHo5yFfQnAe/3HrKj1/6fNtJgo8Ed29Rh9opIv/no4GB/6nc6rGvMTN4crJYrXA7UGZLLEWhREIE9wWQiGxpXoi7Z5rXu4HKYycX0WpbjIi/a1M7hMZAN8c6XHJhLriC06/pjuvo2aWOYN+J/ycbk/faihmWjbsocGGk7Zp2jTffYikJD+Msb1p2XS1mAUgW2J1+ygjy6zikxg/PHjjwX17CfQi5PsbnUBkHbo31m5yLE7G9PnZnCcHCsKPeuNK90102CbKocth9H1QBfOKm+Y4LnohvfOH5n+jVnX9/FTw6hRJnLSTXbbtLq+kfCvnUQJ/yHG/HjlSHxtOIY/Xtwm5Y8pVFUn6EkCo84am4WnMaClZF2MTNnA87jNCgSYbYX4wtxXciwER8xHy87a9T0TeAiXYrq3PaXr89vOiP8ksgM1y3n+0ENgtuWf79vg3cwe+8lvktyt8HpsccSwadXHd6MY0/8Td8cvK2qPqp9EPEcjNEamrStcVCHAUkJq3WdGBvzZybM36o+d/KqfZ7FRJZ3xucYUH5qcTWkkgJVRd7yPwt1voZO3LZ72y87msRDtImlSnRdnOZM7X6XzoBR/QbPVQmKxt0QmmNS1O7YMDSzoE8/grfe/DhC/Syk0I62T9IKS02nDrsqUGlHMEAUIEHtk7kIG7uJE+zdsJYXe7slU57Y6oCQJkGAzW0SiCoZ1k9jEOtnvaScq8WlvT4K29Woq9+FGa8z0ooVkGNUzu0xy/o+mJYDtd+3vlEMyttOjVZYEB8+7DvA21JN9HJkaKWnSXMR3B8ev1GugNneGOoVM9ivjMXXtPnVwF8S65PDk+oZWI18zRD3KgpeOpZSuoUoL1xJnI9IwWZ/PZAv8aD0ISFwmaKPpRQQm5CvzD07gpQLSt2GAWcmk21ekrYA8Ez6GaQNFxmrh+dgMe/+YNzTFRg4M5T9Oy8z4GrHkDTb9gOxKl5s0Manro7vpEeGUbdZMIhmCbnRocsLkLpRyAaXpR3P3iHY5eRRsL22zGmzXRd2g5jKtfiRWN+aSMf2gcgYPUH9k9138OT2tqgQqlTbRA8UXEO0gfuv5bQIDc4eFQY0dn+QW4TTVco/rGrXMhDSVoYM6+hERbdrHaHbI/sUqZBz/GYYzccNdq31yWoJ3c2f6xY7i+vR3C5zGtQVhJhUXSLNcLtXyuUxOsEAvlID3155Lf+NGIckLeLI65xR3SmjU9Rp80CbGfR4nLfaOTYyVTA9YdjEFuFAph+fpGa1+hCYuqovjL6dvh6zmZE6L9j/GvpelWvyeOza2l/BlWTLgXPB6AjcWECAwh2MjpOWPB6n2SHRJHT4SpPGRYm/T2XA/pSzvkQdu9KSTcjpW8sLbS3fNEFdER/DmTBlR1weI9LloAoPfEg6mzkH4w2qSppXXbQDZtl8lz0jygP2hsFsaaslucd3uQ1bV85L3vGORIGqQC6tSorcYk5QSIm+Tk41K3wInpWxqc2CchAV1XAhf/SEtF2cd2Yf3tl6ZxNoaanMiSg5mi2JS5DceojnVQrmmSZfgmKwaNrwXxUrKAVIKlYLSsH47PwuffXAOYcAiI58VajmbSvhaJVifDq0S4IhOZZNnAVaBQ8BYz2AZLfKNKHa8NoRveuxqkrF2JSrHshiceVLMUPWxm2k9dSTodv/Jpr5ZFbvPwbQVh3nqWkE4J6J9p1IotSHOp9mMfmDXsuS7IEE+t+w6C0Q2NAG6jVsYNaH5cw0AZsVshENecQcflXsnu0JHCymL5T9akXxrd2qeGHQRxhaTMOgOrTSnx2+UT/Af0ihpP+68kn5w9nKlNUznDyoNmaOkoyRJHf1KynQTEQu7pfGLM7T2BLaob/S7IKJ+jrBtLLGxhgIgYneBjCbvNokQ85VIDD1ZPFbofhnIrcUanDffChsPCyPTPgZ8DSyU2gwGQzhiPaTyTX+5BjHtpLjulEUm2F3TedvYeHzGLexQOdMURIUXwWiN7nW5O1FXF6o/W0gC9LiAMxEX/nM1Oqcs3dRxYZ82FzuLaZz5Fs1FnRCiCD6f8WcctU+NR8KFNkgfgJY9VRtmmJ2sMG6Ra1aIHkgQejPH6gpJ4rRp9mbnjDT76HZqiaT1CfeTFWyA610ImDktzJSLhPc0Go0zsoOdGas8JcMoXKRPVA4uCYSvxRAW1MhuP/ZroI/uuDObBPsBMaYBDG/zACi3Hw+v8nPnB4MRHIPDfSua59G3p/qeVIYcZpY21taD87YVoHbxRo6bOMsa13P7YOHaPumq9BdG5/RjNTFX+le42tL0kROYx5fKwNrF00rpM16+buEGnqOnRAtnFx7Vk4fV7JF5Q/3F6pigGJlLw3HqelfeDBxuDHzt+jVgcinTnQRkysmA9E4x+P8GFN1C6KUI++1tbxEWgSXsgM/3cn8g03QGIL7nsL0aauMb0maUSmST35pjYbnUZ4tCoo+ABFogzqNo9mU/t1xjNBNgD+QeZnrd9xBsDqPsWmICBasmP5VYPxhxpq/4p2JCtnlKKHmh+YPjgSgf/F0I/6aFfB0ZaxJrrnKV+Y+f+yqQbq2/o1/KlDOd4TGPw3wg/wTsdpqwMsSwP9hmNvcDCMRO1aZ6B/0Bbly4P8AZ82ie4mWFMNfBCe2u+zO9acQNJJfoyZb3rw/c7ArTq8CannvaOCSwfAS+T0KPICr7cqw3M6FhDYO4ODikkIS36xeqPlsvUVtWpSqmr+yjIaBtmDINS1iYjKrEeTSNsjOLyCMEz5VIgK+D/Mdueb2yoRrd6u0gxeTcy9S7IrdK73Gb7hrZ7wMReG+ESBvv5krzvLReN0tPULOOSvFOeIx1rpL/raTg1NHJ2ZcWoOg8AxihjZyx9Tp3MvJbEAiZRoAYUbPxrm4C3dZbZNREonpntyCHfAjoGzV67iByw3ngdJwTfSUjm3i6CcWdPAa8t0FhxvYDfmwEuTXxZmVoJ31OTo+x3Da2g9lBaSESYU1f+TgW54Hb+El5MB0I24MaN8ws130eVKEwOqXN7EJDIxc/tMUT36BrmBe8csHF6cUHDZp0erxpfM+ATEWnUHmNqI5Yunr6QY5jL7fkgzm3C98bU1bssBHXoMBoXmOp34n6t710XHWKmX+f08qcqcIJW1a2+8BLGXdc6RgfRbxmwq9opGHhur+4j6IA2amdTpnjhhSA3oeeAHXCjsQKHQT28/PV3BHIHgQ6YIcPoc6O28nhBJR9HJOTofTWMhGdfTHgCA7pFwk26Q4vTST/ZZ9zJpq3rALSxsPtn5RG/hAWHWYbRB1me5M+8EyoKBzM/eL8zNAQXbfOgRlxc00zAICjNfeGx2CwlA9RTR6Li8mhP8Ck0TPofGhI7oU41BefBQEcHTTLdJPMWbgvBZZ9iWSaHz38nxXNwS0JOPdkQ5Pj8nMP1in21/pBF0NQX8lMT1ILXdJnHn8zvq0JPNGaH+KBcyhxEfQvPSBiccRi/iVQ5k961fYtqhu290+RcOcGL1gt19RzYbl0sQeSImoDXYjmiuFNjZh2qlSIeR0n0vRk1l2J10/6eLe8xB50oHuM66l5OA2bfEYp6OvOmHyGbKjVFoMKaPSYBfsVLaR716LLeIGUk9D75sRMtb+P27EIlXsQrIrB+vTcNBMGcghC8l3LBnoRgQc2G3PzCzk8Z5Y6DDal923zkkPkG/llzR98dU5ljz+2nhq8l3FEgcYqFXffOi8dd2UjsJ7wfriYMkCBBHMNv5noL4vePB3iHLwpU5E/83x/DD8dN91BhpFlcHrG9lVjzBnD9ZAFDUUPYO5AiU1NBvU9N4EVY9DCPktc8fSLU0N0NC7incD/s1PO2fOjpX9OloKBhwOdbGpiIkH1bnz3Cx/lqWrWEJ6yQ7UXpxRLXQ4u+sW59TL/D+tJJjzA6n0gB7YT4NYrIrj5CPN8EDckR/r/CSUi5K9IFU4FGAIjwrxji8ty32+jiB9KABm0DxQkRxIxJgVe71ilEVZskW6/+zmn1Q+aTJiwSotXHCyRDc9Jxx6i2EXACAKrJztpu8g7IX99jKJBeq9Uv7F6icNzUEyBGxK7WwSqZq+jpt+nK0w8hlAjerZXLB1F0gBOR7+ATpDISgZBCLISEQZ4v6vXuIFG9MXRuplUoFq6eEUMsaJ4S4m1NsiJObF4SeCsdVdLZb9k4+1W7xN5URgeKx0CpvCV2mDNFnVh8jhurwkaNzL3HkhBM+e2olpwJnygEHcO+EjE4afSiEn6GcOBK3OWDCfvyP144VRWooOscRE/yZIGH4l5HgmBT0J8irQjDx/uSfh5k2EFwPnJY+fHarWBt6mzxWlMQIxwljrz7h3THWoXlkFTbJ9lGEkAan97cCJeWjZWIgpPtGz3Hlngu9fQZ8cMXQxDs579l9apjZ0jiJZF1OCV7JIBsu793itLop1xQj0eaRrvYZmsEtCaBBXau2363XIbU+0pV4BGuhLqPUFYTqHiz/5Z1Rtc9Q9CxCFVOfYDmZuRwMlvhVx52dwzOAXWByTyKt0DVMeMIWvmr/DuDfTRKCxpEf82PrcDmdvTfc0ZLuzoWg8VcmhtRmJ9HNwMeQNyQ9a5HA1/J9ah/QPUsyVulL7ukC5dXGYZJcjtsGYH0NZeIUqlSwuFmi5tLmP08dDBUWyz3iMYD0FaB6A/qMALxXWJz8+tEQJV94thm0kokOb977PnJeQZLAjOF0/rz9qOQfWnviWmv3+e0Coq/Q6uiZAbPh/kFeL2E+AAVFfvJufMXqgidtSb+ru/IE/MigwuJ7ruBmeeRpwHJwJRWpqqUnnyF6S+klMv6xHQnSnCNjPSdUOiWsqJkKRaf5g7qGUpbYtvYxtOU8/TK85sea+s/0Pc2jxtyK2o/7qV5VPb1Y+R9vhXoRS1v1s98uFhcYVbvKR9LdVWnwK9dBBJi/SEbSKwy/Ch2vLws868re1X/k1+qZj48nxZe3CeKYcN6+WU9pJDR3+nOUrI3labmfuQddsob3f/UnNXTebqlf24CF1+9ZdgSZ3yTqXR7j3IOQnlGu+SX0UTQr+NpCgP2GIpOsS0rCw2Wb0L9Yevnr6ntqs1zgVL5osfPdWG17FSG8XFWxpS7uC49NT3HT0YnobLQfMEDK6q7rcRygg8IAW/OwKhvDdJI3MKEIG/GbVTspDIcjenK4Z1bZSU9jfZAamYjIpy5cqkyOzPkUuQVNcJAxj27XZX/AwP7QDGg7mhshedcIZDE3aqaP4DP89MYfalHwpDiCVkuNpGedObGJaSHpN5Aj6iGnVGfsedkLgRDPVlNNdpnItp18uwOgFtjLG7tS6X+cs8a9+wfUs4Fd/FYdyJfKrk2j83CJub9w2dDIFO+RdTHa0KXvDbNDevEpnn7N3/EfRjj+7UV+x6nxbrGWlDI1Q1XpXdqbp/4niKfT/UJi9MmeRb3/DGdI4bOv2Aqh5EKijIhgDbn6peh2L+S62xC/tL/G6GA3TVehlG7pykJsD5XZbdpsTFB10fHFrXIEkBCgvo07bw9fZXkY2sI6B6HzGDwEN9g9kTMyggnjSy7CsVV8Sy2HkoGvVm9Jv9Vi0LF7S+CMUSgHcSBpeiq+dtVy3rplu4kNt9SflNqy6PshpajbWIS44mXHsNvyT1KOcM291If05DdfURpOdevIWiDsH8H/2kjGQLMudVp0c1sH5TCo+iFD8r6oc3FhJF9/Ny7TeAKKgOlPugMyRar9vxCH48ilZ+nU6vqJ24KMnoyz23D/61sf7Ah6OQPh7pHdQiSIOJdLeE5RiCYhLIBaMHKtzsF4X5AvEt+ooL6Ae/x/C7aQBLVKEtocJkkULH2EMoID05F99F0PJXL6bunIQBUQcpnR1q6aeXZ7qBeFhuh6Kx281UJ1FsckKhYB4C+RifhC5y570TnoLxFQ1dQUDpvWm4J8PICHNNNrchrykZwCsHqwCHMYM9wqkwIXi04Z+aEV84UtOuUTVIMdLUgAtZNshAtZNnzeZXsTEB3AWisr8HVNq2pysSWRRsNd95Z8BLumm2brR56IbdZVbcitlLksjPg1KGr4H2co1SWVsFuFDsJoer6Xm8kgToTbP+yVSvkAfKKJ4/l9NbxnlEbonP6osA38/8iitkA6fEelA2NaTyYSHzYntFQFlIvQjquClc6aQ0Z909eF4lNkFkh3IOafMDaqAqwpoJMinYzrKHHqWMXWxurCEh69eBelgLOeXXS5EN+Yr0w6q3a2DW0lIvuImo6pYDIYCNx81eU8fY/sDjUlUu2QJijJlFDPMtWTXNRjV77dwrxKN4qlLN4ayI9YzvDcRG3t934cc2CxZ8jXKyB/AubO73chWBEPTLaDMpDSrucusN1TbyYTkOhMYPtxUoHfXVoEFUA2ZHpv9w7mzyYB1X/leumkYPCWtGrQYAQGx64S+h06OrBrUR8GLOo4Yq1vKg0OfRqR7dnCzT1cEYe+T8+8/QId3jkHBddTpgoiMex5Z5Q522Oy6pYh2PU9bmAy4ZYL+IV1N7J3PfaJXpZnvQM0zQ45FMRLtc6auGOwYvgQ2pjdJuDy+CPiopatUrLbG1qavs73MHYgaeOuavnxvvduiyKzrYVOmYBlcQ/OxdsAu6ACA2DPGaJjOdRyk9GVoTGHCs91gVhv8UjZMJEAqWF388Tyjl9+CnKlxUx7gEQvIgFdLm5SLE32tLFV1h2RU94H8vANVOeyowmprKKfI/K0ansihBxermRQkjce0qgM4O1OVzI8xItDv+V6RTZBNco6vROBF2iO454mA5LFV5MkRZB5eSW5G13KwziVn4VKlECJnju1/kO3rIUBdqVIA8lqzfoOAE9EApiUj0E18KKsP+uXpayXQJITZpgavws+e1O2YO3jYjsjQoPbLRn8xAXQOAgzER9mqQt1isfNwMiIYLl1Gai9Y1T2VU3v13wTrA40SmiiM8ainQuA0HX4QL+sxrr9HOCHzPdWOTyA4haIU/vloN4o/QiMZVh9sbiyHj0Ch4qjnIoqybx05IhDdYJ1WNllsXuAtIl1PJfCNLYJbtEp8FeF0AaDwwfdv9xVoZrQKb4Dfo7AeNeLYOkL804eMyopfcs7mFgqi9SVwihQxdWzkonrOgp2fbbUn32jytowm3sEH4UAd5OV7NRf3a6qlQ2baJuoNsTSbE+e34ITscxDewyh4F3hbvAOXwEOKGJ4ma8oULnXp/rq+8lJR1BPKM3dqeiNz4DPLgk4mYW3ptRTeHSj2bOjKq+2A/oxZpoTFZisefdXEz4FxBPEhtl0TEcQfmzT8RLV3hGitjOMMcScHqWWwkRKBQZWD72BIzIxOpKHZZ2qEAjrKURw60bFs3x+rvnq1NFc/T1OBJynXdPABtJSWjBwjP0SY+x1vS1MZFmVwjj56isJIHCrpXb8XjZpMLPGcLwNoN9IYIy79CKwI4b4wSrBlElLaXpQZB5NN4LIwp26O1LQkF1CVILNCBuPSej9eEdHHXaWXw439Q9d67ga1X2sk2ywDlQDQqiDgv854iPsNZLyZO5auD9KqKN5jAPjwTJp6S+/eY2L0cYAK0C7T6fMXPEMDslcBAWHQasU2oe374t5kakwIYvCmZH5ar1a5ycS97EDwJ73UgOkxDaSIodFalia5SbSicCFzRNbZRB7bAgMtuGK9EeE3Aq71OBk0C1NB8G8EkA/PoXNrxwqfjv7b5/mHV3ZmvNZVx6ZEs+Gc/ryLAijoP5MRBjUnvV7taloQTFOjMB86MRrybQ9J2nlOnMIybEJQofup17BFP8pUtHhfhKw/NMKdyMRHJHBOhpXZw9EdznpU/k3dyw4r6oiQhX6XGGw3mOIKM5/FInX8sRCU4Mzv6rbp0V1faafWrOYFQr9HOrtmK7scf1nAQ9b2nLZqnNIlmd/8MfTg1X/Kl2nQScg9DmJMWa2BPKBTKNzVZbWVLORvwoGqjMiGqvo5yTSSkuTFokELcQTUxDhjx0P4S//HSK6z95eBq6ceBX6tLr2EdKUoqq9Pf2zsGO+gw1lKRB32J6eUeCr/agJ+Y/wGgjC48Odk7TAd6pHmyo2Jt53xYpqUf1t+vGmG+RH8ekRAq3CEY8YJr0K0K/xu68u2OPfqeQtrd0w1l5cryBJEmFvVs5argUHEcKTgtN/qSMQ2c+9XeWKaIwF35JgQ/MmECOjtv+b9Luyex7rm+EdknP1xCibJq4etCXw7Vty5dUHSQP666hQQ3mloOrgv4iQZD+BuU8zrOHUSuvu3UR5d8GLdBHXTnvjowwfECd/oPXlbHG8Qqon+hlSPgRa/zeSmxJMKqq54RMO/EHtgq1VeH6bPJk/zvhNgvaUOHHlqVkseygJkjLZv5pqEKtPyRcAa99piYQD9Hp3cpcF5YQmuilShlTRLK1Sp5OGzCOqfiE2PQdF6bnBURpiyOZnupbSjBC/J4d+THAq7M57TKBJ+5/JbOc1D7qRM0vZsQ+L+O5hj7zb+E9tS7H3E64fLFEdFcdpI4f0N8S346R02l3O4KPrP88gxWFtkIbqOFfkM7HSZfgxVN56Jotz7X8I2cTzNyUDQZ+d5YVYflR8ulOwjiIgzvRx+zDQKaZNAZZTbIC6IvyYdV0hNnINCxMpYn6Xd2R62xyZt/Pl7nTg1S/TbXDZ+czLnjm79eInqDQCBGFRdwjiF6RiO4iTMQv2aJQ7/5DkMeqiLom8JXiCFqU0kCJA5GwESTMeFN0c0g2VIdxoHBAaUsKyB4s8rBpPoRJwgxVoqxbk+xvDXYlxJE/RSfGIHq9tjmv7JcTVDQt8ejThRFia0K1GlBpVHV2vJ1BKmBVAAz+haoSCXKRdRxWudQsvtBCSbdJe2zmTDsoEens/XTvosQWoPbqnuEZqWecvr+4V3H5YQeDFL/JW2Nl5XvYW9uh1ea3wlMUUI886IVx926SEigAYPjXvNa24zmimixlIPRogXtmapcmITlDAJ3qCSkWSztmrsQ+RcC93Lrx9lzXrpek1cNF128PranF05QKMdMDPHyGrTPgP8z/xYL6GRWMXaED+j//Wz+BiBsOHe9SO7iM58oNcxVIlxJIKS5rKBl3+O/4sQK9nNPMry7RYQEdoBULEKFGlTa9MZyJg/afl6UhJO+DaItK3NG3a894wsq6aw62KwJOGvlpRk+ZSdw3ok9It+pKA2Y6NppRUNBmrZGIOnlKfZeT6VRD+ugnIz0K6+2ZKdWqES7aUqc/msrRVXS7lyymRAFNR0MuJiLZqvQkLzUOMzAsa1uh3l3F4xdJ9MIQVRti1o2JHeFUuSea+JizERyX2SFB7GUPKQB5DQVLTfYJRi5qP8MhDg9UPRUhMGb6mlOhvzUrW8D6eh7aIH78bsAA0VnPLVXG8fSBXecMuVBUjPguP4g0E8O+qMr5VUhW5BQm/mUs5XfqVho6+uoAIAPQEdeurZnfrBWMUq8ZbTaS6gb6QEzSeiZGN76Oai7ZMnmkm1HzY8I5aZClonK6Arghm186lg1J5jD8cBVl3Er/XXdoKUGHMUY1D3fUwnZgfrDpOonwqbwZ/vlsO2SB0eCkD/LERY9XL1g/i+oRI87Ssq6bY/lzMM4F0pM1YGRTlZURr9RSS1fY8MghNSEwClTYXLGjQkV+owWkguorcR42ioP5fAshNyRnyeBrLcfOtHVhrFhIJtxw1kaRgANt+qfMtj49vCEiu4TPYskrlAzJkEV+fV7bjfI2BvUf21YL41ozvxrcn4C4WpBpd8lU8EV0ot685F+E8/2QMok/Gvzmr3mYbtNvMzlg0NlkZby08eMz1b3Tnb/nqur0K0pyDKeXLrm5Bl0iiAwLArQ/6oRIGgB8yQkb4EEIdbfBdbmnirKeOJ1L5FrDIXQarefwdzpyQft3MmH2v1mY9VlZZANXEAAklhLFTr99yRM+onW0Ck7+nXR3GM0YzkcejS8mwg4tnOwZID/Y82wPyPi5EQZmit7RFwcEj9btxWmZ3RX+nlO5V4cjEkC9q4gAHQUGQ7LNjqjD3wGwpIWUUdy0luXcJeEz4geVyEBI8+OxGti54Afr3KJEYbVitg4ffNtPbYzn3AuM1Ys6/GO/CINyZfgQzwbMFcjsPS+CKYvEhd1uH9ROi9468/McGwiUNzXrylMvDEN6JyQWg727ZJmSQygO2lR2G5kI30bOysGFsDQIFCgKq41SZilDffs38HVOA2/O080TinvMcupjrR4cNLzwCGFfCWon1mIA/I87z7RiTOBPyWNSuVnGsV/KwQujgO0+7T7odOgbKesFZftuhOKqLv4o0Qfz7oYi3TLLvmz8wDprfxE+ZlFPbP0gLZYslmg94G/Ym9Bljxwd55+RdNtsYqndOtmsZta0o5BxTuL+ZcRvt51MfqAM/+kt2O7x0SI8uVMm/FqKR5Dp9+TfLAf7reJ0hW7YU3lUEWYFpiTzzWdyvvfL+zd0BbhNgPq/etZc8R4rFhw3lBkdmWAz2oKlndhzv8RgXun08qNYH4D3r1VZ+ZxoUzYRt6TPLw8yh99pxrbUWhlUZJ2fi4Uy4xdXccmvROlOXrttnmwlg2ZRU/cfmB30YgbAz6MsB94vOWOPeOdFAQ8zh1TM3gtrdqjlk5sghLHgg9gueIn+PXI6R5MgGiX91EUOQR2Dv0L7ns3ZWZMzwIWI+XrsBOvUQA/bjnNCup42PRbdETsaI8Am2mMqnhRkSuDlPZgFsRGcoT3kMiKxUx5uMzddeAnFemMUvEGQ0SpegnyEWKJfjNh4F6dxPZmuqVz4JUvDYpENRkMTOg88dGICAsuvRz1s+CfOzKSuZtmzJzOv2FyMjhbmmQ5BbWHesLy6KK4/nAHT6zkHoPuVnZHZpFRJqiJ3C6lS0YaOKr7QdCd7v8AtwVBk98eM+SWAoggrWOh2sv5OSHuoaJOqc5AHdBP9+Y0F0/vsWMPaC6KieGFZy0Acs70nEcT1LKKBxnR2l7IykP++RJt3ELxxdTOFWgmJmJLssZPEhZ3RZoi+BCit3FGjDEjOziIKSJgWL2rW48ZiRN3j9kpBvPkHolpGjZwmJ9cE1CgEKROfZ0mPu5Gs6ckf5Y5o5pW+fObDN7f5/rYFEJMoIWBbocehxOpLbQyNUkzXWIekpf6iNQqp4EGTVRhPRRQqHN1gqbQMBt1kmNigaGX2uci916kEDj7LFAKfhKDwzqz5BwCRjZu9kIq5h7yzKzcY75ay3b2AuXeF6g2QA+RijTkToXefm4nz/LxyD0pPYefa0G1J6QsSjTets/uoxG6N6CoB+B3AZRPVgJK5z8ywcl1+x/mzsyth0gj95q/CON66YQydj9sMHA75wjdPU30U06f81+nzY5QeSmLIEQF5HYEPOaQChXnd1Is83lHJiVDC6yT3pkfwVlElGVO4P9kCJtEkV9J38TgCDLWkQpqoe9jDOwpCux8l5Wp5RkVb2OXf3Kr4Sqomn8ItIb6MB0X4xo0UUZaiCQVtNGWkSa4uil/9ULn3rtIUXAbNqYYDQC9cIuoTfsQWSjZEMBEeFPAkEHe57QygCMQ6x720BvWuuKmNPUGMvJWxm6rHPSAKBZjKKqaI9YzGgrJ/+QzhA/u1h1zSWdDdvmZpLlMg2u4Eoe5GJ2GPH3pz+Vk5aetCagtysfQCHOEkmVQ4OIAaPpyey1r/NMBdq51xjHRtubgBobPsIIzOG1jetkV+MPO7zI6L4PBfSBUdC4HLtmgQ6driqF375ReDX5B5UC0akV+iH2u7PjP09hucFTMpuk5KSYJ6Gp58kcjMNt+l2ZbFJsAGTWbbMNze1XVEu1rgSK5p5nq+gXYPhEU6T/cz9TW9QCJAzPa2iccToWI3lAZKBDlAmElTdF2T4UvE3iqRC5A3R7Z7ZT0bLNcwp8oTPcoMf+gveWqxu5kxr2mlnqhJgowkP/gJ4tk0JrnBK7VqHtitOo8X/WagqNWC1RERljdsAyxPpk2XLSsjBykEFeFOYahDwgoUf63xhNbCYpEpu18Qy79XPrDbe/msQJLkwq6JZ7B0dvjtXAzPGO8E/QIjtNjt/nVS4nHX9MoRa8N93gY4q8LxL9gI35ybO1INrVAu0pomBYeF3AeWDGq1B1AdDK4rYHkYHTDG2zNffp7yW8aOMkl2VdgkpGWa75LCMJOs8Dm/Yv3WtO7Xotmaryzo1zdNijXMqgG+vIzvJmB+oE4GOqhhKxoIRHK5eMqoyCn1u+793fPCEadf3J9O68X2K1M44L1mFnRPy1JrDAgYc65pGmIacIXpmrWA7rm6o5mNyAyNKAf3HdJCUbV86ETFbsvwpOM91FVmpox7sCQ4IbnHli/FXtKeqRSqdE06wFZTrxMQUwMlWMmUZYW8p2S0KXTCYylUMfCNHQ2loPChLDMMIhtoNdlIFd6DrRX+he1pp4REBZJBE2sonuG8vjuRnhEF4fxUYNg4QQotGYzM6Z3aPSfWLWsWvnvilfSf1OTAoZ+ZteFvu6nnFUsUP8QW00PneXue4Nml2By+NlgskIQ4rvGHmpA9ZkvY2HossCCb2SZgYI/5AnpAqzVMSRZ5y4NbhhIbFXHu+TyKBqpiS1xr8h8UaD6mU/b5Lpx009ypNf8SW1/3FMJzBQxB6B4tVodVp9vo323MH2lbCTauwkgQSdHGIeeCjs5LV180Ey/7K3e7WYVrZBj1gNj4mayN3V03uNXHzwRsCX9SbTQQfIT0XKXmd817f+AAyhzx+5hGbupqu6MCJW5AoB82vjz43AUWZdR7YGyytdOCI/2hK+UI2te2Gw4tTg1hDeewnk1g6lbyCj83pXOgiItgGHgML6rb3ndHSqE6CgeBGs8J2msyTSftEEPYC6q2XAip2pFS/bb4FS4Cf9EAoeNBWwupxwi3YUuIrkbVyKqf3gkqbAiA5Wi28kU0UNErPKj2+vUEN785U4Kqg1elJPhb9DMxtGvb6Gnf9kg1BbaUi4t7kGiGl+7gpdJ9Eg/Kfrod1JCitIVUy9R2DEUB6Xy60BmitJ0WBDjhC3Rm7YLgczEMvZ3ui7kThVswrAh1dQ9YfrGqRSpxj1BlDfAmVBtfY4gyZSY4V4GYni8oQDGniF+xtUhKsHXRYQxHfYL+AmnmB6O3fm75q3J42iQh9X9rmwQ321r2qFGbFk80p5wRNuuMWYBThJtDiIV6kTuEZkr6edt52VT2iQ1usWEvrrQY5TDuRRhMoW9n3W84NjbkTef+ZS+ByjDg0X+TaZ6c1lmfiDQunt2Kfk+d2fBGdRJZ2To0Jwy8IT+mKQrUrppF2DfmX7OVm4uIhTIzV4LwcpW4NFV4mDTP2syFo/wW2gNOcA9aoLFMq7tM6+aSXoCcOLx5VUI4wExe32i55SMoeZKloZvZhVoIOsj3CHuamcyHkwOwvA7sBeE84NoiAO3XsORqte0Xrzj96skxUqkAscohz3gZ9wU/idyNkJ1OHKo6NPTvTlFhgAfMuoUputchmxMQLGrm/Wma3mkn9ZJPlmnoiBGTor2b8zhY6yXDda/xHQSDoy7+J2bX/LQKgukq36u1j0ZOfsv8VtoEWOf+zZtlSExp+A2uR23V9937Y/WgYC6Bi9aEQdHvopYOpls3iIJkLpKRXPhExnY6qC5/EK6SlywoqO9hKLIH39G2rCqY0TwqTDNeb2Hk1vz3HZZu9QF6aydJ3SXLNPbsg/FDuV8nDkCwK/Bc/fRxYKpQHkvnaSfwViExLN/RTr7nues2iMUT/+og9BQK4C+rt994e1hpxlFxcI6Wj5ZTwkGCU6U2ByogmJqL1f5sPtFGQTyYa+3JBv1Jwg3azLOydMbzZaBcyYiPk3a9MVoN0XMmK7fY/nPZKDQ0mP3EZ+MixJb0wBSMlyQlYUf5yDPEf52wZ2SL1vvo/iU/1K32/Sl3VyDOTu9HsCjjmIBFQPqbSQHrUwHAKbjLz/4w9aGa0YObOsW4NIaeBUfirxdq/QAMepTzrecHZI/f2E6g6ojrv66xnZZ3UU8Tf4PryzoK62b0wKbWYwANSkpcrSFRVi8IEs9onIebz+qCHsnPmZ6oq+9T/GOel0840bK3qK4AqjyL4tUX/Ja//NXkk8ML2/OscUQhct0zG/bouXs+nbfLQaR+B3q5AegB/8BfZcwpDeVux2eMnvizQnCJCVWn01lM+hT1fLrjfhMCiCqH2oVjoETktKLrYY0xbKUsi32qRy6eQWUlwVDqXhNBkBd6DzBXaroGaN/7ylAbO464kcE1WEPTCL4AAx0pKrAwobIfVYJBR9BM/zVjVMhNFzNfnJpNIdr0ht5cCeyNuCy8aF2c1Gy+GnyRYqM4fSsP696OWeTGGOzFAdWLXgaE2vuMzZj7R1YhW3dVl6QRIW2aLUIFFWQ4bk+dtKSmG0DmRmQfYbIA1Wtdiwef8BF+o8cPEM+c77B2WJRuqmnOwOljeyZrrDURLYX6mp93MiaJYlenTHW6BbCHyXWoNauGwh2ljIqRfXSicNv7YQvpKeQhkHPmAFwMKmtl4+PcjN+N501pg67cZUAThGW+X2obY9OaOG7txd9TUg/iZk9O3xgiFwKNFRdhiDGQeevVvTrfuBoqBoSI8uHzRuYUdKzpBkEXhsc3VvboTZIlfnHr/ReK9CNtCbapfxhoXIzC2vZhOLhkgS+blDa8uF2e0kwJD/DxrtmYEg+FjrJEfu9qWZ2PxLtJB770QjBzWCO134azBWmqsjYxWKRVbtxU7O8k0va6ABA3R1I4eTfBKkpRG4OJTA64LDmU6wG3BJZqjoT8Dh0ib5lupS7uLIMmfbc2mbQp2Mu7YPtNd9qS5iCo0I44LakAudVXFnCjwFPQcLtmU6gfcRo7y1DmOQ80FkIgdEHwxsz/BZVJRSF1J9XxBpoCobfIwIx2zkFaffoOx/rY3PYy6kMGNoPqfKeFLjYJEJau4/ab9ELW70cBJsjEw57SOTnmI1vfFD39xlon5UHUGkJlf0ZqqGss3lZfiE2qCaX2LOJc5tBAPDJ9a+k9ToDzRriTECoyvQHHUXBr7/EHPw4NgkXxB0z3Wz4yozTfmFw83cOJ9c7ZsDLL2GB4adP6F5wFdlqEOW2PtVUTFpXgplNTrMUBzbbJoflmrFdduww/iGoLaEQZnpIyC7/+XFm7s3sx/LeRdQRaVagJmsUe1HTBA8ZDBzPg4CdAyjsfE7tOZYURjiPdetSmP9d6xnO2FHV1Fnj0s8sy250/QaKlhgAOZuCAAev7pshRERyKKlsgvGbLu8uSfvXVRRBnbO7edqbiZxYhyr/xtgObPbxlk4K8OyrxKmC1L8sozmAdCM6ttOV+LoflKgSMu34xS67gwfEjJonaypl8ge2IDMaUdJHVnkzG77MCDfQCIp0gC0orhCWOw8dCM2o6L3uhFypeVHXlYFqiudtzN1M3+9GeSDxpijEQD6S3pzl0sr2e+G8iQpa/798YiEFP0+5g6YVjSG02b3ccRsYkyEgd3W5bR+l3+vr8vVQxmqPPI1FP984zUaMWQudIIozdyf1/xIR5Y4+5nkKTt34ihO5BoGdi6I8H0xr1fJHaKgoqoIFr87GA8PU+Pew4OdmFLVPQsXNNNMJXyPDezPTvxasbiLPgTyEQgtJ5ZqIkgLgKmHG0LV6yPJwiY6G4LUw2lKGRipfW7dtK5YgSFc3jnHyWH0APJN/hch+jc3216TF0MiE7H3HzWeX/Zer5HXWZJ6HwAOIN2eifzRK10GyTIiTrdTSmU5K9AFZqcGEbjjMCohmpaMrqWtlvuFc5o0wCBSOXiiAxDsXtwiwOZse8OjoRv79eo3b9qHHiu4BSDVN+pFt6qwuwPSSWK2tsY1Zdn7RyF6aqpX24H7mplW5fv5tVoqNLmaPxMsyYkZbG3GSSPb6C23egYCc/bIbUVCABvRwUiXNueX/LzxydbmlIAZAIVgJxeiii4pW9cDLzq0nz6zYThk2ssvX6atDv9E7nM/84aRSVnTTdFewRW+q8qNTz4K3Oqou3tQgqFPlUpcctUsH8XOgUBCiHb5JPULd9P3c7sOAq2wVig6TEHuj9frUMSF1mtiNQNPGT5NNw2LQ86XPdWbd+mY4/Imy7h+xmxDeGausxFXM9RMnNrty9F1gO6kLcV6uBANyg57YHszb2AQqSlV2TgV7kvxTuZk4i8OcGgecOuSTZtehVLE4jFofU4ymWaTHJOaL6eQwVcvSuAZ3s2oSQUJ0nF1CGI2LXpBr1YQFcSOUUDzyTDmDjxtYlZU1pm+ZXkX+9tRTBR66ugNoZyJb4iPkhIdhQqpReF/pbmjg5bZIWmDol7L9vvJ0zHfrmPWmIfnuWe7CYTUORzGicnrJjDHqwTbYlRG4FJfUsKrZjytAELSLOLIXgDTaxunjn50FgEhLkFMTwxlQREX33TPNIVTq9Sz1aOZPMu0FaVHWg+oxI71PMlqT2PvPMOti58KKGMYK9dH+xiBPS8S9GOGAjRjaxuS457RbkzRabykVlLRqa8YvRIHixSrIk/T8nsSYb8ujB4IzVUE4XDGje8LUXriehRD8WOnCbS13hqTMnJzwbGGVRpGppl0ymt2AQJajybDbwvS79jMpjrF0pMUgE4zVH44iSZ6PUIwPpvLrACb4ACjqnYR8mI433RrNwOZGP1ANSIIhOgvjqjU2xH43fY1xUiZGxPesGG7RjnJBYh+880JSlcW2GgQ4+y+z12hu+MhkRUOTOxjUVczeRrhyKXnx877f3MBZ9IkP8lZ+2xPSrtzPU1aojqNApGChkTxpb550VUb9VRP/UizSnbay3KnKBefP9pf4aeRk5k/YsScaqy+X9LB4iugT6BXSf2hR0967+aspt7v+A3i5jFbuYeR/a6r5L0t2CkPHA1lvuXUhKFnI7eayzLgIxF8IxLttaclYhox+EaBWtM3nl7VmbNnQNv7RDkMkVIgd4l8Utpw8KfTGw4JkxgUIudFoLhko0/UKMIBp+xcmdY8ZTaFtc3u/FcfqKE4cPY5bwupoDTJxRUeShXM2E1etAZmH9qZelCDLgj9yV5F20lNP/WBN2zJyX8fjW26fm3DK5DnTx9pC4VKqbfzTnJYTpvfQE+mbP3LGnUvmSF3XLUYhzNiUPKAQEDus0AwHGNVjh5UsUD9dN7RUeli74MttHR4OB8W4Vubkf5kImZdYNMcWTs5IaX7/IG9+jFn+rsu0K1co2jiab4u/5TUiqw4TCGi+U6OI05z3QY+MTbLrxYskl7Mpl3Z5/PUzbufzAlgdQgAXlIa9i1SC36cPIIAGLeDL7agG223Tx/8CMc3NDopYQh+jLzvjj+bgCHpHzXx0e9bJ7yAKgHElNPqSrYloAbxg6nVT1UntbKsPxcmrrIvQcrsSHFd8UfaiQ/1cbvMaRM7ere5aiuqKpOWlZtX/47796KQaJPlPtr7veKRUvnH5pC70e5y7Nkj2YXs0hyRJd96sVuL+rAOYehDWSyfQROh9jF5gp1Mzkvc7VaZGsutX4i0vPMiwfk+hE7BqQfuS4FSe1vhhslnGZY5n+CWe/YxnlLZ7c96WXvwsATE/w7iAFD6pDEYbJZsUVmL06enWEII/GM1Z6X6rFp69+Y9/e/nLrT2XjLNFL8wUsD6AXs7WnmTilKeLxwo+2KCSJOvoYs5pmqv16CNKHqr5BITbkyyZ3uaWdjzZ6e1iY0qxFgfCZGru1sDBzaNocAi8c53SQBauBWenksFmnRv2ead7yS28DqCwi51BgOBHtRO3EDv8miXouIsBxHBQIHRSKbBy0BcMLIPA8T4NyaStRkoZMj+uCq5zbV+8ACMvtY2gC4bjvn5vM/oR+y8QTxglPVC+5NrtV2GBsw8KuM3jrk39rzv0WPO0KGdzyxN0k05KK2M/MwrEW1zTRLVuUTn0fO/BiIZC4I/kaw2Egpl6ux+MnL9OD9NiPfJXQQLP6VbHHBIA7AqRJIBwBZT1ulnW+uluj1qzDYLRPlpeBUx4i5mDPTq3CjcaIOw8wPVPrtO7RyRa3T1E7ZhV9L9+oV8JVkAQw/PQVa83p0v2b0QJbcF1H6arMllQ+2CMBtKruaU/vgDbS62Ms4wxBnZ5sdXnapk2Z7XRiGyX0llyAQ4nPLIWMyFtT43qWO8OyegKjKGyIvAejERcb+Q7w/2tUn4c4jWPnIOEQHPCR+mv+WRYdupincdr5wjXUdNsoxlmG0x0lbSY2CnOA/+pvMpFtL0L+mevdz5B329JrBx86WSzd6OFENCgq2oR5JIjI1GKuGDiLV93w/WRADlCls/cFq2lLqBM9u3hTFL0SyLtP4JuEJ4dK7N5TnnKd0ayXIgWVtHNclugN28gSSXKzmgWHkAobai4P/DHsXA9vWyh3Kzu5yj8D01fwFFar8SBUbKsLtwd5aV3JroNOOUEiM0dWcba7XS4ntbxBFgjJWVRJ69MH7vDOCFHyzumNDZbo3DYNpoxXeT3gAmYjyGnyAlhsejrXnnFrNBZKWH4aM8FqGeqvDNgBLxE8NBv2CcphjRCr6S9rM8fh2knyEaZpn1L6Pbp9/k5iXjm/+PSw6jl8NzN3ImnAc6Q3RDfQvMs14Y0x/EruA5cpWxJa7Taas83WZ1VzWTxxBXeIWGISNIf1Vf4n2qwYW+PePpBm6p7/GGgPIIc2c2bpRaXEBx4KidEF1gB7Ve44Smm77bMEbnoHPvJHknHHKvFh1pBbpy4n5QDAlHGFLrEaSI8siIho/jG7FhxTE4Q1IG+ucHoSz/Ilrs65tGX33TkNlxuzsVWuk/rJgvP6XvPZahFFysmEmrmMeMfCPU/wNqaEHDzJAPaKTyuhzvCBkyboLTwomtW9kRNNjkj3Ibv0oyNRJWzHsP/aXhvWzWoznuHxDttUn4l5ncRrt46VTth72qD38WQu60+2OjjJ793bv8dO96RzD5nWHpzfCIXARVkN6JUNS3ZdFsqssM1o6emzYKRlOQuFqMJRWAPvIh/rukDE3VDzjDDuL27LBx20nJm+LiMq1+6AVLG48XUYh7tuwUaYJm6gr83MmnxqzFLBr4uoluBYwUbgJ16aKSzjiUH65N1XvcEYzGG2kF1cebHtuBcr4DftOe3OveCqdqe4RTlE7FM+uhnq9+7yXIlnxJz6QUUtmOI8aGupNbPQdCQAHK/5EjtDQjMIrRBYXikIqeap5Skvon7UTOgcWJnlmm0R53MnS3dD8s2rCqKsC2nf92T+C8MnbmhT3YtHK7gG4D7DIXTp0IbfU4tU1LUVsHqOXFIVGjsiZqpevPJ/AuD+nJKe0eXkQmIh++Fko9YFhcMnAZSkuF96IcimXp+6gfuJAEwTUON6qmt6Ni/uQOy/SvyzZaGJgnh0W0wAkk1VAEkX9vZB72h19MO9Swh6iznDFk3TQGv4SY5nnu9z94j2vXf1f20yiG0vzvcd+URrbideSJmrq4uvTkDHYtos7vm14VOoMfOwAiyjihx4QAJnxspLMS3jc2OMR5tAjaKJTPHIlkxgc7J7ajDPIz0IImuowknPzqDHiANd21zc3yZYAhV3sJPh71WoIrQeCkJyBafu5Vbyom6t0qROfRIMD0bL4aqZ/6vQyolsBrrL5Lvv9uZ5k4BqSm316sZ+JO/jhrleJ3iESgFBImwvlcoFgtVo7RLhvxu7arR57ctLkrrN27vGlmclHODjEc3YsQoJUh4VrBgUj0sCAnqTHwOG2AVdAfL6A8Tf/MrTHBgPtQYrIuzdSPhOL8zL/IHFAeh6dH0HtwJvBxdw3xIfP7AUV/lHUH7VnwCK25ZV3Ryg3oJEzJmmECCPcyOcRmKhlFWpsYd0GxeGf9NvK27JujfH9XIM8tz1lf7VR90oWcD1+P/ZKse2MtSD1nETk33eKAIGAzWM2aE9tBedA7FUGhm3/EmHwpdcU3hk8OQbVu0Qv337y/aPBTXh/cwaRvZgo1NEYaRfYCMlGvq4AiOjkOao+7dLmN/fKO/NymmLvnMH2MqlLQgGP8AbPUqTjOKqLMejV4I/iE2HXra6DntRsrz4uLjIDmnFXlkeNauIY9te4mVZtYc2Irk4Gtal3wsJeVdSMRyX9kS6BNn0Kl2qv3FU609N8J3oyOAJ+qdeUfVgeoOZQTY07zK+UwkL1FkGrFWIPFPnKxvVoN2rzIqjmNs9WZ636br6iOJ1h7u1vfkgOfzR6xIKS6kJnYXxfwKDtAphlSDA0G8ihiSo4fgXaLUQ7ZwLV+8KS3xiegmtCKoDy23hIZGrhgS3E+0VmliaE5EPAzcKXOPg4DxoMx1ICGFOxAFCXuPQWdEzmFHnlT9yaHr1a0wayQ810KTeaoCHgipR1SSC4xKx/wcmrM3oC4akj5RlmtFe61IKkyQ9vw3GrV2J/SkV2ucKIT8/O0fmHG0izB2MGjhBrAPZRmRqaqg9c+c+QzaNwpnox3pLeqHjd8jlWaFlR92SFvPE2fdQomOFZuoVcLFXIgMyfenModVSR4C97lhjqy8qBuOqv22olskaJdjFJoFfN6EZqNJNS6kFa4vldw2weRYQhDBBwhT0vwsUnPCgjGTKTJzAeuMWlWXHPBU2TBf7CYeviKOKLf5RFJsBMSCayC2/q1Ka5qh8BQB0PKDwyp096nN/9lzxeisjGvOvdKzf7VCYb4nz2uZM3bOEJGBXeXlhKEOl3LcHMCXWaNWBz2+rsGgS0alUrqotpbiP5YGQtS+sPkGDDJQwULJKirl53O698NNZ+aK1msPgBGT0OGPyZqDSlv+eE5Fo7KFkHlDN8/wQaMMS75czdAYHob0dH4CZdA7j3ns49yhYrQhWIRACtO/rkcKHoA/gRefIfmcHZQ+ztNMOVPsz/FkfHz9QtUkwohBzFaDBLkcl9GhQ1YbBXn1Vh1IT2hscXfMqvWG/h6a8JqmtWIUoXCB1Shkn3EAcCDLOO4C/sUhf/GxePQid7ePAgw0jAoyjSgepKIHwjERFYdyHtJ2CbkTs8Fdu7l0WUahtDzz8klPu1whC0lJvwiXj40UL8od6vJTPgVzngvrXqfj5mKu0CIJohLXqV9/37gxsiwLDG00QN2E6OzPQaZm1roAxnhrg13USD51DQ1vzzE1Uyy47XPPR+uK6N6QHOzFElxfdlV26FvBXUzLZoWnzvdxqDa1MOyVgDxgoOLVOtmQwHofdIJPGHMKTj06QZjffiK+AVQ04m6WKwirlwIZZmSPnx0aiYN4OWUqj2c/xHMknRY5Kq9l79KY2vS1TP7MOWdnLm9c33Rctn4aQQi14oynfclR4eq551avK3+tIe7GcXSfkzDWLOLiIsScdhJ9AAHbXrpoPcA/jq7q6vQ/JDR95RQ5FcJ0CQbMjzVdwX1NqHJJD7fS8CQNuZYDqsrXgaEfqyB89aR0gm1j+JQ88DLw3wyKll5loy9GM0EMO+yD7lMLxXwUQiWSBmgHQfZxZj3+iJZ/SuEkIjmAskN8jHD1mSZEGhUa8lyZnjn5EZZogCu+tbpa89b8dzKZgx9dlxA4MTWlTTeY//Uproz1IRADrf15MqyhdEE4tAFGA2DBHtaOIoTqcps03wdVA2SZ/0b0Mf+Xpj0BfFwflyPGZhZKulPU81plezyD5Psl7vqd9MiXVMdNJgwFnRjgW6T8AgO/2LpBll8ZWnIIORV68QXd8oWIc6+bdMT2mH9UwyIGUJe3KRAmXMvGAEjQihqA0SFw/fRx7i3TpMRdp1pNbixph+e2TImFs7Vyvrr4t95/vF57zqF0NM64ef4WJweAHGwnxxPx9K2vjHM98izRQaJ3SSGtGqV6Wi+1wgolEHR7cOViiVaZLsMchuFzpftkhuJY9snapxD+XDrO1GKcjhzN1IsUMqO38b/tI8+TxUGYW6T0pcz3PpnTYsO18Ij+PTa5Jz/qhc2QtK17nBY8cFLbmCC5X95bsx4obHrrCMMzOAM0t1BU40AcSse+Cc154fJjChP6GoPDp4P87q4FT6Uu/LQJbrTcrdYdL5a9TPQ9XdI3IfNnmTuhDbCCcUVJp4AnD/q2HA0rutC5jiMdJtSGREiAETow+f4ru4rreLmkZMnovxE2+bZurF3QmFUUV02kpbLI6UDTc8MQhd5b6BGIriGHUTnE0oYcvuJ3wYNsAB5gq/P30hbUXT5ytq+VFAjSAbLbxyOo9NQJ9PsmYCBVaJI8Bj8zrkWOLi2GZYCWqOyhCEWeL7lbeWcQwqpCYuz4RUURw8eCw07wv/R90ZsX6o6p4ATHU+Pr+qCQIQrywwDD38cWVxJL6K9zkp1ZQtWYYkOmCDDE/IGVZfIxoxYFsTSS7frMyZCDxPHG1jzg5mz3R8tgXujublektTEppUHFaHVLHctCSA39GRbA9vJiPjSFhP4PWqJnjgYOFMLvtzwLp/jqbUGl3MHg2pvsDZnGAm2F23YaTfj+ovTJNpYsrmc4stxlp/FoPFfGhrdEWI2Xqk9BHHrUh6xXQjxq4NgUfC7ObKmGpqctVH0ozsdATq5nUDHGoAn/yelm3pRnDHfoL8ovYKTifG7gEVWrnVcWiwy5FpPSdsWDcbmkIoyahsEUNkOWnUyADs7q9VvLE5QYyLW9S79KutV8aZi3d386SIJTy7uTTcVZOJFpf2LwDcAPjUzxlOI0OkqoUWARfZM6QR1pvq1S00dZ1I8/ZqQQMKRge3n3qILbdxX6TAx4Vlk8k42ovp0m2Zb1jdrDrIbW6vKMWWNMwr4kNGByRBmoRspcD2JrN7fmudrEA3fy7dreUByjIZYNt9Oj0Rrr/1WrLarpuJu7pVUuq/Ux2+9JJDrq3XRDAPiH9aW+bSeI40OoZwIzuqg+ASHM3UWiAiv+RtbgQB581rc+dipsM9PI6XtoNgTUdYzYPFyREjCGJZjoS+yvWxHVQdS5/QJIh0+skIQxJp/L8L9b8JxPzB0SACfXG9ZN5u6yJcexNlnz/Qe8MIt9OVNIkck2C183eQhyCASTpwpx6flfAF2FD6WdESj2NWYeHdfrJucMWN82PPsRtJaEO7i7hHMbhsnQSzXwu7j1lxl/EXlPjN8vM7WLRVHKkMVsYseth6E6gyvWfie34zkzrYawJcsgzRebPS8GKdIIeUvLBzo/cm9fiLx/oat+PJH2KEzUqhrkH4UKTZo03/UIDXD2lpp+vIWooj0n6KcwuNpW9n/BcNVNeQLTYZUGmHjHi/TOtsZxBLrZSJOeQ9pbVQ2APGxViTV/VYrlV9qT5Rg1aHclGENoefET7djzpUiAcoRKBO1dIop+yxmZCWXSNOytu9tJiaxtG1e1s7NtcUUGYxkaCXEl4DCP9eNlOnnzMl9ZAh37sBlohvLxMmbMdL5EFxpt/r9ixrFjpXEEjhFuWSlpvCBNNFsf8MiDV+vYzdnDNghfpdz2GtKXH7gRIsMO6Cjr3Ip2mJxCy+tsv/EkaRd/A7LBNW6EWq7kvf2sRiq/AwGLV1gyeXJ2f+TURPTPCFGXhgrEBZKje0b4TH1MVAkqPqzt+EPYGJB0CmnhGLADRImcS7+fv4E2wJgs1JUlXuSkV4LyKwatXU/xCpSCE2GQFWzgktSrvN15E0Gbqdh16M3AsABHAGo5jNSHOPXlcYXMwPsnL6KNLaD6bKORDdM+JKRXzeIdc1A6KMvTHZTXlDGAVzMNEIkMWw+aIsf6e3NIV6cjSxq7ktJxjaXbSw5BU6lR/5ZMFUZMywfS2zWmP0w7OywtjCExq2z/wQJiPdjxRGKF5uFycz5x/L11Q5wkPfSoabqxdgKA3dKQxz9TLLbLf7mKbwbfa49Htr63HAO4g5abbsgq3hRw/iGywWNAKEdUvnAWIIr9ie6DHuy7ROR8mny7OZEHkv0MQK+UId3VhLn0mGESvsBWyHtBoCxz0V+Zx54sqXHZHJUJGsDkQeNqimSWLcSZI9w2daJa9kd+7HX21Adm/VgS9oNAMX76eQ7xvprfeav2nwCztw+3vAPSD1n06WS0DPSi6XP14Wr5h52Zl7rUaPSxRMB0vR6wN2UfbK3rLxlolSbdf+B4ibliIuN/e1JUhh7czYaUnkkIK6KWI8n2sg9FeHb6boZ5DPjgTPple9z2yognreg+QtLuUNMfa31YsMlS1pVbbho8mhGIT5eEnuYB4WxtLCfjClVAFSNww8Rclfqdy55s+pM+8XMF7lSOQd2am5mD9jvo/9Kp7z/CMEXeOxWCqiCkRK34ZttSduh0SFc34sxxBjxJs9GGnQAAYlmLAFurJmNuc+EObYlyyBgLVPK1h1PtSrSdOgsyUsxXKQpd2jw/J3hzfJbvau64J0QCAhCZDrKGmeonzJLwpEoztgmk3poFJdEIK63Rc2xiVDnLFQcc4xCYDWRtP3t5qZh+dildk9nHxAOdX65AvLrmGaTc3bjd28xs/PQEAVNoVSl0cfaWWqyyfQ5y6xuAnGpXboe3bxkO+jFdqbgAcsuiGe8t/3XTMz3+Sg8oLe4sIqAEPQE4AACagfG5IEKnUpZTQAbgm1QPyjg6Yeg3miccf3oAXRMQsE90z0kuHH3zva+53Mtdba3pP+Y5+ebvIMfAKDuFbO1oDzjEYO2vqOnjzwIF6PFJ8j01vGiNoGuoNdczmeixFbWvH/G3LF2H18fc8d0ylMDPnfEYQDHOww0KBQrVRdu59rdBgNsnNZZMdV8eYjQVSUYo2OHbJl+g7HEWatnbFy3VkXPYVC0xjNeAT2g2DPBxqhpjFlyhkfIGLEY0yswYqDw8NaQnAXtyqIRTik2DV8C+QweEZsSX7sJgwg/ZR9NevkDiTVxu4qEnxTFUv9EOf5XAQFftGDUEhLO9+fJHo1omfP4ILyTp8GV+derET0swa1Gt0poFs6f+YpJoKPjBBbM4JM4cfOrKSXLJdy6q87FvTGiIYR/XVkcuFtD4a9VLzNlbUHG+PUBG98xl3yOtpTsJxibD/AaPKN4qAA0KzTMXRPRfVc1ZiVLu9ce9KZdETqn5bJO88DMbEWH260BXqJKhDPccukfNL8PrSZxfdPBMuE6lv8B7jHo7kdlk9q+pEzbxUp4NInTx40GA3AAGjwDMkks3TbQ2Xr8DzKRk62pAHliki9PnNPMkgDbCfBpkOjSmHLGOc9NGOFAWUi6O+i5O2PnUJ+lf9lXC6qKCsEGuyLGh91lRJP0Wc+Yi3U3IJ8qYF+cclceOOiJnpQnvg8UWLscJA1mFHFAq6gpg6rkH1NlOGrkzNWS1IdnKWgIbbKbOx0Mq+6ohHm7mMOEjxIlKSEOgxAAN9ADjOx4tKyWRtdveryJP0AQ9oF+jZVV82W1c3wdXaF8bfAqk6Y+m3wbJqidXTjR/j7Xdw48zjlYA+rAFo45PPU2Op1Q/ELNq8/uzgTwLqwkG1TRho4sX0Gq3qLU0+2hEA/Eg/ww88KuzvdhxRw+ik6ReoEnCaIPxqrAHaQERSpPl+TLtPQDfAog7ZQs3GE42GUon6Us4mDRYpUmvKqasj2Ld6IpQ8lsttcP3TmdreF/3ctdPuNodt7Okz8retijtL8qwKXhHoazjUXdyKc47B+sPfcr/+y+zfooXhvuqvQafCVohpVGuCpyLF9bnDuPhQFU9z0Tj/yKDrloWsUQMvyJsIQN6O97Mm6h/0PB4/1xvZHt07lAiekuNsXbpZ01ueQWDo/jEITKwtYyCQllWXBsmOW2bC2VQkJzmmXxE2W8Zf8BQ35jJnGJH5BsvDEAaJ49VcRGUH156ngZUvY1F41zQIi7mUtIs4D79qVDSGjs75w0CDqENFF7xR5S82AAoc4TCHZCMkQS+P56Yy8ETyS1SSlr2KWU6XSi82xTR5xjJ+eF46bEvwNfhv+vxcTJaLVv7lWY51fv+tEvG7nGpnNiFQ465h95u3X2S9HhlFL3BIeiE1ljUmUmI41A5TOzMk7jMkvIt+bHLESbYz5j4UYAdrb8We9JK2NiDLQB5bTHu/ehjgzmRbLbYorvfqKMQdfBYBLvzdCepy5HQBZEvtPk0mudjsqPkaSexk79kmLzDFJasDSN3kGAT6n/8XJFUXaxq5rR3RcW75aL10QO4v0c++bVXwRmwC2Zc2LQm/U2YmKgquO2Evr2MaDxbEfA87TblTp8T853GPekH6rIX77psWzmH+R8+uu5IEfeAXVtGRn6ZRWR87EfJfJrHrnob16gVPsrO21Ed5JqISVAP5A++qX385z3lNSESxyU4wzfaTmknUn7Lbyh/Kp3VwwJXHTJTdCKU9eF7KO5FvLzvzbS/+kSyKP0IY3MYFW3UFbs/nhYPtIwvHYUYa0HJbTwMTDcpX2gJamXYM8ZdmBw+gwlSqJ/GFwvH7rcChUE6e6TDuD7M70DscYbd3d2AoHFLIpsKP2k8bR5eSpCaI9QrO/wbA8hHnLYQWcH3fjzosbaXpXoQFjOAgFCvwQVRslxqeh+WSsQh4qncvIYHNTce/ehd6uYl+7nVXTFBODCRgo37bJ/oo39wwa3b50x9ALF/L/3p5e+zM6x+miJV+0V6RW6e+jxg/7qNLYJNovUIGLIi8U+b+mZQenna3Rj9GqDYcVGkvypCuatfIGULeuT4fPhYJ7iL39iO3BMKLAQVZ/hB4xRp3We8jFxwCN/hxZmtjfwsAWFUy/Sm930XCPPXSuaAJ2J4ftHk3Us5f0Y+Cr9I0onWG4HPLiMcO4ASYALXOCl1CCwdq7GjM65Eih9fB4E9trshnuLJz9ryYjfOw7Ljb27TerBtFwPWfNz+JcECsIWXiueKQKI+sjNrx3/1vFV0R4HAdGgi6MI4u6hsPJAFBi9g7TuvxblPNTk/kUJ3oYXZnO0joVGwZhWcayTnrfK61gJuXfInd17NH7kzZ/XIwfvou+yX3uA8Zqsn4q4pYzSl7IoID0ncc41o/8JS6Ll/3AoteQNCDvOijbsUYURu//jKtDhdxWjVpNlXuaoBbwk/KalXoMWvVIxLNADjtl8d/ZLN3GLfbMDi0u5pUrNlZZ/3MYpLwqF5w4sSdwxATLxzZZT2Hr+UaweugepZUkwtb1JeZDGO0PVN7WPlVBo3WRvFfjoU+EJXGg5pUc/QbS66Cw8mzJcxgCUnwgz/j8NJ114QoB0S0e+MjQVtWpyUnjjjD8NrTin20gVzoYdEnymVe+w0oL/RaUVDJmq6de4VK9akG2PbH28T0imy50calsDJPFU2J877s2yQrUC7mfWJ0Jf/7PfGyU6i7UExT+arLPOZnO9aTErIeoth1yb1v4zwVke/SKuT5Nb321haEemRFqnILM9f+2QRTOcbE7CNG+NdUSnfEXoeUlhw0efGzkn1HR77WaFtJV8lIWYe65JSaXRQRuwrFejWcSJ9VvypVDWkcUjjZzVYgcX6ErGQQYssgiEWQBVRAqUkIcz20gFsip9zhHFG36wkMa55sFwpa3ILcw8ryjxKfzNJ0jTeKARG+GKGbherE0d7ct2WSWVhKp30nTp7iAsnzJp5zx1Sb1FPJvyH/vYQchKsz1Uq9vCFRpTeReyYXk1GG85q0XGLhijPmgXxaAI04OWriiut6qb/dXJgjLRC/UL6a3SgFr2n42e4DWqkwCzEkEiVJJiJQnidFhfCarTeAdon1BOXs4ruI8X5k7WJfNsHKi71Z8ptKNi/lkIXdlO1GLUczYu9G8q3fjSrNOidtwoUE6la96zWw6iEIP1EzO/FH//Vi6RbePZKWeVaGog6MZn/5Oh5JDFkfqGyst4iLys+Z22pA5lRiyaHGSJKBsVU52Acg2WFCR4niYGhAe5/4Dnp/QEsTrxbmtVvRGA0Y4fRAyEabbx4Cm26mn8kifqpyDuHd0Rp9mQVD19AsR3mc+HZURRHmrN0ufyoxvcqGPJEvSyPdWX7PSc5xgpEIdAa+b5eZGvMzahmhs1ubxXW+NyerfWUzuBAlE/5tRSpZT1/TSJKYCrTXBA8KsjE7B4VUeKG4IRDbTHUjROIPnZq2nD+gmAOc92keJRQRKNZSafmoYAFuBafbqueFg2mtiRCa4X57f3R03yjzjZoKnCuW0g/0zh4p+eN1S3XT2bNmQOaLEq4/nAXwSGaHYF6AuMVp3DvhG9QQOKQ+aPodS30Oip8Sg1DvkkwsiOfxO8oP8t8xyYKKu3uoMNpzaPNjXpvhG91kEgURPZaLUB9XXWL/OpgVB8IH8wjIDmymQKIcnTqDbnE48ksLAj+UTwffHmFT+nirM7AyybV4t1Ol+gQvHcKi75raaGSrIKKLHLAXoztTEjLId0323fkQROZQ+VqRE8jjg/kkCIK4lmy0VbwIXbrjHOIBpCogYiu/w3gBa46+6RXITOGXTrmKMKnMce7cp0VDV3gfj5UuJIAmBOkqzgscyuMTTebJbIEcWIKIB11viUWvTvg2ZEqBot+v9Ls3I3HrGP3Zs87w7IGektFvwmcgImPnp+KI/DQR7gBfrPxFKb2hq8s1Zdb+ly4q40lzxAO6mMQ0gCCsiL4BOOLva/e/a1e3XktTVwc4CF8lYCB33Znz+z14FbdCAiRtxnTJ3715W4avXMjho0KTwAbieqzaIWbg9qLsxjuHnKP9fltsFm7A48zgwl55UMIejUj0OUaK2JQA6tpOCwunioul8gLQ0W1xaTg3JMBHZjNggqx8RO+IPrTMuSeArd2aNMEpfy3Qs4+41gBZqEQhUqinOOZjm4l80lhOXd/bgDjfYliVIocjP/Tt9TPsHCweH/AbWwX8ay5fYAj0VdlE9im/HHIo0F2qwGsYRle/JmWKJMrot9deKpKzAwUs+AJXiI+xrbJbuDhME2jMqTfU62b3Iwjl88zicL8QrCSrKwjDD5Pqur9vyXrk1FKuHqW6CUry5/iq2gOyk/XM18EUu7VUAjrUfWv9QqcXncnRtUVR1QItw3qxrdfaFAnUjlCqRhbcL4I+1s28LU/VqQueBLN5fS8UhvhHZ0GJTibF7GtBGomNmDaO5WIJuzB01sVhsBW4ZPcLJICuFYdxjQFzEpMQRlOYzzI2b7JKn0TelSobDIUpUqa4XGI7zEyECaGftREwueBohiJjjMMy7EKFjNe3JBGIF9CArQK4qlo/QRGd0eRz97O4V0kbsBLNUeQrZbsJxAJIjrEkSjHtodElLMiu7E+9hS1QtFpvcS3zK+oXaXnmReRYPHKg1uYmu7UtSv3CiRx15y+taAe/xt1t+/R89Ow/DJ7bMIQwDKMfpA45JnQIaQhpPSZFLiBMly3Acok29Zs+EjPslmCmp5WAzjBv8kR5y/omxRu0m9eokXR+PJeeMo7RKHiEvtUwXmrT3iGMeD4+cLjgqGKWEUOpmkZQSNv07DYtXcJnksG2O9SWCPuh3247De6ZN3aRBYrp9Ysv5xBW99aUsDaJQ8Qbf4IyqDtrmGq1Vzl8yIFCzwhrslnJV19b0ljvsiySas6ZgMBSte/SzASeSCoMFLLvCMaX0E3OPAuuBByMoOliVd7ZapMatzqXPMx6kmf+Fa/beXIoBDeRnQLDJ/SS97UdHa/b/+9g4f8W/o8LL/T9yurkAUogRQ2g191t4L9BXo4M1zR67ePQq9uGxZh1xB/fClbYGjhs9Y3P5C00EqPD0O/CHxAt4+Jos+xo8i4CoWgwxNpj+cIMM4H+FFPHyFU0Kijfx8mUSs/cKm7Dd4PxLd53mxJvre+bO94Vjds+Zk+8SrpT2b3PaxnkPG+UcpQb5Bvt+Nfs/MsFZjAQ2Zrh+Msl02vDabhz1kxAzqn8GB7lvKEHdH4W7JkesiZhZqEUhUgs6BwNQyylC1s02S6EdjwaiHLvjRG6TBelcDqLMCYZkomHyUn6NRQ/dk+7bh9PIkGBU7IyNN86bfAXbTTqPxwXjbDxkl+7MI3Ls2nWm98zWNTah8l1nr4U8kgJ7+Xx7I59ssExGvLrzluIlLsd5qEM/Pvc3oHR+neKE0C5OMfuY0rxRwKlIQKDnT0s1dHcWA7nQe0QLFC4piydHWSCzBBFvnzXu/OCfoO1GW+gHuuKLz3C1q/Pm3xPGFrbMTVuoSFMR/tweLvj0GjwvYOFgkHqWdS8os0Xtp1YYOhnhEv67eNzQldqvngAgi1lQHvjGwtC6t6gyOYRZwXKgTqrist5qBk0cl06QAhQhRZJ7KWNE3jB/V8fiyG0P5Nr1aXw2jQOILHjae4ZCjkJQFvnmBeEIT+H9EFYB58sQyib0j0y0wuweinfw+ABz3a4aOtbCpbCqKRNvHIR+myREkZ45xzt0wMcZgIKUpZ1vEuqMk/gSXHj2Lwcqv0qE8QHIjgXgZ5lcoOgsKubEWtPV4hD591RT5j8XVMOxDlyaJQo+zLUXVp61AIuXl+L1B0auabmbTJpBm+V2hHCAlmS+bXgZJ8/PBzIC61WoUC2FsVeKobb+DxZzgZOVDYTM+82BSdgrWLgcruOvMEAISw4zY0AuWBBrW2NIbq5svNsx7a/yRr8RCH3xJT8uURPrI2uk2/BLjpEiwEUQmhFSyqf4AiPQS9HdU7QPavhI40j2mFKj4qiaTuT07P8JGgqPINr8kue7DfoxFwsbofcE4k3pS2x0ahZrLF/7D/6ZY+E8v+mZQFYcWnWJ8bueY6uqGZIKd0qgEWl/pHBTFwSW3mNexCkdT+L+q7R6Zd+nrbhhcMQjVcLR1MML3t1JyU+Y/QWbIzHXPykcc6GxENhsuJCmXoI3bBcuuBD2ignYphGJo1ShG5q4jj8QkcPC4bpkQeyV6Wu45XYnZ7hW/h+BK/647vxgXF6iNHlRR0+ui+eG4NR8AEsD1Lpuuo5xmVf9bZZp55pCQcJMTjkeLmef9Ujs4r50J+aAiYRbEM1YF6OttYot+BrZXyx9FafwlFBsm+HpJaZsuv4MtdyQ9ghCbTYDJ8AzIxEUM6gvMIcNUeOhgb9u0VHaWa1jX1nF+iE4VvODyuV7KqHPKYNskVEKS2oBIzpsvcsuPOcq8QrRu3Ll9NCt0OUYTWVTPAB0QWhyaBRGEWhba6lengdCOm5FrIskUhuXT+OBe7PfeRdywLU6le1A76Ms5arHJFQujh6qxZGbaMfSJFYOSeTtDw9F7mL0DBZHbnjFSmYhi8WjU0+/vs6BBhCr9bR70tyHK0prBt1mkk/7nWNY4rB8J+vC2aOPiBbzwhuZUft8pB68H0nEeZV9dWwYGv9GGx9EmwwFezj4Cj0lS8tDyPxYPUx0Asd6wn9mgGLjeocg86Gwz5RPbgKniMy8Ansp5tblDNekT86OpEH75A0r3GiwT/nMrxMsSSQ1QAKd2pWQkt3dJG5sbbcPRphydPurqSfpTZ2iGLKXnaFEyjVG23Vde1rCsBo95kV0BAxbaeqT6pMUiyugyIkvgE+maSxL208kxJrYCFPZicmU1Q+Se01k4v5bW/h2XRSuaHzz8n/nntwEgY/+c/A0wCUw+XCN0aWczLx9wsl288lGz7xvuzQzBpCg4z8ivHptrMGRtH3eV8WMlT5kifP5EBF1ViydRFc+Yu/CLtGC+KRFpbtMqYQJPLCL7g1Roht9wm7KggRlgoZy4xIrgYU8ngvbalQnqQTqpr/UhkDzYLUvBMGUd7ezeh2F1om14xaseOg5+im349OuDqwKTGVeSG5qqAnJfMjTB0NZQUF4F3l55yS04R6Y6pLvBqSKkHqnJYnRrJxLrMwjDo8g5V8d4juvQapQ7R1FsyY4hXQu/tllOc2WFZLOOyTyWt2/fBFWbH7jR9xQ5XS61rBhyaav7RjEGwQ0Vdr6BxpHJNnc6vTR45/OhTrPScWQGKZPQ0hbW5iXDtEXyvAOnf7mNEsvFtKjonKZDoy7QSR2guSw59b8Y+I53Xl5hJyceUS8oaVPNJme5pk6YaLA4yyOiZQQO2i0vlC0nCcUaGLrSefjra6z9efZN3/REgm/AdgzXorS7jdJg/+WlgA66g9jcKVOwP2eT3EahDeLIvyjK/y5XeDJDPqvGQslXcXuRIoiD2RzXZXZYGnfzWSobTsyG/jML4GCDlpg/fmHa+aVRZ+y0b7L15BsTPHnrx/6YNQzut3VBE2WvoFysjnLtFgIClCoNtFyMrQspAb5bCBxLm4fbkZ5BHHzOhV7/TfPa+OzaAzMaOmsNxMRkcgXxThhN06yM4vcDSEPXnxFnSJ9Fi4uEmfe+l8kWPutX+gin3mxxh2td6ahbaqgFZsJ+OpNlrUAtgHy1NRs1t4y7Mf5uYxVJpp8cZ4GQnmBcEz0IsrwEtknl0JbeoILv063oG/ZwiDrE+xMK8jmvH6oldQZ0NhdrUNARq41x5JB1RJ2HClaUCQ34+l36MIjgCb6aUPBrhZyRWAi1QLjraBOFTsgKTYMzHd601q8+tYzfzb+JoYXnEXVkmV6Rq8YYmH5N50surog66gulyPXShurpBpILtquad3s+tt4UnAgmxsjVYkVh3AA/FMylXwsHKJWjE2iL4dIsjEU2qoKrdydPN5T9iC5hb8kp5lqWPEaCUbnGrAyK+RIbAqsEyp9yNwtGwxX1oBgGKLj6KS6JbxPbh1jLspZF8y8kgA9GYt78bjdF/pcbHSuB7hgHi5422u0aB3igU2szruIV4+dKrhSVtr87lyQPitzGYmXlNUaee4fVFu/3SEbv5j7ZlnACtVE82EiNeiIpN2i9KbjM73iYAFuPF1g5TKJjIRcWWUrvT0x1HtAR5GskmO5SmOYZnnX17pJYTGQaPbYKpIX275LxIyJOawRN1VdsWnINVKmXLlCaIYr8ZXf/Ptvk8uuV9jyFsor8O4q55cHMEwTwLEmS1uyxr7Ry7mSZrpJ5zvYFJjsy9PaCN8wiesNQBXd8FjekCPot3nu3wgw64fdmSgswzRc1iv49mihY5DJhO9J0r1xbEJa2afShgoUiKsDYogYP7wTSETIjN1c4IxP97ptO1W6eIzVlsP9eGVT4Wlom9v/YD6egDJv/Ei7LJMCNf3Hw6aGWj6W6D/URjXWt9T7jezGljmsbDxiWn9mGVwUCevh1f5aTnMq5o2CzixENEHiBmaEzYxbkOszPsSsfbuqzRauSVqbmSpdjP/11o7FqIs6XgNgYSAqWdzb+QjY2OT5mQjXIvvnrUxHOi+Rvec/G3dbf+NbqaLNrtpVH/699b4ltMuIXk4cKpRab18duIiK96K3AO9TIqXRlZ/m+Mcgac1SJtbkyHYp0UtmMlrMKlowUooupnxxKlwBa6gun+b8ARIEdNV2caafUB0Pd636c2HCGQzrA7yDgXt9blWuNfgVJhDZJwX3NXbcMhP3ssZlEJs2K7UNcWaL/geA6l09J5ajTmcDd5k2aFE2koWfqI7MeUY6mspBdos9+Rb5cnFaXft+GZyCKF+A4yB69dCznR6VPFbHLyKMQvSs7+piTxpJuJHwNXGed0iCte7jGjQwLe8tQYkthbKVeKLljthYepUHbYsU8CdjAODC4lCTPMDLdj/8EiGz8EuJM9zZCRswwnEwW/QBHGtUtxtHavAFwbhebYDmeiRUZ6KfZVrB4D/h5Vwz93s3+vZF71/7bqtAYJioSW31G/FQ38fSx6etlwacM0zuS6dAGpLyfwLIeP9N6aa58poqG0h6/M5FJhv9A+e8CYELcFUVxmb4wWxfnUgvPSnetWgt8aAVmL3qM2f0Atnw7gePzBcTPw+EaBmCO8D2WeMrwZ+/eaqop3dqQEQHGGDyo5dAu89wONYKNCOWMcz6Z41d6IkBa9Cq5DyC2pec60I0nIGLrkFrCDn37HKQyXFMbjlce0OSBpMLmfyV9OjmuVG5XLu4zSaeT8JQ7+MBZACUQEdwAK81Sv8V2h9zL/qsFKieqSAXfnIhThaWmG6Y2+1EX07TTXjsT5xUvciRyN5nG/uE3WGsBZhVBg1nHl+bzbK8hi0gsuYYhWPiu/INvkEbpUQ1JNpjOLGyfTOLl4mt6MlFfVKnCRQd+FZtl989R1dB0wnkmxllDGJWU+cOHBSimR++uyLpP1tVFWZx3JSmfkyb2QQbR09FUAdD/E4J5CMP7pam6vXsp24XY5Ldf6HANdwgfKdMopDvDIPYexdOo/emcWL4jqSrDAs7qvC+4tuuCrcqXbw0xs8hoeRV7Wiz1r9WUlfHW8SHnT+ghSyAmdpqP4RaH8Wl9Agp7CoSHfE1+2KEb822fywAwHA3Smq4defvj9nCDwrydC9NrnTyNaW6oL2XoUHcr22Z4Zt1QIzcTH9gtf19Ta5x9MknMtqjgJG0060jWAm0EjemYKVTd/fzyHSsoTiasohz/nitAKeKzdbjg2AftCYbF+wYkP3NbENnia53v4BWysgn7pcXMv8XZacon52yxcmONO60HOz1PhVXoSM8ahgZn0jw+QEPvARdcHe1nLysYYBf7EnvGYZNpX4yM1Kffg8Lj5srRVVr1xKa1U8ec/hjBMuaJSe1FyVvSzwL5/pi623sxbftyALMALadj/iWtKaFW4yqmAKsQTSUGNiTRpIjLGWoJTxenoAbMEm8rFMWIS0r4RyxzNI0X1EUSGC6owIQyqagcwfrRXqbq9U10P/oEKybTfn1n3MFCOANnppCFQRaDXs8GfLus9M7FRYBLgK/eVTWBUjG4OR/cxTh4d9VG8l0ccPWu+cdAgaOidxMe7c6d4j9GRId4qB+0qrgN6eX2AJ8PcZtI4/bZLIzrEUTqZ4erNu1r3KzqW4Gzedkh9bsnX6v/6kQUmKyHn++Z9FGV4vJ8kSV8abWFtaEMHPH8M04Gn5GdbIKa8jIL46ngXMc2TuWbYuB93czbOqOkfMN2Z82ReExBUGkvep6JpOfoUxagzLyJl6NrzgGO28MVFXT/XhN1PSRYPwAhjvU6dwi5b3Rnlr8d7EneoRILBTX4uswu2w5l9TQ07/MRvEtS/BMbhgVpiRTbqEzxOJl5NmbDIsgPOWnszRSA0eIyyxh4RN1ytCORZBmC0QPZ6o6ozrtC/dNuLps914xsblKhVqEkbQd7PmD78yC/EN5MaSSD4nHFO37TKFt8QA/s+2llIU4nq1qE4nMjezxwubGGxjwD1Z7nK3bs7eJ/RHYZ26gM78/F5XSTTpOMN6JWa4nDS6rcBc7PmwSME7J9jY7/89WTpxFYLMesi4J9535DgLYwTti7+R+rLz83Z9qWZj0HEB9I+7vbBTRKtQ7LQDdiaSuOcNxNXAwzgc6S44EI9i978jLjId0M+GhbDRCK6bLGgsD30KdE0mU2jjvL66aRd7UifFMJKdGOhLTd2qJhsCyY/Ca9UX3+P2n5SVipjK1pIRXKi8k8AHU0EdcXX09chLpUfFWVe7lKkD+kOmfEBdQdFv6AZfG7ePSjmJKzr7x0T7uYmbZYOIuPeH+z58etifJSh9qycZ03alBhlztZeqInjarf+yaKyHsrrXDngUe9OrCK/SBm4qdDxnZZcoEXlKeDgjY3n19ToQT2On7dz9QucaZMPF3qH/R8nxEA++JJItLrLt2FwtczpMLhJz8CENYUGpIUKXA88Hzmk5GE8AXuAd8cwsepZXi0KCB3YwW14YpGb+g3rTlN1FwGqPYoxWXJFTESWsmW4UiuKy4Wuy4l9Nx76ug2ba6FoZMXMrSO+Kq0abAIMTHLwogdXWKJKiXgISjDmzNVTqccNQmR+cvLzARnEie7ExXECTH5vMwMvVN0mCIrKtNqIusVwuT57yPBE2z3u88HANgXC3QWrzcwJyuY50bZnhMO0XEzktL49bmLkSq62ftAc8CgH5wDkxTfuA7s2FL6gaJgE+0Gbd3qSEFAR8dvT5vREShhiSwcaZqHe3z70OVv4vIDL8xUEvv2TdbxouoZlVVMtr1FDDNzbPcaNPXTRFSMZ4nhtt3Z1MY+zLxGaAOMp8Lcmt7NERjqHq3OPJIyYzn8l1IWf/ZiBgUJ4a1BcHM/N9dU9PeE7FngUcTMAaK2HouB+WaJD2GWpf/wQ/2zQLR6SpUZp50ec1tzvzaIua7lHixUtLYyCuS82dTchJaQ5zpc4t9vXo/jJtxqvXjzwpilNtRXfxL9wTOcgEwlvMb95Cd+dH9niafJPq5FPwepMDBC+Bf6S0OdY4v+l/KzXKwsJNQWDAR4Bt8ELp7WGlLyKXqhEeeb4h0aw4lXBxbPDVKNROHa6rq4RDPrrhBC+R51QD862YGQNYWdz60sJJ+A/rTkdbYPCZ9CvD2iXnVIG6czVA87mzRUEc6DpSoJe6nRAddp9+6++tY317csbSi9arpnZywKNzH6WGn5JbazHrafGIAZYNH+bYlxyIHCZS+Xu2ueUsEI4HuEnNttNrvJGaHOXYfoDcCqf8opRCTZtsVfRSyMdoyeNq7X2E3XW6/BV+2MAElx1fwCEoA6jnTeregKNxGQn1b6i1w/M/XmcaxtfG3B9E4ZLlC5HIBO/Kbv4NhvAiBqB/G+4rJZscKtViRDm7ea76uYHt8m8oNnqg+NWF771vhoSs3J8Yk3zjRIi/ykusbsndQP0XLJnIMB4Idd8wq+WmkkN52kQglhDqxqDuArmUKp98vBhDCkMQsIoqbTkPSjJrFJ5z81W+1y5z9P3eoZ5wnbqmfMxZmeAZdy3kcHEvSBHenj6tYHZaNUqjWJC2F6qSsy+nUe5IdPASbnTuZUGryMczUtjiFA8gP/r3G+VA1LeIShjJX4aF7fDKzrOwYrkHpv4P6U1OmifHn4uls70ulWzWAbSGdEQBpRJKlLqAw0ePGBir5fYlmV2JvgUMbJonfiyJAN60RWHk66OXNHDDwKhkA8ewnF61iGW4BZV0ADktuEO/Tzv9k1BQ8UkgqNABgYeUNdrNa9W0ot0BRi2Pur9PEp+eafhPEAfauqRieXB88hi+DgnZWzVX6cbjB6sQ4COH9uHDe6fU+/FvI3/TIBqi9ArYlxzna6jQcsRrJqm6AuORWEpp7vbQvqEyVp0YxZO/UNQoMB51SeuhP/QTeya0TbsJ+qAEn8jhz0sidJcSRQCnvRQUrsxkrTLnEFg2HxyGYDo7ne7/4zrJvRc4kDnhVaEM5yJWD//EwnAdXzIYVsGIXP1Yf3bYoAZGLXdwuubPGP659MnRORZNauUE2M1SnkVahZ5Kzbuu5gNwqme/8pO1H6oeayWMa9x/vTUpUivNkQ18DLXLMkFruWAhDsWCIkqsigDNO0GmdXJgtp8BfjPhoW5xK6u3yJ1I3YX+MLdARW6oJZ4wDPlCAGKdQYT9QWJaK0spnByDpNaISozPR9ijeqKWDKfDuNruOmZL5J2ZnQt+FvIxyv1eocS9Wx33Vxkk81r66152YDAet3qU6KcODBAjK/4zg68dRUMoaN07YQENVLG+qs/C+uw85iLES8JAjaWucOfY+UpSexc/bJmetIkxO+wHY4dwN1XvQjraxzizEQLhawZwQOL1SC3LK5xxappoXMx9Vv2eO4Ag4KqU4pESjSF6C9DWz+S+4Oyge0VeYOFxi2LoJQHWVTTfKfse1r5CbGvs/BjfE6NA5y/MsagLGn+tQqG8mf5NZT4mDhDt3Oo514nAm9ViFzvVFKnn/FbCdMQUOwIY+i2CgvytBoFrTct7QIx/LG8z86qCP07Hj8QCSAED62hLm30Viu7y8f1JfYTVt1LVx4fbll4QxqX9u3QSkcZzn0gHpNgGFPmwBts2LUhJMAEot24y7yd1O26JoJ/SYe/ZXq0icZ2xuvkfpqOhuZqzMdSw6Blxmo70KWvyAOFWxdEzaIkxj25pQ311iyM2VE/firDP5PqUplH1PzhcBK3oqyGozGWFHsG0xRVudv+kk1tEAgWNiPvPoFpVqLTCZzE7IBrnAbGUm+GZROduozVOJetOGB88Fp3cksXcE5Y2TmWHJ2iBBbffIKw0j8GH0WplWgv0//tVm0mjIfKZKQf8P5P5NKlk0vXW/B38GuyNcMIQNo/aA74uQxSVubRNRzqoRElQpfanNf5wit6IeWuhY51V+NF1Luar3VoD8NJi2LUF1nVneXjFvt76MuxXnf7SuJlcciTfA85zntKV01BOF1hSYgbdRVKReLiOL01+gxkHxs5CCsO+4f8OPUvpZsthbOthFUIHwV0DIuyOqZvnCtlmCR2eH/tfLckrgQp6taUuFZFfg4v44hc8T1vnsOpGcw8FixkVaIV3a/WUh3qekY1va/oAUxrsLgVd2410XwRN3vgJ/LR/rdaPcNn/fiOoj3FB0Zz3THrQjwRskh4hS5mxaZrwuWpXwXutlHO65/wTbP15OMdOKvl7iEZhDa3UmtXYMGBk1qpE32GMaFJVaou+BZ1lLeqIOuaC/YqhPgXefMOZf1QShAP5YImAx1LwQFXjUq7sL8SWlFIC87GUQ7dXFv+1l8G/bpSOeuivBm5dJQN/OJB6wto/HRAiCnlz8UE1WHpLxZuGrxBg1C2V0KrZM0mWkc0mnUJ0Dsi2PWyKqs9Z4hyNh96ixu4cbEnr4NvuBCZMFj1K4a1h5wS73SANcK6aaluJyHrb/C1EftMhkqhNbaCMxJFKRzoemKfnzeJN3xj/1Rmvv2BFsm3EHN97w+MTrgcbIwtj0CRBbAzJOs+ZjyXkG9T1YS1Y9rVSBwcQ/zY0LJrrJxNG0Q0it2nd3SPfjNpxZvis98ZzJD6RtqZfT6O655JC01O8Nj/vA054oDEmcw36a57rO26JIa0zMIq/Q4HkDN4GbCeeO/pG04QaxK+0/dLF+SmoIZePtUnv4X/QRBgMgVj8Yv3mbkizx/MPg2NcKj+YJQ9OSHDYyZ69s+g/2Ard87nY6Pqmusx1dTz+krIbRtt+j1VnE3XppJ/fRVvmKkVCYN97UR/3CD3ygteNn46AaVV/X7dh+CSIdyFpCUVRQifhBMvhIYTPkyGvgqYEGVvmg9VcWw0FBuGr1erFh4NaoAxmPKN2AEL3ROHFbsjoVX2GcCtOUsZiycfT8yLCUPGMjDLzR8DvF9NI3bkobkaU4eMAwToOsH4s5VYCVR/prHZK27NTIOnP2f4bfjkxjeDwZ0TuJviai17MrfRhqn8QWbUZQM2ctIcSgVusNv3d7YE1a7T5JYhFhIkcclAGYJc8EkOYTF8HpQrJ9O5K50O+xQMNi5ri4Fazl/odJ1N35oksNNlinumAobGk5GiLNrmJ0gUtc7fdPtuVGeX9WK7y/jNXt31zd9A0NnCxS56F+WMvtT9B1LRh4yZXBZWizYThXLFpGzDHIEHIgdVK93SScQUpvSE5HxTaDzrrWVdS1CEfWyny5tZpNCREepYE6a/ejGyfSIPbZjIHN8zGr7aOKdrH/eFPF+6MxdKB3ZmiFRDnQtqjf5mb7EN3nwDUWdd5zM/Vdcw3tzKne/prCaWRFYPU9N5/uh4T1xTJDT8J3U1inplQEULWIhJmHcc41szOOVdld+q3ThvR8xh9si0M7BS0ROxwe8iM22Qwflu8l6NdQkVjoBJ0QMsxpxqE5PYvwvbb2J70gvWKi7pbuvXf5HGk9uJxW1ThlF4GW8OMJAXuu2ZCnrtIPL6Y+yfn/o37PPsbXO4fCK/j8J9Fff/8zbiosf+uzx/71bGORBUOKolc2u2RBR9uJbCfR4SVeWXM1aY0VMO8MU0pl3eslBTO6kYBbxQcp+kQeY3Sb3HnmObSwsUQOlXyWLC/1HL1hZ8Smt6zlzMIZ3wj44+mFcyuECeGS3A8VgjktuWjzng+H/440RlcpgXqHczZvvMvuRd+ok5jpOGZ68R+GE7FMwTUht0SIaVsDuYyXsvYJqsAWziHmDo2pMTWdiEEe8sESPFApl0NbTG4kIOMrUj0BfpoXP7B2Q/z1faCDyJNTSWn+Iak5Vp1hInQWkogDwFTaceLd3GaeZWqjvf1Eg5YLBSFawTuJYk2PpGpCGgHupxgWDniKDpN7rT51djYVhgy49qD399T004foDbY2fVmXb8Q0gkYkMU1Wpo+8pdwVgDTnJzbrPTb4+QdydfYESpFzFtmxCNSXe4qncDaM60+p+6OfneYKHsiaE7RFbSzDimg75o1gZsTC7F4riT+KAsdsY5MX/S+ODGwJBQ3J8H/hcYHD4Y4f1TSVkzp2QzZs2hPzbp/gng8eBa6S8X5p7HFlbZvs5nL8clpMMPs+Sx4NMGCpl1LCz1iNdUT0gLzIBo9bO1DjG9mEEJdi5ikJzNyY5zqkfZVXS1njZuADj+9HS0BMg6fSm09xsToDafzRV18CwVFinmU3qHxi768+TkLuGK5ww139E+viXqj0asocr66Q1JiT7L5SUJWocg0PxCiZdAYBNTtLIVni/m6TwlbIGLeX1jifUbhNLKdw+AGdPKk0tNS5Fi4H/5o/8/DwXbXSevEUM796X0H/jFmYJAqot5w4nBbUUWc9hIHm+wFBEyv2PlRcqEHVczWjj0E89k/v7iWHsR0AniM6B2dOC1aSaePRrX5Z4KudeHbVmvfpfg1IKJV6q2Po1cKJlMJWlgkIam0ge1hR6tJe4CKxwbyvM/wKjyV3OU2FRZ2eTXWaNH3bsfDxY4oMSPmIn9x4pxeF3r+Gm2B1e06OIv1whdsfzFToXa7YavDlNxN1fKpBxL8OAt7MQBd5EUBDPHKvmXkkdBZ7/wEELIgigCTURx+aKo0/nERAaPDrYnRLoWsWPiCyuSLVma3SWzuISOmXyA/Z6Emst6P5GQinlPlpYGPVORfvp+lO9yyxIrWc4WygqJx1neiyMXH48gGelrCFoo41ZuWbXk5bRCmsRy8LnLhcj0A5A8GmgBDjM/L4hwW4oltWasG9WSpDn3CJdfsW7guafHMKyoX6acm63u5VMzHh9P+E1vCpKr7fPCdMWpU3qPJkBT82v/uLFipX5LEFIzXUmokUHuvdnZScIb7SJdbtwEFTgNwdoeyH0Ru4rE8mIwoIPQrQUYynS8jV2+lMx+pqetAETOP4NfAJBwlzGXiSUb0dhniwRFAvZ6thyFXZA7xL69TFeJ5lm8sJ1q67fJKuCzMip0sDEbGJOlzOFzeB2YxKkl7uV5kcslom9ufOkXIRR1d+v947ZSWtw/UNGWQX0TZSbH00ZNZZchmWLaULTfnei9XNmuci+ZsBCssg49sCULqj8apDwol66gnlvZNiysslLWxx57Y5Cwq/+wSwosxCkYckOwN6XtenfyE+0hdmWw4yfcekUx2BBGbMnr+r0WeXdOQ/6Q4d7zMfIQGWeSxAoZQK2dWeMI80Xzecmo+pp5tVw7/97p1bTcRVp6uvNT9YGUrc84K8JtDq+anf8gKKP595tbFk/RL7lMMCM4e3pKNVxEGmeeTr+oObQTiIoRQAHdU1kbMNBpiscikk4yU7NQCrKhjY5XalLzrJGwOlQEIBYKkqCqc0xK1uQ5b9mb4EiSxPZBpqoinoi0fWzrAMdz0ce7w1PlQVCV6UYhUTZLvVZghFohpXjiWxPvsVsFprGGPLi3kTBqd1L1yAdsWQtf6QYyP8vY10B74vNtull1h8y411pRRdIAYEuZc41Os31kiMR7UkJWEYNoN6S8MwO89b+iC7KwjyMIL0gylvYgcyS34fX7awN6m0Us/iS4A27TdZLcHU4UPHJvtWOYtgVwQNtlkIezUzWISo6ggPYUF4kFoVJ6zmwCkJ10DL1e9IIq5Bk0LpOeDeBp5LI3dH59bwXxkYkERWq5vc4d+1bKm/TEPFbtjRI/FMtfPYDabx6LWcnZ+nVHYrYkPZlnavCoGiCsRMd01ewzlVCmCK/uyiJeta9qbFaTf1Xwqrm1ml98FQnE5hlOgyMrryHt9lGcpO43isnYQtovibIiyIZvoEXo9Do3vJ4Awa0hIZeR5ZIRmggKDKblwWAwI0OausJl2qUp/yiNHGY2a2TnbBDtWJdls2ZcWyuUCHGJcI2p4UtQpIY9aN+dh4oYfsRBVT/bgrDv+5+X7YjA9j6gbOtrLzRdZRSJFIsjJ8tvPgw5SWUpaLFdQVAUviekEWSOgTM7Cy6+82wWKdgIGl8hJ3vloKaZ8y31IoYPOWZYf7P2ZyApZ1aqIElEyiFpNycQlgqz8RRLXp+hA85oyZuNkU2NrXOR2iC8/2w4O2RAr6hWTb6OhK3xm+/GK5QrU16Q7XRebmubl7KBoYHufDIThfkdUFnie/8zsMG1Wk0ciT+biPgCpy3lbS8yoMF75SEWEz2Nbhix15Nlc12EHDxFEJ1JxHahlmTtHWK2QQirGXbFWj+5VKth1NJds6Qw4uvN9ke+3QbaEigvlsHTCDOgAI3xCTR0v7dDHv51jVKPXXgMGMcTLE/WpIOiGZNv+VFLNJ57Lu7/f9cYsRoKw6maRXr+pRGhs7AxpTJDpS2kWl41K9X/ZQ7ek7YY4oUn/ScfC5CmXymgR6hIh465BKhP/WV6arqo2UUQTtYpzZ+M3y20Sb247+aukq5Q2tByuFx+ZCURjziAlLpjo3mXUftymkIVenIwW5dzrK7iOA8mDtOMq+nV2fQyr5M1ZTdGeanzVpNj602vStXXXUJxFLdbLxGxzu5vekm+R8lILMXiWlsHxzuHRv5MC5dnXRaigyse9bruia3tELsLBwTSbBjulUEVb0DakDwxvtzcinxE/Hh4saA5iWkWeq9I6rE6xkyLZPSta0ar+NXAwse51raI0OmFNC9nKdmXp/R/yUTUUIQqTwe+QvGmSqEa/6zuzYWw2svtlZSIDucazKHO2WxzFY79XkdBpzRntPrzl9+kBL/K7FKTBDEUmOIH71yg9iMru/nAanUYFpMbdbtE0gmeJUEjvjGAqylcOYjpea0xOJ4sOTi3KprDsCXFrE29fJcSCakiTMTJ6G+65M5bdBQFvh1qKxn7ENrm923laZK9Wr+/DuxTk4jonfxSWOAHkbR3/mt/fcSN4t+tXrVyOEbcGdCrTP9d4H28vvvzVfF/4RLzgLXA7c/G+jHsxHPLykOzEcHN8VRjHkKjnVE2fDJNUFmZzvjdioM3dqhso7lXNISJI1STRvISPxMm9twaDveCXpm8Vj5q0gs7r3ybI3AfFuWZuW8sBfHmv60eU6evIVKHMXUClbvZEPjs9tTyKu7GWsRjesU+uRi3tVFT9kj+e4ls9qpmhV21mnkefCSYHYvAcCjoXlbsjW4xlhdaVUuWRn58xeLA4MXzG5MefEcvYR5QFferUtuHPAaQ02W2TGzjedq7K5dkDzdo1aihW0xHyFQ1d2o1zTd2CfCewvoYgPJQ2DxtIEQk7jq14af1/8VHuAtqm1kWEE7mfYclWCXv37N+YP2EBL4Rbc6UEDkGBhjTu2+YC5k3Gh90Abyhl+JFQBjtXUhIVEXpA1HhnGq6Zv6RZKcUqja0gjHDRAM+TXE+pDvclEc9a2sJf3/P/FDaKG/aBreWrmU55wt8wDn9jAwm2BMEqCTgvZ990IXBnwPL86ESky23sxb7ireqUqsj87oMypxmMoXy3QN7oUvbAuUz0Fp5Bo+S3eTAdM2CD2l8TpTYaXDifSBDBFZ97kQJ+IxEKNhGrvJtqhwmT2GruC3Ks3YGaTb4WxciSn14hj/5dsYrZkQZhinMrRt7knK6xNM4UxzmiAx8b7oxEMhccFacsz9mOj5c4WTwMsIqCHjaFqKhivL2kmxUldjr1lbTrX9vyvUguRvkLCu8JxsnQAUp3sGBBuj4eZigokUbK4sBCjT+kM6e15UqMUPh26+qiNmvA7aU8cqwZkRRPbfLioHZ8Ah4a7u0P78QzbUJ3CxKE12kMNkIdoY7QtJBZR+nrnsq2fuNUEE7AItiLVT5u5sgDR4ZrPCd851/h0NS5d6XxISEJOKrk0Bc083Y3L2ozNftPdSfaqpfKC5wTzMAhG/TLqtjfvGy5ILJ9RAUIDBJUJWjN82vAZVG/mruGIYdg2rH+7LkrGYFu5ifePIug7PfS+J34Gy1e30c2rpFKOyEa+Iko11oXClJQyTHkk3Abo17rxBVCfjARcrJD7GyEUCEBtJMNh76ymkOljOvWwaI7xNudGWyajLfdNgWjiIPGZpl1nHr92QPPAFR0m30JqtIuyhwkGpM/5c3RkZHyOMzw0nJE1G3YGoL+5jQQZlsz5T6yvsVlRshO+srUwZQ/uBkvNJWl+IJA+WM5vn5WtNlf6TgEGcrHXMXMYDxL8m2Cj7nKXazGL/a9EsYx0vY9aL3FYZUtter+zT3UPaI++J5jhOwXcJKjg7rTMi/3Ta+wGWrtiB+J2RmfBG1KFMtxChYbLngbVBHMP500wjEeoqnMgu76oycGlUlJqoMmtBNrkgaKwNjjew+/JZ12y3oQIlj7YstJKwDpbe13orf9zfmo75Yz+rRO2BJ/zQimzCgWuwD2uGsKFuuuTesJ6imuMD0XoJRJUGRQ5Rv2mc5Ed/TprpF/p+9wbRr9MUKew4mP6Ik6AZIsco5VN89vXXTkEbm2Hgv1hHEwmFGDsDZ3hCe1CltNXzBoyxtjeCVTbSK/9ylnzXZjXi34q3iTXV75iozxuBEdlpvndMAd4ethceh+afZJ7iM+PxPrMNJJ+OLbXSA/uMuhU5kgI7yuudE7H3bP1PH4W5Bicirb3yrtR2VnG7qUaYPoFPwUeMk6Uf1UXh+Emp8qMzIgj87mrgZxWfqsjdlgpVNtliTjUJX8cPiQjrQgUTL/DjifK1kep/+D9WSkkqZxEN7mtSmUzxeuXsJLLUl9ImNPeqVfvJVH9o6YPJVyCVavPOgXPwmzDDMusztSkheVDcQ/3bjiYvnkft453Xte+oCl+HIiNTf7rPZdvconfMjXKfdqSUp1Hgaw6P1wmPdD/kJz5GSK+c5/SERQ4xIkxqhCuhOdUioANu4/EF6OQlwBwKnjst1E0ffs68GRch3C3mndIpXc+cSQ7rd1m1G6l5FJJQMYCmN9Z4H0YuyU2+q4C7J/Odr12ypcWKhabBRiT68oAXySHhsyFODkrPpyAuwmj8Mz93u1/nzcnknixW1Kr8iN/hGB4LfmVm5yYAnZsIVOz052CSM5K8mh7GL8BGNetbVpL7sDDQIdWtMjuLpWtB7eOxvbII6+3AupvuKLXIrNqum9NESatHi/PlfP+zWpjRtZXqFDhZT19+A6G79MJEqFs0w8dHFGSjtOj/A+lNXIuq5QJ9IeYmeQjynMc1xTN/eNIf2dhAkjWI3yNff6ThxjjBigGqrfomr5FiVWL13K3ixJ2V/f8ltiAJmWjK9dH9IoXsGfH7+rrgYnNI88UmEGWFuoea9Fs45LK2O/nGDFIHla5sPM30AFqApNaTluxu9M9e6gnfJ8Kf+5qa9dMNXWpx9wiWZ6jh7qVlR0ZWBqXTY5UJ9oI4M9/Hsv+YEMQROhWNiEFu/Wr/pZqmAoMsTPNWd1NgdHZNc37oyHQEqSwzIEtd0EgQ0gtkRifmEiQ5t5tqGK82+GezIUJ6CS9K3Y40BSvPe+9LNHgWf8pFVP1RLeflCYmgI9+a4exA6aqK9BGp86XiRBoEplY8gX//RA8t1byGLxrV6IBLNMOcqKPMLTQU8Qnpz0S84TxFKouF0yAot7dsb/RRss+iHaSU3ax0gBs2e3zeSxcEszfWU3PG4vlmKqdiP/xceSRzXJmkQTuVtx/T9kd+bVQzrEk1csQiM6pjUsUhhGFZE8UOqTfmE5INZktHqAriZxoxQomL7opIHOJX/13Cdk4027fD5s7IWBsElLzJtcZYrwvMhir84qSkTBJGk4qDWENUPcXf1zDRHMn9148arDw9g7E5piDl2aGWpY/O31vw567oxo6wCz+YspBcOxpW7gEBljTv3tKe19Aq3z3znelhs4m/NwSd1o6o0VTOyy3r+FY+k9dx1DKrl1KRx81FYmFSA5EHs12SvJulmoS7r5RkBBbgB5x6+Cx7t8f5XIEo6XsjeSWZThElm9ozbHXqZRVZZKWjfPHNY4DJojIBY1kpD8csWZcpdDjS0tiVy2p4pQpCyccx7eCStzEn7M4kRqoU1ALHK+RjeXhBcpmfTL3CL/wVopusJT9QGDICgQwPmHtXwQzpEiBi1oRmVoF75zGKhteddanr8uXfiJW3IyFgDUYoRoJBjyJxhFyW/uqCOPXGRxdMhAm4WuxoJyQ4VgFwqftPtGGYagFpAu97UpkEJ+f3wtvn2oAjoQ3gk95iPO7fbPimKqB29L52Ya4kVLyJlS2vCtcoqpYB7cU6tXLBKWI+b3GzZzlntRSigruqJZ60MhlGcoEtNRMsylE43Tr3B9IGpW5HeGHWGHAfRpjpldzFyMEqcg4v2f9ZGgVBIYxwZ/Sg6iSk+3iy5ebdbwQwrkX9zwVA96R19ftys+zBplsF62R1Sizai9+59mE1TW5WHuLFfhznsrDlJGuZlH9fYGN4nuOGjf+xd+sJfnpXI/QKakP7L6wfdwkuejMU36KNwp7Skqk9bj7wH2BTThQXPuriHuGttQHADZKGG3aNnoquFfOUZXLXmsiNPkk8RZikqErlJbgOiZ1xl9WglUgU0us7xeXS4Ndf2hjjpEOnRpa9c9e/MRuN3zg5Vo+F34/mzuwpHSfOYM26oWrZmZjUTXkchQncawDuZ9yRDrLIt27xpbNXmqjZy5h5VJ0z4dRPtO/tSzhwLilslcBQlzufk9jwkfbFIiAq1qSJ86pgZmMrC1oPB4+R7V3L1Evgx9CKaaMMedlUqoQZpEUkHluA8h/yVmcr2qYKKtJZsEvqC9GB8qafzvjkz7jvLKKLje2fNbOVdP/ocDU1ErTDZLUfPbSkiJLqDdpNhQzgkztskEE5uLVdkPw6zaBRzCELIL8w3eznKwMowZNqzxpJw2QEJ7H/Xmwrs/9sAWIvwowmuAWEYsqCIsSKv7faV+WAiGdif2MOJX6syPkeJeLY77u6iNkJmnYDQIavzkjvxBTuVkX4FO0Oes6H5XdUJl4AoejOPhd5O2LSd1GBFjaVeE7REu4LBmazI70xVBAwIBHJ17cTlVW9+A8ixn6oOr5ECLVcSAfZt5BIngiFPHqsMq1uf/kNBUGHBbHM28lA7Md1iOmhL9h5R7gOYjH2U8h2uzukdDWaZmu2iYp6qWtQpXbkhaRiROEwWb7RECUaln6K0pYh5OFvwiH1Ap3Xitl3FAGhycRTkaZb6ebqF8pUK5kowWMUC0/uinTuBGL+4gq3leqKG5HFtli8NjC1exRIKxIDcAlM5aXELBLwSJD6t1D/BYUSokxrCjpX1035uK/1asu/zkmT9eNe7fjXFxevcU4EaRWHvlajVZLEeLlskKMAuI+ZK3AqrprcTjobuk4j8FuHt6OJ0z7tnKlmwq7quTU57xwacmW1hoZB+IOLBaufaVV5BBg76PsIMokdEbWAwfyF78TM/Qg2EMLGnWLw+x4ayrEaOe139c7nRXJ6wNXUYLaZiPNgnCr7ltE7B0jmKrXTLBFuFjmYhtX0j7OBjY8n7eH32uj5DcEGj12TUkTd/zx/V+QiuN6fmsgvJWJEn+sWK7Ta9My3PmRK8QEzKWZgqzI3nDcshWuWFoMlBhYQ9vo+K75euzOIlUEA6xU+9qCnBL2cFbEluvlm7oMGexh+97SkSmTX83eLM0oidEb3GZK4YPJWk/OoiTHdGVg9LfI3Lth0ZCcTiKGxnOeRuskm0y01O9SIq171IsfZsEhBGwJEJxU1GZYh/QoSphw6o0eciYZ3uq11g=="/>
  <p:tag name="MEKKOXMLTAGS" val="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ANCHORERIGHT" val="True"/>
  <p:tag name="BTFPLAYOUTENABLED" val="1"/>
  <p:tag name="BTFPUNCROPPEDHEIGHT" val="472.3416"/>
  <p:tag name="BTFPUNCROPPEDWIDTH" val="585.2665"/>
  <p:tag name="BTFPHEIGHT" val="115.668"/>
  <p:tag name="BTFPWIDTH" val="254.4964"/>
  <p:tag name="BTFPLAYOUTANCHORELEFT" val="False"/>
  <p:tag name="BTFPLAYOUTANCHORETOP" val="False"/>
  <p:tag name="BTFPLAYOUTANCHOREBOTTOM" val="True"/>
  <p:tag name="BTFPCENTERX" val="64.32433"/>
  <p:tag name="BTFPCENTERY" val="36.66667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3"/>
  <p:tag name="BTFPLAYOUTENABLED" val="0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iWcfk2RmY+GE6Q6T90sFUr0lg9IPP9y8umrse/9AoLT5R0GKq+XM9pr/aTyOTf0wptcuHbHxeyqBm9svU01qeeEM1v0hpSHUgirOnAK/wuhh4R0jlrHnY+9pFyM8mIa/v+EBRT4DxCrO4MOZv053OPZGuBPBkVTM93MBe9Uwqf4aYnlMSZvsL3oxynmN4ZyHez2Gu5Besl3qxqPf4w7kkGjcfx21rtUtqz54pGW2EahJvCwJSTBgeYUe/G/Za7TK2ixHK+x3nW56q7eZo+z2won0JnoKCGwuAbm+KG95GAvJp9MB862hQs23z3qdKCjiZwGj33JaHcf7hyG9TAcfS4Q4kM7UpETKrfjCJJhZxJ/ddhWAVBiI/BwsHAOu2NO7XupYekC73SwZ3vnasUIHnc3tB7ClR3OZoqwvRvi7WVjNE8i7jstHE8EFE75riLXhzA2fuVh20fzVNyVfxbbPrFH3CttRyKxOv8edX2mwpkTyQZLJY8N5kU/nsB+PUxTStFeIFRQWNoPz1BoLk05VqS97NRKzBA3Ii+AdOLaHxWWJmoUMXgHPCqQvTrIPbl9FfXBDKM+3zabQgAbj8drhN7thjAsI1/OjhRZALaG1ybDP4JLADIGIH0+lWb/+YKqt5qDoox1U7f87CNrDd7TrjqoexWcH3oyMX2e2vay+pmwPBKtk/284bYESAvLoXdGp/CHb61dRU3IXHBgldQKaI+DrCdQKiFCqzqxQyBMkR1G+8yZXJCdPURaN+Hrs6AshgQ9N3aB00cBhsJGqFPg71n2votLSAD5zkmQdRSQRHy0lKbZrxX9WNJMhoOoXSDhmP8XHQa5MqySSJD2O6u7ZcuuvwxDw+JZZ4PlOZv9RXSQt6gKrn/ijABEt1Zpf3pteDa23tgJeKudJkntLt5fYgRNEr8aLWPQAzMdzc5mITp3GtsdPHM/8bf6dquDQY0IYQWC91tYEVJC4yLRuRgC8qi3qys8TdLowMGTcgQBgCJrRh1VVWrFjGa74XfYwaYP9gxXeIP/XneSOKmsYiDHWn1zjwhn/bDPzLkBIwXmPe7qtIZXZgzhf8ApP28kj1fXv/N8vQPrfnxAahkwLLeZeICY3jvnERP2UKBnzWxtOeM3Uno4qglZZnkzvFQ3KbzMnZPck6pX6TAJT/35ddOmLBonAwIre1k+7GzGhw0VkKeucIK49v9W6GsavDs8MS+2cEcGt6TXoBx2aY3dGmccBn23fK365xlOKa33Q2PTjJtkWEPZn+2eQI5XwH7uDGsJe/Z6gPVE0gYRVCnPkpu8yIf/tSEfbWCEAqirFqBXXCXkIZ+lHbJ/2jwGr/WMHd2P36xenrjkLWjjsDfS1tMaFYrtecyWBh14CPA5dyz5J6X3WQMvHUT8PNTSiEz3wCWbWQRrOH9qBijjLcglucag1Bt5AtjGHRNa8QB59aQ3xtdjLsvb/lMXDqR/Sh6xxtEpWoMkrhSBwzOz50xYAlOkSe5T/St30lw+Fn8f6OM1nEZ8D08fUlvY2gjOIueYCcu7pfDXcnJ51F79J3kCAMJ7h2CDZiAF8D1xPiqZHwJO9D3tDwvclFWqiEc+GIUjYgzgaL0oBLXPhvFj4c5NBQIXusd2YBUp3czpjwDtDi7YIjei1g+301tNQ8+D7lo3bAk9qUb0jSoTmjnooZqraMSvawgjPFed+U1rQ32Zl7AlKpm9ajS4GylSt5Q2Qr2vGt4AoR27cnyhEzBPLtxtWiDaFKaH6e2YRtHwHhqpig0a881EapG7bmHv/C1L1WK6gqrZhdHlc9CtmL5XwkDJAxjHFiCQggPGlccwNOlrGXQiq+1SxqbO1fReTq4rZAR2N7WJ3v0v+mEoLqUsV9gLQCxdA0rwfeHkk6aJxoXxmVSw681yGa67FcxJuJpWTxKgQjk2FryNMQezgg/gGCPPe6xU1BiHWwCWtmndOjNqarZxq9+oJ09BhD2m4h2zx0KO883Dvkd/9RwLkJE0Vhjw9a4fAf8j8WCKpty4aHCGIxhYrc+b5RuEb9JJ0wGEXL/I0euc+EwbS6/oxaOQFhAu1hhpb9bb4gN/cQD4Edy/f6WCxaZ2/uYMDPLhZcXCbjGaCbx+9enVqb8rj0x0ieJGDY3fHWN3h7hCSwDnOettrQX7TrLHJ/Wnr46/xPwjCzz8pYhCXK2KQYWTDt1lR4uvFNxvCK8jafepbGtmm4Zz4k5td6a3NA9hGrvjTWMzzy6J8WbiFjipbUlkRE03MrU+uDgRxVAdbsLSmhG98pwW0GMG8Eyf58ObSLKpoXIIN5nDDNoU42DNgS2mHwwcv+crxrUBgFE1fghn6fdW3EDJaFCHSWfwA+oIk4xRfeNv/PKxUJpzy//qh9+GWABZjm2OjlEHGzawwEBhzApnzjqLkCFuabdViCEOXOAC2/P7JtdBfF/ZmHfVOnkezZZv8RrdfCaKJboHe0KBvBTVMjdh7TQBvlqQd9lTnx3kiJoC0MSvCg7LPyasO/+cOuXwyXhbOXlFSUQ4gnBDICPoqRhdVVaxQIBRIjvPADrh35g5AN1z+oYWU0vhU88z2E/MsK+kTE4JkR7tgi2CkZLMlVZi4wm4bW5bbiou/6xTSAD+INxqcFy4eqWS3zswMmNNZuz8L9iRYDm+xNruJphLzEsaZtD646Bo+syjfWkO8narDs0FM30PW4ZPERPjb0kDUBSYjN5C5IFrLuvsdGkPwjRGQbQ5puv4cIS5DIK7vbSdKj1LSu4DQqcXq7QZ3lDH00QmnD3/pkKf31ufIpfSvpnTD03Y5ezjZgtw65sU/FXGSw6mOiaeIzzQE/Om1zsll9FU1b/y/YD3XRrBh+i3uoQezK+Z3MsMQ2DuaTZWAnDiXlAsH6v4v3nY1maWkl2wGb7Xu7Mf3aVHbpZI7YnZ0t/LJkp0KzDUeUNNDS9MfHTVbix/zK2gG0QdniDKwPVvrURTK1ZKbWfqlZguSFY+hmUMIsnMSSdfXMXV6knfskU8O+jUTuIBKvO2bMU3wwnsWBAzLt8J0FM9RK56HIG9V+Q7fvsMYZ9MFPJl8a4qM9bObkhEEs58L0XnHcBKLlFu8XSa06JIkKm5kB+JhkcB4U377i12TO0rb7zuglyLy1R6KxPMc3vs0lTMw/oLf71lejYI9otiwLrIJxs7I8HKjnk0reTcLGOn4o13uo+LJcYB8NV+onx1Y9BygjRLYBzvjoc/HBwvIUOy8klB/P29VMfyJg3dxFVcU892fCqRgxSGeWOXygejoUG08pi0NDgYBJ5isvfegCc9BF82U+Bt/JFY2uAGXPd0uM+HvF94nDZ6U/K2nVlqHaKd3RbA8vFX9rzvudqg6z5fC58PVRa5bmYymuEP7k2SZ5zdmC9COcTTqSiCQsgZfX3QB4rbJTNyNznY/mIYV9+5T2QlJYAnpc3L20qaTL87GoM6+1o8eZZBDna6ILdhqBvBjOLW+TPsXA3K8lliDVkUDQ5+uzzgTECksinJi6ta4U6HQzNkyzoTmbTk+RFU8p271fJ+e5oaPrU6oHO4ZyQcr1cuDxGM9FpST2LCPUoq2QVBlMxARXxXt5noqWQWIEwxIEDLuKSZAclyQAEgkfOoVym7cCJ7l25tu9ExlDqGWz4lJA5PKlhNMq5opWunWLCHEG+WMhP3hI/3jjJsg7bGwvJ0OjHcupVjUSfy9zP1FAf0Z+5kcNY+ubjtICflEvRlD/wKTvkWaQG0GBN5mq5sBNl/hmNQMUQNpbJSEmbfdrmoRjVsIn0irNoI9FgZN3p0yENfajYuydjRRBTE2ClsQUJEqD7kLogcj1R9V6FC7KlZiKf+HvbofAwlVu8REYW7/sh+nTZoW0hfc79FuKipne3WHLE/jP6azQ2N+mzZMqDLbNX8Xo5kh9W9prvJBn6lC1i7IxcNcI2OHbFaAVkaphdSokXL0B7EWXhZod6MXu0pImrjBi+piDRHaYVU/SCAo6WO/1XkmUsuk0S3337A8l5PKE2VgupWOZFo5OS5KacNxJbhvZSZc5UF5dlD4gs0P6xBMGALTIjrCCwWkx8Pu2ThjtExCb01NaM1zJhed5nGGQ5nQQQ44cuffswjWtfwJWcQojf13H+Qe5eBhFD4eEBoZocRp1Jnrh9kvr6EUBk3vQu8C/J8ci4lFdIuv8r0eDmxNDpPfIFmFn5hXc6HEjkHLs6uqDvcLGRCTNz2QkqTP/7kJjvtPwt5q+SQcFVoyt1L7SEb6H8NxdBCrcc9tZ5CNRM5KqkvnEbHQob9g8uMx7wI9GsY6mejbEQwIM24zlv8TbUx2b+5r9MiAYyTMFdDZaaD+s+aPGGC0RrHkJpkpIXHe3Yt5ZSnHBOWwq9n8icO2umWEmVU7Cjwft+al9iOzmoGhL5H16yjwU3cQl0+mRjdweKSX0fHohfKZR1asfDhXGhrHQ4fK+RqulEE4gwgv10f49AHPLyxNz6CKnvF9lroUauGpwSsma8JgDMAJtd+XIhkfcDN3GL+b7pUQJ6oIXTbOPpT20G/I/+qcEIgLqpVpsIiFPhgD9mbQgfbqRo8IH3e4oLntgFDG6KWuEpe+kjXVCvNJnCyKVf64GIEklWIlLAh1f6Vw5Coxc/TUz6jz+4v8aPMbrIjijOWfEEwu57hYxOk5BI4ZPnUBpqNiQ069Z6qJ82VoOCdgTcQbo9Sx4vCkPJumacNNguGGrqyULPkAktS82qA3q3X2UUWXBesPZrg8HwNoRLtB5mOE4yC5HpqyL/lNqJfF1Nq4CsARBeZN0etG9vrUhLWBKcjys6jF3D7+iNrl+Hub9OgL5Cuwa+l0+vFgXt+KT5ZinJoBGdjwq61DllVl5YYpdfa9b95BFg71daYQYJxCo58bFI/EoTwmfbsIxUUn9l4LvNqypxfj5nvtWJFUoi3bViQPv1/20oz4MGR3attK2El3JXX9BpNXChgsXGU3EwUcDdkdBX0C03I7mdLhlyyyJWTxdyQTO2vr5BJNfwAQFIrgumIv1o9WFtSP97o7qYE9SKpBXBGJ+Mfb7tlQr5fmvI+Y+otmB5ZQeyd7CO/KdlySOt9PCPT3t2VBcV5xV+yEYDsu2CUHv/xQ3fqsdXtb0tbRuGYCA/YvcSh3BzAcHnO8HdwBb1McTKQFwYaS5sCYTLkViHN5jaYL7D9TK4G+2Ap+eqdgnBilPU9bg2fSMsti71bTW0pqd9oZAClJ//ayGcOJBDFpw1tDV62w2quwXrko/eM676Y3m6OSaU/ra5ACWzfENai7nW67sBYrXd76yIUVwld3e0XRweLxaCDUTpPhtUhw52oyjnzZf17IsPxAD7cUOEGonNhCPw2RWn7tKGPCq2+ie6zJLCc7HMYnM/hVyHFlwepE5Rxdlcir63yxFT3vwu0S0swh5/TotVlRaxRm6IaZmMSQ65Yh0bAgj8rzZtIm0xs2sWkWlABqPfiZokRX+nx2fajlJd8MgD8uSGbaNiWWMvuxHJ6FTAL5AwoIWDnr67dTG5dt8gsUTITBAyJ1rcdc/7dNis1Bl+efPuxxZVdTkc7NUqATjY4n4y1PWlufr/fDk6f8cGreok62FZ4Rrr371DxIzJ5lw04UyXyRHtRWOq0Hjr3mh9C/AXxEraVAsnxCTdSs2hOTOWMqW1YYAv5qPhN5Wtb+5h5ff+tl3iZJLWu4UYfDwO+JS/Nir8CAKwW5LM81KXbB5Fg/6uNji3UnZnhPkFdiclnK3ZHGl2+ufNgeZCZ6+DqKqfDVutHPCSm/BeyS+22Au7VRpsq12nI7K2gC0rXSFqk5pPb0iGuo/bu3B1Ps+WmEBRukFzkBJ5mrAPFa73kBOTBsPavyBXZ7W9ClEPdyO0voHkshbsInVO00aok3RYyZbtBI97xpJXNnzIgSvXT4aR2ETN/yF9B6B6MAA9e34HcQa2lKt+qsnAZWEmQfKb1UAa+PoOVqrhsOB37PHRGCaiiokLULsDyRvQ/ffimffDfQX9+pcf3RTboOkEFJDxIEn3gapGaBKBDayF75IoaCabaqjkFFDE6e0hp4TeLj3XNed2zwKxJ2NQAcoCj3WNoXIWWzOXwrK4ZVOIEjkKxHkFqZI7kKdKJohQ35sF87IPactJW0e7feI7bZ+kHAtyKJPdEE/rWtO+LUFuKOfZ6BW8UJRiMo25gqx+3rzPFdgMz4YOuDN7OvSov3+zMLwADYE0dyuhy8g2/CjxmpKizhFIj/dqO5AGwkwWKCTeSiPBnt38DQpc2MuWUOxW+xflRA+JQXjqQ4JEvYzIn/3x//Jgw4rl6nHkYo7chf5+myesTO70rlbw1ZMwSs076RKPcRUI8QEiQXXjqP6KMsg9EpPwmUUohQ49nEsHDIgryByFQHKCXZV6YjGfqTVVYYCbP/G+LBETiZSymBkkERzqifqOdBgbYmF9WTiCd5IL5dAqdx2ICRV+C4BKCUv93Us1+GQtFFVfYFZwXK7xvv6m8AZAlaefjvZGjB45yRh2GwK/hiF5gqHVwfpDUoiM+4Z3/N2uax4GjQv86XBMNk11MjNmGjoj4ciPKhmymI1VqcF5OSvckj2e4t8GAiTUbZLTa9GUsYjFxedVJeDQHMfdQYiuahILnpRYva3bjYc9i6MWPgDZsMPdZT0Qw3mWyf17CSUOmV1kQt3Qxsj4f50qiEevx9zNCIz3Rfz1xF8487EuaphmKfpbz9ASPqlJBh44RvNZyR488zPPnwmYkvSiEBAf5v/ITUrKuLsqFdXsxdfpyHuJ3WZqMgOlM/LfpDlLTd9ZUAX5CdbaGxFIg/h/pYC6ykjqXyqTh+j8P901gJY0k/sVoMfy78xr2f5RGzo4pIr+EU39YX1vDsxMzh5AgfdfHtXfslH1vsIYvnc3u6FZl7o5C0rGTuFv6ZGv23k0qTAHveKaA6SEAL8Esnc6jAqMocX3k3vR937nfy5oic0kDtviCRgZrCg2SZIruRPxsrKMhO5SHPrU/iqMO7NDas7Q/xg9ghGbbWmtImLLeQssj9pIxExNOegkP7fCfWYOslNl6SqWcgXmG9QOYtPg7/FeVhRFzawejvGZ98JTPIl1evqVlU7w9qx097oK0YgjHs0/YdBoV2XrDe30nRAdIaSPG9wp+bVLH77bvP868Y4EDhQtEI/depOOjr8rwUZWFVP9rMKB3DPtpJTH/jsNGKGuq6atf+UufuuqVOTtJp4OVnP9DPWrSPs/PBhZZBbbmao9MQNKlHvFijPP3KLjX94HZzQ0/RMNQ4OJyj9HX2hRKFnN+2pfyyi6ihZaOgzNzcFhyqSIlV62hLoXyjDHglSLH4+EA+c6bh4F5dM0h4A/yKD/ESbfsqzK7cGcmaNdq7PHWSzJImy+d5sOIT91YY6Cq03a45EzA7iCFseVPIql01Pmmh2ALgp8U9SohDjnJ6nffnIXKOnoiQEZHSi5/51UG8Oxl/l7eTmRP8MFQ6x3ESg/ybkxmr+yx+zK46Ts2tDmyr/SVZtNz24/udmW3raCfJvIGda7wU67rpHGWs6v+qUg85FC7+RIxE2TjywfurUD+gXqHZ5s6hFIfnsCbvKygqqCaj2imXprfZqSNpK60JswqnSsuw6POWYdMNHZDbutKkE50nP+rAaYWdHuNwuoa0Z5XE0WDgpbXJXagfP04RLbZAQYcXs3ZtL9CmdD1MpCx0CXgQZBKgYkYbGSUFp2rWVEqfJVVVxNSdp40l4PjassG2lghqPoUmBqcOmPNzPBU9OR/4mu/q9kwGE08nWbppkl4Oi6YVhyydcKz53jHHnhgzO0wu40jO3tUImY3EK+KC6uv2uFI7AvLTsK591oYqL1CaaPVaf7UPKnSSYsZQO3wxSpGBp5iu3OgSqWXACPDZMKvNB6wLL82abf6eBiNM5dzDmzKaSHX1WROOxj/bTgec+o/8Z0qsOMsBTnzk/5JEToOLtc9JGcvMjKXjj8V5arntgegt2o1ke6s1/nXQXa/3JsIbMsrC3Qm/MrTWS/KC0v/abuFrBFwwPdGBFKlaoS2tisGz0BcmteWX9lutbzAE+z6X8p78Q5R7tCEciDZcz/0snwTMEsZam4MBFVekthDa6+LNA3Kigk4N1bCYPyClwWzL8wW9Nm4+6uTPxmmtiQDWLIupUvqL8YB19E/FespGy268aSW8BOyd9bjtyUgBVrgbXk8OJNPaldqizSMhAHXR5U2kvtBGMqrd4sH16OW6NMhaCd554Bkybc+/S2BELg/qKAalxWeQmTztP5YxHe8+x9LnY+57JQv/rURFGjRbwQjjvsw1m2n5ldEKY3nsd5f9uVKES4KJy/E8Wg+N7XYKB1kBUsSlCTTPOs77mXXc1J9zWOojsaeXbaAVz6PcLQhbA0RCm3rbGeo5P4iprtGnp6yKWoy5CDzqCQfUJuB5Ln13DEa8eH4nIwjMC9oce8yULspnnV+U5c9jj/IZM2UpYdj8TsOC4ukgMCZgeWXJKa8C+ai3e74cm7Za1sRRpZO5kDxgQ9IJh1sffmpxQwN2UpgQFgIBryWCgZ20Q8EjqnktMt1RCOWblkBhw5PupbVgAwFG3ucfOJqoJciXW4IiBHuhoSOqL4VcKJMlMQ9OklSIDm2bZ0ogWcmV12wSTOX/mvxefOYrXaxauRGuopzw0JKPpCf5+UW+LalLg+YVXMHcwrYjHjTb9e6qXSv1uATH/Xp1+ikTws8cN7RzuJ+VkNls5RMnF9kuklMTceH3NfbuXnXsn/akRhuHhY4E5HzspIu3YFznLryoKZPDNj5mvFbqhw0/U5SWZbxTJIDqb6s4eKZA/0TamJBGwR5SqPg7Bz22m47dB2VrYBIDXkxDMTObbnyoJPWOfQn0gAnJX/8pTxS51jXyNs4r99A1N7PDtvf5cOwocguHYYyFU2iIqGUxrk7zgapEnryxZETWfrq9kKwNDZ0NShVfrkpNTSLkxo0ZDTWrVOBuCqHu4UonkVuzuWEuHQA8JlSuxy6LrE45zRlUlppUZkHJ7q2khUH81e0dW22/AtjruN1UUqgvX7IQ5/nRp3EONHJzl7ecVdl8YqImaB+b6DJI1fAYBxFY/gRA2w+YKy4eAGS8/GY9TS5qrCdoBGJPn1cRw/UrvPzI/aUMmMsR3/JKVUucF+t5gJOegH4LiIQuo63XeLCssy5j0b3+wqf0a6alXOnZmcuTxa4JWrBdgUFbPMIzLqk5CJinxkcAgxX1ey+I+BqP6dPDfmzjUOl5LyEp/+uVFoVGTpHVR5AuTfoBBsvGqrn1E0WIM7fRuipfJVIVFSxk+saf2/HqtmQDJ4owgkf3QTmj1fb+XY0z7tCwCtkK+PsRmgYMbso2gVKvBq2c3sgU9wbyS/TJW0gYgULbMZco9Acawq1M6HJlH8AHmBbeD+lvKgaEk75UkmXlH51czs7LPEiCaqFskN/YRhEYF7Nfc2Ze2FUfmJWSteljhRFuoJnOM1yC7i16NMF4c7vJ7/wFly0ULOoZrMZ7A5hjH7aWSemyvj+pWNoWIY2k+F32efHoQcxOUZH7+bK+ewcPTFHTa3MzbtxywxWcQ06ljuK+2nbMtOBih+Tb9YLjaB6civpEH0Xjy/YzZAZuxBEuglbyTCjlxOc0dbdbqYul0Uz9XqEacDXGGfqToII/cF6VinEUbdaE2B4zKh54JQJ5SJ+pfTPEg0nhaX0IRYuXSA6VhLLW8liYiPvHXrQIM0mH5Rjnkb05Acq5gih6SBdmMVkVoMRC7fKDTeCLGhi60ev7Fv2Gt1dQXvfCvfQJBdh/JE3NrDjO1E8varOZxU90eBtAU+ifu+ZdshBNbG8GjANyJ8VgzaGKidKONUfrgYWxduFurbw7nbSYIVcAxeI3Msx4nfY4g2/nnX1/1q8ICe1uk+fvL3J0xuVKKTmii7xKSmdExmpleNaMS/rzB2lZCYCwjFlASfrnmTQCDW/LGgIt/fTM2P5A4IdA/MWVZX2dhcLAARzRzITg3/qFAZAK2P40WadAGIlkzYM1PpGmTVbkMJo03rmkPDWO7wI7EY9zIpyr3P67plCTf8AEpd6pP0l8Z8GkfVfWGGnYWDu/Ai7CibAwGO38LnWyiaChhDrGQuzO5l/5stxqErSDq0Q0MjXnU3u1Z1HuGE7S8alaGeS+kzW+L7yQXS7s/guxeCZo+ZWH+cvFVLl1CuJo1P+DvMsJh0Tr4ozTWI903KhAagZnUs+FK7CYF6j7dFqxaBDd/3bvKWrSIxysCU3H8XMyIa8+miW/3YCzT6Vp40qavo7E5GP6M6j+AT7Ph8TDliXWFOe3FJRBDfVaFIt7xkwyvcE2XNPWZFPaykIr66DvEOl+5UlzdE2/kM5CzyP3X8NxkYT7oANZmDIVw6vN+mWTiJOqxpYt8WY4g4E/hkUM72CtsCjOBYyYQ/qH9IzDZc+8+rAXjk+8FD0oP3yeZXBu26bo01uN6dUyvjTveYQwgr9Lm1S3zeau5mSNTNJDRrkwHRJkbtnu3vtz4L9/kd/C1lOoYWQ8V2+06kaddNj7qDAKxAmLkGGWSxn60CYlhldgV7OIl7w6zq21GQdgfEQK7egU3nsksA4K09HpfERApfwHzHEw4OpF2nfsNgaa3dyyAqwmzbZZCMfjbRDnTcc/KFAZ0+ekhzWL/b5zvi48n3RFPNumEENEa6EFmbYmoRTe6cDIsfdsQckI13DiDOHofkvOxxtC206rRut9J0Bqo2COFVDyFufCGrH5llhTTctV32Z3Omrt0GfsmxzCEaNQ1y3uZ7T3mFy4xwUkS2jLj1tlcvGkpcFC9l7b62oU/QsV0vPhhCR3eeRzL067LLbpV8w5f5JdBvC6F3v7tgypv/tZw+EysE/Ttv0hkW4g1ABisgQwhGULXNL1Ky3Hn1raDt6/IMhuRWGP5C9Nwje0WcjgLTqmHFJHQ7qalZzs6YG0brnFZGS4OQbBAnCfqHHJC71xBzNV1sewnm2uOkNJuW8NO3MkS/9WnXmpSHwdzujj3+r1k8EcRHuWX7jjJrQ/CsLww/D0kMjwPN95+i2bRXJ1Yl+bcIpqCX44nN9r3K8GJcotiCY637awIqQQW8QzmauHZb30NOjeaeoKujqw9WO2iOJ/aLreaOuRriIQMNXZ48+NL8phwfWntcWALDY+oDemLYUm0Hqzxt6Vpq0iFUk/IPtc+qORyBfoFEnNP75m7t6GI+sN3Bgi8Huoys8qZmFPGzkCgxvwP9Hd6N5KFWCO0GJxpNNdU9fxIzMlyZTRHP4wOtXqz3YN7lHX6aiKed/jn4iWtv5gfLN5LImVbdLiVAr+SkL8GK28mjRdgZaH7EQdP1Su1TpBepoKmgEx1HwUhOAP7W26SK+MNTOJlGsDqTtRfFx9Y7EB2rnz6xD29ojh06zCdf0nPgL6eM7rggKG0ZBVeeOx9KAQlTcXCV7y4a0wpSmxVwFGcGSURFJ+Fb0wgi2qgVrfZY8258Ig48H6d6OuHB8MbPa0nBQu/MO+ITT5BKoHt2L9rT0ScEQzB3lBPs56XmxdsIqZmw4r9zV+hNvrFtDFAuunjFRAwILaO88uuQn1gIh7HlXocj2lf762b7iOx2+uWxeL4NnPXGA/1Ru2kZg3JTcnA7owDCFm1TJyAenOdx6l1X0TtgLw3Sl3lGU4e31Dk0eQiD9BRKH9/GfCVSbMIU7NPh1HayDRjzFb2RqpuU9IPGcae2Qj60ObPleszFHn6zO2410rFVk4zpz4vsSqcRVqrYnP9/BienG/NDgaf4aJ5jYcGRjdmTFAz/nx+TGGmP0KlJA0I3NQ6n+GyBtamfqpl1RZ2gRjLfTAlcm8PPRqOBkp+m5BHhYhECN3+X8azJZS5sY1cbNFYfMEimXFzH+Wsv9nA8mi+nhHpUf5l4YYrx6sMM272TKErHiBD4M2MNpnMtqq0VXMJon/8B2PgQ3vHKDK5j5NcEEJRjZPF2iuOnpDOk8mohfVpiBq4hNOINeif2oUpv334AZXhcUXkt61QJMpjCDv6GnuHIIfJDQqn2FTyGuffyQR9vQmFkOgIZxoVOF9mg+m15ZvQy0JsPVoMhjPXOtVVZrUTpThiTOZTBOCM9H+Mc0evYa5hD9o0t5Gcv0Lq/hUESsWggYVXfYUI6ttvGDTPQ7QCc+BgZx1M8lDztLGK1aq3xn3vbc1yI6KIAyEA1n5TqntjFZ7KKdYToh7xEeX/gtZjYga1r02J3WCv5OME8fkjy4z0QQ6drMJPCICoahrGHmj+mHNs0JpCrE3KDVhf2LLeTqrNQPy4jTB5hyVYLPdmlEIBKT7peGyPBWz5PdfyCopDd4lMq0a/Fl9QAaiI1adWr55xJkCZ/ntR0mG7qtU+XJQfDhySRKRVOP0ckR3k1bVwI37morU9J+hdFrvB/utQS99RXY+zGDrcf2jvCBfx9i3QJzhBgVQdDpSMxeZ6c2s0LGcv1qdZ1/SF2EB38DzQJkKmWHPjwJprXY8RqaTclWwGDPBP6qSiQs+mR17lHXPYsfWJqIlRTBpMyDms6stxZtvWh29VRayN05Pv5lGpjMwPTORopn8r6BQtyHHm4w5cCiFRFQXNjXmw124EegQKCfcg8B+nnj3PBuqzHz3IzzGndXkgrjTdvgekKeZU1U1oWau4XH7aeZC2/Z5M0cFrlSAI4dkr7+Mdk/+rPc2+9sI1Hbr4jg693W+IgVz+lN4k/hWzY6SMjN9aNXFW8SLi6wxHTa9lSAsHUhJ28+BnK18i496ttsNDRj0ExLDWvyFP1lqurvy9XLOnKjBrJ2i6z9qRWewZEmne/cheEB4Imp+0zv88q2ciI3zvcnl/T9UeHj9E0SNDKJAC1SYtdDurOf6bT/21j9sXDXkZtGjHoLAn8LQrtvFtl03xRRK0Q8eKYqwW31NNOulcWBLjvoQnz34uCR4ObIO4K69De12Hgc1NjEGxmFGP88no1IdmV80GzCWNtLZXL8BkbUTcTduKTjBQj14bUnMWWjzbJDZ+V1OnWo+fzvoXE1wQJnyK1c77fFSCaXH3GjJa9qaOTOPAgb5ykMXVdD3YMrh3KE7v7Lkpcs0nJ5xTgJJSMxtWQa00MwWHKPie/+7ErrIrP0WzLhuZwEOKZJcpjR6LoNzl/AHlQTbS4qD5Ut5aDMvbeR3njKTbMGCo3evy+twLVUriUHhoD3Gz+yqnS+ipq/xSoZdbMky2RST85e7DA7MGTpIUbvgqfebms4UeYq3d+binA/+8mNKEHFuoJDAKmnBBtMqn1I+8/CEXPtKXEc+124lhMrdGIaEMoFvjpKgO7aSRJ/ZN8cBmYWbmkUb5wr6bKQQn9zTawREJR8cx6dtmgkVb6Mjn1oqXjUgxnVlvLjFP49+in3MsFgab0YhOJsA5DEzL9nHz9dEi8d54Pbbxd1fdtf1eR/svTSKZUFCXeclAk8WhKHL2GDixmrfQ4Q18fvmc/wLyigeu9AJpI6maovq2CHAoctrU4Mf764iK1A3X6tlPylrDZxRZhzgcIJNOTYmNVnpHS5u6GnbMXaU+FjxDe7yUFpBQvzR8qUVMrD+WRJp66mDNOU8qZoqd6swbXFVHWy+r/aKR5vXjPXzST3O4u8Ss6V4u0GgwZcmpL5ioPJ4HxU7xrIaC4zlYSYHzJj4oop5KSXdw0HUV600f9Hy9QOdvkhlPo4VolYd/awtpSNJJCIrWVqt7/kgwExVqTTavqHXmDTDz86eI2qTIXZLq5MwjmmR60YXpiDCTXnDAY58LH/CkvEBjsTWSKhg2/bmudsWGETSN3Lf/A5QJ0hKi6Bs65qlxAN8k/TxM6zRp1FN5P+dSIKRGewV9B9aniaU336VDPSjdwwd/dVP1eoCSiehYVvkyC8Al8YtwPHAtmRsppSUf66YG7jwkK8YZewE69hO8IzEKA1NRflQ3YAppegtiaM+dZdjRTgXgzIQVrQGM23qdq/w6L7tPLrQKPCAiTPs475ABrcvIZDYhaeGCQFC7adqSBCPemVJ4y4MVMtwZa8uF1jinaKxjoQM16UYEwcmn8P+NuW/EGBrxz/GmWHL8xVvKin3PqImPum0NTM3JR8MYrcSD9f+DWwL+J8jTx8eJzHAVyjVSuLjWvyTqnFb5gNVxFCC9FpEXGV+l/dzHGtLLCywaOuRH2zHet+jk15WyR8fLbAFSgtlPlF0E8KRURNlLQ2cQKSC46A12xqgNesnB0usRfOdpvewzt3oCYJsVn2GLpWmCjjmb67fKPgstcLUimHlmQUL1d3amghhszPfIw5epNC27iWyG6QIKWM5fqjprwqL2D2iBN47YnHrDxX55jcMHCgXkENWmaii/oAqTnjFwWLvQdEGFIXJYQq16idL/0QMUJHNAG3gDeqnfIobnwg5AZ+K1n/wZlhwl7aNDnrxxkGUunMb4OzoycUm/pqDEiF+RBvX+W1TpL3lZn9krdBG8BSv16sEiomjw1c4P8EkgAPO0sio7vHxpjQBrN9l97x4m0qM1s/SEUglb3Mzai3HGIIGr0UQmy6qm65l2Eede+PYPyTCwqsXE4WnUtCWunAO21hbWLo/9iuwvM5ai484UeP7ciB+FZ5jxFDg7odpeyNZND1FaMBGSkRgaxGBcoDlNWd7JY90wQemblIZT32XZMD4k1k8NpX9fjJ9ocbQ7cNUtAAepNPswqtDgXEmx5TfLqn4NswzvB8U6AWEWTgV4yq/TNtrE4x1QVD+NwJmzMysKmqRXX91eyyscw2RjJfZFlxQKJnz6Q9GpsRCJssBivx7gXpFm5OxSYLryjZuzLel7goLK+BeUygcu8Wm6g7goSEuoO0X96wL5pMNjhdQG0S/8RbrQCsNXLK+pX78mAI7Wvzn8H53cAu9UEmOZA+G/mnXHthY5ryM4mGnC5i93pZL3NjpHXZzeNY8XF3wAWlwg3cYPiPPkppJG79DhP5qsZ0Gb9Wo+TcE3B9i5CKgl9F2fRMBpiIuDgoa1w9NqZP1XsqZLxl+LzQX/A5CfhId8NUjG0wcU+PG75JIfpRiI/sgjIzviOb06XkOWcoWUgQZXfiW8GsMy437CMaO1i4WRL+xo1lMB7f7QFAPAtMiWXYklSMiKucURu+JqCOm7DxA91eAkGNbmsgss6UezbvX+QY8g0YolNbpW3HjvJAseaFAyOF5qqht/W5lKykdHDdFiU2rMCp8zDsHpXPzgjMuJUkWW7eORE79N6TZaHJBuCjfRYWb73dfuut/arjY0BdBycaI/fKHtpcAF1I7yRykf5FWMKBN9Yzwg28Eix7jlRLQUYLJ3kn5XiQThxB5JBGqmzw3mfwVzKFOvaLqyHjRFYG9qSaC+KE6EWic99TCJcS6jMq8jG8msS6s+RrZlioM+EEIMfljl5b3v4hpOAdHlQyy4Uue0iKNdldg2Y/8F943/8v7FQf90i/KXGJDM6Me12PiScP7GPNXvHErt/wJBYUheU+lNkQnl3k/kZz6mMFR5HyaTY7X70tMkYWQMMiq7HNMSY51FWj0q/UOO3dxKO9lb/M10COEtHI6rNTkMCzN/cXK7b6+0dBvfEZ3Syt2U2uMFGSwUEYFKlCtZJd5FLBPODpyQ+aSHN6qFwUTB5OKKr86DXSdpZEZAavh4iwBR/ip+5xF6CS4o5othFe+iAZCUOqadxCGV9FQEdmDBI6LViEaaf0219aTTjSIjBhjg4q6dZps6T+9MHuP5c7MwNLtEjtJPej3QPRSlSetuXuCvBapFdWbRMG9hdKKlTzC5p8rhCbA1Qqi9778F3JMD/U54Nz2zlWs3dWuge8+pRgFUlTAtXfGJnBskO3BIOAshTK26pgh22GVdjn21Oq4NEpKf8ITgajz6JjTT6+GqJMIchGYoXwSg9ddlKXt9imMCdhiOQV927bkS5KOEDp7ysvuCmJStAPavAmUVxAqFE7uCqq2p8TMqXQThOvxiAjbQjBvMSpvDwc4YIY9X0sQQFxwQuai/Ly/nJw2BBIrfW1uFvwj17K7HHqG2qffT4bh66rtZ7lNd1JpWor8im3bERm2tqgx8eVrrh6Y7d58fMcix6ayn5c1qklNJ8yJKShqFO09AEA/IWLvaDEj3Mgr+mjwUjdvR6Sp4rKsp2IOOvI4pQKuXMwBcM5LORhncbZ33nVSfnz6/UPyCMxAXBnxLpWpDYLU1sFyZA2h9PVLdecv5czK7e7HYjLEBL5Jz9tL87/H+m4LB/feHeg1MOxybypoSsXO7djTKtyBA7kBMA6fZk+3XONsUb8gyUDF1k4KysvsESHdYGk9tE6IjWGSLyw2hu7e2cprhwMKxcj2i1lcY4sFwVcAhUDP4YfEYX8kaEZ26Csb/v64ujOAe9G0CaZmQQYaWIizJn9t/+X5wnK3HjijS2bkrs0IEmLxv/EXR74D1IF66xoYaOirbmqke8TE2JWQ0rcMtOiBbFI/3mZSQ8uLi2MB3/RZsi90gpjHmMVUoyBufbDLIRgsPktp+ZTzSz7gvM0auBNP4RtSfeWWF4R7g1WnLwf6ayRduF36AKOzJjYpgoK8ctNDKYEdUfqb1DyaMoP3BRjifVUvz5VkOp2QVaEXEHyF3XW5snlDnsML6q/H06N3axmBTQqCMhWo68rTp6sDKnDYQBl157UPsFrS4BJaJaujR7ULnKiomloKtZkENFn8cA+I0twGjaREatn4pvZnqbsrrkTbOayXJWzhX9ZFZw5cAEqMKjElfvkZtpHvnwuTX7bEPVgmYYmtms3Av0sjvCAUfNU/TIjn7dsG8bfWEvGL4BAzNPhxidLlr9EtaMOSpPT/tYCKF/6app/IsLrwhVjuXlrdSectmQ/6ts35QrREXvb/nkk7AM6LknbZydbXLI+2r+QjzTVuM68z6mDCa2TLq80lNTXePIv7JJJbZrExagEzEJDLePgdvFfhPheUzeJI4xs2obgY56DJLySjFo0qBgLiLaZ+RQopHgAB2+Nj97vzGO248BfkjXKf0WKF6B8a4nbJhZ6ON7xVkum8LCDeAeJc8G6ZtfqVUELtJt29zFe4hJWsGR7rTcywLo0xVKsn3YibygSsJMITv9mQ97m6M1TK7pbtGWfpQhfzwpNGkSfKvURP6B3zP0MItsDntkXZLyZuE1FTdNFmwlLxBqF1b1Bm3jU9iwySeMDkjTtPYE/aPqzBmGRGupZNXLeDnw08c/EAKDcQluoAoG+z3CKuj7doA38eCUf++VoP5393mj1vELqQQ8hMXuYbEu5gRG82vCDskayFS6em7TMDjp1ZONtNco9v3lYda7q7MwAAWftMPypPGmP+4OwQFv4XZ+GvOJOSyxYV4XElW1cHJm6FLbhthOAZMk9UYQV2odWlTM64n8Qfde1yfVlwC3PpJSJCmI1B8aJf8VY6LxBqIyiNI9/MadVNH0rhJPVzFUUXltVlOc8dIxMnyMm6hMzaDwOxIIHcAGtBeD9Y5QgWOMG6IVvkgNMXtEVRzBmKJKIbko7xhlkD24um8oRsaxFeHVzWWaSmypX41uYVqfHjlVUxf+eoQsFZ/obddi72JbRwqd5DGaILnTN4UAmG58ISBKFDCk4HERUvdkg25mBfuQ9zwQl7meIEfOBDcRiFGCfxH96u9XPZfL2cbGCDbeycNabrxd6BO2C5llZaOdtvjRBABsqBGh6r7lVDOIz7lrCQ/y9Ptz11o8ZK9MXoVz2LgqaeT5jv1Kod0hREyIqPo7OKzsr4iX5fxkiJUxXgbbKO4QPB6UK/8IdaqCgact4hGrhP6jymZVE74AMUi6r+kli+89dYDqitG6VZpMx0F3Vzi96BkZe3uBZyUKzoUIZZKksWQsaAImchhjhor9jT6bXn5lqnOWIWd1WleF2Cg7mlaSuXiH2yCuODPL4bYAvTjj444jkAnJkugNxvx4hLwx7gvQsSp2u5ieu3lQZJT+kFAtp6jkG9FXm8ZwDXdPNxeEB/A7JRWot8rCUY4O4P1RGt1C7E9Rm6F1wMKIczL4ztxwvKnOQ354WJ83ycbvL7e50flzYPsQcqfnk6i6Dn8JuXTWYO+qWBlVBiJWIZndUSjI73CISl6s3Ae68prVK0djZVqVZULW3Hn6Ix7lqi65odwBYT08HCopNw1l0VYsn4SL+pyIzEVm0wT/QgcjtMmjBViUv82+TUQwBnUogYgpK4w8ennFtt/38TKvdDzd/Tc6vJ/JWqBxesV2yZxGbvAF/foKEU27JgvLwjaZbcRZ4jJmOdE0adQ7ITpNWg+n6xoduNX7BxdBo5Ww+lgyaYcNQ2t3kLWxnix0ZUOuSNW9rWfnVg2V80pgpRcpCjTUeaVxFFeSR4lwUAc7OZSq0mYT1wWo+9dbSYjLxSrvyXJv5K1ELJI2WIgkX2TsjfrozFNfEhn1v4TZMBS4H3OUN3uANqXfPBK1JjfX7TdYItoldBhPcpC/pFk0weQj1LIug4r8LaWfqvZwMH8SMeDWMuAcxiVTaTPlwF6HCd1fZhCy8uSwfXU/aUWWRTIIRV/T1e/+gyre4nU1fqCmzvkEo+lQ93j//rAe8KkYppJAS0G+dud4GLpgkV023+0Mgh/3o4DBc5sb732KY3erER1cQdKXR/M99twYdw8Kcu2L9X2oKk4EGtWvHzgmPxEm+SNkBPscxg4Zwpor5CQRMNA6CSD2yLwJLbqFlYqwUcrv+QTxyQJj8vT7DlLI3NKOO9ZAv2r2g/uvi76wa93JACTYZYaqXUfA8CQtYpbON2jbbTqE5U4Jk358TZu+XlAqAPWkU051bze57uyZnvglvwPWbceZZvDYL/N6ME0KvxPYuTtpMTmwkFbq489wjl517LcoAKX+q7/nA/ni7b2DZbfk+yVQbXqbtIYJaVoeDk+zLPtaDLHAI0a8QLPSF4FZdNztfKkSXNC8WH1GMR1fOJBVNVrzN6dhpGf1OKuGdKnYDI4fh6KWBE+ASaVK0xbvhebq3Fc2kfAOToqg+zQ9CxVD23zi/EwhAxCahwiuASA9mhTIA0/sfHIzzp7ENYqugmRzopm4VRiO8jTy0zB2kkws+adQz3db5ZuWm9ZsIbCym9lxL/83QoCsLEAiv24lPULmjlPdHhmLmRJrCjW5CRnPtMJXGVepTlYGMdVRquSMiMEhDOIfPYXWx+7WEx83M3zprd54hLHDwnoo8pR6KBG3sKJ4cO9QIvode12HpaO3PRUIkIole7ZQckxXIDSNyWk0gTVVxo+sjSlS7RE75shr6+ItE2AccWu9EnAV4c4GvsAPVsKffq2hg696WWhAGTlP0agdhwy14x79Sr4kMyPTNWEkVLHdr0iWkwMgN/PuUFGk51TOZoSz9ujBcszzCz1i+tb/Q2YSVok6YmWJPQg6qXmXnKViXHKO3zwiDcb68qSCvOzejYk5IhbJDRUGdT9K4CesFenFhHJT/azj6wsjo+3Z2OaiAQfwVrriQlPCkxzemaUpElz+wjxuuw/7QpreJ90Yft7szoVJYTZlBigm2ap18wyzG9eiJ7SduNWj2QChg133DRGAS4dnlW39pTDCWCgdkQR/EeDh563oBj/l+5CJOqF8Y+zioL4qzLp8nMky4Uq5S9GRLzJAdLMsWdSvnNPkyGBIdH/A01zH4WO9gBPjPaTVaboiiRsdrfWFdkG/RVEqv0kykMijcl2D8zlGjTWvFg8qO0s2SBsL3W8o4sRGRIbMWz0UBtDQsm0eTRjbxWp/jqGMviJuPTqobRdWa9V6FltmVaPHftk2ZQwlRtDhGSRABUJs/aEJ6mIYu46P+0jKwy6QgBlxikrxwEeZYZhy9xkZYMBbCEVmMtJia2vypdrnIyhqe2Q30YTJPgpBArvJ2hpDQJHMgXFuzqmwP4tTh+0Z2zPB838iyqzwoTqxXfHtG9fkIjUUR5zInJ0imqsDNAGPmtUoGgWfZJVMQx8ardAFXKk0FXshhV+z/AmdG0iqk4HPyb7+JmIwgjS2E23/qrvnJ+KCWa98X2achXiLYD+EUBfiE10ub5RCtSIk3QCMDQ14AjBFuKwRrPajWz1VDvxsQKCyeph29r9DfM4Wbvus+cnXE/g+pVxo/Yk1q0RiEeju+2IgSZ/mAbArUwNSR/FyJcXrJYdB+yIS7rWkpfkkjr0tS2H6Iqwn9wOj42fQ6MrA+PbAC5ElHTrFGUPQdKHzrGvrYESIctt5Yd2tbX9ON4wZErN0yCyKB3LshsxPwzM7JF19AsCoaZXKrOPgt5edERx2VcDbO2R9f9rvk7Mo72BMqwc7+sfH7QeZjNRsD5j1DePk1KZ/dwA7W/vO1C1zVD+MWQIhFaYW3pDrkd7yaBJ3COnCS9X5gDr4bc8kKqc/OJPOHFQWsqr5P/KNS9+/7p7hKWnGKXUsCS1Vitw6Ym2rI3TbJsBMjHnuLsyBW7X3tWWyJMve1D1K7pXI0exMyZ/33svvppla1eVakWX9319JAuo4Bwsg7oLfeXe52a9BeW8eFRIjsosQH+MuOQ5ZhBmeIIkWZZx4i20JSgiwUam+FNb1RsIzBnCxRISBD9jEjmDYLYTQ14aGD55n/0dDhCvoZNKZ/xdol/cDisGTn3beH+K4LkHa6ACSrLJEHtcdMfWQRVgbmJ5+p1wGqSwxsTNKABgrkzF5poHRyOzZMWFOljJop/a7bWjukwz3biCFcojVYXeGoYMdfPPTLl8mxsrR/Ej+do93qDxNQJi6f2j3lPRyb2qsmpoz3u0uLVlQgO1HpiOXqnALoDxkTxQr0/daQFjL624AXeZzH4aEjyFrPEnyuiaKBATvCHFILQzrYFUj5ihHAIQhSFcoAfLDu12o22ndqEyDIC7dsFI/JE0q3DyeoBY7x0vCD2GU8Jptt6+GlduoclW4V44bMFnJobMNk+7d0/QIMCgU0KEdq1hk7+oEC7D87cQijbaJgIlfojhWXaKZg8VKwLsCT2o6OQiJsq1s+p11kzcViL9ZsFFykRMJ5SqvkmKeDlPqTArpKHD9UvFA/GX9do0dAFc6sj1B1nlPL771yYSrzvwP2Z3E7fu+AheF2iE8YCKbEHggolOPD4eIH6gi6cw42ObiNYRIKmJmHA99DxuD8X4JcIfUCHJdM22NE8PtwGw4pI6j3K0Jm5gR9XjXTcOMrIweRux78+mFdmDrxReQcypzNjPwDgJb+pnXwDXQxfl0c19+q4cAYqu7Zfl10MrtHNRLPkvjAXe2PpUpYcih1JE19W+IUfQVsfwX4qFZHNGp3UJ106sfS3UK22mNy9dQ3Pueqne0u9CP1mLsZkumvYTtxui7o/aQxeiNKDztButQbtFuA1FDYTyIye8m7K3pvOanupdwohU1JuIk97Qd0krGYSLUCCRHcptqwkG8vycpgFy7fABPSI2N3im18wRHWwx5tWiuzLcx+hondghBtlnzOUhz7Bc2iNvjwPxOVXUY0kXPeIbmDqPKG1Aog+ZjrpiVCDP8n9XtWm2VmbHd1wF+eSkrZ2dgot0T1sMyA2CtovC3GZ2nYPh8hrvorUkKPqLiKgsUMp9/rtbC+d1bg3PObyYHaTf/DYacpy18uxlbyRk28Z5l+ZX/gF0/fvmbNkl7MfvIMqeZqU+iIMd+SodcNsgT+DFMEXG0sDnyIMGNO+vsWKnaAptwIBNbPvavmfYZVO8cLQBgX1VqXE+5t3q47ULJVEd/txX4R7cij6/yUfPSWBuYdsefMQMO625cZU4Kd2yBWDYrNihaERbwbHQqDJSB1SVtJuAet5mQYCnamt9u0SGhzDCfGrro09RhGLrwmWTdsTbGWRb/p2/oBgKHBqFM3PVSgPabfAtnSUPRps1Ch0JTnHjcjjh5pBaG/wLjgu+ZAhk4XnJcuDgaWWmvJDBfacNcaAeemEaQQaeBHK0yjmaN5URyXxFfafthCGqr8Jzrd5COI9f2883R9wD+CMZGYxnqPqcu+j5Qx4OzH1MrS1hJIaZ7qNDOxh/37FmdB8bHd/s5+kuSCavPAFVbyOhnNrJRjKNg63643VnnI8R3Kcz4e1eDRUQi+/38S6UGDzYoNt+2auu8Ml8B2h2OsLtqspGLOvaUBVO3zWF8s65MKQu4i0IIEkMquLQI7Uck5ODGEHQp9Vy9Sf55+U4K2uEblLvTqrsYmaY6lcPKLjoRK4xf23pwwWrOxW4i1O/x6v+/p/6qjozIvL/FHahZUFL9Qfgi6cqkJg1Tk7knAqic5DsPEAI1py3uNxwZ16Xlap8reGgi77mfMtVZylf+tUqc+d7oluPCqA4Y0wszzD+flOr4JF3jdIZmlDT/GdXQ47zd9kOOj1kvsOH1BCId1/nB4/7fEn+roizofIKy5ZArXO/k6XA/50LKB3GPg6h0S6pUMKazXRwbwVrNz3Y73ArC1+K3ZlDk+J+0LrUmdDQdY0elrAWakXI/2mQkrThoPc4Ybpa2Q7wjAZ3/VYAuc92E6L7Wlv/yk9TbNg7j6qukbt0bmGm8QWgOp3v9qi9Xh0jAFKJb6ACXlibC51z0TU6XIIxX2nvNMtaCSw2GwedZCF8vsQXWmJcAnHLHXEgNz22NO3T8YNAsZX4PC1aHo/RCE+LGDvJ/L7Q4CXjuDTXFwugz2v+k0VxRwsSa1QTsLJo3huSNuNsDc6/r4Nw4dfu2NQGWQiUBIEzXvfTn84JER2v2IRbEy5fRun6BdeG6uE1hHzaw1MHn/juuwmmeoNYZcbVrREzOKaMHy5xZyZ9dpIXtTqvr2B6N0XRV6+iMNgubzn1z1v8yMaQfObRdVG5SgtIuDYC/LzIsPHOPLYtEgJnSr5iWwt9NZWdoVoY9CNepmOLCK8wmp5NlO43N2B808dmRnuiTBniNnhxTHpp4ptsu69DAjzYPz5enfFfwJ1mfFlEW+WtWdAufib/yaMUTtE3lKMRTTT/5Z7XIXCSIWCbgkmnTI3E4HHPVr5MTFVVqllombUUt8ZNpqMqHeN8F1BCKONDgEPXN6qaUceWjZu6oJU9slzzPdL1YZoyFUdCpZS/n5jtcH7dZzhfUGrWi9l6AV6pRjRKHnobKeukP5bdhpziqlWdnHm4dw1DIycbKK39gi4ro0+qdOOAvoh4PnRw6p2lKAY+YxK5w8+pO/Vy25llKxlJZT1GGxvABiBUFh2k40wtIGx6h4pcFR7aLHjQeN2hV/OtMkvRBFtszpu3o4qFxFVIWeJOR4z3DmwhTJzjhfpYbjrJ7O+0dz8E1UK3jM6TXm3QiA0COkM45kHOhAGag/HJ1hFgea4xblLRGqBgxUJLUAvnOXcG277li13Pvd8yEpuOq9dNWKV/J4LmrkKoaqyZeVWXm5jT4VYlrpg8BfVdcidr/52VM1Ag0AJDUuMQjBFDbaTe5AM/FWtIJZpeQZTaN6wCTCUk1xXCa/iG56wPuGDHBKTmvaZJbVwi900iqrmCnKcd5TICuKYVGuqQPRCL+9oeA0dzmW5mK++i25qa8Ow+Nu8R42nkPtHk6pO872PQy9F5q1v0VPLukydYHDHLTmSVcT1Few44GccWaBD4OlNZDQKjXEX1IApCkLJ03KDFaPV+PRuOU7cK0ThCHEuBwUIL31qbNVGYP6DzdXh0sdq4k6179eLiEEd6pYr2YTnkfR3/XbHOO2YpvMZCGmRnBa4OYvW5GphCiuXqKFHsj/siZKbLQDRzt1KQu7dMh9Rm0AMs6a1b0ehPgPcEwuQ88SqRTMOrVpc62eSJ8MyZkrpfaWL8c4xByvtbLcd/RKuIoR80mz6uZOVoHbv314j//NQA/+/i/bQZ+YRl+ySMX3CheOaLVOIxxJLKHHPvj6BDiT5lfUDZn18Kr/mXCwwTbSemRYM0wNHX/L8k4JZciYzZUErRNO6Ctvrj1jkWOdhuv/g58XR2y314UjNOBfsuJEvMDI+b2wDm3Dbs3hXG9pCwKkYUP7Ea070SG7yUlWlIaEet9yJTpn/oYW6PtXIVkh2gkSb0w4CdcfA5QpExlNtr3BCMPhxs2QqwLMntoq4A9Kq0VfL3kNBamHRUOGwH88s5j6UiiD0k50GSXqH05qeQv7AiGaijXA3XFbFniIHm4N7YjLE9uvkyooqPUnBetm7Io1pgQ5KD6QyZODl3jBH31aJN+Vurhj8IdDRLNJO8Bv6OvbQe8Un0benxcJ2Ox+CHEGuxfZXslRB1OkZQO5I7ajOz+9nBeCE70zXSF+0anNxwruLYivbi+XKHAwzQLe1H5iLgyi4A+ya5ZzN2EDGrT0X7IEPABx7KMHbuVgQ6ync6tQhVzu9X8n6Okpn7tDfSHseZxKTVuNe5gKA3Yoj5rKM0tp6PFGD8yJTAja+gL0Xji3GTPmQeuePxPAbeaS4xc5qcKvw0SAbLI2NBEmHNTeKRiLBjg0rxyPgPAi2p5jDk1q7x2HAGfS4RL8JYKJ+FfXXh3PHjc3lTps/o/zW0B44BdHiiDojjmRhz6d5+I9KwAL9Vjdu0NWe84Jd1JrbkfKPZOhg/E18sonehaBVkkO9d/+KDTiMtHMsiCaX1D3knTPpmgfaKAfqrbVl73PAlBZzI6m5qLx6AekdjW40wjqtGbsaDwh6xSr6Nqu6Jk9diROq5d1KOFTijRv2prYw4dR1+CIW71qwWPiI1wkfJkA23t1zoTw4+nVnXrHr1JXByofFTUpldxIxvofVeyQsSL0lLoIGNj0j1lAGXNX45gJY760WB1COCTx9mWG+8gTe9713JNAms1hoEx0Lq8wRDfIN6hRLCyGSE+mnNKmdR1NchL2YQi99O5cR50JrFcc2z1c1GWo2y793ziW7o+mVJdcws2bRm8nYgzaYSD4IhavSyGCVKFEBgUVi46Zpvj5DrXZhZH8fwgvHyPPKlR+riTef5TCrTVLCZDE20N1otveOdeb1n4oUFMMjs4Ex7nD/93t4H6xCHesBq5JhC+DQQiIcHB25aK+NXH74rLVNNcMYCaqvb1rUi5bejRzkDFm1LJqzA08Ldo/VHoARV0FR9YDuXdB+/K+EA1eupq/E4HVhaIDrvkU2c68ZqlcLUi7M+64iHEnfUNlUXi51Rry5W8nQN69kWyXdvGP5yvoyEOlVR/BBtBaSNk3EiBxDoksn7r9mPp6IaFTryCwTpQ/kl/KDeZ76VUcvq1XYALMZuLBs8AUwT7l+/hf8sRarvhI5bSIJUYSdDiUYG1OpUOXyMXY9Odl5EwyM6UcH6mXsoEpryxaI4zDGjBjhd5onodA9RTICCo1YUjlKX4xotKtdiT9e+YvxjFGW/T8MCIH+FV+BRk87i8i8v6JDV4Z1i4woZc73hfcr0G+ci/+uLmHtOA7ZTRbPPyUUfLGJ/XKensrNiTWQGuFT29zQ+rxmYkyf86uFBIOzg0psbWnUDl70JOQ70wKsfOMPFxloRTRJ54baXmd4CMb/fy5G4i/dnnhpqPy01tWgoQCYrIpAKctE+04kD5qtYLs2Is68Yu9dokDNWrgl0UY/Oh0UXHoY7CfWkeyycil8Bg/uCO9+GPewdz/Oh2scKG3pqTWkDraX1hCD7C4bjCAIo5+xDHNHmCM4m7X+RJHAXEV8u8oU5T+WDK2D39/5RdvfwY3t7hHxWA9Bn8cRd6zdwSeScCBbQ8egPo3F2ThnMNgAp0+AFvOcIG650eOa0xpLTLuW73QvHxRS07hilA6rrwdGQh0mpWEtNQyUwfM1VThnei2YZ26jIR06AZtE3XsRDtKLDJp8Wm3pNke8isgJnA/DtNO44ZMjLzpOUObIfEhW+4KH+iHkKhXUT10SWDL5t9/aTBahEu2oBHXKYA+rXyTqOFG7ORCEX9wkaprFA1UpwiI+5drMPAE1U1s7TZmz2LuyhoNSdUfZi7R6yJQ5OIY76LmaewnV18aLPy01cUm0jt+cVUJOg7XMyEItqFMN1mv/T2+a1HbgbL9fj89wtoLcWRofL5J1p+yP1G6kn1E3Nrpb21H8FSZwjM+b97nDsGrHaAiXEgjAWomcVifC3aMQCFAwexsKg1O7kirp0nYaskmGAF9AgYFATN5IGVVW9/9H+ahqLe5K3VLtCWVAL7o7YTF2cgxFXSG+qYE2GZa6MGYlLv/Oin5MuuijRXauIX/gSYoZT4YLZyfOabp8E3bu0OX7y3j0Z1Hl2XtJ2122mjaDX/F5M5s2v9Wzkkv4kHQyDxz+IWZeRHzkln0SCMhcqk8RMXYYWvplf60SaRQpc9o/I6zDS2LFHyXZqFzmfR9GXJp4KIdNBJ7MiLFK3BcKb1BfA/ezrQqtP9DKrSwvNxJSxmBSwRdtpVPB6YYI5rzI/95ECuJVhhE9p9xhYQ87f654x7rjLuZ7Bsef72qal02AR311vkMjD/drd1CzbffQLwOrq+tJi/LIAOk6EBemLgqNRdUNOD9/YS7fDCPFpuqCtjzb6ixQF8J6gt33V30+LeAeXMI/Gi+u45jdBStzsqQbBWa0kQbVyybQ7XJk8dJtonaUzzR2uaZ1THHze4mlR2IDppLhcBX/zJs1Ap190OQAIvLpdGfEY7T4R4ky2JRrICHG4aXgFfP2Av075H6rDnUz4bbUg2p3sVVez4OiHYz0gyEUnnjnDAbSG8p9M81J6HsD/lfibdATm+hnts4cqklWyvbbIB4yGa+u7D8QuWSacnqpSmLRoSz7z0bbp8djmIF/CZRx/6+9q1n7w7uHTdCLZtr11JCgddjrBdCTuxT9AtUksMELPXYxC0xsbkRvDegvXYpxLHER8sD94u3r3cvJI69BEbC+eBf2eActIvAP4amdEF1SlRLaT8SWaUrkWnkY1LLebTnUi4BaET6tUOKv/glxbX5pasFREWS7j2DjGJoFdMyEd64gMyW9Ta75UR2RdQpyVwXAvTm3WBdvV7g+/1pDn8GQI79xBoBWfJ4svI4TuWehj5ZR8pqIuc++xFWP5plvIWRrtCKTALThKKGBjWepECrSLJXrqNsaoveF/0nB0iMOTw1GXguvlmVXsrfZYudR1kvtQnDw3mCLcdLx3M9MdKglZqIBMfj0xJA7j+LvOECu14qmYVrZPuMdyLp9ZI0fpcCl3vMtadelHxNKCcIRHJf8n+ozXi/7zg+3+lZ18XSl/pouGtjGnkoOK9QCY2u79plmDs7eLZ4jppmgVqYFsJGEufzK0CNPaVB4pZ8LuNFjDC87BmOljzPPG5AfWvsIi/judNVeGU2a7AFCpNh4rPckiJX0/+VNCkOLnMfIw9ejUUQ9eEkG2+hgh1t1V6z4BT50vSdls+OTcMpr7j64gYvi7QQQZpK1if37As8OZic1DPrhpIRYCLMQHfpNDFK9sRuIhrR9YZiXJ1evfIcHWlCttyIeax4z7+T6Xn91Ga/5oe4yhQAdp0c1j7Q6EDv0j+L2xjKfuQLJIc9BLhk1thMjNiZYOmdd4PTZ1PHeD1HJTyTleV4qs3v0J0Di+KJmY8EzXkDGZU75OSvTwGLwkyXDqfls3EfJyc+BAbuC3GHh/qSMlcGRsw9S2LQC8EJhX3lcoM6Hr0YffCeDttCtPamdXZALzKs/Hg0tR+6Sr5AUr6U40MvlzUoZGMH1rU3LzdVHgQBjTMEadNGOE3vYyVr3jFQVokVInuiK/iiu3xjojpwywZW8JSoBSrSiQvAAPXnfS3DaUC2StxT8qpIvBh4ZweSIcAWE8smdNh40eSeKMKkZ7O3bsil+dBn1coUo5ZtMLb1KxH/e2S9f4fnnZODh6Gy0KgGJsPZ82TYLL5eJAIdd29KRdjhtV3hNLSzr3IiNNEmLag3OePQIGyGRaqVlWdgQgrN6pFmFcfwtRv0Jh9V6kOiBhyyGLGH/4e0zDhPfdkX4JiI3P6jLNlEQYylRzcXyukDYYek1j92opMcahobtr7whzzp0h06JoN59PSDe6xWbUSApW48KDObwG9nhVkPe8/UxgnD/jdubGNGe9QYe5CisAG54/FhxS+5hvSuGi6IE7VJ6U+8hJJjbn2HR8Quzj4vKdH7U29K/fTSV/INvBSgbra+MmXQnOvJ2HarhnWCt7ILaP4QsMHT2pGGmmUVqrwy5UBSH7adsAbysOX3tLk5fjr0DlsVkzPfkYutb6Ykp2pr50LGD11yyTm8KA+7I/tWHEF6Sg2LF65Q5HvtxzZzJWtJ3cxbo5aY4KrfOiLSVJ+bSPzGQiKgUQFwysBZbBGDMgsNX5EQeNpOmdCI9fl1GjTHWdrz6EEJOBY0cNaowncJODU81mo8cBdvB9rul3DNBA+lZLbVJG/9zBY2LSi0YK4eCCM+sUcBSkiUTIZa2GzJaqtPIhP67cGCwQpCSewVy49ig8bEU40TBCV9NZ6M9YdoqB3oxIKzK4bpyFL+L+AZh/TG7vJTQ3vGyPHSLfz0Lsix5YE9GTl36gfPMMZjp/E+uZ8QJSuaCrru2ZDUKBacKqpIO3N04c6wCxYJh9r2MZiXolbXGbxSAEPCL2ajGMIQu9uNTdo1OBCcCpZXrK190b2uI2p/aXz5WYZtFDGcI0PXpTimURaBLvF3J0d2r0uk0lIrYxOkAtnESyTZUgcWqIjtDr7yTDhpfV/LXPkrhTX2x376F9z26QUvKwqnjF36OmbjALqP0A3+XBVNjow1nQB29K3iuO2ybiE/hEESJg4zyd5CXeyrS7l+O3SxA+T7FDLWY9pLa9bLWthl6kHF4qDex3M9M950ioNupupWXrlH2vxrEvXFcC7cKz9HDhRMHFLekkSXAbQejI6DKcWk2jVS0vEQEh4fEJHQoXDD65BnKT+9unNAE6ZTLO2wrqgWfh1zcW4c6sbSSWx6hamTfW3a0OoqsEupsthjiC7pg6NuiA4g9CI7u0gcJfpUsE/3JFt1n6wNroOBeBdtnBUeG4gQ8bOXAbc5EoC3XL79tPp+rIGXhTLa3POVsD8bq/TZgSoWWKpckGDKISpzPSnxCk5jsSzkjKJ6NnoUvACFQ0UlONKO4WcC7WesLF79xKKXUKtX0E6tVO5bUBdPhKGrg5ZpCaaCkhN94QOGPhUM7Xy2tPx53bMow8GsBek6s9mhQHPN76+c/6azE/S8vl6ET9+9T+YEvEBSFhkNTeVxXVv4m8dwl/aS5S/C+T65h9FblHR5H3MqcOonpt8ONSVSjZhJDZD74+MpkP/56PhwXEYViT8nMzlGHFcfq/EonNTRK74utMpCLXxyRqIuAQavn4MUJKRz1j5B7f8z0QJ6tZSvtN7YA6jwHRHdNFOdohAEDd/900dqdkd0YNOO4jMPmYOcHW/YKQiALXsK4a6VMLYhT3gi/F5Kw7HewygsslbhcDH2b9uPA64cGfD+XN1dYU0WjShStqm7naBx2+1QDRThyX0Ua1U7d1aZO2Eue5l3GBMuy8MiF1VgJZhU65yT2MHl3yqUXz3Lp/3+ahITQObwHT0KnfVV81yrAoJN50t5q61qGuqLplSIuxe2crviYfJrkKaryZ3NFCO2wXmhPB/EfcODZY4Rcq+tQVV+isNG2Inp5teaOwOJmi1o1T6X6JB7tZoMFcuCZZuoPrd4EdGB6cTHq4btKB3eUdf3DumIiGVQwWFjP8Iolx1pKgeRAr0XeZZ0KjaIpgClIGvZDJwpq3nPQtvo+a9hx6lcvYwVoV3uaphXl0yKQvDot0xKnXnSRE3+GEgWlZt4VU4rlsJ/Dh+Y1HmRiBRjFAm9GWSZxshls7qRzmaI4wa/aVo0sJeJJALcnz8I4no7oTFGec5bTg0Zxp7LJbTrr/rRUbDBYbgRzVPsqCLkW7dT6v7EbfWvbcEGQOJCL7ToPUzGita5XHuLzmHg0xUFunR4kLdO6Et8AX+1f5468lx+Wqzxqey2/pcP8cFFpjqjsLB+wUoYPdZp4Ep8Rd/uVK7J58bFLjpaE0f2IIWWIZ+r8ISe2rYVUNiPQ3jcsLuAIUBNUbfmZh6ueq7XSKG7Z5nYza5AS4DQ51o5eD/yX4jLDHvsHBi02YjCdvJysi46J65bMRlfbw3YGVh1/bZZVB0iO1PN5WT5a1VnFLL4t/+LGD/k6+gRGCw/MMYOs+xAYSL2nCoklBvs+4apj/M6wZDoHFHeD5L3fZHZphE3hY2D5jGe1hqE8gq2w4QnZlvASNVx2cVftYCjoGsTXMB803s6yvjNtYS8zFxXj9f31TCwsDzW/JQjpUTaWrs3OAM7oVYsV5E6HLUWzQv2mVvyW9kMGnG3Gb8zqBeUZlj5zm+M1vcweciG3KBR9u+eGjZjtiH1OUEsGxocEtFEpuGv92q3sBoYJFU1upI2Gbyvqqz1Cs41gTg+3Is+sPP6R8Mw4SRqUa6f0RmxQD+9/EMeuimB7r6X57N+51VtTyWewLdgDTilA8HC81rMe2na4OjSAG909dktXm7UVnbEsBeQv4+08d7G5leUTEIbuscjbnKnBjFIRkiYRTqiHrIsz7rtcbt/XZEJMNYcAOH/+p/HiVde6ZIbAJIkfav5Pi+zBvEONJ3UkblYhI+1f94oXAOih3jGjywalCXCscwuQzG8eckkip1PYR0MFX+MfDG2TA5nsdq2Yc5pJ2FH3cFMJ9PHb74Vl5V7gVEFrAWIXddzEhtXwtGo8MeZDBhQHLuNXkCUASSbEIE1qB1EzoaDOBbHMcz8cIZdf1nC2YRMEI9GOkiVMwF5pUhDVviTHJMi2t2/t9h9VsNaXLRNgFKZBP5R3zFDl/uVc5fFxHkrWt3cE393JggqhgAjrc7zBA71AuPrLJKWDDW7/eA5pcQwjLJ4zudBFdtNrk8r1nco+YufuMK6Pz7+4pALkNBvqjjunznJ+xpaFN77HKq7KGVpZFmrodU5Vq/h72YHpJKmtmk/RZwkBHABFs1f6HGnQISv71K/ymdhHMlsv/d412CUB7qxbTUJFhQUlaUxBOS1KdXoacElInR4X97fcpnS+zBzhUn6IHwckxhUuQ2R3re+J9N3pZBHYjA6DMWEAxSfkzcRQDqsmC74I6v0mwYTlUfuZ1Yua10cNBliHLh2Vue0eF2p12cXDM2+BVQ6BDz6Nn2xtYDObwDMBjGfe6nmWoXpq+c2J3ksh2JTZX2aFTN/I3jZzr3d54fdJrPsjtqD9Xa+zACDBB6tAqmPMWnPb7zeGI6C1McKVVdavCfMD0uxS4Pmn9uLIBkg1Teue+SB9wWxoSy1GZCW/tWvoAoSQBsIoJHIM9am0FQ8GH0eJyzlVnDofdEsTh40oMVObRAcrS1x3sdQ5CXSUwujXapQyAyIEUJAQ2ySuAewjETj6gdwUGMIJ4tXdVaEOa8HwwOWGvgP/T4OgyTXp/ArRkrHDnuSzTCJuP00vq/Bsm6iZZbNGunPFNt1oS6myS1uM7I/zV9SjoCbDtUraCS750BhqvsgIyQuBEmxRaGFjwIYgSRF/RqpdGWPMtylT8VSs6nHP2Xtcp75+e6rr8hTCoI2CO2KgiXeshKTLZs590YElUZTZwVhBLzHRdswWyI7cJvgv2HnRrTBYPeJmjOEY42MC4R4ryeqaPXWGdJGsW/dQnvSmJwgq+mE3HYvAOqs68iUtg8VngHksx+k0LcXJsfH3dbfIV8zeR1g6hl7/+LB1Nvq7hW7v7j5hlywX4ImM5QcWlPwDV6XyAJE2voL005tA6Ygv8WYQCm66Wx4ewaarDT1BTaPzVyACepfPMcO3ZP0E/eiO7lsFJj9x65cBQDvdKjIE/gd5TyF0mYwSiKMDhqHvHsyO8S2ZEK8lJVN3QQ4gCrR+5RtnBvdlqJsCyNzZldW8Ode/oANWXpU7+KXfeAIbuUCNd/UwCrfhNh1BV4YbqyhDjjUPKaOBgr8+jQmJjM1YjkMQXCbx/z81vgcHBXwC5LsTSrkmru3IUhz6fb1MresmQ5tb07JI77OrTZYVmkSWVUvEoi7c4yQe9B3SHd1F6NyxDeGgaExZNK/XPGHwukc5IGa5vXfqIu9qvWdUDPPv984QKUiBnTIhGYerZeZ9dDIK1udLhq9CXRzDqJbxrdS/sdDUlX+WI859G7OLTIuWPh4ct28H/MSRMV0avlruS9wfP3FHF+rChjcCN+Bh6N6yfO8fIgZCCyMOSCCOgfJ3fVNoaUwmSKhiGB6vWgo9oRf8sPwjRxkkp44xlt7sbVtIyiTue8CyNAN8Pf8p1vCXqHM9cxBkSW7EVcb6IKi5PHzubHst6WHnCwCWTXO/x32vk7pUmoVz/s8y0XpXkZ8SkSMRB6WUKhsAg5Od+/T69BaFwKqnGROrm+7Tc6PP1x4XHkd1OSGaLILU5LScM3WpWXP3ol/uyeOf5TjyiyZajHlAEfBbLWP29+qE0faZ4OmrB68Q537MKsKX1TijEgW6ltckCL0EFwbRKbtPcX02u4gBjvDUBtSUL7aOvsKA7p1jfTBEIkFYVJ6XztLIvcBjzM3Il/9zTwupi0fq5TwWuTVw42jM8CbH/FhFjQrbzo3cogOI55IzU5u7EcbamyxXXfoAJ37tlVYHyNhKMaJ07WvJqJg162ynPr0f7fG+nJdjVtSTNcAVZIZYrAzwY8faTc1cvor8VL26C6StEz8vT+rZFeKkeya0B0oWb9ZmkCW9DUN6aU2pjrR2gh/4KJUDFr8O91vOFHv7BrGM1TC6SDkPi7whq2sAZk1GAQ4ru7252XKGMi0Y6b8BajghFoUKsmb6XSnLsvdy797ia1c9Qa/VxK3Mxf4lNUFtNbEfNbgLZeKaIByXfVviPxIqzzkpNfUVMGGmX7NCZUV/YDBvJ/GAV+dmN1JhR43ibbMO5L/fBft/KZLgBArPYLD37YKrzCJy4bwxYy3O7XopmgAhehuS6fnQgpNdiuHLzbLNvZk67lacxmmCD/bzqdOuJZLqVjsf1fCJXb8phmydWwjh2OpNPV8aWy7oo2hOLrSJoPncolJW1xPXksF6YMc5uboWzplXJTdWhSeTQl7jRCKLytg83W8IjdzYeOl4s1HKuWUSNd63l2V0C4sGG945BJr6KOQX23f+lFPivFKERl4FiWycIHROSjSM+oJykC79ddx7DOHtDP141Ca/HA3TIes0uvyOZNNKl2/+lNJf/WgH/Vx3cFDDCRpLk7bA6QWCEeoR5/Rk8QHKuPR+4jHnepZzsd8l4p2uLtpZ2TI9YrOEVQJNGZctEhfBQl1lOplb77iwNvAU80yR6GgqRN2IEjSKzt8IdM/D/Z3KHumvzm3A30jPEeCIyR7UOasSCT0zOxAS1UEmNziPDXCZiOvgY9n0royLJ6ANUKqITmnDvyWDmslVysnprApdQv9kmu6w8mdldLA7XjFx69nXp2EmGN/fSGlC1uLFrCghGwL63ywV0MltEzySY6kS96A820cZfFwz5OrjlejrhBgii8oVpYo7fj+ukYF/q+pJn/fOPRvCHQ5D85ioJBH4948+icX7OROMnT+ccXFqP8S5R/0amqSF/HkCb//1SK+xVzrAXPg6tIz7l8eLodN8adG4TvYZf1vpIrq/+PFMnnKiBotx5R79Q3TBvpJp6w+5oFbqBYsN+Ow8Koy2ReqIJIKs/Ctl4XiDqUnu2A0MbfovaaqOgXJfCuV27gX3OuluGcBCJJtOV/KoGZqkcPxldx+AnIRY7Ot9s+iImflq8obeSuum9aFcWsKK0uPyC8AvNSUM+/HLGCDDRnMXgVf3qZE2DGc5iM4O7Gc8/9Kip7dEE/lbZqroTMoxQpQr1EXEHFO9Uf/B9jo7NbMxfuso+Ags+xXC722CzG3awA7rxiq3SVNLiDpgSJm0lqGGe4kU+rirL/gRd8eNjpoYOowJL0rFfeahJu29x7WisUvVzWkIevH07/JAFYMkGIsKNutRUKOeAtVJvTlMLwImqAwa+CM+oqmMh3cudKGNfSytloP1Z8kARbNSOx+SRFcufoKA5VtZqGQAT5IognB6mLGqlQDj/8ixATD5O2UY636R9Vn8kAqtIFqZaL/lNvvW0GDrkadZIeRGBo9wDVXsgJxoYmjEDtdAklhknGcg3JX7oy4TE6EXlYCgJB/Ajp9irucdmNYoQlkq7y/fWRyl1kSoQ7R/m7yF5+s2GWAEHhSBwsoxX++X1492yino5j6QG1IkIoUIu6G6h/u26cBQBL37WsUdi3EGDRQDFYGue4jmEu+VXahv8CjLWZKQpG4Z0Zu08l9i3sKHSqNMaNzicZX5mihEWPSuzSQ9NbnsqiIIqyblChjUT+mPsDTKqrD/ZBMJWeIs8Ku9+ph5WvQEyQ79eZBz8xqFR7z4q6J7LmQtwQOLz80S+q1QNxe6J4DD6Sy361c4nUGVy12uJgOtDfsPGZXfypx8EpwhELXTAOcxvqhkV+yoKpKx04SOnq/6F6Rwdv5TepEEpkopilghoI8TNREXVfjVhRgOboKLnpdlvKstBaMHcAqHqgioGKxBxXd/JcR/U8bhPB/+xLskZiVT+5Ti/kN+bT5M3oiLgwmuCQdCENrm/Vh+xT9iGwghl6Oyjyyr4Fh9VCT/wpnZi/TuIcyS11r2/EAhCMWyygDS91DZV54b2EmF5E0Qp9TKmdbOVfENrbScQ6shXAR4yb5/oPfz6Lrrv0e5AQHD2HH0h7POiYJog+LU5n8+MYAcjoIkhw30bQuAPRy0j3dBcl/jZOSpul5J0D/Xa3Zez0LHfg5sB0IhXFMnpTwBCBeTdoRTxE0cihwBZqF+QRzBQ8lxUDMiN7Wmf54cMNd3cjffsMA6Ft+UBF3o5uVq5PI02mNi0sb/Mypn+t++PEtoZJVg9kCqJqqVyW+ZXt0r2RiAGCVXka+3IvFToLKAdO9tgZ2MopPKoBONFRYonFyltdeQwILvuomJip9ffWEJrJX5Su8w4bn7O7KCLIqcg6hbQ7pbSl0vbGoCi93RBs38OzMsvcLHf6KOpqFVzaXADBQkEBAYd+8sn9t16eZFCcZP2dzr+vLvxnXEEsFUyZXt/ez5819QoT3Q/+5HHNkR7BOBmw+nHHNMWQOujN23se6qBXYZ4hVcpaR7dXVD7H2kuG8zHHk2WwMAbPYEEpYoWU5ycUDKWMJJnhgAgj3Ozk4yNYTlvJGPjInzHeifoHT3m3TvR3fCZbLd4qXZkS4nOByJPGIw8afhXeh3H9q0sahnN6dvFmAzJAIEzLT37bmbUuUYvcukV4VYlxiJuP+l6doWRjtL4BwXDmiwXT4eES7it5cRQmLhE13Dm4kcRofIJU8Spi2hiPLrXloXLzv/WzLu80MiElvJfZw3w9a9QYOzW5f0Hg+Ppqexm+2K5x1Fj7sJvdm7/N0qUAUxCvMIhCRvrh6/XD67y9xZBbCgjdm53bDuuK3FlPzTBYL9dLJtLls8kpBu2L81yoxH4ZlkVdEtLevdoH+8V8ByOhgHtpFZrQ+5I7/+VcrLW2JPYK3g6XjsWCqNbfnI4nRpg2VBP3NFETmzTp+qEaIuiKiUbZiLrAwI3lUrrrnewQ4izPZ+40qC7A3ztzhV1ZmQyrdODks3pvs+pJ7bANSt0981810D3zbq9XL/JWOqktH0MZ64hBFrpnOl8KcqMVvRqv8CRAZLffJDz2XA5KP208XPCXr8c+TdQjEJR7K70oeSi8BirfqD8gxiEpzClvgjzxylExvCwOYaY3oigVVbsoJyHlQ5eniFMqgVEpDaa2w56dI/+1q79I3qAA+Dsk8g+YF0y//NqqB1gu/6Yp209AsYxLrKgqDdFiCEKnjsbKifJCcy1S+cZLBQSVvpakGWdZzo9o1cbx5VshxnwbriBJhrqplk1gKmZSiBW+XvUBSNcxeN88mb1VSZ7Ux/HbAQpxsqc0/h8XFWr8I1y85ZlSoGPxqzSofwAQfCQxD0X7EULy4xQSYBUpm+R4IB5loMcDqgq6SL8qllt7hg9s3DpfG6fY1TiUBnumf1zoO66U72xE7AvK7n02x/DMmkf2WD8UrYNSysiyV5uEB67tMuzzEdoLGR+4vSxPBiARDms2v1dSIq49LnviXby9jRiWuF5lc6tK8TEUhS31hzCtgNuZFbqgBfx4wjfxtMeQUBwSEI6EXPi3Eo+X/3msHeKJ5hmAwURPQnhWuw365RZaM1W41b52QP6nd5BbHiDZPlkuLLrdfDjTIB66siuWEtOneaKj27G2SAzvNK40K9hhVvGOMuMkl+01FarHmEtL5NyvHNH69xujhkdfR03w+3wwgwcQtOc7K9qh4IalIvXF2z3WG7CbSwUOUNNcrIzZnRjAhl7fcC7P2wuYz9ZqLeEDThdyvc75tKZJHoQHfYHAimDmFnZl0Kt2w50Cs5paalH4nzXy3j3cZVMMzYrR/2gVK5WiqVRH2iKS4iRT2J+HZPu3TEjwK0TXopc+TpcmAct4xNE183aNo3d/VyQt5ZHTptE3nIBB4h0ncERr38IkM3QObOynjGR9bT/F5WoPCHZEdALjuvK1NG3zmVLmUUsCGMThhZTgfmCGUh6iRkUjZeJa1TL0hki8chc0YGhKSumqpu41EgZ9B2cFzufUs1eiva+XW3WOUpKfflALgdhOW7+/Gu3J8qqiNi+usP5MyamYmvI7TX/AfKmPyUszadmtOUfEKIMeh7ZxZ3392yTN9WsH7WJhD/Iidf6nD8TLecL6eUcyd7zCEkkffcQPUXRRyNyMweOvn6fVbVfmjuxBnrPlcqqWiSXx9hxBRA0E/kbWSipIKiiS2qkE5HTJ/3dgb/Ubsa382dT9Av0wOaBNQebftbTZEYm9q4OnV5kOEnd9lKnn9lz0z1rTAIkXPQhKKS08hfEGPIaGd6o3WMPuFzR58NYPaHBY9ymuaR8a3l72Lr6hgFgSYsYxzZ8NUj52GlCKSbiOYPSvGPrKQb6cHpD9WUaJHvVVjRhVnNsmY4NEp1t1uU0mJRLywnwYukYJP23/5mOXr/akQCD8DNBbgZWbQIOUok58VycmBLosft1igLOMiT+kR4xYndeIcjHRwPA4AnxXr37hijD/tO+IRNScH/YtwJ5Kd3IEVb1yVQlAvvDzowNZdJ1N4pMOsCbuQQjwG1lifiXqmZ2wgAy3LehynbhK+5SJJiz19lSpQi2/FwcZKSDwOkvFKWwlMquxsQEkrS3cuJatJsFTjCaK7h42zJUqao9BoQgoOnHMiwYmR2RvWX6H6RJ8MNuhcFf9OK02AEV7cGHw0MvgAMh3quis6wSVXfyitPpijjyMMN0kWbO3xrCwEIk2mBLYLrP8qfzeLP0lgnNTUT4U28rFhur2/PKxF3ysRmaYC/sAtyv17cyji0Pw8uew6V/YFT5CBjSTo99H9WXGObCJWcWOMPfhr3+Wz4+iGZfHvO87/LgKIWa2xX9UFx45q+yhZraFECi2aflVe42T+Ky3ai5/s4ZO5Nc1p4IDyUGENp0ZmhGx2PxDDZybh9iS9HRQsUsmPUlNGkI2i0SQQJ0k3yfv2eaH7WHhum4dvBMK0a/MDHq1R9foLEuthvnatNwt4n6Pqffey5sf6bzI65HX0mnWTp55QJY7be8aiUEKPj2XeGKzlb6R62UnwZxsQ8SZPcmimaanZPhInySK91ho+y31APWDaz4xCvDiD2Prv6t5D8LdWIPB4uuuYumsmDzbkkPzh4mQp2Ymff/MR81MIkc6oMrY2iFTtVpFoB0AFIwUU4EmwL31QccFElUhkaBgd/eH24UHdOF77CwJIHo6E3xCBdKrG5rYWjpJPCAvCmUKJvlEDyQiB8y2JqFlHDnPkUlZpQcktOcuLfZEj5cdg31rdpQVCvzOqZkVArnmDXJSIErwOaPZzDMQfql4Kyy+jH5kP9R9lvQ54WpABUuSt1LDuJ/uVeu/3fXtbPQ14T8+MljHuHHPYI0DxA9xOtkfNTaUl9C6Vh+T+Dw8d0KO5yTqzWuZzqFfRoOg8dVZSslm9Q8g45PXC+nQG3zOCxYnyQjzdSyUlTf977Rj1hr5rJHu/oXh6jC6+wRl2ZHMYINOquFmHs1wO6IyM+IuM9LswrO78Uy4mOifkLOSQFD+qKSk55Y/Y21nOi7n97Yv5U8AY/rrrx9PITQCnSBs6Vwiztiq9pPVA2A+KBUsxPtFCWZqWOwOt+XST0Jys6QSeVd/zF0sADqRBdWtHb7t2qF8SjVegLTklHiDJnY7Zpo3zQHu9tFSzNI3KalUVVgWdqOSJUR+r3/1jKndLwiIuv89qFq7ZxFnJBWdO7DOgsLCaY4JL4GeOynnzpbkivNiBqAkgXwyhZNPQni919Ob4icrrS+zMBoJQcbCVf7dTyDI38JZ6E0/RfGWKIW0C6t1YessGZGvqAcqVEVsYTEm7r8295YFmDckvEfUiEaqDqwrLV9KG6kJA/c25REZapH7/e04EKOyoHgCvpuRNnQqknirzTtNdpzvRfaMcEDNK7AVAuwiw6gDgNA9SK2zvNHB6MBIzuPXYwJtP3LtmQqSX10TsPqnhJJ5urWgmm7pDAHh4igMnPq+TdOxhkyRb8ptdAWL8bPYG5mp0OAi51Upfxf9Avt10o/Lrsyv1z+Zl/oyyWhat03ZGGrfXq/tqXeJ8A4ixX927tAbdcUEfvD3ZgmlXPz3eAvYIgaiOnraGegvbT39CS9DuyF6c1YiFbfc7QIhb871T+CHYSjod6SLssdVQIT7JhR7B3HCfE+q2wjppQksstkqWcTxcoS7aQvojhQLRVkO+lsGvCqJtL1BouZ6GlmP7AVLOVNGKQjOgcXvKDeaDOpL6UEhso1HhgDiqEsSi22Gurg8nVBlTuQYS+GOCxagA47ENsfK6e0h0137c+al3WF203zegyuukKNTVEK0bjIbZrERRQOVchMvQxJKPhR/J5grxQnsk72+rS3PEP2fmmqqE9VQT8TbGnAeNdCTa9xDx4/gULwKGTbkdqavCONH9OyGn8d/8byhBQT8N29jrLeX03EjOZoK/GuydXCqIhL3Au9IsVsni0DzYsuKVvan4VaCmW0nRH4PRnudMWTCB/wwopBPRbBiVfqO4d8rlBm58c5KDcRHjHVUZUCSRd9/ludrmMZmBzo9+ibzmrKF//1MH5/mYFZ2VqC/myZCJYDKGJcUNO0HkQrQWYE73YYM6ey0lGZSZUVp+0kNTGBSewQfL84t2/0EzCFuTgSqh+XElcq7/f5og3ym8eC4flYlSYVYbBD78N1so8u4vs/Zw4xnKySuEQIExxMuKlLWPaMJEhqe+4lAcu4zIqVdlW324pr7joO4vkMjufVCEO7xdsAVS6v+vfqTAVeoOFI7WpoPP3Km5k/c5Cr+o1qqKGsxlSSzKGUtMLLc7p/nyMEahq2ID5aykHXeMtt6IAcgKu46YVw6XyRIeUW/n8fLNqeElscuUo7sfSYBcFUXuE4J2fCylhHbfglPVAsgqDxa7/PEWfIs5JjhxOXGaLVQ8fr7xZqSs+q944zRKR1U/Pg+ozdExrya9tOL6kyWTGNUUtKvShn7AmNAIViwjwnQeban3jkrFWk8MvMPi8ArjmVUSoCABRTVPVzJv/e1fDVEuI7ndT16392aMd2A+/DiGW+qzbvnPKHcjxbv5f7r62LkE5xUrE8k+kQD9efK79TO0qlrQSJHxrjuiR9vuRNCqBKmBGVRLVXq9azLNoYAROBDQqNipjP5pAiwDwK2EGx7j8lf3i9LhuCnYhabMPoeHxnBAlj2OxHzdmUByFr4HgAxrpsA9IRRj07ShAoLCh+AuJn6DDdnXlZoWzyr2Zsg456/wXs1RUv3KdwX1HvniD3wI+6tBw7jJ6NIo3WPSuW6cPopcBudgAFF6rFlaP5SL3K06gy+sFm720G9Wpc4NcdgHHQRxIHzK4nqjsDMB/6+vlxwOXxo6rC70YH57fIe4GUMT4wFg4QadshoKo8VcsLslW13li3Lo1B+rzLzWzjwO2jxFQd/aYN0eCwxCELTGEfWbIiL2nj5Cw8qy4kGPb9zsYp/ViCaEqybzDz2FHtmENwg6gP9Hu+4sB+b/HMJw3SspUoqiUBwrnkufH1AoecEglqNKO8AtuJBfW7tMbxQCJlm3JUlIMkt2BxZdjWtj9PuHVPPoUxOuiNgCpCTgc0isEcWf4hqWEcKw43TBkysjK20s1HLabpHXdkHnBJddX8gZE+jOP3NpwFxS0fQJXEuDsGBlaOofz1xOqFbgtri61D65m2ogrPxtX6Qkb5+XNO9tpXSWgbZO5DywGfPANE9fteYyQZKQZbyToRQhk4TxNuApinrw9wIULjH5eXL5twSNnZi1C0EhgN/xRfcqFXDf2sd+u4VjFrBSiDrSgptcD2Md+mBo6sH7r5U7efg0XSoEn2NTY3tlw3ZmUEsdzDP2NsbyNI5Fqq1MfvLej6r5Xbebv5lOfJgFMo2HltduL2Tt5TrKKnyjdKxyym9XRabUUN2yuDIW/H/QsvRg5agzu/r1LXVHAkeqtRILdBqiC0Hczcw+fv5Y4E4mWfG7D9FBxK0uRKF2ylTjTILFyHpr0/Gursm2VdsiqFOVVujSJxzx/36LMzPfC0f6wwORLvrjpOJOgzd412ATz7Jm15vA/oKvsTQRy7DxOurQpl2Y7QYgAIAWPs6kDnyMnZs6SU+jFrtYATbPrDG1Pa6t7Hewvn7QjFkVm/wPRlSfysL+/w+0oPMp2hRFtaN8XSw/KoZjvtsUhD8EKW7PS78bdMDB195BB1jE2KSCAN8VCgbdvVJrE5yBOabBn1heeAVk0Y+qSycXwIInv2ZkPvQOI4j/vYDC5PQ6CG3dV+FdNHNpzZwKr+uuMvLMtkhecI5PS8jYyCDvG+Mhd665BgYm7iGLuy+OLiaTiMFWXMKWkkORiCFH/4zCgKrhFVzGArgXsCItzsay+ExMS5cQmXvTc9Uiv4vzy5B6QlMp5gZyCMaPiZiAEOT7BS6UIemFptmmrWAbN9Lbie8xdu8jiIYowPWfHvk8JH4AyG4KYzdekyi2o3VVYmUPU2Kk+gZtz41zKIa9mQ0x6mCg9KEAoG0B8R0447D1oD7RovkW1P9yBVVcwmGm0Ri2KYqWkXTGj+nuwUmoDiB6szZsAnTVIHsKCrIgbdtbZjojoydmP8d9rc6Puj1VF6HHzA6dyeWQcgZuGC8pLFFBDahqaJLMi0Ir0XMHk7xi8ZHpnHlBS6/vEV8S6gX+kG73gAKQ/vzQPXEZj4DpH7vCe0jxZB7X0DpYN1pWTG6hhffwiA104NYk/5jwxq3Z9mb3vA+0zc/tauqNED/jVei3cQ/NXzLjyhumed3mX9JBK0YaEzp+Z6MA9793yhoX4cCt3FjlyIAdwGjkNMUzJ+S+CJJK6vf60kTJw6W9T1XQBwZqIzFGEzD5VJdErxAkjtKIsn4XLYxIuIfqSSyPusZ6Iw/qD3IcLeCUOPXypaFPPETm0pRA29MouRBMpFpIQYorKf9SBddMtseirlMFTF31rvWPnvpXiuS6RBRogfDTAtQ7B8NHsDIBK1hawKLWaOK23DaDac4ATf0aoZZb7MR+zJ6pma+5gj52zICIJVO7w32oD7nFri3I8hasjsjfY6ztwTXsJVJY5OEVaacYuNkE60YwyMN0D2jSD+G5Mh1SCmsVfoX3uUuhnqPd3kfhHmc+8aVNB3HOk7Q3/28QH/Y0TUX8l4hxAHEKYxAhFLyq/2aYe2bBQ6C0gCXchZmENopFhR9EplSV8FHhHx5lotBF57fzFeXMik15nl3FWYJesRau7MGlkABotF1j+vFvoIzLLi1mGCcyq+SjfG0shO4fYD5bHD1bDOlguk5sUt6bC4V2RZ/tVVRrUURnEhGDJSyGs4imAEDyrSATeoLlVoeJKENiiGlFxnHjH3Q/lN9tPVu8aOJrAT2UuQGvZzZQBsUWKIdAE3UUZzQGvmoHvA03NfssUR7VVlmPeksFXEUD9kis+U7Blc7JvPFCBoQOCOCfD7eoKnPyBRaShFA31HffPpnOk5QXiAuC21mzbwNkWXBzSrYx1NWVn9NUu/ksqavI0Cs4MR7K/hI+9wmaoyBoU4eDu0ga99go6HvrOq5ZM9wQhgtRIYwqsluvqxJCcSRD3kgITg5oN6v+nXX5W0aH5Bx/W+pNLRUhuOGDRG4gVj6Nv0i7lOHNdPFgrcvzw8Lk4fLHQSvQk7qykB1Jo3XxKuuzK5nE9rq9R1uLfyESBeY1V8RQrQ62EOOtKqoWbgA9MqIZjEGtMT2dw681yO6pqWWX8UJz19CpcboGfl8NgbOwPoSHEI5XeC5rg+CU/4PxzV2EnsBfwC1f+wuXUapq6h5UyW6nqfNdDoDKsTy4XI5+gzQMAwE2pcRCV3VHARivziOviuyHkZ9tnoFwHnrXhTUIf57SY9iYY/r6DURUhvIjSOYtK1ZKGXqQpxf3rin0xkkU2afFgw6DyJnVBOBsp4CgV/DERQBMnam3k85KdQJ4tHYysWDq9gpg/AIHN7mHk6GXtFMu9aPPdEb5BJQ8+JBmuQH6HsUtjcSF7WIbdpvqq9f3e3QbKtmfh8kjdOJsPHhIT8NOOyDOls03EN7Gw+q8BU6u+QYQtClFx+85KCtE5A6P5+tXWsmf/qQjWWX6sAxZGEsh/67xbNngWDvtOhLzR+nS6Hjsb/LBE2OvVNw+9YnSXYr1f3bSJZP5T0QvepA6+NTTbUpBzYGLwrqRAfXA3g60OvT/nQZcnf4QHw5+erGG6kocxRuK/0KlcsJ2F+AftIuHPDM4FeVkVLC/trlHHrHdzzlPEIVfYDjVPLNAIRSHRY3pMWoEC8y+3bz6LZNyozHOzOYU2WzK+I6JKEJjVRyQNMORvOX4/4GIhsHH+xGwa8GsLZPzcEVLRNwQFh4ROdLVk+/HTVWltGhC42mgBmKj+NIreEIrUWWw58vxbk7wdF2M5BLqKJrCa1t5QQWgfdUA+H+ETrnILb6OZMAlT3Juxev5EYpfqJcIPYp6bB5ilAT3KEeYfHNWpy2ow0KOQcMujbDipzXc+tW+LjlPmG9WONnB1sj5Hf5GqzAYPgnaYpPKpbBBRxnlpS6whwNXhTQpyaC3raQlmz73yPJOpquVTyE8TQHrb1X+S9KirqFz846KX4uG6zfxBkHT3eUlAG8+zVK2pRUzc6zVfsb54QEaY+UxexhJiAXsxgSbk44TLdp4l0Znb8SV6kka//vASOll4un84qY/awI3/Rpgw9XSYYM/9bMmrLhHOUrEtJjNEjuZ900gE4noid4uYHi/bjL//X1Y1/ZOykOQhmJM6DrXAk2PkIvd9s8+BtHcO70sBMx7YIOtfwvKnlQuSubjK4XckgsUOxcBdfWF/Yh3EUML4S6BdQKHSlQqqyQHV4HF+A5DG//o4dVlXsGxyHn4t+CNtjxvvwIHSbt2g4hS82VyxTmxHTyjQpU16uwGVXpTaWvgzK/9ANwex24GNv5UwdJ+DmJWU2vvfdy3yTQ3awW/5z60YypcuYXpjzB2iBd0RPsa+DQXeWh1soTkemD5kYOCc0rpdqUVpEQVelFuA3iNuraslprZcFuK24MmK7O6A00WRGXmP+r/+ASqvb/ABWdZX29ayTX6JRbp3w3oKi5JBJkM0uHAPYO6vs4uxsvW9fXCTjZ60MC+o+8qrqXM8KPAKL8p+2g2SXo+OVxy+yAKxTKVdT+WkB/IUFURdVxYQi12JhBN6liiVbi0Z03BeMqllL5Tp+v2fkP5MhUm6HxVnXNQuQyN52WsSSTiRFoW6S62OZrF8zpR5iTurAq3gzPtOrlixjYI/iSiqVDv5g7mWqkoPqHTZGKJWMZ0uY/xGRNUEXZPKN5JUGHFsCiwMAZSrexcLF+P801aXoebiCdUzZ3oaqbtqJ8N2jIw0PbRTnYTfcX336aNR4JvWvDTpTwmWgpU20eY4thbb5TJ4eBfXEzVokeD58R3ZLPBAF3af0BsqjHXkp7p1rdTO/3237ZKQpzi2O7dntpno9km8pyFB3KK7HErvf2xabSQCZGUobON1z2XyR2aBp3UAEM6lZeuVmzqiiWRRrJGZVIrOXG9rg79rm13SAzKt2nSH3WY6bNaU0gZL8GbJtTI2zTxvZ87WXzD6Y5yXLXc1E/IedtEKTSdAymqbfUl3QqBKgAvZLU0jbUIJH0QypASLfGpJlCLPSjVS8vZMbRWjzqYYVrQh5XPY7n2SBSAmenHgHX8kJ706sc0+5XDVd9WYZNQj+PtwsM5TOK6nUxKISWsS2xBEWjMyRK9GkiIPTxZ1VIUKPuCH7KmRyAaApxePl61tyov4J5Oh7kCd32UbAWVb/i9TtZEQ+ntozugVRppohDGb9swZ89g2hyHKF4qRJclcC1m0Beuv1OsOPW7A43sPhGTmh+R2lGvMwvC2SPdx5yYwwsMCTvpkCPZBHdQwgn3jVzEVJnsz4Xpfbg6sz65kDQvbQxqIzFd+nvY3gmktRRRrNcX6oTabTRM0068y04K0jlUEqhHQVsbj1R28pMp15udfbiGKfhdKoEWs2F60DrEOc7eO9dMFrlxMr0kHmoPSSlw1ZskiYsgbX/r9SyTnkvWE//v8uGMUO1nhCRi+q9zt0O/KVoGHBrRjw4VaoPuXKGva9IZ06Pjdz/BOcJHCACVan6Sgotb416GvEvu6AvwhmMxkoFLN/UjZ5rxLy59+kmLSfnRPkh3AbZCAO8Fzm0tHIvtYiPcH7loryejLlwzuTgphgA8hVSkb+DzDEWQ4m9w7wyHtdAUoZU1QKAogax/UzrWD/Na+CDl+/76JtBAljH1wc/tiaAMP/wBZcYD824fH5PBtz6j+uNz3lnLeywEnmDP/6l0YbFr8LaMh7fzgo/hi3fUd6Gsu8LZUiZZftbs4pJ7KACvj+Eok15xb6EnBHBSBm2ZPVSsBsQLQTl09pk45NWLftqoXIDgkShacj5L5g0fRMfsP8wSehh9rwMZllQNujlnQ0IjXP3nrcVIXMK3of7NZjbXIZ7xsjLKcP8lgFLpTAMJsiNARC2wJCa4j2aj0E+q1pL62kU9Mx1tStLCOVRrpMnoYTzCmC2NmOUXovj6zj4PyS1Ibi2ptet5CgZsiwi3D6SmQlfYhQRxcoHbUBggxdX3S0nQuL2rAC+UQkhXmmVxaMc6XhAPTslBtL/4C4gjUo50r3fuzuC/q5kbI7L6DuTGJzwrNiI3H2Cs/tX87agFKDVQRU1q4L6Xyz+tkEDNDjiIHrN3U5XBPInkSOsptW851Pcc71O8Th1WVsTYaMvH3TxBfvRXRQplgdcd+T5rv0X/d+PX8tDKTqTSCBL0qeQR42Ifc5Agdz8MTEQe+xIbV/+3yOzh2YC/tgvCxuD0ju15cEWelSfhkGhxAJUxNk4wkI3TCmS2tnFmC2O+HUNWHWl0rEblf8LjF6TqigfHw4KCb9QPhzPAHy6/vIOmoljh4ZkiNG1YknssMn9ZEUAYIJPzzBm6/taC7O87HEZoEO9lXq1AieG4kqR65B+G9tNx0ksID8obQK+WOz7KvT5JTWehXoj4VvuviV+lRoBuMEfs1U9vMn1s5sDTzNZO5ZGnFThskxthpW0uQNdUOApW2dWIfRePfL7oPn2JKbTt1zest2iJ+RCdxZc/UL9AYj0tArbdzb5vF5FL/xcEQyegaIcJPVtVuWTh3omjK0m7xgS20002Uvd9W1kIwVbXPOgh4eWzHUj+i4stdn2wTMIl0rAupCbGH91y7dcudtbcaql4V9trlWZLdf6pC3zFp412hFIObnC1M1FF0sGBod6Blm0yAPF5k93XG/R+Z6sZCiZR34ft9nxT2gMWN0UWDUhfmhrGA/r78s4XaZhrlNT1ymoEzm3/VD/RrOdIq1sn79FRqha0MzP0xl1ET8b1VbiurPFXfPfAR64l2/S+ctZFQWFKFrjNNbdxyZGd2wpyklGzot1MNywc2dly8u5IB3XVuOFtYM0Ncv6TVEZILO0TExUOziosC5BKPOaBaaI9lfXe4HqX2EMZNWWS/oq9fZUe2R+gUYY6eZ/tXCT8UGgOWarX/G1xQtSmn2VpA53N03RZJR43ghxsmwsAa+ah/t5h3uWs+SXtj++N+MsD0XDzxoz0ccfjaYWHSxPQCsz4KgMNhIIG8i+cDKjBG77zSpaD4lqEKbTIPys7FT1aWVne3jBDddx1jI9K/jgSRSCKf3jVxypZ8gBIvSx1gFnCq4JHEaQr+0DbYsKipq/JXO5LCQzSXK7RQpDT+bJ5Ty1Irfi/kxVkg3iZCCdmTh/2k2mgbkJ4NqwAPa6t1JCET6uBV6Oqfp45FmT56Yu6F8cnqsq+i38WzDyjlIFjxHQmCSO/aA7SCk3ij0OnGEqlj0LqOANLkYLnVy2uK1/cBKFavZiWd8b4IbQ7ESLJJiy2weqmhebxU4SVah1MdkNsVuZmlDgTbldUNKMepTsrKsdROoJi0E5XsfriLMUweQ3swlLyR/RnjkW204soN5YetRhIFvSAmB02Z2ykJi9A7Lw3TgCZHUValBFGmNAU/j6X+4q20l97kEGVtRpVoPkt8AFNupZmXcIyvNwExbmBoOPY59yEraPuot2Vf+nrUjB5BSltF7W152ZHnVJKVTfMgYnfqINe04TXkgXgcuZw3RrkKk0Z5+WCU3iLBih4BProPmGQ5MOEzCzi6iXcaBRpx+vRIzGfMM4OrVJa9DPirhkOHGiTiRDidNrg4JvIxpI0iCW9W2DOzbgtmV441PHIwYna62EarPjfQKRQTtOyksMIknqTa4tk2N21xz7NPP/5MfZvhZ5D0scT7g9+kh1D9Jab2iHVO0uXjnQuQIGgHBB/jiV/SdsNriU99LrByKzZdOim4hACGhB83jeaDC7koKtpbz3h882E7KpmQpaczmi9jNGKmCMu3Cvb16FHKgFDEBvsLZaBQQd5NpGKJxt+A49KIMxB4h2hIYbfY5w/wXksnU3zXZkCgn1fSAydT12tfcIfhsWBzQpfs4iYw1WJSf6UEoPtHF7ml0uaMjEBDHRysWqgYbKDON3wcdvBpxILh9NAoL7vjrOCj/4kRx1XvvQcPslOKnQcNtFXGbH3F+7boBqV0eIttpz9yb/pkAUQEvg2DMK+T9ZIGKLj6niLUOOCFGx5bTJr8UsM4OemAYFyvR82KFnqkEFWh07qWQdvHfCau8W8xoVglWzG9J8PUmd8JLjglRgKG55ztC2f1eQD6tWjd2dkRcaBrzPDVAxlT76B1Vd/0bYWsC3BWrzNnW2tIi0UQNkeSh/P91aD/1nIwJGh4tzYaAB7RKUq37PABwC7dVXUbRabpPl47XJ/9nh04R+/KMBErmVdECr+b3SDrDm7wXchCxqayjUW7+dW3fHFcpJhKSyoJ0NeJKafvjVBdQ1yJ24yRr81xJPJQaSEsdpJgRhleHzqC8RBqOjZTF5WI6i47ryGSCO0aPWxKaPp1OykNIhI8o5EhzDSziZfnnxWcKEO7C8HN7f1dGETYOYc2zkaAJfQdsS0EhTEmDn5sv7XnqRWPc0XSxan/mioySe9nW9FKedyvfjyzV7ImhYWXBaQUK7r/QixOcdnlvnz+JG/HY0vIoa08GpEtRLOs1DYN3Aa5oY0CIXuKKRbKx4Cu/JbZXN5rXAsTOE4eSdHaFz5UR4UX1YILNnFzu4Ywmw6jrM3caA1BD2HY+F/lY5+58cDD7q7V+55yFDV+1Xw2Z81mNAFTKKqUqI3tqYJWFQ500gqjGAcvzydm8E1zEk+MMSVUbfy/XKUzCu8bbFIUZiruclEcoBJxto43B4HuFusSyuviogW/viXxi3eLRBmTwaQqoVu6L9v0T+ptgO01IKvwSwEd2curm4xWGbUS1QCAh4zJTgybiWuAxNVKmd7Kf+jkI4u+AEYCMyhSXfFIswgESF6LrZaS52cdou/mbX0/0sniqfmscUzc2A0iKVUPGhYx+zdta4MiFnvhJv+XzPzP2MHnMRx5DrKFEBM+jig5vLPG5TOtqxZQgnATVLBCHKqv9wYUhC4iaDDkP3+cSx66UfPb83Yca0MBQm+MqDN87e79/wRGXfcnoRtl3KBDYgZtZ+1Am0YASmJtav49Oj/292v5zENipOWoS5n0HyE9D/KqowqxHmUrEbPx+C+n/O7qYZSs8VcNkWQHUubTdt6gHGpFQ0Dz8BeQNlmq3kiSDUgjSjNZStVwLDqQofKhv9Fxua1KRmP4nxSj3YuAoubhIUpHSFiTI2uJhqeSDbb9y14nUcnFWuIWv1O+6ZuZfwB7/gls8Uknt7Ov0v3aBKYFDYehAGd+OqKqx8r8JH2vSg+OKuE++oTVAQK3I/r7duqeQASciqoypHLw3wPOQi7HtJcIYMZ0qrwwf5GiDaZnwrWFI5Kd8h9bf8hYt/6q44kx9m2N/F+HVZyr5c7qhRBR9vQ+98HDWK8TxQ8ejh1HKJ60WjuupH54PNCGyFSPWtxW/kaGe9OsS5UfA51D30R43f9ZBgvP3nOXEQlek7ZfsUJjGV6QRwlZPdPaVWQrzbkDhMc3V9GoRnvuqnWoHJdOpPHVfV56jOZ3jQFAgyn8z/jqAWqUfuKkY/pPjXeWCCI2y0d3S0t8o+7McPMExFMN6lz08sMPB+9BtefwVvHCU3F7NE5xHiXE7579toJUxMxOMf34RoqXzc3RhSijz7FOSVi4ZM5v9wuOfqZ4Fv+vZMX1WDfNUITUzs5Dq9rELEDSIxpYlyxWk81ATq2PBz5886dEn2YX9D/hRF4OAcRam/EBLB2Jw6WLxTxnhrEslNpayKEuzB5HFOz9rvEGVVmPnqFhWkF32SLVuuutKTN4VdMMIKJYAxZoGcxwh7zu8MMh5ouJPf0GiIjrtHJsJ3YE7wvfkcnyPWnJzn0/oMTmGxKvqwxwD++yuCAcwO43fGfjw/knZzOgPys3270obwjBtXie5QYrm1pRuT5u5GD9XC1duOI4uiIGQYxmMD3EL6clntC1gsZYlrXWz8C4fvJbeCv4PO3kcbEdSz66piZu7Rkl9c+Evl3UGCTqcdf56fMKMkMYrlivOjhGJa6gw5Xkfk/UGxHYapapq7BJsCkpnbYTku5OyIRf6mpmNtUFyjkz7a6GUAtPUkyGVNin/WoFSsHg9MyWPQBcx4ibV9v9oGoNTQldKY8nUVMlsEACXwybhGf/eyo13OeUo8Ffj1EQUocdAKewL+S/G2bJ+Ht5xH+HPpXzeArIyiCChav8HbNqP0aMW1Xo89A7xlQH1q0MUZl7EAen+YUxRmWLK+3Qg+D9FE2oNmymCv4juMg/qDU/HVltbQo3Kt/yPikfbaNvoo0NoRmmkewzdCX3rGr/Xm/MdnfMmgpkn/wzSHyQ62Zm0C3/mQYK7irrS7/FqGUSYuPFHb0LgMZm1IxpQiIc1xWl22LPGWNGg98kauWvn6lgPeCvR6/oRVRuMRVqHxOFFsODxzSyPT6Ds27RBLlnrYGKXs9cw87s6fn5vHW9HmuPnxUxXVynBDwT1lXhUEJZ5ZObuCyYwpsnlYIrMWPG2ybwoirqFSUkGAxjnfG9GdNbKHVAUeVtG3g+psO5U2OgTuEiRYoSKSORWGxtnW+VWfMvTtKC1n8SEf9Qr/WcYDOUZ67atfps5r2g4ZP9Jh83BqJ9oUaarFE7fR6gk2P9Nuikf2ygUdyr+H4WeO6hOgW8AEkt5ckoo+oOdBXTihMTO6nYKrS/VdI6TQjvSXooExiuweRIkwMbLLUQChKgKnxqSCvlLUS2OvHmR0D40ZR789VbD8Wn7JM53lsJmyT9dsDSZP4/RYq65d9LgZKIEgIk00ky0cylAaASPtdEQslHlHeNVKu8/R4hTPLT8v+2mL9/JZXVO+/oSDvLxT5I1tY9WQt3Ou7E2NqiJCDNnY7HtjQhpfbWc0daRvunuQogxSZo6c7p22zVaRAYAMB1JGUiA+lHfUdhs2qrFCiIx8eDYnV7h1K9SnSR5EgIMw/dbsXjj5NguC1KVHQAobmQ7F1gslIBIZED2D6wsG8ynCggMIIlNddGCKIH1CqoqFqdX/SX1ssrMgpBsJHrIR8bQ0PdXpxT5qqYaRxw7afxK1T+5lwSk5L6itIy5zFoBq2guDeBF617WEc69oj+ysJwcOA+GI1IwhvWBh6e/ebwTtsw9EJXi+oR9P7N1B8mq05lb7w6+rMBM0D+O1mNI5HaVV1tKw2rmLtvolsd22LGMr5Ei0e01kKjjIWLDQDN0fL1DzPqtcQwNRbd3UTFI1ApLnyyAZQcmd514bw0H52ddFO+PfwZF1GHL1ZOHNM4s/I1uZcfn2cCxNEPdqXdLBpSXJ4DTx7+sU0ntp+JCWcAprzC7zjiD4GG38xVlUvN5ubIUb5cp0LCAKdV2ssDAC8fSJCCEN34uaxRk3RPF0kEzMAI5CElM8FHHY5shgcolQjj10zCPHAe61LJndbQCvuM5HKOyE5LZrMhQUzYhtFN0RMzrNyKubbpcvebp0IgkEJD7fpU78iHmidZnpleDpOg/mKXFDvY0P34JsFIQwns6iun7rfwCmfRHxwgBEFVBC9S0FWF7r3p9WxhsesoyAj+JvGamBD2ynrDwK9FDyDv02uZ2VGeZyfkM1cfmMxO0m6ZSjl8Xqn1ONIv3OyQrkgY53UsqKyW2bnCOqSeT4gzFJo/yMRDVS1bLbSc6/eKv/0D5K91P1bXDf09J9cWL8okdgCvS0eFZfg/hBf/MVtOIrH2cAeeqtTKVcPfHSARpLe4F3NJeXNIMeekQAIycTrMYEUruQN0XHdUjl5DD65uyaOsZKGttBw7glhyfYYa5+MKOWPrIfZeFTRk9olouepW2rkSd0pkDT8iigFioEjUk2Q3gd+AcuQyDzNZIDLBTTEICaALQ/kUXtUoRxLx0H5xhqN94VcMwhWner5rqYNPg71KxJDI+h6CjkXrZoBgAcZQOxKBRuwKl5KgJYm7l+suic5rh8xUzyBoKvVK6E6i1c3/NZMyk12eHVICsjujrJ/bEmXF3LMkljM1mNE+sTMzwDiZZNJafc6wLowxS3f/mZxd815JazGZ/wiXX/V77Tm5VEPY+ULutqtF2kIwdoVKhFUUfLnUL3uGq3OThsJUI0B55Ioh1/wYHBL4kF1Jvdyv8ngSlOSw+w3etJ5yd52V5R1MOdYi3PadesCp48qzuP2g0v9/mUSEwFMvi5ykgGYF17b7TGIJMNk0bIukynZJujOcvGj/H0vPEKctXO3EH+ABZLFIQxy8dRNliwLMx3nznYl5BSVrhP9UFoEmOs0+SQDwSTkabIAaJZWVaVq3Olu8xa94HtuURXEbDwLl2KnOrJI+ScbErTxxZQyS5zJ8fPEWbm/4T/dNRIVFRGB8mHSOV/5QuNx4hpEjChxKMt/HSokSM9wKcsVxszuiBVoSQC/XqYATnhXTxN4vjkXPbf29Nvmu0/m2kivd4iX0YnZn0ono0mAW7WYXKIeE+wShj8Amly4lVFJINpUpx4K0M6CktfKRk24iBz5Wqu8SdZ31qYlsldm9C+weBV7hwi3zlZU1fNi4hq+TStGf3uoyuQEKulQM7Tinvk9dGxSHxmgxMEmFOtermdvPJff9CEJDNytEdH5sXYZiwcrfQwinscaQ2vPV219YrrHc9Of2Wo/1nNcSUCbW/21PWC7hWu/UN/uMNVKXuiGNVIX5WAlU4WteE7heFMeq8vmzwrY9SvWubhdn/AI3FQcsGJglr43uBjzV6x6k4ryRPx8+0E+wQSxsFNR6BLshaA4A6dJiO4OGPp7U8HvADHqtN66RZ17+2lS1ZIMHe4vWbm8KdHY8jJwqj8mD+bI37ZCtdw7WGTdIT9nisCzHA3njh81BOYXBDBqjxCjtuzGIhLpLRseX2c++9ZSO2aF76jwA4ZJnyXzSe83w0Iw90bp/SFVvph2DpSe/dymdlzdyZ+jseVaFv6Vkcpmb6WvlJqQssz2T7ivwaEnxk8rs7fQ0sve+ia7EXmBPArG8sUx5vxKTltvMC7MjT4T2tmqONvowjosaZR3PyZgQra/NcmIC87BHCJiIostw72RRZXx/vwl/WyJDCWYMJkFGXSxZVre44Lg6CAqy7iymroHxgWIxfmjYXStDL0fAf2b4iYY1TiS/VJmC52fMb5YLMQQAoWwexabwWos+ZbYo7lu1mLD5kWkhSzuKnoYWJCRSiA/xNAu52pRCYaieq3eYY9fT9yRBrA97XZRzzb7c6h3kCG+ZaUisDKq1bT5AYOxyqrEOUUH2KDTtrqUGOfUKXP9Cti2HlHeuvKZS+vHVEvQi6It8TP/X5seQVQ5kcQ0+gwMdfhATFqbPetEGjedUE52OO1ve7aJDG0a53KBJ9EqhtNFREpAFrTVI3xJl1BvCHSyoCg2Y8sW3pbKCecr5SEpv+4mVL69yHZDMBSr5ojxJzO0BxqWxy5SYvgElNj8btAF9g6TO2M0u9cVBqvfhUUxJqQmGhevDpn/S+xNZDftHaxXdbJNUEHvx/DekvEATZycEhaPShYxqmz/4a+AfCERFs4S5m8E2Ydgl7rEu8r/tSqRsh+Jhj4R2KfxnHrVU0G4stExbTLGzNWczvDIorEsj3YpjBwQVQ4Zlj70d6kQee2hTycjfVhvjhz3pRCpxHZabHuaLGfmrBbGQIHP4gxT0BGRoijqO90ADIomILXAziOVMol+XBw/R5Wm467Sw88Awj75FdNgqVUQg+qk5Lo3oxYQ/7t7xl2GgYeURs2ZE6Y0e6MrbTj5uFqTGjoUpAhXPzww8Jo058b1m+Yiz8QcIUZ6fyEfRdorOEgDBf/6IxgpX+nyIW7mh3piaXZgeOQpV391V7ICkeuYgKPsif56X3Qf84VMod5ubMmjfO8RH6fPYVq+9mmyVr76GLHB6yJ95b2y1Iohfnay9CubWd6gGHcwiTOWum6jDQqi+2dHjyody3mPF3N1kJ2YuZy5I4JNBwVB2RwHPXLXZ/bEPt3W95EaDU1oy/rV0DNf3ZI3MIv31OVToJAKphBrMAGmojw8KZeJTSk7hTRp+orIsn1xDOCFvxyLy3i9Uq5FWimusNZ7rMpC1/9LubCzkqabBfQn7hjlwkWxVQ/pDmg0nlqG4tI47EYwuK5gKgjwTVZOyX8ab69DtMhm8gmZ3bh6nwbiy1ltJaDDcPS2urv6wwrDn+1X3tCOOWnZZGIROnrRTTsixx70NEs+JNOsfJ7mAuGA+p5FNmPjMkTFdjkC47WJtnwWFbuWK59N41CtnCipv9CCghyGOGRCXcWDifp14G/DABEMLlWHuQtpg8THa5xc3wihwDDKO1A9xyPQhKK6/APC91oTdJQnOXVJHuvawkehLiFAZIdi4sbcxG4295r8IBCYNpsezfGR/WBdgTQlm/oJaHC3oIpKyg8UuDWd2VNJ1uHMQgetdicqgrdjvfXLiStLhlxgtAJ39JavqWH3B6AjFKFHaKFqdhD/FS1/vj5w1HHEGjpMpY5qqD2D0/tKGT4ewRbaM8I2Rw6S5O9xohENBWhZPLySO3AkJnG7baemuWNPyf8DkaN+wFZ6HV5hjOH0hbPeHCyWQGOT3sk/0FD0gFbLVFn7Z44e2FT65FctSJAshnvddRqW3bAMzNeEmkHGNDURFW6vCZ59P/b+5BaxhadHcRoxhjVpbSyorKzp1HIUlsjC2YccvqOAMMQXxf1TNshwXvJZHQYLcScLt7h1K8h1wI4DoeybFZiiIM7sPMpdEVpu4Z/BptUrCZ5NccpILGoHOfYYLRluG1HsAFbm5svXJwrtERBQyktNKGub1ISbMfJxxy7WUGcG8A98/+0zbyGvbmJ0jnYuMZgX+A42gtcF9Lg7hkpmoqZ454KwahkBVqVNfRQPcqX+CyYFSwK+5T1nRk4DcaXP88U1LGYOO/ccgI4BAPBsI9IiZCZslYfKcrq+RxGSg//YuCKg3LRlEtppIpFEBdTT2trxr0mizE0K7hpJjRr9iYYDazEx6u1AOOfDoF9EmV1KAnAa239ynPLbNyM5ffD3iUd3Aiz3Lu18DaVI/U/Y4Swo3KKkvBZaBIl9O+rHOqfUntiVhxRjX803ULEjOzan6J+o2eyoG8XQ3O50KNyNm3WdbbZX+J5H2vjrqYPsU9yrxP6XoS7j0hC4KavWSMyzAd/aK5wBHWeu62rEvYEbgh5BrF7XtNl8bo0tbDPcCGfMGIqfJ5ARMvbgOZoEwmcOpzZd0op39NB4hkRXjoLG51yGg2B5/fAoB1flOCRHPPlhwgTvJdkZo1s4cYbMwBJAtOsdQTY8q4BLIaghDDapQHcBX/SegVulq4/NwXDyWJU1mauU2hyrK/u0fUe/lHIeUP/rBEfAT8alQt1wfVSXJHSpS9HvumRk+p9EMSi9ity8gh90uN+1kZsEyfkEBly2+9h91+K2Jx9bY4lglWpSAS78Mn3lSsbqUBGZB3rnIZtdRKQpKFLO2NQ2o9x4oOdGOGuPV8VDsE7GDDUNnToZWD0ZYhcLCF4ZheO7pihRgFXSyIFrV/4A8xcoGwfM2kA/tMq7oF3KUaJqvcRjxl6uZzRaL8XGsvP0DVGOYW0AuJ35nVKfQvJNT+x2vG32NYM8mtOU92ST0XW0bJVU52yiliEzZUcrBu+8BhoD3kFYfOtiS0+l2RNRIKDyG+hE2Vrg/7xAzBd4Um6OaMRgX+QwKP7HDdc3e59EqCDKvy20RxG+J3DMkuD+1SYEs/RtBWd3BnRT1ckhbPFhzMR5S/hMtIjpFCT0XYHuq7HdAZ9tubnuzsKumxBUWymC/3DXm2lwaPgngiVPROdM6/nKjEvxQC/4NcTrH9iTzkqTFIOlXiRXf0kzloW1glAg1p0eyz6jQfHy7AkzJJ50p0c17/7D5gWEvdg/PY2c9qHcL6jbpSLM1/nh6sGzo7iJsVxofJ5GPxkv7wWdiGyhW4WEEZ2aR8d7/4NtvgEeNgiAnptEunas6Gyo34aKrVU2YCLhup8+gM1gUJqHqgBQmDA/JiZ06BcuwrWGgGoNp49Ij1+mxIiggTCu5DIYmfTNSXgI6K5+k6aEp3NVkNPfsae06TgAKqLkK+5bE3H6K7Iy9KnPZB9vkKRQue9IwrJHhs9MXpoUNfA1sKvGctnCVTv1HCt34SBs8SaEDlH7pFm/Owmk/X28729S98asW7epa3JwrjOgK4ZDaOGESS0UUNzYgcznCGvY7njqZ4OTmm7GZAy/gu29WxgirKiSucZQEsknkrI7v4O/KD+3S/QAG4SJwjhXw3aWhsrwxItBOpQ3deay2+l+/Wd1sHILV2j4UtIRdg3fkUHL4OyoXZ+9za4NQPtEbRO0hORANaxWAMBycdq3gkIsw5mxaijEpLB03+ZiAVn9+84dHQfhZ98ZtpQnEqjlapMlsMoO+tPGPzKJMBJ03aPCfE9LWQIzpiM09JhDPYHWYZb2V8V8+vVMXYhSzSIasyAP5ltf4uE3zSxGVhRSFRjzKKyFpJacnBYirO1u1XYCBfrZHUAjLVh1vExjLWYA+m2F/mTce19vV0JCf89YxQQ4TjAcdOD8YWnsVMTjnbMZIrTYit16Qlj3gQLev70OSMHcsHY0ft4foxzTRb/gyL/5CeyOrzT/x9rIjt0L2DNTQRJ92qeJnRCRrPkiCl1Bime5SB6QTMcpFYf9d/KXL8AWO7tYR6ovif/OY03lLC8C7Lgy5z9/Cptmr8FGw3Qt5OLfyT3ii7kN9XSMKJXYGY6mxRRG2QHMpr3XoJYp8dFg1pYzWfcN2dmXEu3zF6nM3b/aWZxZS/cCFv6NDCtsFMWXTOOCNPaQXncfqmXv/lmMPt3cqvFXhJZS4DpROn/pDiQ6j09Q54vQZ3RRL3rfJn6k9lLGfXXkaIEadR84gRUdSJtYOwo4ffxDKowjhnvciUz3MPw2XMuNcsq6gqXtEM16sWXYCQl5FYLLe9bnetvrC0b/yWYcECfdzhbKYYs7UrD2zzX1W2LPSgE+uBRF+ooU2IyZZ2Sw/oq7/C2P1OlrhiiZP4WcT2aIb8DIcSrveYtaqby3Q/NGmoFy71nroVZmOoReBlP6KTAi7isrUVXvrF+IbTYZrvhztn6chZD7fg1YEXheYnPZKPw+ZaNSke97WdF3+HcRdgth4/jk+h7Kp9j4Wg4WdyDDx2wEOnRkvFyjHNcWY85r+BnhMXhEwovgSGIWpOT6hxDF8kmdhSGEfFw6x060Q8fYQ6Bd6jaLDo5smMYFINdYYqR9Bz6ewTqcMAQq379/V/zXnzjdIK3pxylE4MQBpviRKDH0GyS25vkwij1zUqszWaIup7NHa46BaYncu86Im7vF/1lSCfXP9SNpTtV7YUu6iePoidK+3wHjkpdyX7K0pDaJ2K5p/7768u0MdvyK0dMKF95ujq2GTgkDS5ereuZscC1+av2nHDicWpU7Tm1vdPnz+UW5/IB6xDYtqNP/zc3gyg2aSiw5tGzuSXW+nyUG95c9G9YyetdhDABMMfcMbfdno+HWdWyZRvpiWV79mshK/5iZLIusXhNHyeHtDk7iNq1IRBSRcrOmZFdCWvhVgcRDRW85jKqkzFX9Hx0vgLxAhKUFWaOXUvrsx+ujz1sFHae01kfxMklzHddI6r6MWYvUdph/8v9RQC4/uAFP+yuqdS2rAGwkIx3vL8mAln/65KT+C9PgZlAyDBEiBwXNsZLbBsUrWvatRLJrl74qLQhk87XO7jQCD/G9YBm6eJxwMJIp2P1pfUCxpEmsraqY++wP5n7L14obNtp6OgvxO6mkCkdbWwBHuQTyAI1/OkNxTiC5k2eTOnWY8iy+3zP/PdmguRpvn3lQz99g9WI5pBJ8BQzp23uuYAVoI4Uve8WQuP76G1nbUyz07msUcd+WonCxHDtPqqLFCbE3O+7kuZYkVLEu9GrgWcQ4XmYJPYaeDc+ty0JFJRrITvUCDVkCPaKqMBgoev6j6V8jX1UbyU7Zx+YHo9WvMSK9QDNyKffJu5nyvwdkRGiDiy8Aijma16O5F2m8nbQ6o7RGdUzlI1w6ZdhOup14jDnvq8YTq2XT+HU4GXE9Y6tiYNq5DQbejDcyt49NHSwKXdwPrCGN5I7FgeOa0uOqeBkb3zUfaUJf746AQgNViE4nxoaHV9ZsG1jKgio09RZZ8cpO7oyIqbmcyKYB1biqkVEwnUL9zYwIaA3UEhqV9A9rR+TYO2OBIIAccwybq910sLFlvKRlneg1Xww3OTMMOkS+Mgc6TpWmhSK8bajYfI/3SnNn/9cjCQHhJsr3rLatWG9lYbAOKMLWvGwC/eStOni+4auwZkmy6dlB7Xv9cNSr3s1k9PjDE8sn/jgDUVbBQ1nnKZBx3RhAWlOnL3jk3yZYvcNKhkCnivWeFRegOeN8opjy1cnAnKinemntrZhJNXcMQnb3y1ZY20lO7T7rcHN+bSmKJkM0Uqn64Gvuj02/SOh868C/S/L8OFDi641h1u3zN3oo1Teeehe0a7IGl9JOZC7AZwQHs+/oTDVzLsJO+fHGB9P+7S4RZT+HKFHfMFYoaGX5bahNeFY+JOlQ02dEPlKq0PyXHxXIRQbolnKgZKlHACX8d72rqprA0omIJEfoNS6ENoLwg9PeoB2shkxeMLoU/AAcL8tZDKIMM9uHAVq4PYNjgN7+vqBgI1pwrlQqJrXjZ/GkwL75B/KeGkiIXYKYZySypcEj9JCW5OQlqNO007aknc1Br5DfqVaeo4xKx17vcNiKg/vSoxRc331QNQoFnUOy8NszABjopq8cF4VS8eCdvS3VJp5aCu7oLnas6pvQ63nimXhnFTtgPJKpqRIrBEWDCwSD7tR2OO6Sb/oENprGsjqnzyzjLy48KfF9CAfYqEr66zAhloJD1DkJW6qXQeeGqtSTItjO5Um30SCCMyh1nFr8Bs+mxepM4T352fLzIB7XjIzuTPd4CpD15WfIg9v+usnmG+72WaEKGPErFSTM7mPPo1Ej3PRucW0D0VMLGmA4elpCCe9ZeakwGxdtYL60J/7FFCz4FqxieAbKt8+PdXmjlrFgAA5wfr5FCHd5njfQpMw/Wl6TF3FNETL+HFSo53GD5XvKERdonWErx60QqoBfbxoz3CJ4rr9MWR31wNVkmEKUfLB0rOgsLinHx31F6l1HlHrLhO2ztGNZrcVGLNlDljdoVcEh0Ty2LXE/melT73XtJamz69uvRA1OWRe7rYlTxfh7yy0HugIaoPjfKEMemnBGszUi5A9Nad/LOammpUZJf0tCyf6FyM6+DhDkdYuNPH3CgI0/6oE5pIj0JLTmzhalHxk0n/gKOu4I7VwabBj7nG5WqliPUHQkHupX6JgdzyomYB/rURZiImeEbdDVYhdZC9iUW/UGZQY72NIjBcDx3xCDDxa4m9UcYJL6adzFOHrJu7Z6R6up3UxMD0VpdDnWVt4Sbw0b1+QE1Ky4ZuI4quzDIKxa/5egc7wAgoZuUIyCKFLmq45yo5FRpZ+9Pvz/3xSbLTOIg1Li2wCd8ZtdVbp2OILfMtrzJoe0l7GIcqNc1FrPosQRERxxL01oQiAKRSW1jpj00TsVNLVo0YD9qQ5ig4xDCnTD+mbqSuUmQGksU3IvPz28abaEomKpGQ64ji2miOvYrtkiNMuMFsSP8QPBAobKPK3Kz/C1pmgJ/L1NwSnx7sk1xVGfgKotbxaQeipmsJZyx1vBpvE5Wn9bHCcU2JMxtqi+DhTt2eS46L0N6vK8VINywvbgnwvbRu/E0D2oGv36gFE9RY6R6VrB+HEVJvaKeC1yfm5JWeBEIp8omQQdMS2h8OCyqBtZgl9VmysNsPe8FZQD2zoodn9Yz6Zyc+535dcCPPy3A60JWUjK4e6F154a3pmPun6uWSrbWZcx+qSMcgOmIWDwEpM8VFkm/VV9fOMeUflAZP7FoDnrts7yL741IRAI7HTfegkoyVx5WeSwe6Q3GB8GmrGlem97Ni6SX1ldmngMGLkhmvkOpcFH5qDtZMTGybM76rtfqzhOs7MWW6WCxRLgfmuSt5reUyCPZvf4RkIDw8Wus5eVbvWiV5exU/wypfdSrGRHobEnQbptJkypp5z3MbVC6m5Yqv90ywaMCd6J08sA1Fq58AFlUFRf6zjtmMTN97XSawQZbWElGkDrY6jwKmLuZwWnzkwrlwVTWcIrxDA9mcqQMModRd+9uIzk671X6Z4iGXOPA+mT299G2bJKyIhZ7UTyJcov5yrlWJiTaF1NitWcttESiyUtViPPrZ0VDte92Xlwss/XK2QqmpHdCpSQYH9Vv2B7PEedskuIC/3vQweA3UndrWWAJHnj6t2vBnRV+9adbv/AtgOzWTZPr39+c6tjDwWM+91Coxhzm43W59eBiXOVz3v91U94AY+kmuHCkFhUkCLFweaeVWy7YvOOStTxBmFzThM68CXPEvkEJdymOO2Pg5nwf01SI/3Gm44yXuQb8ndMzHXJJwbc4l8vItx7aNTa8VTfbMDpBaTvuGdYLs51mTP62H0SYd0jrEu9dPzS4+yhOgSX9BvCL5lCVzhUBpeE5+Bpybak7kkUvBekq+YeGzWnWT7/qOvhkEmATRERacaSiUhb+Sj+g0OXMfZeNt756FNwbjjpB4zgRGvyIoPp6WU5CTh22ZVTaKAUU2duQ+CBoO35oJOEDHlEAonbu40mM7kUUQrDA1dpvVACl8OG0eYy3oELDtfkTbsXEXzlqA0pjL3UaojP1LnNXjEXactuSKFj/LjlBMnlGfTrwst6SdLC4jafiEMZZmZHjlgUvYEEiG3V2VbI1gYxe4uGs5SSbF6dNTYIQJ0AU1fLi7FAmnH/JT7P9nKf7157IE5QMt8uYGucMA+E5SFiZsljj6CJLemjqjsiDzi8WTjVHVdKEDt29WFXgyYPg/ct7vQAHQo4JkYeoHGvcu41TCdvAYrChbKXeWSaAvPrZOn99LPeSomM6dr3VZXITYgj3q9tXq94wHj4Oi+ppFQwv1f+4onNeM5q+Qwnhte7peZo4Or90h6M1YNcWelaercsnYMI/EakAdKnPxXidXaUbC81ScT9Yn45bu03BBRLXb9+LyscasBqX/CiM3LpFlk35j//12V+YI4VR6KF6mL9rAXcIuxl6kAZ1xgc8NV+HDWuwDUlCvcvUHSQpvb4CaoD0JEPLY6n/qUtgqnAkj7gBvli6vrejEnkjVEvt/NydOqCMoQG5Jm5Oh4SCWvi5GySrfds+EEVKRfSZOCd+x8j4yp8b65HS7M8nW/6shZCgz/WYs0w2HppPK2nV5i/R8eswqEEXVayNQif7Qm60qAoSK7dSmrSiy63GVKHrky5m9+Q/ELs4u7Pp+p9KOx3dGNVXiEHWJp1qOIRaT+JnETi+Va4ZGTL5iLRtyojTAC0761D45PhWaCLe8aFX0R5i2Hh76+uczUAcizeH1nYtE5Hfkuh45M7VOrm3S09WYYgKBokRu4pR2pyckrtfY50kKUCv0Xu5Dv4J8CNCkppw5xoZXFMqmwzp+QaCnfo/ZuKRoOazOtwTjfUEkhFJBVJ1WByS55Vt0w4BVdQzAfxYJFfcTlV9yt8yhNfx9d1exT3HVvdKdDRqGGbnSs+Qgcl5KJQ8iH+wXVLdHez91zgHOq2kzA5epL4uBwVwNzmkfMLVbm+kQPaYfFeBJPN6QmQBKYO0LtEAhhDfpXg5MdIzG+zFMU1KIOlUto//XoVTZw8LbJAwjQr3EfrJqpYFchJIlQzfBt/rT8/i1nZv4G+DKGvygWUFGxiVYMtU2+r4XpOOkD6CjJmgh7HcqZLZFs0r4Bk5//hILTKzw2CcAwDo/mSUckPE78WbbonrVScxalRWlIVYqSyRp8Y4SBUuHYBpflOi6kkChU8XGT7AilLPG5o8tH8qxyCXaY1UJjUM9LhBWJX3h6Az8Bvk1q0m+7w7cpHdyVUa+DHVRjwA4ojtzttLwtZz/SFV5hM9NetNrCst28djv6EsDRzDC3B0F4TrS8eKnsrZQx6qb2PriGitixC7jcSg4FsLc7xNZbFyeeLPev1q0OOCMrBQMvLkISsbjevIctyz0hysbIh1qF5jAmZ36+l96Wt860tReIbO3hgnTjKJqzMcBxxkyyfyAH1MqxZ6ztLn9mhQytLCgHT7JsrynVmImil53pAWMXY6ie2iuXqXt9gA+ov72xabC4pvHBegkxWtujbd6Fpc0vUxrCYVgNWmJB6trOKQ394FcAAbMqeQ8TGT5i+clFIH/crMMEVW0plD7uwYIpL1d8IR6RmYOOvaR+e9arsMLleRhRvDK5q3s3ei054EMvbvV4FbowC0rtVHK1yMDCQSidAulGyZpkKCMeeoKqpgh1humuODFwSdS7SItHi6glUQ/PBUoECTvVHonT8We4yxhxGStgt9MHuORFCMBC7n9S+NcDwAhUX7P2EpqV5uWwRMGlFMuLZVfe02s229ajkc5LYiqbQc2Zam8Vb5vCptqYmfSiTmQ0K2S8FDXEYT/eesfSSRcQUpUhjt6rKzoVBk5IBG8FT1im//EyVrfODa7+D5+d8zMsQupnGRf0uQhKLtTu+J6NfPu7Up5TSCUE/ZbFT77K+Z6p62cYPwHphq8RhAalw05X6RFJOobkXKf28zGAbNPyDkg/MjBofn258uFW2wbpmAc49ONUVIZyamj+dVQoUaWrUFgVihVAnKXMrcF/OpPjhtwQZF5+BnLYK8kLvK91Cm4MRYciqmj/3AywiZZy/nEh2DtM6EEQwddU14MD+tfcL3qn71YuvtctAVHEalITCJTG5qajKp+Lr2zbwcg70TuQ2UXkHgvTXl/mDCkGpAXawOJRQzsVlA12ZK6p2ZQBOArDiO93WuMELQiOIDhMrTXUIVhSD+WsR63yzubJJW70+RvhmOGQ8yFfvedaYH528ioPGxkDSrEtXEcou7AXk4sZiwsZXkbVAFQ5dTccdRyUzgzjhLf60UFYwusKihJnIk6fpL3Z7M7IP5eVk0we+ni+rvy/dhm0BlV5dDgT2cvjIWYX+bBEPtZKv5LDut/L+sEvJPxyjm9TSIjK2sdiwn0q4gciBdH66bvkkGknPA0gJKyHRAnjx+SULOfVByn7NU+FNqktQSZr9YElRAHG/23WUaaWEOeJQHCNyGs/QvrmYqnCYsSq5Z5ok/95aR4a1CdGJPFPqxU/DRz3r0BNPEWAptsdgg4JKgWaYv0CCuJygaagFgCpDzdYtjzqJtAxmSnyscUVwbVE5hyG8yUypbVefQBXqHOIDjMSFch5W8SB9nZQXCbcwd5XeT2LexE1MR1TGJS8zpb4v2vHuAusZdDzWYVVKGVyXZFFF0Zr30iSXnL2zarTB9e8oae+gUMh2RQXLqJg8g7/WLTKCmtltL7f3e5sd9RrYnLM6az99qAinnC9ZLlL9jm/nRsdzw0hZkScH40mhhhUXlgiuLarNQ5nufKHdRyt45/CRpyVSlaol1P0PJgv8hW/Epoakp7DLvVdvz1bpfOEAtYazB7YuamBg624/2B2aAD0h9pHWcuH7oknftDLvXjlBuyumz129DQuy2dKnD67WdLWPLImSOkAeC4NQjfaqFhHR+EmwwNNDJieV+3xWvgJyA2mVSZG1WG4yY9zSRcZNcu5cKrYgIGP3yae9eHC0X4/ZyMr31ko/EUZ4AEckXRx7cw+3w0Qq97vjSFQSCBDR6ZiAgzgtmUF06LsVyNQ9HLFtARBcgaRJAyZrY7RnuZyjNIDs/9fNrNx2vyUG4qQ/oDBaRmyk9erl1ITstj/XuiWwoP+O1bvM1QLl7pItMH0N5bN4aWUen6HP2Pzh7dedYrBYuZZe/ty8uhQ1IHMZpHUPLa99MBP/PnNeuO/v7YLRBYyOwmMygLODuVOcYcrwqM1F4DNQOJ5eqk9RCVZeJ4oHGKdosq/V35u5ntX+RMu9ax/5e12pER9N0RfUD/Gho4qS6Pxfxeg+c3oeFIMCiw8OrhEyxX76xaPccEjUlaTR2drIWgs71gWvC8IW+/vpYOKOm+5RdZKvE8MCCA82aCZ7V45Lvr9vfhskmiBPtaVBfoRrzGrnjS8Q3czqzojzpYQoOKeBVcH02oO1TsI+Vd33CC2DSmOz0ID2c+GiHfXBnRYn8aYgj0kbdcOSRxfN+HJ0mLQ1Srla2guTMiXxC9/FQL2d2xmtxtVz8xBIprw4C0Sb8ClGkIGA4mKy7OUA0xuMwgnhHNc1qYYGK4HC6rfnr5AvZ2cnzMH0oUou5u9At5+fDRHXKcxxJvbMlnzSFerdpmtJQNsHBnJiGX/NZhe4FvunGvlCeSmr/kgLwbp3V/XaiOTmKYatBy407TeTJ7Xs88GLgAvEyMXtt5oDa6+xIYHovSG+cWVEtkzzt19zxw2RGOezlsj5bhVmhqxRob8tp51FGPTEB4K/bjRD2oMMtRXaZQZSW/BiFMkAjuRiFczJex2Y4pxyDNsphasKU9hwlfXRwnNMhRRFwzELmk8jO0UfFV+hXMeIbeHdz4Crl7+768GXHCy0AiRDPmbemuYt/6ceem1rwTl9U1xU9daPYU+FNjVRh3fkexz5vK3RlS6JoGijmCbBZKlj3We68Rk2Xv+AEX/e3W78zonUdb/sRfVoZApgxzoHPac2FLFAJrvLqlblXG0CjHGUQMX2aOHg5ZVbqmS+MylmEItterWroFr1vPlBEl4canpoemOK81vcXEkSJ8ma5sKt+7JG6a+OPSXuy9/pQMo920GfzT7Y0i0tj5a7x3cWm6PjYO7GjNPcd01Z71FfQcdZpJ8XoHa7E+/YySnqz9HtapISVwncdZRsT3q65K48Inag/umAETgQN2UUCH/oPk6WCTnf168YLamyL+y/6stHV02nuORXp0Opbylt2vBdRLOHtRkrfsI89zkvg3Wgb/J/IH+RvUG0cO9UwPHKF16hg4VZulWSKdVDxgD9CmxyDBscP0HA9GxAIhUZxFC0jTVIJrlT9GwTLpjgscfGin1VuXsBpPNumW+T6SwO2KVLgA56Yu/8BIud+mbKf1mI0vPyfUckYmCclkcIpvxPPasO1n6JB+JprWtuTsPrqJKasAhZ96zU1uBrayt43YVyBJRB11pBMXMHfPNF6ID0JlG+X7NrKnsNawcWGUg9Gc+3Rpa1BLvVkjeRAj7TAIDNBjpd0DG75Od9MSv2gQAZRG9y6TJWL9zNmekW11ZXKJpGZX440IowOkpHYRE8VOWeqGvS2bbZVBwYTtapnwFF4AEh7xzO/O8hStZXwgLfBf6D6LqBFtmafQCtiZulv6v7RJeDmN2fuRXr+s68QpePfXQw1tKFUq+vIV43JFLaELTeVWZfHqqa2nLS6qMotf/RqXKCcuLpHrZR1P/ZrnpuEzvxoasbRr2Emz+CLKVmbUGMoVeI92sizD3JwlJyYKy/0myT5xraiRU2bUpdjF1UiJLLcw3DgE+GvydjxEs3zYePTRnF9Za67r6D6Cxpz/EEC3AGYyYwbE51fhLKfQByXbtNblw7hDsIBeKFYLk5tUahpBjtk7CJy/+PyixsJyuaft4pICmuuZ37j27lunuguc5Ezm6pPrw4XWTPodN12LdGoowzkMk5TmYUnon52hZrzC+BwDBo3cApd+87x7B+QbYugQ7cQDzUrSt0w7VepY65Ujmzk+XkDT3qy5cRK8VecccjYiy9+irhxyEYFXURSxu2RaHGT6Y5KDOYKPxEsqR6DLfzu9HNBZfoU4eYc4hN6IoJHeijappCJ5eXqhRIXoDJy49c1QAexfMjbZacdFFtJWJgxYAKI3DDp3JBPoMerS8wEBqlicYusekVpBmI2DoUYJJlZhJ++6ZcVVgix3mPRnWV7DBi8vszZVx1q8ex0Z/JWEouQgMfeHM+rt2srEyOpk6Ovye7NCTsVLzQsoE9mLW2CKxPNjPFDH99uPh5vqB0XYhQUw+dEeJb1Au8rcyIdnXoRM2juJwbQmxz/S913RIS1dIQuvyC1hyYyiuFYv0xxHE+MkkSlJQ8VlGEkmYt+o8TdBbvSetfUAs2J7bQRQMPYWru4uh6FDcmlHSfiUl5Y8etHpDTSbMJ7uNGnhRYAKjdYf0UvbLjfE/wQGUN+RsGC1yICanHEpO+8ILle1G7NBm3TKp6zwoUR+ih2TmDMWAzucEHJvvMaiRf/BYvKFRbr1hq0VcVgKV8I7l7VRz9p1god9jaxJEnqv2Y8RHeXPftpZvSNQ1/IVMr2boUhW3OmxeQPEU1GHEGw2ip6rwyyUclSgEznZ367zK+r8HZXiYTy9mgVbfkE/rV+zm/ZvjP+drQccIOu2m4rtIEQYGs+PFoYivh7S4FuAdQx9syibGUoL7SggRCs/dq2rMHuR59VldfqOz92fW508Bct8xwDe/IoEST4XO7nRnGS2IdZ+TLDwYP+3eA+/K1BWewmtVb9tHAqME3SDDatn7HMYt2PTOAe70/B3tWpSwQgw5CpV3eGs4z5EP6dvxcgUsKhUhMwls1U6mGHGZjfsL2TVpL3JkmdKlcbgYLEbnEKFwvHuh3YbGVXksvmOUZgPM5qrSZEG1hBTADZymI2yJZ1QtTFnI54/+x03egfKgpQRvIeYR1pZwggZEXmkFgqACNmK5VJ8kbeL7XN707Pfa2aguE0+HQDcjzc8w77WivSMGvtPp30wqboYcdb+DwuEFShxPjHJTcWxLEREKHBUEBYch926ajm46t18Gx+HyZ0iPTXynRxmPedK7HOBGCotvXHdStWYLiYvaMCLBSxTxHiw4drtBu1rfmnkU9MM9tDtFeIqrNPtC5dW6JWsqGbvlWNoRMk9KidrQen4+AFxOEGstxzz0mVSSJninjZNOBAh6Y7pa5FuxFLIxaamZvDTV0Rt2TelZh5VamXUBpt1h/LvumABTBMs1uoifYShqUzhhzVnfN+9E0gzzHHuJ7zzRtpV1ynRCUh2hzZoLrMQ7DQ4LhxmoizwHoPFXBJ0Q7rl/q49mWbaX2XGO9Jsxoeyepmy/NE038R8KUrOjyrBGvM/VnHf7DisVTTQArTjwgSZROLYVk+AxfJLjPSeEMiRU8aqPWT0xhoJn470MfA9evk9xBeHdlaV5SaVrhOnpLRsqSCtizJRcrzOMZsvRCZDZ9uFXnqdJZl6jn+U3Kx3YVtokF5ytAnLlENrmzEq3RWYo/sV3P6zLEtnK8XVxbfEiVwDV7bMXh/LU4LmgX8xRuzLVtYg7j7OCrnbFnkFBE3iJDXzDxgsK6W+8mV7i71p7GcKL5uUrv7pE78VWUZPjWmLH4v4LaoXQAtCigaf0C+1VGN9lgYKgq3EKl5o9U38Dgk9A1KK7D1UigjEKl7rmX04O7AWNjwbXpI8VRvixk1ytCp+cxmuyVOZ//MNbdQ01gCobBnZcModK5G4GgBCaTvo0UPLoIxB8DymhUlhp+muYRUx8idUjFLXnRbgMemWifbxV9/Zl/MgHfufdOh2toBiOjMYxw=="/>
  <p:tag name="MEKKOXMLTAGS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2253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2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1775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1774"/>
  <p:tag name="BTFPLAYOUTENABLED" val="0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2247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2248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2250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1775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1774"/>
  <p:tag name="BTFPLAYOUTENABLED" val="0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224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2248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225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1775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1774"/>
  <p:tag name="BTFPLAYOUTENABLED" val="0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2247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2248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2250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1775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1774"/>
  <p:tag name="BTFPLAYOUTENABLED" val="0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2247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2248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225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3"/>
  <p:tag name="BTFPLAYOUTENABLED" val="0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iWcfk2RmY+GE6Q6T90sFUr0lg9IPP9y8umrse/9AoLT5R0GKq+XM9pr/aTyOTf0wptcuHbHxeyqBm9svU01qeeEM1v0hpSHUgirOnAK/wuhh4R0jlrHnY+9pFyM8mIa/v+EBRT4DxCrO4MOZv053OPZGuBPBkVTM93MBe9Uwqf4aYnlMSZvsL3oxynmN4ZyHez2Gu5Besl3qxqPf4w7kkGjcfx21rtUtqz54pGW2EahJvCwJSTBgeYUe/G/Za7TK2ixHK+x3nW56q7eZo+z2won0JnoKCGwuAbm+KG95GAvJp9MB862hQs23z3qdKCjiZwGj33JaHcf7hyG9TAcfS4Q4kM7UpETKrfjCJJhZxJ/ddhWAVBiI/BwsHAOu2NO7XupYekC73SwZ3vnasUIHn0RRG/+8pALx9fhcao2TC/w/XdQ/XCngKaXJzwrkAyCtork3j8NJs7IZPzqUjuqYOipylzDieiyuyJnoKaphE8mlVLtsxQWKev/N8ULGsypNKFhr9FQSLr36OZht5z9oCptZegIt4zQ2ahIbR0RaxdobucnQYuhT87NiVpOnB4Ha3vluvWRVj7fGNHKCiruoBdlnU82vsCwPFgiMYpbhIKhn91aCPnKo2TNFtxX6QyB5v2qBfhtnYilKgC595KY6UcV7Fvgrm5X1z7HxN3wciH6rPdnUcExKomxa+L7JjpMzjzYAHjw/hP8e2nKJLB+Q3ZYE3D2RYetodaa4XFaUtWNpUYJUkkeRBclCJ3Pe00EXhJiCCTqetJddDAiPIhQO1fXnBPw47veILzcok9oXPJz/v8+F/m/Ueuz01grmbbzz9kgJj1/06JaJ7ghcFp/Iy7Nqm5UueI0vwmPGgLNJTpI3c60rE59zDWd09Ft5HOmnZ1R+bXXr64i8VxoCYbMhDzZDCHaYFf6329y31P74IH27ehON9p8dsmICzaU9Xz6NJRx4EBByCnonyxVN4G6Un7ETPM9XNTwsiD4h0pNbxvK3+vZyGryLsHhyzmfUUGOYppPLN5QobwkiLWFdw6Wk4vBrr1LZwnRjfEHZrswp0vMSixy4P1J3azScW7pN43vLJ/H4XPnj4gglRdZ0MZ8fNBgAzh4hlRnucJi4u0B7X8dib/D1s8vND4gFmQdFmfYbc82fABGdzhYeL2lux5f9tye3Dr9HBeqirPnARIvPLauHEkHLTIvGN/lGzsiIDsfT6j1hiZBKDoAShvBObUYq2tVaeqIm6vZfzvm3ChJq4Vi+guLlEMro/SSmgvoG1d7MHH76Nxd52FmrAmIBHqXVFBntvRVloISZx/UpWmk6QWEC2GI8UhQnZQubLy4ENm6RgFKILiSmmt73h7n4wV+A/p1kD2nMcqBSQuwhRE/2WESakRz/4z+ha7smmhMZ4bp1RuHJg9qb5EhwkJAT30cf/S3en/+HfCHY/ie43SjAwzgxFHiG+bK7zwWT39HOLKTBh7Hbya5oLegKQNAVLKSxAeEfzYj+nnJyljV9gDRtEXdQouKbEqj5An47z2BwCzTrMHHCYZ3y2zYW0uW7cHQIe+g2NDwFug9V3CGG/V7+oIvNysa8XzqGXJtNIqm9NspwX2v+RYvr8z+bHLjjBQEON8cTYOqd0LMyIWOPyv6ry2iLTOdAnW4UVFX+hbz7xoGOSZJFsZdkJL70not4rnrRKUU1RdcJjobH7HmNcy9Pfbuvw84QNQ0D2nxI5h7NeGbXYetXnPoX+eRz6YZwlZDWO7CKyKRdiv08e2BwI2qs89KDpAIMs/KFX6W9EpPvbMhMe23YCV7rNG4JN3x8rZZVZHmheVvCcacS9i9tDi6mTgKmv/twHf8q1sayR7YhhA4/fwKCWaPwP0EbaBY1q6lHLZce8EG2EaKHWghbd+ftLM6a6wFy0jUzVfwrtJ6ao+Y/p3BkKYfTjqKyIn6wNNkGaXyDskTrTJsCmUn2Yts5XAf+CljoOnkdgAiAQilin1Zr62b2e5XAAnNSRrWby0m5z12ezdf6gGmJVaDHw2wHiuqX7lCKirBR0IyUFDgsgP2o8iBkNapGQp2id3R/fJ5qeQb1HuZWfDIPUIl4pfPAmhJPeiYGzyUACeCv2tmQOoAz+qnYjh7FunW2cNmnp17VgKCDlGpgkLCVzKTTlc2dIdbUGVvcr0z4kNbkZQaTKCiRosrlDMAHJw5Ok5StI5sRTk+Qsrn4zZl5ekbwt+ylV2TO8G5BqqTIJoPP+KzcYr6pmErus/HnKbbxiHEx/nWZshkCCAZYKcA5sR0Uar0Idct6AT+tC6z3NUFW3am+auE4N5RqWw4uL7vsjIAQjmuumjYpL/8fi3N6Nloi90z53+UD/wf/D1+hufJlqcp3A9Y+2rqJvUPIHqECwZ3i67v8gJcpkDtHDz6Q+Y1SzYJrGYZ0TKvBoPa5fav4Ghq7mo9YBgqDCJdHLBUaEXnGLSuEsK+pOQas6qiHDrjrPMcojTUubP4mhNsNeIMOpI7QRLlu1EjKhSuK+4GeKyt198zAIodxaGaYoWqOIx7wT0nsk8cxfy6jbZnY6jYQ4hJD0OKs0OVvknlOPUnd7Yi5OiOwf0H6be8Jjjpme62J8tvatORwPQ3rFo5ga6m4dNfW5Q/41i/Wa59JbYRIbGwDF7ixS1lzLYwImNDMZZZabCMzjJWBAqF3hUd1SN1V2YuxATEVVSUYyEq6gYyxNYfigwW258POjw3k6WcihT9ubtDE6Rxe1W5iUvxZEGMLn7GuUX5OaCfY83QghtvczZkXxi3B/xzPN+vvnmJ/u2rKWZqfgOaHWg4YRn63sRmo2yG7OUKF6LfJh5yYBhnNbG3irIYzZxF4dcjjy16lDLllN6JpW/K+j92iX5Keu/jrCJ3WsItGG/87o9dXzHVxzrgpijguVL0UY66uBq0AEP6LJ7Li6K6BzzULZJgVOkfdDsDGm6Lx2/Gh1KcEH1v3QXxHPrpjkRr6eJOVltu7qHFEYI8c1HhbbYa9ZpnVPrlqySHNf31PJDyzySfft8q5i2oaq10ZYDFoJVsFMUIsLBffrZSFUE1uC0854NcLloYQ5qHezgUr8KikMX8E1MIGj984jXhWY6bs+ioMAq59cF+9wa1GOygpxre94ttWVIS0mAfNZbnLcQlhb2QydemJO3paAgsUBhHINOsRjqdEKE/t+LSTtTGtGH1M812SShrETuT5+nMwQzlGu5Elplm6DwQDVtWCGaWKyd5Nmfj2wqnJ6mVY6aZHOlSZYYJWRktrrl0Ok7Z1X8G3d1+AEikQ9Px0dMjmrR9i8TWp6XWa+WDQH/x9h1gqK30OwDe9Wsk4fZo0VueYiFngdZj2ByGzx5RMuYMAqmoTwl4jrEi3eT0RaDoQY6Fj5OgxL/C9Kgbx+CqrGVVpncd+tSVYz4ebKJxgki9crsBXtqIZfqBSAGw1MpxJR9IAmtm3HEKsuz4quE/bl3+nOG4PIdVMnjCydHUFgsCJ4mPYDJH2RC0BXllZRnvyQEMr+RK4tJjNU1vQzDNvLGzDzGZF5Nkxq75WBeQ0i9K1TjWz15OY+y5/5p2SBsAMAEcQHsyZpwlIbCNMZlr9gspSycdmvFTX5pdI0SL1QzS4ik4zCIIMylTNWZAcP2TKfBlHLz2k86PGhHn8lyaNaUkiw3o8klqac007UKr5SVEDvSyD1k3+22xaH433HyLzO7MuS0y86NyM3u1RCavYTgHsl6kFh2LuopZ2I49dNHSybwP9SaoJYxjWzI6sQjkcLoCjqnZ37WcDnaQf05c1UXobRYn1sq/YQxVpsZvO/XtucZ7LcJ+uhqCFfzV4ZCTbie2X+hybqqdMLdFo8gIYy2HWd/QfdWixG2xr4olVbm00h4QNQLf6Bs7RKtPOgvKsuipyTtDXfVIUHE140G7X3TxcODxRkOVn1lQxOqSGQiMysDUnK323wx4bQNKnPbcKSq7zKrTFlcWhGCtSZ9/QE68Ru/GQaE3h7wFftwqTk7c5qf0heZJ5tD6ECZjZ8yqWiXXVZu8D0/P3lcpdj6KLvp3qCMrBO62ez4ZW4OPWg8mMFNX8sCkCYnFdnYZhHyYl3agSpx7dXuICmOzKrhQ4jUBtTexMU5+QvroGQtyNCUuA0WZ+qmyh/7Oz3nAkJ6Kypaq2yp2fMEdJOnkdpohZnAAjt8UQaIUNJ+kqbd+W2jSYIrGXli3P4M2+T2N8DDqk4tFe9tbUT65AAyKy5hchP4ygOcFnCVk6T/G1G7ZduKfqmC1XQ+IZsTTrQkbmbnGOe+HI1dfjVK3BKfwwKV/1hEqRabsobTfK/S3Mjwvnjuj70DoTrCgZm0EzO/NIOjCRz3ZopzWcCdGNlup/sEFZs3IwiYrESEO35yysZ7E4QQoQ3MwH4MNs1HQHBBABGb9gOSyZ9VevlJXDCBkDP5oeE5l7vhqNHhtsarTq9+EY/9ijpXrSk3OW86wxqcde+OqqGUIow6a90IcpN7z7nmMr/QGOsQNVRmBIWLzAvIQnte+GObAewLlK/IakGBUeJGmFKR53iD5JKAOR0pK4guvAJDdAkKKxBXD5FRVIgzuZ9KcvpmdaKeMQIUVAA+UVgBReNxwmPU7k6PjQueML/BnwAl+C0FTQmkvnOkZYEAzxpsPgmke6zyyUI5tO+K+9h2adqKiHIT+DHZqKE9CJ5wWwXBTrBJZQ01IndAaulZNdcUknfgYw2ZcCuOLkcZaNAeObJCQKINmodraRuFX+qR4PTWKy4TbSnKTmM5p39fScgN0h3IRBShg6/COLqD6moDzhx5rXMb0agHkeP8pc0W/RgFR3VbL2qn380E+54jDoyINiD8iY5xkiu1nhsnX/QMvndPxrjMVG2xJO9mG/JaG9Rbzkr8msxsDKTuwC+C/DAvtDBhOR8byUPtSRRAhPab1uYyZrdv3hEXsQgWtpea22FzGopDvQRJ01rFpHrK4vT3qpPuc0zOKtJ/y5dqrx3D/02TtimbpW64c/A2RSsSeWB8WZw6zVQslG2DkS0N8X3CQGRvWJe6TckU6xseDYXwArKhsdBPSOcEsYVlKwmQbQntD/DDXdZCy4UtfKoYTjTwjddqnC2leSPmUbOeCOhH58xi/xH9+pBTDc1Vfc39Vh6VOcCZrRPGPC9/+Mec+GfY1HG+CgQkmypTK+fOmJe8VHFgy9d3P2nYgsKmJVeWpLjPV5PD8TA1d0ecqPPHplZ1D20GG4PPpqWzrlycwGMGqBq7wsPZoCHyhAhuilEgZocGfel58dejYR9P4Ot4mohAoDz7wzQKP0wKQz1dFTkX4I85yxPpwAkn5FcXJPFwTDbUbuVe62zT+CKC6gxoB2gudGr+aROM9sW31k1JT6CzQKPfHM6SaQJ+ValYmCm4bVH515UVLHb7Th98Lyr/jEO8wyzjbzTWXNyXk92wgP+6Tk/BBQrYkgJIINLXDVuY3Fn4vptJKBSNTW4j8nzCU1By+Dsl4PZundF1FmlfLZ+PCo/liQHjrYpGr3QrhPSPVQolzutAqPVIR/wbNk2Jk5b0TPDJvmaYU4p2Gj/9WYong/+FwqakxjIf4mUWRm7+jmDQkbxAeOXrz40AzZD3oD8aLVFy+GYksJtAmDn27a2A3AKotJND+8+OCDicF48Jc3b5Y8C3mMuIbYWHjXwuIAgavfUtSM0qMTb3O7zKzbRYPuh+6Gmd/nQVv2s5kYi2W7hxT/9mgyYSMh2sAz+PNIws4jaq+xKldFmfr7nGRNdJROKy/vj3ahUPNACYGzOpc8M+sdI9ItKoO1W0fBNWq+trMfyIWIagLBthM/1cubFUw7b4LQhv5+pMQfQ2RQWXOGvNjwZUy6UYgu6MmoedheOQZoECCTCDwM1XmPr8C2SsKbVGg/fND3LOYYgGAzwA6MeIdaJw4mi4ObxtXETANlhSAB0Y9d2z7ZtUul2o660Uep4AMeeOQOa+jrwk+Y77uOdOhg/RCSM6l/I96lqNfGW044JVXBc2AueunyHPdsrtsXH9qTC6G/lGue1KoCelEiu0Z01c6fd9L3Vb128BgqwFU/U4G80mZvWEeFn7gho6TA9ZIHLqDMnje/7kYlfAcJUOxlBUI4IY+AfQf7526LQ65u1PVQVeiSW26C3bjf+WcigArX/7IBydHe34Wp+0wLlEYDt7EPGv2lSYaC6Bq04I8YEQZ1llrvAGbuovGmxsszUZ5ww69Xlkf/anYNceWTew5ORXQk4rkBiJ7cArIuvAph5LAJ/7fyV22cloYNVw7ouvWMhRxwuWYT1IvIOIbsHYVnB5yzyRb0d4IoDzCpepl5xNAIj4lUaIWFSkPYDogM27YJEBqW+7x9d8MbPaTXM0Br9khbAfkCtvlHq74+uINZ3BGOcEtxUzV88rRoqCpa2fLoGNYonvnA7OwdRl4nrLIxw50lS5/HQRfzLzQ9FOS4qQjSMnF3KQ31EOp6ptZ19bYxoeBWdIEUJHyVEpdLGOmm1+trB4VMe4jGKDwwzjcykZiLjJSf/gvnBLnK1xgYUliyp6Uu1M2fF6MTv61ow6qFFC1iGH9npbzLE+Es0ZSuoMlkgLVfuKdWSgqhRvVfhPdiIY2D4NLOocPl4k9Ku2fDHVWc2kYjbN8UXEOokBXFhDgBZ236uqI6ukC8LKcOZ85eTJhL4YcjGJ6ckvHpr/3ugnSXyqxsd/XYYhldepJ8VgKcO1YxPWdeB0RfQXqes79MnxdfPgL9HqhfBaMYCEAgkGS4101jyKYnMiaOzeRzea7hKQm0brG+cIHDd5X/h7vqIQ8EYK1uqiuRYmJGKqwBHWUXcvAMfmcaYgcSBP+nCq2czdrjmAUGxRMhWnrPZIhJk5clYpMnxKWnBQp98OGMJrOoe+GircvcdUP+yNM9qzgSKAZC6TkmdatSdT1eOLgUQn8DDkAXu4WmPeXH1kW1R1KH3x9hW04o7+C8suEX7YtqOL933jeJTH15T732D/2rtBIC77DB9O005ne7VQFDM5VbJn3q2TFvAaf5C971HQD2ByPeu/cm9aqsuMyHkKbOTywrcwt7/y+cjUpYNy66gIzKy682NBDe76V3Y111cvyI9eZ2Sd6TLYyNGM1uK1n1K5u5sIvG1xHbJVESaouHsunKP3wV4j5kz513Enr994Sddpa5FM+LSq93Wi2txjSFrqYK3W3JMP4VFIy60DTInPqQ9eZNcQMafw2rT/S8LZHKSLWBbz4Wi7pZrwjtIBkt/SEG4DiMGHdiKCtEHNMT6fJHbRfL+zZ/dD3jfhKH74uiTkIGC38TKU+wyGjppxPjqkiM4canK/+N+oldE+HjFjV5t0wGw1U/BwZC/DYDHhZ1z3ClelKISS2h79cI5bJrboeKfiv8GoBW1wJnkZLxRfvYg8Tj/vwkeP6eG8FcbM+F2ip01yfw6boIFsw8SiTRgaF73pAgPRyV3Z58ZGFm0mDi0dMjllWxvLcznmj4iLPHxoTCmN6spedKzEy4tYk9eB74fdDwEzLzBYNsPtky3aAM1Lb+73ueo2p7iyn43V0p0a7IPwiKsCNCQJ1PC6C4kN7Biiz5d9x7SkmRRV8ZGLbJqu4x9S247KNXfPrxYCxFuRdi8+O9G2kFBrLnB2sCyMcUqhCKvGy5VIzG70UE5072VgF9BqTI5jXV9EWOK61EXZdUYPo14lAu/FU/6qrCSuKOnclNNtmMnrJkt2qhVL0FnxoPs10P0M4K5JH0zJ74Of2Yqc3bik6FoUHcp27Zd/nIic7l8tTXAakuI3UZiVh5GFSHoKheG2Wl/i4zKgJiLMZwqYi/DvxKZoUskraEOeEs5OUjfexvgU4UvgE0mMROFrIPTB1EjQ4FnMkmWbF1a8KBim2psveQ+fnd+YRMxrufOtuFlW0oC95gt0WnzGX27nbgXVl3f+AO8yHJBMnSjjYcpy6xNgPy2l8rMdvmCaJS6F8lkln/Hywvxl24gqlfJbdkWj/t3SuC5/Q8ZLuHA/iym7PCC2sAax5bNdKIWwyOzys1J/A4+TanPSRFlZB8JRU8vol/XvulRO7HoeAhPDE3xJK21q6A/ntLXEDDoJNuR1TWpaxjxwl+/oJIBWg5Wfelbt2VJPs23W3Xb1D7rSoUJxvA94Il7eUyaH/jsFTlTj2Iv2NbT+ku7vouk2ZQFUTpLkMg4k/qv+nasyX4R0nf0+pB3N9zqO2Nl47HV4IK/U9ODjjicbS5pj/D46uzb5Enhdz7SLq9PqqTxtwwiMdJKZ85hODGetr2786EXtJY5qJbCRzrIKogGX2dGI4DGipxKmpL56A7o2vUmD2giE7Kz2Re1/9psJvqdpKvUJ+989ZVUNrlDVzyzEDKaB5nVHfyvxcm+t7WaOcIbf36FjNBwqfv56PpBnhKA77CSRcq3bc3/H77H32M0Wylvqqzsn0IlQMRVaTxDLLQO/93xaMw26HnUrO7D7KblOSCVjLHUSXC3NrJK2ISEA/qLmiGSwDrMhzmDoHpMH2vMu5icLmpEtUP757NKTHaCrvrCWotZjkiLamuPc4TtL49zSf927ysi4FeDOgkB4VyjDqt26A5lgzObdRlFdd+zYgm5ouvoUw5w3jOyrDE0uOyJLOLAaS9IV6D7+Swsebr3GFWD8+sj103y7s5LklX8nOur8Jgswo8nFX9bJe9gDmkyaGsnyNFHAgitKJiR000MJEv2jrHTAvPzQ2Lw9O0XZuOPVI0lci5UVk5mKgVHbMLZ7f52Om53pelGYEBYcwFWrIHhAiL0MqAnG0XQdW3QMlxf046YDxWREiSDGEO/bqajpaQ7WYoAcFwpwbD194g+XFCgNJxh2Yc2rsFa8bWb1USX2KhU2eqP1UDwIerB4yJT+a5r+RaVQbtdbrD1UQG4TGE4UwsqK137FJes79bn2uH7rqF9NIUZtR3UGbA4x5yEQknpNla5OWMFgzGVlYtU6D6GB9cS8eZ570GzsvUgu/F6aS8SmRZqUSmGobUxYOWRSkOvwTV855BNwjYZwYPrLSXrZoMQRDwQmqAsQE8oesTyLHs5IlHP9Q6mFhRt8ck3meDcKULIyEUKlgTeXBzozV69fHl//PiaKokfJSvCRqHbpZrryk+FVmZjWErE/8xz+1mdOHSIT8NdCKfWHecahHTHrzcnFB/FmDFnXbSWBZNUfx87z7qdCdvglGpoisvBvNXuiV9QYmcNACWh/+5CuT7uD2l+1/xQ4XXh5o6DRdn0MOXApd4yx+5fizUGCofwOcbjUPsQef1c4pJZMCUA2QO4541y7G0aONPphRTq24S7hZ458hab/L9iy24QMXaA9V8cZyMme7Kxd+7ykCQJTAqKTOI4qszsrY0oUf8TlkkBBpnlLlbscrDBNRx2umJ8Fh+e35S7PSvakAqan4jpzoE+lOMqw/OYu0xeN1dPRKs2K81d2+j8TQOpKPzeDfJz7Jppn4CpaiC//X0n/jBQqUUYtAqQ9JfM07uPVoXIC61vxd5K1DfqlzbmdTmsfl7QaWdoBr9MHe1eU/3pxPYyunnFnv+nz6gnUUOTduj20K09WYELNQqkdUio4z7yTVpKUX9B5oN/Y/lhE57qW973fCe1vmLCdpTCSPcCIYWJOQUZvIZwXqf0xeBCutBZrJho9+jU6EiBoCz9PBQ2/1iTqwwyVxHM7zwEBQ3cJIJBgSJBp4lP4kX9kW6NL/JoB56x3NczsVMhqQ5LnQd+MiYNqnmC2BVCG0su8Y1P27MkDl/mxfxykSXbrWjUtUvDPnXokqLaSAoAuwX47xH5/UYTg1HUWk8Bt2wSp4f8rBIM2WZmPcL1wQ3QQj+yZGzcRJ92jznrvL3NPIDBrzmytvC0XOVKZvKLr5cXTuqVcC2y5Yw53VxrNBG2++WPo6Ginw3mVKAFSjvfVppJrQ77L/DJzgW2gHt9LftFBCgQjPSZnR4HYwlGRBJSnP6ofIsM0eTP+Bx0gqW46ZL5Z4UsTwoQdLzanK+DWjegNDy32myYsYkiAbocTndOMh7LWL7qYIBDb18qTzBSMj4jElAjjBxTikKKHVwpResDnF8DOFv3x0eDT4/DyWyQOua40sa/onmvPLw8dYFc+qQ46tHoZ0cbe7qeiUVocneb5exQLgUpMQZsnf2bgCtqSfgThQZkfDdo+yMyHK/RSF7iecniAiDKoh4zfn0YzUhou9UOsSzwzDSOuDviskmJRNPxTxR+8pKWpRluE33PtsGtr4ZCY/pWpr0gUtW7MBPFDrIfR3829ap78Mh8C/odEuP2LwxVbo2vZH/1IJPHSFHN6eBW7m8xVzWCVyLIq2LvQENptsT5FdOrZrMHdF2wOwwb//8kMIxHtTq+o0rL7No/hDgemUODZoWmE5v83H+VPWHVlu0pWUJDBhxTDi5H5Hk+JRlnnaoXlDvCYsaIwsUepeBd1FiduNWvQJzNJhil9hWBZnZUbAguETUojCUH7IYFHywQFI+kPMhHxYDQnzjwWecp5jU4KDSlhEbeIZD7qKxJMGH7bymbDjcP0UwDCURAaDzpuoa6SHdnjQfc1+oK6/I+jj2QjuGCOobw+hA9DLlhUQdOhnoBFuUpIA7IaH71TY8W36DtVihs22ll5fZr8D4bR8ghZ+vonQP3rFSXwlEKyuyKDrUGlzD8TCcZamAG7xY1rQw6GpKdGywIInfIdcVAzb95S27zqQlXcuV1HbhGN6nkNwWMwJ4vQ0dP3dbSYOITejXwm5HOo0zxQ8gvCuZCjBkFO9swhV/7PfCxJv7lAaUlWphs6fz6NztjuqPcf4mHtsTEaz7eYtKLnAox+rBx83OkZnpe5YIA+Abw74m+EGsmX65XaAUaLHvris1XqEm8Nk11OKMEjSEPWXQyWDUERcf3pIcjc1FyXSAD/IvbnipK4pW/DW9xrIqSselJ9Og+TUIo5UeG0JvjihFAXXWqp7kBmypYFJk4gsX4zU70viGCFffRhMCX9gX0QCWQkPYsXOgIx/NDgkY3e214pOxI8Kq81pptiqZsKat3o0dXixnQl+ilhV4M4UxDXlj/AoFtcgj1I7psjkafPOZPHdIEcwL74MWsBccpXnOx8MZIYEtsSG/7TJT9QnjHIplHXujxRt5lsxLl6wNxJ1C8uqYzaY9thPtIlvnHQQ58b10mOBm8UbP/t+rSL9YRTVjXLD7azNxvOAo8kKhYqJfrp49XqJtLgHi14tojP7pcbGyYN+B/Z692ULQMGwy2iYvJvqWjnUVPCptHihxtPiG253+UsJuk1m6snGyDuTkTQqvGVYqP2fQ1u4P9amtjY23IxtM+6GA/XAiH5AJroMfZ8yPxZ97lmilWjXtF4pcx9l8JwyWlVG0dphyRsRHYYpxXLoGmEnK4ep+HhP8aLiOwQulS1CkAqCBVPFOr29E1zGLO/ylEFFjiKsnA3Bqjuh3/fWuIiFPryR4B/qJXTK2M/LvrDF+147Av/D2vYi1+gY8GMyYdV3/u4t3r879rSz8fEvy/pINSpz/yMwT/U7an0hptVfUtoMpGBKKOptglryOpiTEBlV6ElN48kgFcOUYc3rsP6puP6SAmjeiwv+rMub23uOIJ534l7GJ+s1ZFS7/cRD+2hSosqrWtGwdfY7u80PGr7xA6CRZrG6gPBUkD/Q0fe6MBpSvaMyzQf3GyVuCRP55NPGLyb5jAvPqcXjUu1jHHSGveU7WnC9Mll6uULUyqvt4byNy394+LJMt+OKR4dWBqU+izwnl7H55QXjK9YbFLAsvsjb7X/GJiw6bF6G+9v3xdbgird3jLTiarewUJVf0hGibmiJO+6wnHpDOa0LL52Q3tb1CyPqbzb6xGqFFxWcn3vRgTY4UfpLh+J4Wt9EXQG0SyCxYGsTQK9Zr5oB98SUdCvo/Ru4ZJBGxRknMDSmr4THbS1YxZ4cwygokloZkYRbTC9Oc4dDEMPVkRgoWc+bhG5GFCJusquNUWgJb5OkOBd2QDLf9rornZrCnAsQGhp8fSTbtZdTSM5rplMcHD6CvnMBXqRLzdXldjEpoCVKYzKwlcTu7atDwwzoXb4wgfDk/h2yAR3D7grvAN7g1w7Hil5PQ4WkdH+PafR7phH+d+SUl8BKKrNQSn0Pf2BSq35gUnGbHtBTi4m36fyJfMDydutdaU9p/doqdsdxrFM3ExrjhtVVIxu0RS2DFnCr6m/KveI24rBEfHNOzryb++mibJFRSavxkzrvre5Vdm/3HTHr61ZL75GYdMnfby+sy+DIToGBEOjzQMnWGNRG4WfYcB6m0pDlvN/o9zMHAXS7gsJF7Q3ij9fGw9KLeC0hzXQv5l2blj2XTpUS+p4kXa6TmTRAKY1soVp8jyw+9AFSs/2JpLV9Z6Kk0waZNpdeoJx53oyaTcba6PbdkZsmqNohW2wvJJwEDtOLdMPorVw4RURTChp9EBYaOMI+p63B0USxsUGAnm/VplyHg0pOVoF1LvbfNRgX+07zh55YI4/Wvh4hOu2EiVM5uKKG0dKDSFZLIKetNCx0TnCSzHskZCBxEjPXC/Ks96E9m5BtLI975ZBUa5RLHbT1GcsJyeRcP0+d3BvVUqJIlXD/1pXgc9J8Qd9Xhe3CcfnbnprNdWhBd2sGGO5kcteDwjy5EWxTHvUQhJ+qrrFHUcE5FemnY5PYZjOcOTmHBleHfIDimJsMmQ7KkPfODxJiVR2Jwaoa5jY7XXGVvhnLueS0hZmam3QS+okJCvf11JvqFMzFBx5RFFuJyVvqUyteGfWvfe6sQuveRvdHjG7qoTu+nc+wkQpzOOuU7DwZVC4aXSROlN59PMF8ZVNRttGjHPI8AhSjNr7ymbsW3oibeuTWKJ00MoOKa04zaZztO/LCS9VLxvROMJngcdcNNG5tuN2V9nLD/63vVVyqKrqs4I7X0r3Oqaed0SLauw8sCm1S22spL6g8x+K647421IbUKZMT45jCB+qWjHLjZkhtoD2A0EY6VZFDyJQ8+cnfRVXgtozoWOfc44a/yXlEnq4bjWj0KH4YNtkXePWd0IqgACeV+SFxZQQas0qTB8wYHL88Kc+kmRJ55TYE+5xjPIOWu45VtrUc1fQauvmRt1TX2BmjoJmYEN8e5BwH3EpOqg3ftvz7Ktn7xK7TncFrn2EkAytuf79bZp0b+V6RpV0UjYjwMX8iHdR3rTux8/C94sf4qz6YjpwAVBYwxRgqweX35PpRpYGom7Z6q0ImV4qrbB4FyrhHbPJVpB6J7KhnDNu/XaxaR55bpTmgqPjX3y74oZ0icN65axBPJHALzfRQtfajU3+zljBCsBtD8CFyGkEP+G3cib4XT0Y/e2Tdh1P0tjSj5taU+I5lyX6GKUYmRp0gagfxbRZyYMlYJAeIm8HLjcoy94jerDqVucnStEd50oqUg0tX0pdlpslAR7AV/f1FoJB97tojv5voZubvgxv/8ir3+0K+Mt5evU6nGXwGffMiYGaJ0yszw+Hh2ra1WbYgPK8MEOhqmuN+p/qO4v6FWr5F9NHX3A9AMFJa0U0huNkPAvk9gvcOP2Nl8zKpMtvwsCVPat2ot8CfIxq7/ReHCBRPiUqTYcSkPA9vmUGGFiG8LPIZC2vwku67zL1M5z9j0whBwuMqgWDknr9XCANth/wAkF/KA8tJBmPjcsoYvEPo/HV/tSrzTQV+DN2ut+c0I2t34jccQ5qhL5U5EcCglRYEisV92GTBHyn3zLZ/RyGSfIo6BfnBW7lTrLzerW7nrZgJb2ZzVxXvvDO/8LB9lCC893iae1lql6kGm72EDzdtmkgc7U8YVLrP0VyE37eIzOUcQqC6EMKstToh5HCudyrEdDllaCOAbsO4cYvqhReHD7PBK6Z6odMDMlz3IqwMOD+LCj3Wm3e1plppPkbdONVogtJPU3ZHQcJK3GwfGGbp15pT8FD3LdfH/ZNAhVMWBiMbS9rKsoOiOCE+yEXe7Rsdh4OAfwvUOtaIW7cq9GcXPL0ozTIoqsF0OGnSqu9YJqpPV/asEmNTgamLkvUaPesm8MK6gkEQbAhNOhkF9nGKVnK6SpyNyaCJ1ZRLTiZhPhhFAZpybyJ2umyhVG54DxAC5PG2S9dZYNeOkwOLkEogMsbAvkidLZSNIyg1PYBJ29wt0swKGrEfHjTKcfuVQVe2B2E7pEk3wLiUiOWNt0Mcm4+z1HeX5eGOp0fz3kqKPXOQXQxRhQLJHth2sKtJST3LCxibYOuyKNZZYURndS9SisZoe6qDIyUZuPWuuMcbQmlJmEhdZdwdOnTOiFk0amAJYrNhwBs/Z1aQD57w4jt8aNlBnOqwyFKkCpCiHWAGCUb63A23TRctCukwztq7IAtaEnJ+bAziFAHabYQ6KcovcIHNoCjfr/hqYlpISmF5H3l3jWg14Q2j5tqW92KN0UYQq8TbpD+Bxrb1aT+QfiSN86HMIP8RC59LUb5WEKXSfbaTnRCdrdNa9uPcfdZC9zqhutR+C6Mm5EoCzCS44T/Xf0+CElOPA4aHBRQxLe/QiVs14jADA6fqZWN0eXRhoZRPQ+beBSCP752TTi5YKVwa9xdRyq5tTlatCjeLJrkVycA+nMcwI7wr2Ro+KOWoPlyUTFnZE/m+rlwGG9pZytOh560pDzWPZ6sFaoWkiBEhnEJUrFoYtxduvYtLgt1JSxQyQEM6Q11Yqn8ocQYWBCnZ/EY8XxlIiYp7Gecs+FvgPjiPST9tmpnpDSrEZKc2iXtCJGANlYE3fzHahKo9zY0lY5dyyuKPa+j1G3sEKa+hNHnaYEJswUhgMZEG712jEO3mhsAqMNhLPfJQRzdhphNUkUggdZSLM8tDkHkHVLwak3S2yDOgB0RkKf46JHkCDoBhoXEK9OwXuyqUZJxlXFY9UoXutnMs+zsss4yxOa/GY02s4AMHRB6VuXdkHk0mWNs/LsqVooyPSvfZBgp4/xVWPQ32CFsFAeiCoVufeY4zplispbyJZ40L85um8MIPxdPKJKw5ij5ZaVHVGbLsA0HbIZng1S6/Y6un5g/FrHYP3dnj7SBHlNVe5FhjNZYR1gSnUOdnMTLQ6GpNOgQjHyZGGn1D7tuMhhfG7eYU+srrY7Me6wHsnZdLUoKBnZaOmW5M6o3LKSjGfhJZ11ogVQmFHVQcXU0sjgtE03MRrEphiCOc+UOYhB1oM5xDS6GFkAtGdSKVkdXlsBfjJOuDUI/2rXVHFAMs7JskwV/+n1Rnp1JESlmQErda/M/7q6uDpj0mfD8RLTpeQ2bTGZTVMl/C+roun5mefsTX0zKW/HQC9MZX02+cemJcPCrFzCeTI1Q+0na1GslswomLySma2RK6Vd18iYki4uDCgG94eIbBGb6UgJ4fWIL97rgzRNqqPGwjAx7xIflRWUIFkGoxIAlQhLRVu1tFKKNCsbaSt7dn00qBdnrFbkpOTq0qtF4KRSsOzBKHSDcuXc7Obt8Fwx8mZ7YOqUloPFJ0q+9KO7lD8lNx/s9fpgYgFRoC/jshV4m/cJRMX/LnHJcAZKhHbhHF+sTQwGxgSzeDKh92lezIjWE3/nhyeqNIPe0RJt1fjvFrHfO+QCRrq9nE461ezMrF3neAFBaZxq8GRP6BXSmrsVTxBxipYBgMceCvmBBLbKjINMuzyB9BFGw+2skx44BK4UKyIAdFNxu4LUAd9Q5od2wbEWq4h7/KKF1oNzt/K+Q8kV5448fr0phmkIt0OCy/MNHclV5MUo/Vz49lKlIRJCfmFC3yd/ukqk0QkNaGWnBSAbcWg1nea6bIHI9Bkeaqt15yxJfa1teKBKZ+0ZZWhAY9BdVTXZagC6Yhe4yDx/OTK2z9MHCMR3Zx+fPsnnTIIrRUDd3Ze3Sbe2a9hvAYilzIJQYFGuNVwUXMsszpj/FYyb4+5HAl5WZP87Yr/7iEIlbi8XxgHWHXPDQ5zSCD9PkP/bOf8217Ngo0b9wxY1JunWL8ieiphuGN48gufz1XHWNcx4YbIUhTEyZNuu4p+Y6nC6geb/egrdA8ligEHKWTTHM2rwsyYkTYWRxPzykwagBe0yarghXnpzXfdfBDwVyif829fXsWp2vEUSQMZmi+edckAcyhZ1sszwM1csmAOO9VPYrnQn7Q9cMjvi7HWZVnaux5FcnQVYQDMW8+QzG5y5tlcu+7o5je9bDGrse57MJycKeYN38HxHDUWz4k02GNlK9Q1lilYTSJLq9WePljDGMTMYjtc8bd78F08Iqgkmf48C1emZaKlX08wVSygZq42kAWWntaE3U3mIjF88d3HqhIWTKFuzGRjw7qbhUl8YK3qZyocA0pPNvOqSYwFFxDRrWzfV7P/hyPYW15uhhzd5wW6HDb11h/sBj4Cg1x13NE3pH+QTrjHTkq5T9CXpdUuyQBUZMW+e6kaBMHYn7tZUVCPK4+c40YI6Z69GuEMXuK1iUiAKXO73lBPojd/9rxqKC1uEaZls/pwBYPLOVRDSyC7xTUSg2UqPKRPtBH8+uhUGYY9nrjCoXPMJtp2FytICr6w7fsM4eaf8fZNCIqBPBrok9XaWNq2ckjaDUr3pPD6PMaaldKATVcT+VNzCfp40jz5P/d5BKoWsmEWUjNZye9pQzX0mQ8ptmCzDviKLHExE4jxI2jqhXYTTbZxXOEBIVM/krRO1dk/Y/M/dlcOpuk3eLlSGiM/pexOgLqbiWHhp5pgK2w7+3uXUMOFkJ7o98kkcdEn623Nx4+P/Bpf5uhwPYJcGVt5QXDZ+iZhO4l5S/C5eXv/ZZJ+uXt5g7zozU8SZkOG1FFyYs7R0pWOqd7O5fvvhLSoW9tqA9vJFHvf4J+cO1xGV+/AjSA2TfpIcY5GKKpN2QhYT4Yj+wV2wceFEepPNq4JSgiFOTjttUHsILZ4c182NguAniEk/tMfODKtFr5fWVrc+0JQO0mc+hiOjJ/G4jwpd+C8R6wY/eBXW4zx5LeUUx4f1FkPc5z5rTLAoXWPG7Yhcntb8Bk/OajfJmg8Uq6k0Mmh5WTnbkU9JoGmKFrlA3uZSm8rBmSs1h6s1q+OJFBoq/2e49LLVW5SwIeVQ+830gku+r/tQYefgO8s5XrCdx6lDpScUMjthAsdhSj781TZHnLm8WLmyO8k8UP2o0AdIZ3staHhC3gt6ATMVOcPo3j+LpEU9D/Px7NXAxIqu0HOQXVDlz0X+pe+OVb0YoP0OSUKg9g+OZawX6loaYGcPXRYGKWlqLzLUmHaXEl13K3uF6LxubTX465q3tf/7zumpq7KzQphKADt3AZnmeZRhtRTBGoA8YK0teC3b4Z1eVwiaqUZEr7LUX0u7/y7YzsXvzEhAoqqpTc4QnhtgEXQ3JoNREHEAxpcKfHWh67PKSviHIcQKvNoHPFdv2h0zM06BAYcU/d1kbnlFMxYUcIhm/enji0ReNF3yt2xs0WWUMCCF6Hq2wpanMj+7R5QEAVoBbPMWab5zYZwwzF2nBCHB2FzhoziqVyRSHaJo5M1qsJ0eBrxBaAl3TedNmm1R1ZmO7nAhykv47id43CkdA6cnqEhbe/h8cVIETYK7asljfUC9400TVuZz6Mou1lpYKWRfHO32DzMIEi7bOW/TUiA1upXYJdsK8fg/igxlbGU+GUspHruTMUxD4+8P2B3YB6QV4gViAffKecT/Bl0ZOkdCAewB2EpVC43MweJ+louGu/YjdCuQs2vaoDm9SWDBedVA0Gq/XyoYjbyzvacr9W7cVoIhOYaetduoe63/u/Tng2wCBgzHEmf66bOMKpb9t86pRrc+PtKu21CgeOsWAxNf6MAb74xtKlTKCoUqYxkzo/py+w9WcmSi/Z6YZSq0sJgf10FW24Q3GAlnm28HN5LRUP5y7k8AuhO0/ik6vxnXQgWh0Z5oJy44G+fhQITcYvI1mTeivU0yYlbnpa0Z3TbpIiJC+43e5F6+8PKHmT3YggTqXdZNAXB1xzgVPuZ2Yha9Zq0sVDuv4bn541PrnF1jaFvThrY9xN1pAd56sQijCttnmISIo9RZNtlWihLDRTc17FrGotO7HniENysk2l4XVRwJ8aBgvnlroUrR9Se2UqcTU9XXq6SxEcIzVglWuD+64iB8jQwivxbOWNSXchiAPruu6nnLMX3T9N5DQq/CPrSa+DvD+bkejaEDT2njzFMDT3g4oLL20PxNBUcvS760FAonqwDiq829on3DnDm9dpUMdlrLWaf4J0d6enPl1hXlCwqmsBSR9x3/BbHxR08BILq0C61bH5lZ2MKLuIbBYy6cNdfcTj/9syw2bLNTTApIEHFtjukYRk8PoxzfNRz7x2X+soDHjPFcRDqqR2xTicJVy8iRoIHYUABaxJXsT4QUkR75N72XkcXHwC9moy810WoyfMcpBldc8/OegL0KijDqIK2ZcDv632gvoR0dm75sGvm9yCqA0MY3AxyT3awRc0TnNZVGmR2nwJyw8Sfl5ATx9jeH/TFSEsyGB906Vyc3SiG008abR0tTllH4/LIhPHoQA7C9xD9X5Ka533tLitg4ViI3r+rvJDhdRsrHNTNy+TlxQP53v9xZuVlpb6ij2O8/i6XXDMbCeQsTY8dG9F0wNo2iAFGucK3J5h2aeVLH0ZvI+JuZ/cda2PC184OZ/vX7zUZXVqNaIcpMMKbMyLbBgVzIeiS0ynKOy9q7MzU5QOkTbN7j/jVFiBQ68WAWPTDYNRg0NTw8owNyTxTnNi6ObRrF8Few708hvxVM4x3Tx/hUe0hLAvIoY1B3XnAy2uzFUNSjOZMpIRtQ9UKiO1EFxoCMcZ0k28/bfxVu2dfRiFNlSr4tGw59B5/7Bh4Ge1NCkZ8Esl+TI9S0yhVwV1ZK5UIWLf9WcppgOsrGGH3OakapZIIfRBzyT1pXk9bFfi8m3rjYvYiy5WrmZhpqBXtYvgVk8LwsOYe1aMZHnrr81bkOWFbtpa3+yesUr8BRtThj9XzPQ9XwXMELbLTgxEqUaOTh0EfUBIMrp+1oF/SaSPRMJXtGlbr/eaPoRcXnu2ND7U9BOGvbQ9i4NgFq0WyO8om6tlWMft6rPNpyhN4miGJYczYTbXhQnmDFr4z/7NZ3MjVhF23wpQYIyEGWLRq/8S2tU/W6bnLQsIGBVGPcsLQ/Jpw+Zbm3PNqFYkf0Adh94bCs5CY4gA6tePFTWYZufgW9r6F+FNQMJa2RfObi8hGiynZx2mwaUGQHaDn8B2820SQfgZfqX5MhrZzhbkUQ0EhX8koGoE+8pUgO3bBWu8lMqP1kQnq9IYqT8Q+LhoJoQzy+2Qo8NYwRBPC7SSy/qzKXzPymYEnB4/2TKLl7R/OYJq9ET0fjm9L0pUl1M++Ba4EjQD1KxAVZDreHjlj8+kDnKvS+MKp4ipJzsxvZxRQ16HI/G+Rz9MbEGu5cPBl3FsGtqbWVOI1nVB2KmCMGYvf8vMvWhkqhQDeKmcE3f0JYw9RHyeNm36lFde9mPzikeOtEgcdmKqClxNIO7pD5hLyIB8MauyIuT+z/s7R1KIXRa/oq2jX/4YnfEkWK9eyJ1T9U1CDtvL4TiB7tCJI/12XF9LJQ6ehQES9qNUWDY51UEhyNFAi9qgrfokxYnq2M0bh/DzWfvX1SjrxURqlTG2+dVuP16TzSfQF3FAMx9uh4ovhb7gX082BHrUdjvBZ3lEySaVgdBnJlk1EJPfFdsk4L52P7lzy5hUNFUqVdQcltFX99D31Z0qNajIY1/d1conB5CIEFlKEsn85DJI+CLSxTV5U9VvvrjNW2M3io8UoNSIN6MGv51XtuHp1SfpEn1IqI/yoXSO8SzNQQQWP9zRTyY3E6PprW9EGdNuV1rmgkUgmX3VzCk7Fkz9wuMn8DAi3GO5ff7WJ+0DaiISr5YHl+4vmYNOrrHcXAORbXxH7JMWqmxmUQdCMpjDdzkSkN78+pzG48QiWLyLTc4YDMwNYHipQO0jwWnAm0n/xxa1X5m6a0dJT0EW3jvfQAUZm+vFDHqsTWJxrDH4Tg7sUjevWZ9jsOzYKFrcB/g467/ij3c1PkqtFCinknKk64Qgxn/sPYmd8JlBOnGQyjiYbYFyWmq/xh94sWstPcNN6p+m+WQjDcCSbG5aqv7TkEqOLi9ZBhojVJrP+XAjxYAJddVJ05fejVNWYz9YoHXD7HusCO6oGVLdxg3YPAMM1tjcLF//fd2G89CXZgdZCEk1aFkhWTfx3vgeDkoIAkZkV4QCHIejFDwKTIKJdf08YaHBBpof0Wpc/RySfAzv9C0OywNSqX0/79r8p2PbjnQ+oCy1y1mXYYv9/wvmTzcu7DgNklnuKwSYWiDEOTiUax+BKF/7qS9ryn249Um2dbYDWY4C01Klv/Pl3x1+5IvcQ5Nz1ufePKI+xiOIrTikJ3E5QEv2O8hcJ0btQmSVM/39+b+jxXI9GKhQJH4QZTmgZjdNlQzGe16foQd60G6NYaqRUpQU6Mm4fmnRF2XYs7LxFbNq6HPa7OBJTs3YvqhVXGs95J+FmjEDrM9QtLp1NGJ/W07qsiOH2BxUrwb0YG2d7DxPXV6n5twSNsitkQohp6z7cbQPqF+AK8ENS4mwvxdda9PQ5Baqr13JG6VybNf49tFmVWZJj1Ik+LYWFRSDtdvfplbFuFKizrMOeA3plmUFbRS5lQPkX1ZNjLBXdgbBHzPVkSy+qzQYlr4+3MH2+BPu9IrxnyODDh4iCoqsotO911Yj2JGFThB3PjuFKBpNy5wxDh/dSPoPy8bEnJ97qfwIkeDxrZB0+vg1J92jmlNg0OXJryU6jpVauDnNvM8vO4waeDssAf4EXDnjK2t2OskXWCQ58NmP0KHJ4hx+2hi4UOxL2ckPzGuEaVY9qWSgxxu9r3fuF9N7xHY+ZVBMyhR4QaiSAiDrxjiQZXYjeKlfzLf8b/jgB1IIBnGT51J6yZrCq4UeTx2ctnuRDtCgjvJwrKFE88X46i4bFwLAWeG0J/Ti4phtum2208adrr6zvK6xkE1GIL9f+k4ZsCiZEEwxsHU7YG/EZtISLQFFb55KOmlB9uH0P/x61IYYq/K+SjrKTd1GQy3L+0T20Hk2/Yib2h/GRVY0ySkzKUq/I5vXn0SwMVK5yTFuRuOENZGZ9h92NRbLINjD6ad4FCfGoB1nYa8xl44qzo8f+5ijCtn4f4za+OLYZ9KcqMB0voqvJvkazENwE1u1qBR5+pVj2ofxuvO8eKr9gYl3I7S528v717SwKHIRHcC+GYwgEpaV9R/IdBHIyr/EgtG6HIJMitZWXE2pLFeIbu6yw5mkJmu8grynyCypSPv5xv7SAO0nM5P+VY8HI9gNebGmR5/qz6mP0xCMrAqMv7jHi1MyERrSkVqCk9Hg3FScqwuspbmr//tj1d7O7E6Q4yJPxKD7cbbBr6NUuq4boS31AhDKDRDVGrTIJrC8DtdnSvg6fDjIfCXiSLTuDjPwRfQBOhS+DS4IIEdCwE3SAv6kCi4ZYQe7zQFfZ1pkjTvJVZ790eEBz+ZwBLNOpnOcGshccD+UmcZKBmnGvEzkCHHf3pkbfKdIh4OdbhqjU2RWgfyNGkgoGJcJv5IoGeH7h8yqWbXxabfyx0i3hPd7YPAVnn3cAKFr0Vec8VJ59a7gxZZiHgTzdgZQiPLf0b3rQmkJajduJDnaWg7c5C7M4uldBR0lIOqE2sTBTM88tnvqrUTDGSUt44TlFcVWGXNNhAooX2I0Y/VFnPSpMxGUBUv3hSFSWanSHRDhVW80Uc4gl7XeuqAH3spMZK3WMJD94xmXOI22OPkQqJoEEdhFr9yS2/hEI72gDSpUsqeqKGflqIDVhd10Q/k11wN5mk00a++ecODYoZodZUgXqu+kvkPO+X0oa6oZbIj6j5PnUoGFLM8k/FBX372USv7cwm6KWfMSgFk6QCKWdJVHP/qaL+EZ17nUqzs+F+wpsHaCmxiy9siMe+eExKAJnI/8nZrHjbSIlVYmGj52Kc41JOVVgim8TIQkUFV2+QG4Q7+ZLuJ6blQBnntrN7AXQon/WucRD7YBKEAZdLhjYtPjlDdW1+5bdNaqiENqY+VV5Ea95bf4lmU+Rg22rbb3/YsZYCosolIYn2SH5pe36LpeSRhtS4FhdVFTuqQKdRMZq/TQzoWs73FxurCnx6T1MeQhVf05+RYhQjul8VdXypYe/obZ/pwsc0gsTUZaSMaYr7W/qMce8jqLr/vtqqm6wvxKSP9Cl8zt7e4ViMoXoHuW+eKDTcnD1gmSEIhFJuyeQzPQetbK3zzUVkyMQvIxnXFOzzvC4dXNm4sIedHMvPYL7VlzCHq9VOke/1dWjrnOVcg5UxTxjhX5V2k6AcGHrRlpOx6Q3+Xy+F/DTt3X3ysVkxloJ6mXuchifyZF/gd+XQ8vxFW/fpNdUyvaHTlTQ4K/ZqtruCLZxRrF1RdKuQzQbIBOT0KcqxJHcj1h9Q6lgaJcErTJMAE4K2g8I+QKl0QiPQ6ux2YTd6IrstaGuRW6cbyW5kFNWGkTL9uPxKwb/XMqlyf3TKRMQJS6lS9hlnzYr+aYv0jFrDC0JB/Oq8ZWP/YFjbcqHcaeyjWmRK5tahPcs8dVfyAMLg1udm3q+mTnQ0gry0llNqKXHyVxMLxeWOGC/NW9Tt/9+xu3eB5rIENshAFoQE7XtrkkQ7yzHgaEkW1Mgc3fViAUdz+0UQfr93N2u3MLeIJaxX4OR7THbYLhtNxtpInJk76t6irRfp62QHduqLUz8QJqMWVxEYgCdUaTql+HS1t/f06S/jCpS5JbOrCv6zP7Pw5gAdHd4Ht0NUiHbcsSM5VItDT8h8c0EV92N4cNBx39SG8N1dapYoDbSeboiUPrg3M1kYUI8/UeL936PdDAMtVnoshbYyH5FvpitADIbS7ccEqcWJo2hrSVXNjLOOA+k+uP95USSIq1KiR4vbw9LnAOn0DlmFPyb0je8MrFYMNtTwtfmMx1YHZhhtLhGWQDkUu2hq3MP+XpKIcHGHRdDt2+jrH6JQF/rGnZ0tA4Ouh7fHpYrzXS5Bs/0cYUpc5J8YItTK66TNYCKm6jfhFnfOul8NVK/2Rc8Xxit0iHVZ0XW2FJM+ybXoNrUp2aoSKsv90bi1t351ibROZnnSIe6cytLaP58RQTnKvdJcRlmtyfDvMB74VFZi3oR4GcQwiuA1U0BDUmvvHn1+jEFyU+id43fzABHRRMCuaM9hkTQyAaTWr/rRswgNtBk+jCn6wu99BLWdP/lpqcotLLQsU+N/e9G1NOktgsBgKNvUKbBEp31Yi9DHadNPJjUl99tYc3WnApg/rH2/Vmjl+hNwp7/FFi+ENEL5lVQL3hwGaIaTi6SHGXXiqteC/GgqAD0B4+VoC8Nq9Bb+UPojwPX2sW6PW9OsbGHlRqTOyeTbU9tCJWnhO0qYF6EEEVHZ4mszelr1N09n7y7+S/SscGGXy2UPNi8omShFHearYG10Jy7lfgPmgmxtueGH5XIHdvIf2xV8iuyNZmyZ/IUFwO4PtceTaB29IC/+I21CUS5ruURKb2O4LCuRdItAblhEmH+acXwB1y/YUvWxZHb3Zxw60CaYXJnyZrqV5OMhcOQA6JultJ4yEG7LLy7oi/lTG3/iHmDKc0xYDgZZ3HU90oqG0eFYlhrhsh94txTCdTlb1xh7aXEQo4gyokLDuyVO00eopRnRyDidN9QiX3+nq681KwoKjdRAkZPC21vbzdwjhVxnyQ7QA89wjTdowNIYd5tkF6mm84zgKSCMW5r6jsBkt2kN/3nHAaV/6EP0s+OvPnCe8MaagvVs9rpP02lQ8EH7U7JG8ySuNTCtv9rtpHlBpdosa8AvlBct6vlYv55HBlvs0aXjhU6Wy13Has7SjLzpU1aw6aY9FpTENMsdWfQGPsn7jhgzLcXAy40sgXd9htVln1Z/3t+nEC6sSI4BrOLWLWhTDoVsebxqPaw3hi+UibcCSFEqXC5sGjirMo2+sn61jddUtjhN2RD8p1NHWUdK9eTo3vqxfhi3nE147YIUAVC9jkMCQ0dJ2wyNixrX21wc0+gSxT0VyFityM7P0zGe0R1eTgLuMP4KXCyKIc1hYjBo18gZYxV5V/FmmCMpYYw4oo/x+SX7QMVqvbHBEZ9G7dJq+Lyi5N6TuS19ZzpPOp7UiSy6N0TwI1hcMUEWkJTdRy8jadZUzTArQUarhNHaEBQhGOE56FJoTMYcAgJ1UtVevj394Jj8JHTc/VdcmBYdUk2fe3Jaup6NjaRuQ0NUms2pjLQSVqfzVAuT0ye9aNr9qfujbVcv5lk2HirDaaDrJGVGibt26zy0ZdmB2zipzBR7Dt6ngXLcA8SFWBVzhsGHzF6v2+pf1By4dp6FPnEbzMCkveNllVSPuCko1Ea8MlIz3SdgbSQvY8ployK10Mib0DItAkVqHOBTV2i2mKbg/8JsDesttye47PQa9npwEgCUBpLpRSxhjjkHgCvftO7xFjqOIp25PUj0nO5ij0gAJFy8ovL5m6r9rFRtXPegMkMahVhHwB6cK9QPNbt7d41qcSYFuMGLBzz3UiwS16PJ1hIQoiIyPOwgUL885b9IpaCS0hwkGsIe6YA2AG5MleDU1fX6fx6RzzxkbCviijR1YoLY8cMg12pYMy3zZcCN67PZQnfED+k31E7QQsaSC8RU+m7XYMAi7NVoJJKWnuPoLdnPWFdzDwaqNKt1Kh0Yy68igm2taFHutiNIxzvNqJIEbA9o5JBUGy9zLxBpOVidFe/sTrj1hdfDlIaKVe3OsYVKMGlWu2fJB/U3rS469hwNHDh64aUeUlh9l/xXm6tUv9Cs4ySuSfpyjdxBt+e5gFmL40JHumjfbfauFssFo2/r40bCiGDRRRC5kEFhnW+dnCuUtehbsMafml9ao7I8BzUwyZcaF96qT0EyWKk4+bG3nBajUf+LZytFFG2fDSzXYvXVjmr2j4HBgp0ifWrjYsgfmXhzWfe/RchTQ/9CFB4wsyuV6uruIsYQ8aaJ90rIkiPFAJ9LesatSdAswt3PdLPDKzo4kD0SHmLZiTYIfRGBNPmFKI6iHKuQKuYQy/oFW+FfmZ89XEV33WfgfAPjnKKRZjmSQ5TY+wMmHkILH+WArRwg2kgRijLYY/pGeTtqKVt5C8vl1UOdLStuGROKAGo7VOkkUYVR3voQg9ifhsyeQfh+KQwDm3TaOegi1JxuNEtNu83YP7xCFK0DFF9UZpRAyB4r8RSWNlB9OBbElJMc5MC9fUX98leaqCxoB7fA9/k1FokyNY4tNtNezUVXhyE3OPTl8sUYTkBGvHl7BhVjRF+67ef9lywrbq3ASZDSxpTp8Po9kBgWtV4eS8R+MVF51Hg23qA3rW4i8/eN7DwxNRqJaav3YsM2lPxkizZpW7k14BncVxAbjuRj4PAGck+vYQ6GvKub3trFbmEkicPBz9yIj/MVIlHFHdjNKcn1dMgQC9R9T/nB9PwL4IYhyx6bQz05k29TZyeaD9G1L/8hw95/Iiugzc7IRT6x7ttWdVT0Nk7InnWgBRigTmuixMhPa+4Iq/jYPFQjcGd7R8MCSZb6ufvNZaObcNLgsVv8dPTcHUI6FPfk6ieCqUhSUmfQMO3n2RKEoqzZ3bdBDqHuLnV4mlEyHFMQJpYfDvKGpPKqHCMrAHyleeEjA/UX6m+R2abf47iKCQi6JNCiJWdCe1Q5wo4wfCHfSW2wbkHkD7Op5sa+ikNA3fRE2dli4KMEsfi9SyiPiekgqHhdkkweRqN29HjWKnPEXzWczPliOeqKHvVViDnD/cMT0oOBrmfiKF4Q0pHzA5w5Ia8nrMKLUDCxI1r++9gbnm61OS4UtffUcroU15VlbxjwH4V6MK9z9piSxWJkipqAI1zdDWMySwWK8MN1cBE8ezV4YqT9TtPnqOrAZPv9b+4O0q1DKUJKl7hZkAXSjrk2PGeqq9vC+Sl3OEaO0fTtlCWIyfQrrRe/obTmy49dz0MrQh8mQAu49CDc0HItjVW80A7bUl7SCJb/kjGjTssyQclF1hlYCMovai0aibP48PjG0usDRTyEAwulzYfeqoYO+p1iGVBWn1q3QV1pBNshksTRi4B8p0tC4TAnobdS3HGI7tPa6DpW+GWRQ1uBodY6324kDbW7fiHdUKrEppCec+/ng25CcrnYKbg1ptmF5GN1ipaXBKfx+YWi055xtPpnmMNWBRkGmzIsqCnNNuODpDmg5AO7Ot+PO8AAPj0wy2GvyzvQ5z3iuVUnEhXVgi9Ot71mSK+82vjm2a6wknIr6Iy2CrT4ha45pjD9wS4XBLn7FJ7QP6pQNfSHzBZAlHC82Xv1JhLc1M6uSzdap7A8O0KpxvJuvjL64c1gwKpnGKfFerYFpmdY2CXcGml49Y3UrG5mjH1wzZWHucPBEAcyb/XLoTVzhAoRsIqBWXKd9soxFRKb/kZVSRuSqUk4iKcl7JObu+Ic9YQ5J147MMsx9u+JZAkCU0v9bP+TbXnioiUeHyXiloGpkPBxXzoD5xsTxIhAWYUVxLLekoMvtDwkPcE703OEUTBUdTIguH9yY5TdCiH7CglEkWZzNx4rCRjEyCYLM099mlm3ZcRPOQHc13sKbZ0sj9InMDUWK1rtJtotykysXV4LmvwbKlzUuAQPE0nj5WwNKDptzAlYZ1Fd2dt8lLAOqPyvGaPcuiOs/fH7WBmRGSYGdQTIcbe22ZIWxSKCs4c+V+AO6FjawP05qPEjiJ2x7d6yCAC6imzkFFYV6eoGDF84csDhiuus/lmWpvoysJ2sLr3XeWwmEVVvBvR6kserXr4Uq7uwCcunAH61+Kr4g1kq5tuX/RQsichkxGWtI/mNj1KvYWXkj05wcxloH41/uZZ31i8Gsw5+ev+B2SwT1Xe44d0hQ+/1tBEKnGSTl9gLaW8TX40o+lblnUPK+UuU6SbEFFpWE0C7UwApnsDShPIvXWjGHm0+2PciSGh3SM8zJFm57sR9AbFqp7Bwejz2Fju9aZMFovqY+ynDzarhQzFyQQCqTgzVY0HFTcJraBE9Tmd1mHErZrnHbNZQtBKQQJp7y4UZBgJQgxMuso96PjI9dFRj0u2B0T1/IivCX39N5UHzCJzfoF7B9fqlDrf5vJFEZYczi8WDSPeGbUk1QbXragOaiWWKZCZ05xG4keurLVnIp/rzvOFwnKaeG2osqEyEblNK+o/gE5Apb78QE4N09uWPrheUjnXtdKgenUhaIdnMpnSGyn4d6wUb8Sm8t4bEVPUps4JvxigdBfP7yKRaiSDOG2DrhpwY4YcRHiIc/Dmt9Ya9abii4jOprjClsstjrkSuoJMsPlt8m8Kt19vFCcUEz4kwbDUaXxIKZmKRzAbiLPsK/lK4/VaIEJ6jMqdtLfLQJhpVj/F2wMuhjr/EpnDTuEtj00JdxtGTv1H4Nz07Ojj8S+0X0TD36RDHcxUkPkvzZAkTcQvaFMWCdtu8X1RzDysvlMBlu7yw+tWyP73nSHuohy/1l7SNlYaPsNk7Dp1XP4RYxLX2KWUWWwQEdXs0J0PcrnL3Fpkt5gZ8nK8a/ZYQesUIIjcADlLBnxHPzrrjE28bFsDrrnvyfuvcRblkgD8r8S5the60Cc3lzb2fYVO6fj+Oyd4zudr8GMq+undwne006AFoGz2vWpSwv8NmEkIWdv+FnD3kF2gsdZqdWJhvCDYQfPBFnyXYWmZvpQNdXoOwomerzoRhTBX2UPgFFHqQKwWaouKj/Ah/fmlgm2Ky0lInJe/3JB10THcUUVY0ICIBNCJVNOQh93gmZBEO800zVtITK5i+SWIEDDT5jSHObFbneXGLtRKhWc4aYz7bv8lCrfb/yEMyShz/5GF/4EOdREJDfANlT1biMAd5Plm0b8Yvk8CGCD1kOUowX0e8vsCBO/ulV4LThlqDSRe7iob5MDqMxb6NhHnwvuClQwj5C1xCG9iOcA1gJ3XnE2mDr2jG2w5IjjFRbLDyAP/7Ar7fuHZlxjHkMop4w80nskuO55uP2MPvvtvHj8Yi98jMgrZgW1twQ26MLQJQD5BxpdAEJf74OBecJ1oaqvV3YpU+qKISl55fc3OZQj7TdL98usGv8eX5aoBUi3i5yJrl7cr8xX+sLaVwjYHxShJpnN3PI8/I5W0byyM5urIdN7Y0xb4zJ+o69cRtr9JIUFa5jABy01Rqny7975u7VkYwArAQU/t2+FPdOIZR1y4AF45fVdaPu2nKmgh7IjmUqE4GC/9KSt99+YPwXZr3jfUw4x4AAs1V38hbSnJr8ch/MC6MQzawFDpfQNQH5+Nd8GVtCXFfgYHahu9wlTrICu173S9FG2T0YQ05rrv2SuxqAjidruNm8JMOrF0/EtMUyqPBCJeLAf0QPSGSccjcJQAti0cpbAlgDOjO/U6tvgqsOocVU7XIBOtYriYTACcZgu+HfNy4z3eYfL++1Hkn6fzm7TTuGc6EYZEbdT3PqEfdYCrqb5w8qdcwH3Ks2xgb3MW8Qyxm0hyS6wVzcO3gWr4Nkc1bFfk6KvL19D1SevT6PUympp47KvF3CYDLx20H6a1z8fSErr8lyQUXk3EmSEJNKZOa8g+ziKlN+HekGX0UEKCJ+IJPho/eWry0cn7zJY8RUfbXAL05spmDkAEYQY9kBSWuL1vmQOpswYZTpS+qzCgdVJoH71n7Vt9RqcUEQAFeAECyOCrAMXWlgI/JQJF9VXZ26s/nwA8Mh6MeghKPf/BkuRULQLef5CNKTBrSgmT5+RRPE7mgf7P4D3b1mzpq6WpwYXPniNiPzrUs5EOVoFCfhw3UZf+Ur5Os1loGvcBA3oug4Y3eDP6lNtIMPanr06FHPYxjQPgHze1bFoXOKVVCDSSDtSpk3elMnSmBH1ndCJ8u8XVcHjjW8Bu+ScYdp5HSpL9VyBXTSdm9AeiKAZvSVrmBBcqjFAnvdQL0KQpoxSPWAveWTHSzph35CbTFVvqNqEdEewcKZuW8daOjet+oqZUUsLsSdps+iGCOe0xx8N9fg4b8yCtX8hePXG9FGQXVZ6pYE/3i9j6Zx9WZ9A1xLK9WjPzkc0duNPA1c6I6GYiU4jKMsdn+gxVgSA7S/Yp93Uq63fRMBMf4Q9gkegiAx1Zxh3+EBtCLu8MX56jJDGZcFv0rhknVvLJqjudf9TOkUMoO7Ms+pAfO5kLf1mzcQDeBH9AZqVrfwIoFX+EPKcLli15vUlUUTrPdnaJJNV5D1MGuWByNV0W+RhTu2d7u1qksN2v90Qd8Qy7wOzAeFHvwYgn1UqVZgUZAKPrsMfNnkbdrkGxYDtvTO2JvfndyHpqIPNsj4C2PJgoyw4WYcS/BAMksgj2qkw7fQ8+IKJB6VtDrKCFEfyyVU8BMexJDtFNxhRu2yB2QR63TUfdj+4BhrJAG05hg6V58C0ekxYB3Yx0F3LQW9qSttMB+7qGbHEUeEC5f64dzjE8mX5HGps3BEPw36Feazlt5txvSI1oyBKxzyPdmz6RrMsLY0fLa+2u9bOfprh4f6uxYcf5SpgLz4HjGfD/M6NT7gD58TVhq/szln+YKM/wOREquH26ebxFyhQljFclDBhVe4CZVlLW+zgvIJHhZArOK3LVG+gIKKCyPOKdOrYez7S9eVFWeFSIEgz6+cCa0Q4qQyNwU8LHowe1rOmXZFOz14ZvpIVzCRR8/5Fqx5pR/br0Vf3cPuJhgJhGuX7YEZBE+fTbfdQ77Yig3dq6V9ZntWyXPFAt/EyHDLphBcrvt8xzLa96sIOoJ6Hp6FiCC2JX23YQp8AWvO6HloGeEW5z400GCxz3mCcQ2CPwxIg5XzDFsV63VLbc7J3UTpGEHaSKqFASxDNHvMlgWRpNUATFbkAZgTlMKeJXgGXMgwT39KKhyPa5QDB+C0A8ow/HjzzQ4YLrkU0FWZOB6RTfTHy62Ctlh6gDbMXuKjII+Q6zKH0XnLwOQXue5TfWGVTChYZgfG/AU85SieKMNXRvmI64xoMfkIge4fuA0t+e7hwsfzzXJK7M89i83QFSL5fkdvTMMuedfvQB5on/WZ/+YnT/rd+qoO0PH9TUWpLUqw8GVE+X0jLAeINoB1m+QoRNC1OY58SAsqgUq+1v8Qvap+5Ho3vc3E5yEjChvZKSZetoibxIypftksmAcQc8XfeaFHQo2oaoZpx6NbEc/fbsvAweyqabUk5OcTPA2cA6EpFNWnTAEbTQibPmEsMFKRy/jg1BnXG4CgQr4Rx++ITGhGztOrkeGzTPobl5jm8OirAa7lQM6X3qS3PuztXqkOeLJnB1ty0TaOPPQzs0QRUa/YN2xbLAq3BWi8X+9rp/Xn7/fnmQUGB88ybEnF/xNtxD3RbAUv0Sf5aJhecgYw9ABm0esJaU+rgkg6UBqJIP+dE6qcv/4N6uuWIB5d7jDUTjlKLsl9gqorWXDdRjlmNtUkl49X6/JcYKI/SzsMPHf2Pwhuc9nPNfMFVnh+RDoMtvCxP8H/xycp23a4dPn++1wmA/X9v6CCRr48ym5sFiNAO8AbUW2ru4IowmBsPUuaHwx5gi4vuu4FZm3NrVYh+ugu87ejvFye/MBGnGxlSovEmSGnGP4sE1NCSsChUlxZXA68nFXS87nbulFFdIrnLf5nf+05faQHOwM+w7nS9pMchbTJKKASwUNC/78vBuytuSQ075e24OYtdCFiwT+b5l9+I47m7htGPdZM2GLq872q2wiTC2hwmZpKMCNJefgG9KaAd23kEZocooOPmy0UvrkaJEzIV67fp7ghrPJGGKCjGaivcaM/SA+gLN1VPTsFC/E+ihAfGPjb8mhgmaRS96AaYQ/kAUlky7JJkiLbqyIBy3QUMIzdsbC7gvlFVeFG4D5B4pVEgIKGYzL7JdnyrjzbB4oP73l7z5AQcr076Nsp0zDrY16buxIHHTWK5piRl73BHzwTmej48jgRel8BLWj7fs223y2RcP3bvj0QCZo0P6bVsxwlzTmvwwNnvKnf4+jN8UwtzvgOkwjltJVRkHlsjeTxq9jlOJ/TB65kHsdq2SGO83BKTAOd/oMh4sbEf6ZxAoKHgBuveEb+NEQVt44XS6ItNrD7JFewvdP06Ar3A3FU4TMOFczyR3fKCibBeb6CNx7lnHcoxGvE9jvPSN6eh8JRUCaz/oNyQl+8ahyLgyO1oXkPS3SExCSdjOhyTjsXFnVCa3JNFu4NnxJiJXCix6vS4yLJ4zZYxVkr+jQQmUXQBeKrtLHk2gpMQgkryLOii565FQzJv9mGGsqR6GelN+uZhzczcglGP1Nvc+uxoI4ZLwOmDtCiy7e0r54Pe6plp6YyZjATNmhX/v7xBC8k2kXTvatsIpqV0aTYCHDBrMokBm7TG+KIwS1DmzzoWdnlsL8NZR9QIN5UnnWKrHqPmNDWEvjwgv4V75yxfAQ0IMFLnl4Q5cggFYXTlDcsF6BhBE6ScfiTQAH4gnqbl4idd7LA+cNyCphEanpNjdSYN3Ntrjb0qdddfW3I6frxOpjhv0HO3Gs1zYVu5nw0ReoQD/qpXEO6ytJ8+XrjsdjgXxuWSilRhTmDRkmDzDWFEfi9uyEIuUAmaHpOJ7jnH+dlbdONvzRUZI13JFDhmGsFzwsKbXKYfmTZr+92PdjY3AC/lSZ6Iifbz6koLQi/ha6S/ht18VOqWPVN33uRPrnBwnJLAiLzG6gy+sT7fbGERS0SQzAx4Rl2TM/3wl0SEtkQWYtpNhs9Lzrk8wrGxh8GpdDcVJ+CC+/QRPQzSs2v87smXLUiFv+wXERY8grggmt9nBXPab3kPDisEwcs+Nra7GtBjDCMcIGYNYN8dOUcYZWq6Ak0sjRcEj0eLdyu2tS/Fzg5tqSn33H/s6WmVpq1HElRzN0EeOhbd9kke/QF3cj4CaHgYOgQQi/Cc+/Md4KIXUvamNG6yuJDy4HukXEOsbbEz9vdrh85SZmSrHY7J6sLPrLg4fRixTPZYxsnqO7LOBHjGG4So62l+E7zkDEyNcOG6EBS3GlhQx5pR7ezqQDItcS0wbvI0Zwkeo9EZboWG6CBRxYHy6feO/qORY2EPyIKrq3N2qQhQaMsccOZvqHMjj9WFkhjMz3cEW2gp3ntMxIJCGA9TF/dEEPly/2TfTVvzioGUZM0xVAKWIXp5YLGhtkmmbj2+nG5hi8a8vuV6Sdbbuw6rctku4DzviV3O1Mo60oy+iqlsyrrTsE5NgfQId8MVdFqznazbsNICCSY2Kt+b3lIOTY2MMuY4fOOSlZZ/rSB7mcMytRYdC/0Of/nIfUCV51cMIDEs4mVBXfFKuGXG6ZjcfECgdnNQu5TYdOVc2Ip6rUsm1riSqg9075mTKqQLO3xN+GpDsxZoDcpQRHftXDSymx1ynVEai5+1y1G7eKLzV0HSBn8DKGBr14Viu30xnpu6Qfw4omxVfmeS/2/mvcpOBQUCH7oNlYTZhPYTEHpBqW4UhGceE8Utu3FFLJ2z2iMlA82ywHOlvAeY8/MoLgMOqE96QLLpPUJqxo4I0GqK8Oy7/D5mg6zXb1W8PB/2LW4I0ya+xLdPokktdMY9F5pkaBEHHpmwYvK0wi5FUQLbUUj+jkAdIa2xve3wnJRbtt20PzgjF60YdEl5KV249V9TrSKkT23eFfXibk9P90IJZYcIQ/lfFzglhPH8+49po5fViruUEZ9LT76J66j1A9IqJ5VMXvTu39Hd55Af5YJPzGBfmeEZBN2bBn8j41BZeQLHTkJZiMYtbPX12rqqCcbnCFap0RvmRlb4tWJKTFW/vfPm/K1KIt42viTPwgZKJmSg9RzV8d/GUkOnrW5tzjlOapxwBmsFYuqstjUq8i+HNfrWPqs2tKRcjB5sWSoX9bI/iHRdOgRmZqkPuHQGbWdaEYdLll4IAw9F5h7W+9+QDymE8OVGcYDIJLwTs3o0veZUM2ZC4l8pYb3H/LFiL70nUujuEo/I+wfVHeThCqcQdqJfmXSeEumlE9KRM3JeqC5r2Ps/fFZCkRXkV1tkZ4SS5GfcAJdygL8SkHHs/GhrSFrYYf0/9UU1/UR+kVKEL1uc+fBuQvxKHidm9n/MgpKzFffuv7UXlEmtZklUN+MlAgRjWordqt9EsDBUhTHSkQBuGblrQyka8FvfB6WaIqPJ2GuMMtZ5nErEgSv1xNH4uImP2ZeP4kzqa84RUnIAiAc3dm8vQ9uPVNzufXSGb0vMUrskYhSh6LY92TdEGL3I77rD7nq+mMDC84Dv2iI+DQ54CvPQRlTR+7IAQ1xaSjNqeoDcHq78QWWdYXoA6uzdacvGPDRVHC1Pk6byrcFhG2bpWOpU1GxfM3MQq3rGUj9/b3J3OuyP7zh6VYuPTvMkh7Yeu+DWys0hpzyg5NCoCAf/ppUSi8WJJssXGMANIUwMxyGflHLq7eUSjtR+0Y2xlaAynmdiOslJAkhdOeLDgePGqVhIM0Bj4/4aw0k3Vd4LdZtZ4ZOeaWaGgDpYnd4MhdKGW0scO6NsKblzP41GzwfC5gxEULkqyGarBivaIQlMIYaGQySxfRf9qamZ1ycAgeZqaLmE9TwDXjkKHkRVGfvvPPfd+Mxj+DkyCnoz6yCR90RErgVgnS/avaowaPf8/YTu+vLZtH/lLqVssXJXfWVzXMbMil/IYE0Kg2p3LGecUB2XWYyLdfgYlbtWrJyofKQgVIj+Bj+1IigJhRAo89kzrtjEhLM5y9PvKjOeIJef71VcaWY9jprj4biQ5AwOU+ldvoNGYGNnj2g1PNuQ/aLlcgyxNIG4fuaPyP0LXJPMM3InFCG8gKpbUMArzrQn++zxKvnES6QaFAU4D24w4nrRMohAXciBwpoVh5IOv1/ho/Ny3hRI19ttfJhZVnqOXTShalBkGZivLcySlKXDZlZq/2EeXBecdt3MoAOwljZudSTWh0IxPRhWB1NyS1RT2226YufnP1FqY2ZUAYvyfNsjhNm+ztNRNtuIoLGUMVGox7DRww7xZ+blsK1vn9Re7Ej4qK9h0FpQJvV5gm57MbXT7vbEniNq6KkfB86HsXmn1DKmwl9Uls/zim4uKxAzOB6nddx96QBMiit2F7PLiwLxxrH47Tkn/BlOJgvzXbdKobYnaIYNxYqt5yQoL1LBCJADptd8vG83GPcMsSHsKmo8zCivHvM4T8jUqk+z+tD49dC8ZHjZ6vv6mrjS06Am4+qnIbHkFjBCUk5F7cAZTkR/1POitHuWElm8kHkpi2AeIHOnFIQJ3TPiDjfMaoy92uJvbbIWg9ow+BOJXyBLJyuHgz9u9c7jq/YZx+Q0q9tcyH1MEsYtteA10ro8ZFuMuCobXe5ACxSo36XG2n8f/3hXAj3RB9OhOdxNINAPXfE53W4D0e/hLFsF0d1GxqVXYVuS/fUaJ7DTdz2aLd978L6+n3/9D8qEXEsWpTDg8S9s9eLuvDYUqD+vsDVMuSnoUGE5tcD9fTq+egV5H5AqoXbTWHmR+gAIbpwGj4uPvBrhtHD02Ij1aEEhG3qgp9SUtssiNo15So0UuvWL+LCpxByoaba8MN6phsN1lTwHios36cqGDjFxagJ85kANDUGM11zUFo52/OTJZeHEkgyFaqz+NtnMRk/VXSxA38j4mSzqOZktBcLqTAcumEpnYs2YJwjwOKNbLEUjtyME2mNBszKsIkkID7eIHtPksAr1Zdoa7bbDowFqDuijRqGpWqcvnV9elx2osQqChP3+iwHW82cdUVmSLY5Qx0xcibp1ktZ88xvoB6cUN3aPZNLergvtU5W+shs0vWL+nZ/1gK3tuHJjOez2/WzUf02MjSxIpOt/zul1Y3SAnCanDE3IvJLtssOrrwEd+Y5b+cefIcoey8hOy8KzbfLwGDk78OcKiVBmmC3AFBBIaIT0zzF2GTtefUNvjEY4plu6qv3ZpojFX5qDw+PxdnsSet5HRZmnfMznMXGUQAEskav8TjzNqF46moisbsTEZWKIQHbm5kxFnPIJ8FgERUCD9/TkPgqPEXhPBAMHhBMHDx/X2PFSoMBuqZyFioQr/YtJjcKmM9XUCWQBx/0NCfIsTwtGNYCMBemdTmvCsR+GHWj8W87Cj9OgSyEZkgcL//0aaJ9+ncEKqh9CzJzg3og5yXDAwxrteKJAq5/CZ8NG3M+HswgupySNOFrfVqJDApABzu+MMLiYNp8hTu558y+fN0t68VJbxw15PgKwY8xvuLhVtziLuYDowTH32dyBgtLdvx9+QBjst1+/3TsAKOTIiMX9dyTrrgRwJPma5uDC/HVpUroE22sDOdwcFnMtbjs7ptLw71v2bMkRiQJjDhtob1fqZPoT2NW+ajqiiSDZB93aMTZulcAF824ehTwhP1I05zshmiJD5CjzKzahA6DpIKQGjLRvCktrmEngWxFJmY/1TxB9oWZLpeVBxFugBxxr2i7Wef4sbweuyNN18L3c1hVuuzM2nDiDVcBiM/y/TbpkvUN7N1nzazdKiXLG1RvgmX53R4Mm5YKQlroOEA3u4vC1BB2uRwTjk+8LXwsk0l9uG12H3iEisIEv2B0SIH+VjGVWvq4fz8Nn6Sxp+LX1vL56muObPuDjNp13hSSVxZmGuTpybnHMS9nDLesgZL44vR2XSGI7wQagSZLLbxpsKtRDe3bcseP9LbaBnjPMFa/04d3UTwQ5MYc/6Vc91Chl+iAwZNM5zkl+JGYplR/mxivN1yNIL9aUZYactCbyHh8t+x8LxpTYkOafvbV6G0OEbu304ReOzv53nKvTqhs1k8xOjotIYT3HmdNwuQ8Yn9uwe+LtWyk0d1Ca2l3wy/qYFN+LclcsByvc4rPDHRhISPPEkSz91QWPrEuiRoc0EvTu44ms0NoLKDmZiltqCt/A2ioizWJiueTgC8SlSta5IpIduAIqGr+pnkGjncg1oak2aBd4UGfvKxpzljggI01KhG75CFk09xclm27onOJHVUxwbnxlZ/W/sPc/hNHhE/dpcvfdqBol1rtYPyhaXiQ8y803/exxtJ7BqxXoq3cX7J6COt+bJmnRGdPu5T0Df3UD0niJaXKeCV0BZf6FN+gdHXpfESorw6n5hZMq9bO13DVOnciuYHMDw0HUABwZzXjWcpSc7Xy2yXflTSx43eYa3rYBKHPwyQV54vD8KC1u4HiWkFRm9mjY6cj83j+jQJQ2hoArwz/pIDuhneyymEFcYASuK3KsJUGRy/SpkdEVzTi4itXFbWoIMWCxXaHvp1aj/8AhZhWSO4O/48Ra0Wm6Q7VQYhC/p9zvyRkr6Czi2dvUDO6wA8yLn0vI+dhwqAnB5TNgO8YghMhYbwLp5PnuPSWhe6giRhrOL2shqfBmfExCB27xIMjYfT0cw5FFLczZHqhakioeRIt173/bo3LNMKUix2F43QSWD1dNflQp9et3TS+hUEuCNoq197sfsd5Q6df7xDaNm7I4VEoqO4vIEOJ4NeZHrSOY8EiLBdDpLKJ1KKiw801UOjG/XAld992eST43xXZh8idkra6gHrgvGeZuMuXouEFmJuqxYqqLX2xwv+mhJ+NYN9qhKAtHal2ojLdrqiSxEY4IUtfoQvz3mv+u9UFkFsgnfDyc3oA+4ZYsKvV7ipbfkazNbnRWZFRJ1fAHy3/Nk7JOuu35QhudB+lZ4JNdsc3z/SzUIVBnQ4cE5LNfh0DmsUdno6jSCT5IrnngN51duZoAHsEK2AVgFdcJ8qDU8ucAmCkFEf8tTekkaeVfvJr4xP4r//0mWgVlLNqI6V7BKTILcfH24juX+npI/G1ed5TKu+1ftQAKeRBydS+E4GP26yC7pNUlK1sBdJBEyfxz3MGiSuagbvf8+++JrcC3tkQiSKYBu31R3pws+AO59Np1UX/z5n9Xh6P9mnz7HmzCP+HtvaAlnWiyPUdG5EbG9V+SFms+a1LiRw30HCV6FcNI1Lt0lEm4Th1103dhNYyamVhPR8Z7UAUBOywpQup/D2BNRoL6iuROHdr3tbn2w9ee1TEfXZklzlhP9x+kwWJPIpTgLnFRL8mSF1Jk65fQMuc2lH/T5HR49v+aIMg+AdD7YJW9HBipq9qRo84Msv+2dt8Cy4srvy55juI82NHUYnYShrhVAY4FjJ2LhLJEDb8tAhdZSW/avKLnfuV/afwXbjSs/7KCE2doSu9OK6B58EEYN/lXUNycGkLRGYTzU0yS01BdOIfjWYbgvG3YlfJt5oIE0M56ow68IaRmScGXCpq7SoiS++a0R0TxfNdZ3mFisGrEmEuHfv+MkRg1ydeKH1IZK6FfZS9zlDhSR9IfXEYIrALIsz8G2TXnAuzt9NE0DycIOwHb/j9Io/5gtkKyv1ZJeMGGIRB7BL2M0odWqnBNyHqWSmKbSNETDEnM2MI/XodBPuAeUEMPbf6iueYrUTq9w11etgOOp7tqa/bKv8OPzNp8Xw7kyKdaEQ0ca5+MV84YQPcyGcTDv/1YOZTT/DQczEDU0k/bHlLs4y64CbRPzUxv86eu6xOsMKAm7TUJndZoXyhr63mot1LniGouXDhIf7h7B455QsG6h67fj7MIAJSuaYkOEtFDNIuhw1tqdM0Zmskx7VSrHmIoKfpD6D/YoC50MrnedtmiphbBMV+jqiNRzBioIjevV45iNidtwhRRY2DXy4zndqTwOUy/izyByUEJbO21z0WZTFLLw79xI/PgD3YdOWeB09CuTm2Ab32IPcdPWYwgKgzavGPMkaiFmjbVo17zA3gjGS8dD/QkiacsaaCjNmbfA/5VEykEeyVDZIgX66BeYInHCyKrFdlf9zh4S3xqk5O71f9Z5ZwCh0T11G8SM+cypSlC/HWIX6MwvoaV93Y3zzqIU5eBr/d/nVmAXbSNSC6nGbjCCAkfYuA1qa69ktkwIb9g/It2DBd5MORJ7cTtXWYX+GtH4kS6ii+cXul/7SJAkMCQNS3aUSWvQ7JzNwVWrQrMG47ot6oOOW9YVt91ia2JMta4LSLt5o42waVW+yG5p2HlzW4z/VDJ3OG9jfyD0gydsAPvrA+gc0yS3lEAfhibol9aCHfPg9rPi96sbosLt8l/kOyxXDVKjnyLlQteMSjf/wrUsPZcl37NCESgAOf2Z4q9wBOAJMFRAFPxkHXNtQjYs95oAQzF+HX/lDIUmqe0JHMWG1Cf+psfYqx7X/mKFF4XO41C892Kug6avcupQmQv3f/dtkoiKQ1GqgGgnBBcTqsOcgWexTnd9jXKtF6h5l7yaNB+SpzXCGx2fn57qQJjusfPF85nCwoNHBLAxHvSGG9+pjLx8qmfYvNB/hXFnyDNah5VDlgulDpyDWu8csNY5yXLFdEohs0aFqZR/i0zctxlSNuYRuoJ/1WcKcfPAkgqCbzFYaRvwsZaSIElS+h7aZQB4V6XJEcvp1XGCtrS00tt/jKlSG1UQuyfnNLTInoa9bEiQHqVXtaG0whwN10rFOrW5SxIy1WETyHt6371hLnsT+KYAs2IACsrkXIylFqN3jQseA9gU6vwhEXdv0V2gzG9BxzfUSpa4Gp3Qhd8I3ZVsJBqN6V9waR4Vn62gQgDRCAHInv81LGLaUlQmLjHbpAILSh8syLbLKQUm+xmpYs213IKt5oXcEMdZE8cMoYI9lzbOnZvptFdqwloS5cDq9KJ9VBZx8HAAeiUq72brXynYrKzrU7kHTkbqEKqZG2vxr05bV35DhOVaIsYCozt+vGembt8xFth/0JrYGI8gBIO4N3t+r6lcdnlHvzWB6wou2DRrwzDZAixVDpoTelX2w8wZDtdoo3zzjwMCi1WQpREWg+EhberdfABb4AT5GQqRgcrc16Ok+DzznBTa2XHjgnRFBctvlNC9hA0/UliCUZX/fj6sv5AUCyg4VVjW7PytbPD3aTwjTaWCfHC7d53JZale/2I5eusCkIna7gKEBIJb6x0uU00b7enTZZmDC/Mq4cLsf5J0IInTYuJO2TshdZcpI1ACynak4IGdSa0urbkFs15QKVN5aWMo1PPh7f+sEgKz7XErP/1tAG54l8xU/cRquehvtbj0U6fK0Fhz0Yv+8LhNaAMQfNL+fonGRI2kSKWllkiABujaECSmV+TPe8YJQ1s/4Y/EC0CDhg1UQIsT9nLSJ3fM177f+5zOpmpm26pHbTOkOt/GPgGRbnoHkavBN4wYJm/X6ZnBwkP3W7KCf711r4+rgaAvNup4jvMwA6qQy5QEFvyUIXwE3YJr5DVkEf30W+nwdz7F9/spVTwCp2raZjeAHaXT6/LF1x8LKKdLAn7zd7iTgLlCk8DhdHAm8ITXy0QRMaF1vkz+WOWyoGm0NJMpEWDvdvu3HSzkj57H68rHhQ8dpBqAAzWRPKHLt5wRqJ+HrKNxY+r4GK0bBEbsSfHFqMJCY81o3vwokk+1mzcm2HamQZHfocYj2T/EF6e/A65LcZNSgWE7Y/fSS9QAEUJTTySl3ZkFPvRMISiuPDLtEmNk33QKF7u8LKddI7vKhS52j1zn9AlP3kU1d86srKTNpUEBprOD/bF0gKpKyGa1DkYQes1iaUXo8YSN/51V2vqkGSoYzuCkVUUXTTnGrMZXRVq/ofWeBWlIwQMrSXiS95V1Uvxi8lkXSkZKdJhBAIzmx/5DzSYp2yZzyLQnvT+gSWz3CrMS0NL4ypxXg6aB7/be9mId8m/EdGzySn2fDRGJbI8LAyKOsW8QwUW8YK0WbY94lvuq4hFcWWuVKm8fsR14DAQXS2XBtWosbw0rHNWNcoHtQJaWo/hrGtHEuHqmSkRrE+JSiHBWYFhFVk5cj/WVibWlTYycZnBbmUuTUOayQo3HjsibT0/ZKRRXodoeHP9fHPu+/XzPXcXcmLuNhDsAx03IcU2x1DtQHGzbIVeWLjKQgWYeKSkswNQOopzdNPSc9S3hKegoU4ZP+rfsjN0ewdpBNhHBvshksUo+DhmsaWo0C5hm/AX0rTGP/tl4Abilnek672qgrijYKOhB1a+5SivJgu1GlQ9GSAIOc0IbZuvcHQ2zopaxfdp0otlJFP53zdkRenZXQWsVijqXmn3x52vBzxCZAwkV6/11firyJ2aaN0PnTqREev+WG3mW4GF6naaED120SKVWXQgvqRYuY0wHks6dL0aOEExJb1+YtVPwIIW7jgpDfwZ6ojFw8OR5kVRV6k8ff9BVKdpfX0yxZHqaZkC4NLndBumMESa2rS5HviV+8uDmm9SUjTxzGUfbRJSVL4+CmDNg1YPUQq1ZmQL8vRihU3PTXKIf7apjsqwrjcNnjAdMhT4Fx/Kx0DklLB5FxrAb+AwpM/SA6vlDhTsppPTEYIrgRzJYSV5W3LK5cttyBfJufu4k5Uu4rTZpESkJ9MXN65EOrphKZYmY8AYWo0EmD92smKS5R5t2O2a20jOhkGwGM20hMLo3HCISRKsz8yxpFUX2V3la4HkRlZde/Jt2D7UY6V1dYVz2O5LVREZh+FZT+KWExk1PVxnFKha+c15Ifj1oHg2SA8tmNbM2hHxK+ITCj44IZOafeM5aI2rJdPlL7IJ+hVNYuLhnwvjAjpweoa7qG6F0GejUu2xcMbiZyhf+N0//99RZBhHRjMpyyR3UApY4SJ/3TavIJjnZ4EHoOh2sR+bcF5xhGy9/aQW8+YIzUKD5DGEQgodJNflq0weAg9UJ/6rANKdPvU9saebbfC8DKP4zaDpMDPGLGTPXIAdjoRuyIRuWQDvVX0NVlJMklVqpWbcuUAU0N4WG4yua2VVah9wYjyuOhHZMWhH0D1A3ryi6L/6Gg0i8uD5Yjjf4/EIKvAs2Ab07OBJeXRkAMdWZf2wFbQjoMrvjYnVF8eZpZm39lX+fWWQYsyZ7qhzUUmaFscaB89Ks4MOAJjyn949PpWgdp2YAZyOrrwDkzcw8necGezqZFpJIBq1wIaRLGEUxYVmdgHQkwqEBFA1CJaBAgDYkF1sJur/KWQDtxbCbVVJ00E6IWRx1nuErVZpBmqLUYOFw3ZlYiA3zcRnQCSwaRzL5+KPnUya2U/3+F5WXD4LoRHUCYBBBGZmwIVLpgdjy+VwkmYJVGroIgZuRP6NlX5+iKqqgtO2LHiO1pt+y9eAj+UBWQPHVESwix0JA9shwrlAwjO+4B5JsN+0t7y8dSKeHNZj0Dx7Q4epfwHKNF3KmmQJCw7MOkt537QyPcNzpJ16xyz4lB3e4A4lAaBaCaxSR9kvD2AJ2QSgiSxKBsdwH5w5ayRYFpY7YsrZro7THmmGoc15OUpF5eOc3cuRxYNDQK0R5f+94fzTH5VhsIunEScA9E2NaUQ2Plxpv6JhNyYrweMEA8c/Pl14k8TelLsmuasE/D+jyOVJk/mAoCvI3ovNyO4K6xfVQM3rN1wKGKTQul/Q9Z7YW4bAto3o7Dune5Qiy24xViMuQ9Mbrn+IaVtCBAfMgZOE85pkANhLPnuhLV8js1HG0lk+BrBSlzElnIfCTYtT9Qz4seySHFWzWIouy7efGgzcnpZ0EIHeGL2bIdQ6VDDmkrZzFm+1Gg0Y2AuDXk9h3kbrmYWpMV4ZMLoTdK+RLLoCLLR4rauroGyoqc6WeWKEu/qAbRQK1iMSyktko5ZeIyrPKhyXTW8u2BVPszcUv+u0OlDlY3qDFohIjdxjCN5OMsZ8rHpNIEcn/eOcKogkQsIim3Aw112T5bEigkQO92i5epjPuxkovE3oa8fIaVXBPbu/fJ1rkKTJLC2SwXHLweqm/zprVK5rT5+gnzdwRVjU4J6rgp5FdmmQCYFU0uvloSE+YTHNg7annI8E8T6MW9XgV8qQTgnlmKi98256WyHzfL9utx6V8jfVlh1JLlpWFLo7bzJ/lwZsA4J3ZLwvqzni55BEhlWQtS4HggMXCqkpfeogscWuzV3FGu3MhGYBDHCbqjpuh6b8ub00uscGtiNZX9D1fIdsfqX1v6u6nQc7XSctT5a8aUfMAY5k7zG8/ba0jK7qODsmV8uyWfbBYwzqI//TLB9KiGuJPqq/Hf8e+PtuE9W1k6InZ/SfrWD3Lj5jcgrIw9qC3b8goA2ci+7GEgvtWJRcM7wu0dQ5mpezYTrkiFkvUtbhKAOG4MjdNpcoTLp608994RRJGPHsq+kN/ujWGirtMwhtdjIsaahFBszYTEGb+xsljGr7pnE9TQvMhSvVmXMs+dN7oTs4zq4639E4A7eSSNttCQC4As5TZRuBDvns4+S2xLh+8CRHhyB+77QxcKs0oZyVF9svfQoCFM2ew/PjYU/1gG+TrGRiL2NJpWtOc6ufPlc8Ca2EVxtboFpUWmdNSpersubwdjaB3luQoIdhsBN1H84/ZMu3flmukq/+jCDm5a44NEX3YrKziCnel40pEcVO5NUbhRiXnurgeNxQJrTcAyQ/SY3H4hQrbALzA4wUYkaB6d1qYc6NIejFwQ7t/lWzwgaHPbdtgZC33wLoMTNryIeReoOzl2jv3soYC/HQf0xA1DiRbev4Qmo4IXODyscVE8JlZpqA+ijU326cVQLBTgnYUxvc5gf/sL3KKCbmfOjL9E5gn54r4nA0I3MGHdwdVmjmPpPkws+XIxQq3I/Zo/9qNk8DyudsXfG9lybISmlk7R00xN9r6F91+VlyzoeyOaogyh+C0t1C9bNOdV1X+/zpC75a7k0ZX8mUMVDRibIPv7vIWEMw6GShJ3Q5bwthHksJuXkAMUVDYov80YIHY+oB/5qSuDrW2k1/NRqVbvi6d8fpBdnjb4Mzf+15qi/4mjGodfeY0XU8q2VZuTiFcyalu3tUn4jfPrMPrkkk/2CFjObrp5cfQaQfN/FlURIDkaYtO9y9l7UFa3XdRb1GaMDig9OIvyhkAcV1MUlHHlNp1aiGySZoZfYwh8sqrC1FghPVAyRTyoOSF5dq3Dz7xLb2VJgeYapLNoFTEx/YWltye7gn9lOJOIbw9x4+kD2zcjpQrY7jaTUYhLnkP0a+Rm+wDu8jcEqUZbYn1lsBN0kmJp+Vmo8f/eSO7qou2VCe1Yh0wOn5O7T4hRwqmNRsMdv31Qi3gscDpHRczfkYMJKA8JHXFpNlTlstDD4j+qJJXES1S4MgGmujC0VvOL3e96xW1LdXncj6swGepSXP3nxlu5zMY8xrQfItPc6KWFMCIIrzvxNluJmqBLe8XTY79OIXKMAMSWNOsytECHhBGTAv+hLJayJq/EYNwm0RfXtxb+dkD3hiZt8ZU6H/4WiTjyWH5ZeXvtxwdYfqu8hUET/wbEsOT8XZ5cF5o+aDGtEUFnKg+zl7SL7TjQ+RApiuLlM+x2TNPylpvXiBv4neRSFNWMZxS+SpYfwmvBClzX3uADvYKF0U2oWPMGawKXruVK6Q5l3eK8ydEqnnJ1vjEg6KebmvJZGDwTcKu/pKwNeYDM1uMehRQsLOgGrgSh/JkRcUKWA7/tevxyPEaMB2bCArXLu5s8WPUtTYWeCZ9VBAk5Qb1WFg9/bbkYI2TXiWi8KhDzKve0yL5zCZKVLr8tMBfYBqO5K/JIiAzu3Oi+gKvMG0lXaAgJU50KnCpaF5s2GHYsjyTaL91/hsxesLppR0n/7uharWqrlry39uRfL7BgNbaD1x1lbaxU2bFo4jHFUDGjOu2bgt+hmiAi5uOhzNKi4hd5I1gMjqt2Agj4SNBR2yCtJ9IPVfCmZESvoFCVTG9skpNmfQtyvaUQfQyP5iFsdefOVM5HdDddaUaqPc0pXZ30hPLCzIqSuPhFzH+WaOtgeoGoPchWScNzXQLKeIwmCi9J9Bj223PZBQAPJegPSG1QwrMIhm6M/tOSmdiHUHB4vmCxVfagjn5wGGvLCSs/HNOuZNrZEZjIonK6Pa53UV1ly6Z691i9bzFji9YDYtVEdHZBDfuvDrYrYw7Fr6JzbBKrGtXW2py2QIhIMMZgMrpUQ3L9FgXqKjdIYfmfrtFtGglfHg//ib6FSCtsbCSNt91hubjwHzHeb9m5a3g0UWNRJ6YkrmSok7kMkbWsC1eNHZBxpHlyhAVTmBj1Ldex/whxVnaHD8W53gJKio3Kr9S6x61bdsotL9LnD0SMVTasYNSh4WQgYc9Jg2+ounb25csqqIZvomPJqy2U2qClzaVQ0bzcv6alGooukbAILfGRRzAri0TsZf4kGeCIsKXnJ9bTwpKrBlwy3iKBLqntgnO+d7XryA8E7y94xpt4EPSxiNWsZlHRL9pRG/jgm183oTj9SlQ2VlCOfebApzI3JwIksnC/l2fQVHBedoYmB3CeQAvoWvCpUWnct2NTnUjzuEC+8PYs/iA5vbkFy8bmmwB6U/+/gGNMovDP8l5K8AKAWUvvOzOtN/L5j5Di+Zh/56E7xrsvfoEo7VU3RXhtMSWucdiHd9x0m7V4MhvzNSzDo96Jpk8TU1n0UPGhAE2xBNDHbu+njygnb6ruKR8yFoLtvHGLmfYeGiTrUA72COAOJRBthoJreluarzy4NFGPgfKH5cHwxlFfwkc09O53+F37K8sn3hsckiNSRkMWosEFAgulk9JRW3Y5I0xz/7//EklBBQ9nuILgbWAvw9iQjYoWuicgTtguK2yw7aDWYGpQAEuUuBGUgReG2grbbcFN7psiOxC57arq0STZMcBrUuLUSySKpjXxKLIP4mVNr3q5dCvmyOZJ1hgGmXMYYF1+AtTyxPh3N8YxCILH0KBe3viSrhpjNXapwF2DP4tYQy33x73RQcYhsXLXWNRpSI/K2HefH+7Y8KVJwFaEIkXdCyfQ2twXlQ8LZy5zCSzKNdMl1rPcdaeLT/a1XGX8jRjtfo3dwPaxTjzr5AGYnht8prfbn+1aNKdUAUR2+RcGRbBXsM5sLaTylhrrjwlzBtd625SA2tmR6KgdUM6jfMxXsbvDP1R3jCZNnt4tteSo3MFEqpNwzip4QKmelVpc7T82e9GjlYYmMnhAX3xNoJh0ed4flhgZTBirkwpQVQ1VDlv8LN/UYH8jcj3sBbBac9AwvMf0BdtrkgGoa7q7B+0O+/ojdE18yFhUJ2MBdl3FyOPLT6MEgj2Rm0mZdwuI7qSeou/DgppxI0aWl9bfx2ZV7YVgms2/XLpIeme+wXj8SbThUIK6W2Kvn0BCP3s1qvJYH2+YmGdMb5BBC6Ww14k00aivBO1u7FrYL8dSSyXtiv0o4GhzMwbMWJ4Dq/R8K4A82se+tlAaJh/INxY2CiJskvt9i+ngGfW1OjdAy0BHHlWxHjqqyIk9bUyN3zUMO4KC+Xm8WHeWzKZyMB0tBMHa4qbEXDKQ9TAQAj3cnHmvVoB+eeWgNHHUfseGnJUv7Ld0sCbVK4rXEw5pjS4kKVJIC1cGzM6FbcM2eIL8Ba+t8SzuQOHjkpksGLOMOGSams/PLqxepMMkPe8e8QuoCStS9b8TyKfi8DKl7ga8WQE7/RZmdpUFzne5j8xb7BkJUzMuvssBJoNEnGi5UhDFKWWot0rbDs0CtsxDeqb1QZEZhfgpf3EuffM1B0AVnUb4o1POATtti1FAdXSZUSbQFZXdDGz/aY3vXdMzz65JCWs1RuMvc6gobdVAWwKq0Ub1uCjOO7lw340pPX0p61bwEVB3mMqhYLi5jV8/cTSsiKYa9GBt/fA09j4j8dcYW2faOsBLMwF1MaDPFV6AISP77HRU0seK8iZCcuWzv8CtodDUkOYc3zvTH4otu42yIT6Yx2tdSUC9AfMBtBQXm6YndGQopLhhc6qeF7I42nyeGHcEPzRn+gexDwng1b3sYTDcWOe83qYuWtiC8JjlTyBzaTpe1HoJThsgMbZuay041ZFVngvBD3sDym+2epz43+e5RFG79+u+ysIUMtz1Djiq2SnFq8hPxbXCM95UxZLz8NLQOtf4Rr7FDj9yEzy9XB7Hs7iQ5M6U4hw7V5uKUwW7QOVPlYep5WjiGYh8SN6ud1FR1DilgPDZZTWFHhJW54usHX1jm6C1I55sUq5S3l1ImlS7p8p1IlxC0pdyhLkd8OHCBXyN+QrKAViwA5PBSn4bdA33obCylkUd508CxrI9gnBULWvk3WRrwbhC14F42t25JiavyzEDxz/KyrRTMTdDfEvE2SQOdNuLllIgIsEMMSXBu3fIKXW2MJCvBOWY7x5bzeAGkUpmvxYJqpaZtHDbbpCV/k8/02fI/vRzZyDCBNWmwH247l0Xc7HVAy1oLKVQIyMYHcdLuqvDjJMn+h+63JW0kHV+ODZnbq27GrV16IpKUvoqa/tXAr/2C13EEb86jTM4Mft76MpQRfIpCIEXJ1A1iQQSbWP79St7ArANoXV1VXhPOck40Skx+9WZv323PjKDhwXOhKRqrrc0qkXu2s42CQBYRQuBJXmE+PBP8hlFxbeg10Pc0YBJjqcjNuY0wc0IOEXkwUYELZCdgpo9tbOIatJ/DTO+w1lAadCXM2A2NxJYfRx4m5rqkS+PitFKhWcFD1tgMa/L3c8JojFaRHWQYqze6L2Y0Xxl/ie+OL/t4DHvQ1jZIHH1E3ksUMhvxjMHmy5jIwUnx3SRlFGNwp56mDKb3Plh4woUBs3bQpB98aPnpSdLerBkXYtWbC3u/S/Xk8gS2ZQXsNL1M0AX2GxGtpLs2EH+vtjnG6Z3QoYSoS8jU7zNyGEtvNy9oEz+1qM1QfYOMAiVrwMmysTN6rURbPHkGgpZ3oDxQ8T6VHEZmP9Wi0qlSHn1RBXuzZ/Jgs1tcrVijbUl9DIB2+8PGFjZTylAWsZIX2TKBpFqxMKxOCyfj9HzxABQEM/zqkHGvYTE0QYzFhHbBgQcozm9VyUTBh8Dc3i7ceX59Pg9zpwGfZgO7cOrc3KY3nN+yDTx+dVhRSsMWqERxZOaoGmYw6rR09pwoJAyjRjqSFSEuCbXcT4nxT97+JXz5Yb1crx+iRKECoycsIRKVWZRtqIsdBGdLdUur70wvnhLsQXi7BPRL3n2AJUe+6EJJMAc60Snfz23Lx4izIUrr/tx6rlypRXCdJ6BLMM7K8dkjV0FqMxueSm1gDD1izIa0uS9vRU1j2TGdPHCvrPzWddDu143CUTa5MPLLS8RJAQjFqrezvSCkSg06GAJbDlxwc2NAsDv+nnHuovCzOnt00G1pyLgwDrA49tnW3HvOob5ilARckXoQ9xqvX5iw3aVpM8bssrm8ApxrUgUKnD/bEYoMooqRwE3tSuFTPW2PDqTYfv5m3thBkFs5mOGuHW9/NFy84uTRJ0FNoMuPsad9xn692z2KviychMUiLQ55C0luhHyZQ0ZNhQEJoD5SP8u7G5CgDhnKHtulMmolLPPDIqIl69q2SHF6WU5KBcheft9AfgT0BOJHqHfr9MAubEk/Je/rOmcy12sz4s4Pt4F1XvsRJlTT89g1S8qkBETyj58SmrhceZ835/lW+E2eBe2aqhNLQD5czuXEE+GwpcIm8/aZjU5DXdk79bmdM75HgcU7ylTfo09V9VCSxZlsq9ZfgyuCR09Kk+d4phFztAVuqrTTy7vyQQPAN0fiy8BmikP03cI5HEQEpjJtxeImW6ODVw5WBZTbgjeki0h26C5whz4B/kOb3aODjvJLIH9FyybHQB8tx1u/akd8+UfElJEywUcVQLesXgRFIovsKGL12YYwhDYdNMSsOFftjxpaoFBjOnvjRpHnYGC4wmoo+JT7ZDXhEAsRe3K+ROFI4PUoYZ4i3agJBvr6ycEUOr/bHGLHZGwF9cYmSpQco302D+IvgUtNKdJvd7YW/6B4LCq5pDePcST8bG5mnQlWe/CRIEwkUcUpj4KBybkj+o8V3DdE2UW5ZUQ46KFNE7r58KBN01t18mSK1svNjfks5ZYKeWZFGkM3g81FT/LriZxUWINEgBB4qRwUlWSV+JjHvOiJv/ofMd0nlPmcisxPxpWVzGybmN9kGO/QUn59KHamC32xq4q9hh0W4wrLLSm19Qe8wMxbKu71IE4QRxovhuxHz2aM5eBECjs9UjvenkNDMwDphiMuvOBWCoSU6B+obkvqwmrm9xSWPnwzd0BvM4h/2XLpfaw6P3F/I9EBpJiR8IWdRsFD2v4VhjW3OjgI/2keaArk9OZdMkLxva9UT/FbZvsL4JH0dJM8zyoJeD552Cej8Xtw3IOao+6IKQDtv5v0rC//lndjEsxSo0NA/7al+Lf0YbMs5fgDivrOHt8VkjMutowy8onmnGujYZJffnmosvIp3rE5Nl2mc/6ORLI0LOeNhL3Z4wSa5yjtpOhbA90+naerUcAc8wFfrTjZHKLRxzSrVLbu9BJz5Z1oCOSXiJGsKbuwV5N+3GhXh9z5DCGT7fAmB6Z4EfLb2z1SsfHKFTPpoTmcRq6zYuVIDrMseN+t6xS5b0VXq5SkDZ31eb8/cPGk91D7uUL8VKEIynnzzN6s7GiDu4i9tuF9g6iYpfCtiCDKX25PfqNWKn4cjt5pDv0QskNWtct2xygQbmVAagBKnUyLW01w8yWUr7Bin1p7dWxc0OKK48caadF6AssvSXT6YBRqoeYPfQ6fBEcwBfKt0mRswL/wz+gaQvaLiAOodKHEjfKZZRI9y8wlP/6eyCspkymGE0l8sZQBlWMHAgG4oU8ZTNucb3KMbLoy2nH+HMYXO+/0YJj22DnPMkMgUaugQXwLCweWq2Kv0jloNa1iG+JCA91BOjHPM3uYKInp1Mpas6oox6lsHyk/PsyDHfjQbK9lqzNhWZe6oWw3oYy25JEVzpYgvpA1dvo9U/SuM1lSLc/eIXl/nBvbJFIzcUBvqj5Q2nBDR+aXdobxz7eByBWdOJqfMKUypj9V4WuB5MJBj6P1bDvCWEB3kNK4GG7S2Dz6xqMG32rJy38pxKpW8DoQm9SEmOAuY97XvRBtAZ8ENGvaL8SNA+2fOWIEBRp+pL9g1ZF5OFMzDpKpRIQfpiy0yiLRKPEFeLc1vXcaeHqEcSxCitSDLYWuqQgU7tbxewdsJ1ruEX6DfcMrGJkiyJmW63CoYI2jJ+O5AxBjxkYqZq848fpFUDrMLMXqFV1Yjl5RW90RdhdevMVcVpWHK1znTv6yQRX5L9XTNt6HLqo2+TsyDRIz1mj8AebdQKh3znHhKAt4qRpS1AA/y4soOLobQiDTxNeKxVTUFq40IyIyQf1stxNIKpX7StYg/tnAlXVfDgJTJZyCpPxxXQm3VVx7VDykMr0caNXHU1oNdV5GpPcPcI+U+K2wMTo+SMg8r9h+RyaHICeEIw4Mj94p5b6/15tLtUypm3rllqNR6s7yOrtMx5/DLDnKDDO/YzCoRZ54dKGZL2g2hW+f+YLdgJP06GCYowYP7wkT4TUJfF8+oqPXXO6lntq4juSNdHmiE0QzOMNkwAOPa3F3Foi/akf9CM3QkUS95wa+keQWhLBtDANPiU/gdcNzdf76/2NRUIQjspOYR8IN3o2tFsaWSxLs8ac1Ji8SSXZhdAxyEyngJfBYGNQK3PHIhvkmkCS+700sxPkOL27Zk45LxKMCSvwHx3tAh10Sv599VX7XvF3D40v02vqGAAf2H7OL949lIO/v7aHspAMBR1BnyE/6BMVYe2TzlE6ISgvateIHOQH2csASU2RQQcWxJQgGy+WzhgqgIgw5pIvVgoTRorJWbpfTIIwK5uvNcfGJ+NgrQdRSFgH8iUct0AveYlj9qwOz5XZTLFWVk86VUwO+FEaA4YFA4Hrs+LqmM6O32ZP3mMzFrQDtvdXkUnAnUxHntAREX7VxDwWE1tGfi/M6jKZ41ecf/rIdaOdEPq4pajY6sLVXR+LgKLuQxjYq7rsViVmjfvyQbzFIwF4QsFBRDSmwyUvtpj6a79P3gySDJx0tYyiO9SJM9MsHkGtWy9i1/sTgjHTywKepjN8qNVqHyWcnrUseJ5xxRj5YDjnMvbRY+XzJZsfXfsLfSolJv+ZxMJGnxH8xfIXV2J8XDRr0IW1r/qcqR5cVsJM7dxW5/FCcDBx6cvxE3f3CXmb9Caw4AQSGnnNtZmKF0vY8anDtuoeqc3J6bw4Q7U/fpeGEwgXHplgwSRsydHHQAbjCy5xuW87adP8rsX39T95utKj4X3ry3veRUeQj31If5XQU2y9RqhdOUC8PXFt63Y950FLFHn8GvDU2YwFNiR+/YHHMGLP6XdhPFd6+VR1aKQP8TwaEorGew96mmVnTI+a8nN9qB1eTD8dQf5Y2mQBZbMzLtJu7komDUVrfDCgTH1dAs2PpqCdcGx2LrcD83iycQbeBdKvclH21cKLCRDN+yFoxbMgrJu3yH8etR/LGLoA/S6HRf1nH+10mDfJH8fWa8goZ91cV8LDHRYhxEPEBQdLdnsLgKS84teOvT9KC9MIPYdPHqwGPxmBRSOBEStywgngyva24XmISAhWfPjvVxeJzPQVMsQmgJor/jQS5owWcNYhtXwVF5vgcvF0NCLciZFtzQjx4j0Ei+UP5SqJYeAWbHClJ5UZVkWeOKXJxLCsGUxHGUwUT+J71L7QmXGu+E6yfs4IN877EKpCrwjWPyhsMLcpo5WqIwHaWKMR/4tqaKpH5NHEiJE9sPmNVpxKQnENWyu5WAmqTQ2UguL2PRmoxZw0IXQfKGONq/jbuf9NrbblDsAzX62ZBP1vWIli+UnY2B22CkR+PYeOt0vtNUAQrgR3LHQGnAU4NbM8OafNiSRgs1Tjqc5YwNYgFjV3HZVX6Y54Vgp08N+7bzWZ4AK+PlB655qj/wmPxtGg5ydFbBwDXu6RJZLnQrtJlMYqTryBzQb24msa0z7FaNJXK7e9FHbfwz4/s1/usytS6FZzTFdkQSO78tTwPwmdB7YZ8IUYuUHF/5HlTxWf14TNUXLIJE6cdNwvmufF0VhUSyENiHTfQG57DOaX3uOKM6DGmmQ5hiSmPaYKEs+JCDJdYr/3d9mqLOpw8zZGyzSHlkYzDEJLldXg+fEJ+YDKMzk9ff74eYvDWvrNDaJ4gMRB5n9/XiSbnSW+cz0U/Ry1OR0ZsYp+xayhPPAQ8/a+AyOuBTRr5lf7KFvRySUH3QbzRjtOObytwAxZA8/QmMd610db2OFs3aoHeb8q1/9M87+jNhyvi58NYhmfexxMb/vMmVUZWj+ANszRESd02O5F9odhcEvhYFiTS7tf0Lh4gFKIT6mBq3jihSKnw807Af4keX4WmvYuCWpGGmsMPR26oTKqeWqnebutrkNU3kBzbzpIdkvn4gZ4LuuoAJuvbgV8tj8+y5iP469ymUOhAzw2Q3xwSpuW5SIi0l7YDepar1peDEZ7PFpdcDsTRRKGqmQ1NvjxIoq7gBYMcVwAy/ofO5YXUfmZBPfWYOjsyCP4kU6fcrJA3XlwpYabc59oId0WDnuhESPI6oydg5H1Qk4HHxKqWc+F3XeqyfiWzMvdf8e2S/gLo01pambe4akPxBXWxpziNHcrTixP5yoeobaQMTEp1MalzuzCtjcSC7EcESG9xktdurn7fUjyE4ZtPraEmwVefkAx2FbA+Fb3s3ZYB1MwekiuTcehhO7soUCW9vtNTbXn6wpZRTVmH4nYgtaF0QWjMc8L8xA3D6ccdYR3zN/NAEmcACIcq177633xj78Ci3+MWVYisxS+wjYmh0cpAfgUlhIu6Y7AqQAc75jKEk4V9X/HHCC20JjHXIGIHs4xihOlJia0dLnDz4pnG/ZEyaSPY7q5RuA485j+QaKD+QBCaD7E/xDbrXbhWO46TZAJn38ENZ6zqM92DcH+zFaQ06rNb2bxufxMhigrHeaPvWnH9YlCm73TYjIzNcaV5xkldQG/rkL+BZTB6bKIoRdPkHFZG29pcLY639fuMuAc4lKxmNJgkO3xSUpZvX/XmCxcR6wVpFUnAgqPA7rDvuQHmllH7zAr+YFq4b6jsAoEIsPWYBy8Wb18sCjjPoz7JW/959ZTda5bDna19VRKQgCycIfFwqVaOyHc8Fk8HAiE9IUaNpLin9QAbG5sjtizIP90inrPvG35BzjO+dtQBRMB/f3EmgbMnF5zsWmcwqTWEJhjSy1UbIOapgi2iCh3giD+/jhbmEJtB7W/9v4lBHBcswHApDhceH3u6sNc84kXd4znLs/OqUbCTs7dh1NQe2fPOk8iTOb/PBHZqMAi7+3mXod25r9on4rQZ3PPzyoRmQyepwAdhp49SOla5h3gfEe/4SyMOgH02BaemNzBDwzOzAxk9Ye7S+A7Pf7Z/BaaXYqSfjXq9sMEXVMIRmsDOgtCJ3DhI4DWM35CS+Qul4OVraSAgx0VqFzRnVa7q+lDjtKu8FpwWYzRazSoDjtjoEBebGFNGHqVTfQdTltci3ZG7hjizo8jqWZimSuNHRm4Dn19J07yakiyi7QSk7u7oSinWkEWs6d7bkU8YNkgUZSKgXToJ6+mA4Blvre5Js0tjQc1DMV9u5lMV4kYjVTfuX7YzLgYJ4JQEM2yHUwZBLWOcQOG6vShM4M/MMbmRberQcIbOdfLi9uN1UoDpRruZ/xoJbnyFBAoOfNMfe3uN2sQC1gCt/5QzzN2jZDQJFjaLHG7ZkT4A+NaT+vqldBJkg6lMa+ICR0T9KiRwwsi5HLHnn0I0yaO6YzykrEb7nUQKKyU4rzZtZZeZMnGiL7UNxu/pKea+sNgU3i8mQmz3mjSuENIXmPl8EOQij6Phk3cPgws4x72k4v2CzHbDlc/1vrzHz8HGvGJR76YLWTLGxKR5dQ0G9X52kZRpzpDOLSmKgbVwFpDTK9YFkBsJ0gW/gB1A+E/J7FAYXqk82/hWDzYMyz9PXlNIw7AuRbFdatGef9a7q3da9/65qhUQkhq/AB2UaCVf428kwg7bnug1jTo/MBWM2fiwInp0BKohP7yA0V2Yr3JyVTr6LCyMDlrYdhVIGKSDSg+/TC6c5ZDQjYAtbZ9XwUvzjYEGEWWoHjv7UGP0VdqOT23MMfKbqeQm3CP6cdgre/BVXvFcTl/Kkd3Ga7jy9t189F3gIO8apLGDHZAjVZuzi2Q7BLdZMtPMwHqmp+s2x6ioBwGWQFFpUNarWnVzkbZEdFvF6gpO//olhOPPGS97PoKgyLLTVAmn69xI3UPjWFQm+nm7GTO7I3Vb2iDdfJJotRF69N7IuC8uTS9+gB+FtjcvrfqqdFLFTWAIMzSl0tSNFEY26Gwifb8CHi+REqpEaYe2u0cAOyaMHWsDswEgDkqaOWzlDraKAvBv14kkRG6hoS7QhLx4lJzlhCqIHh1G7gI95nPpd7OZmXuLYau4qgwn9J4/7N91ST4k4hFqBEWUVU9PDueFSCSME0DyDIDF51FXFg80sjSJ69F37odugfZ9qu7TibfuIzypiBGuFxJm2D08+E9pPTb8QU5dPQfMk+J8MaZPlCaVjw74Ksrd3fh/Ak5rehu2VuX+yBZnxuRIlZhwVyO+cByNOUsvaJymrMbZNuJhLELnrxVH/voDBOM2AvWSCoxdVCb0aBWW6o0ti/FG9bZZpoibCktqbTFEC6Rod6ppZ+V28Xy6vYFX9zUtvUrlwH6YkeIJxNTIvb5AfL1zemCiE2+8AiRo17FkNnREAr3Jv4fy2KkqoC8RqocbM3K2M/JGfHNmUS1Y9wSGECDbSe2RdWVdyaqSokME9aXpaxmNVIh09uooW77UyL/AaJnT/Jr5Qpn/AR8VgDsusnYc45Dpbv9PQrTOQDUvooJ3ukExW+yKc16XeyfPoooRGeiTyVFCWjom0t6XFX5fzw8Sp9Osyymfl+Cp+1RNV5N6LIzHlSrU5XLzKu3GpYnD98g9DnFqhqDMGvsjfSzjnFbK5AyYnpl8yIS20upVvlCL52sCt+Y/JE1WFATi0moMARBfoNasbR0Hi17Duw5OGzUYmcrYyBai5qFdLmwTm5q/VwPPPk2DCo4sZQvIHp09JhFD3izG2hG8SkVEJDW/H56HyhpFq96tDV26uPfi0OObxlXGJ5gOQkR6LcT9ZCInrvF7bY26TNCtGJtCVNZdpmq3aQWO5c1h4N31iHqnu6Kp1zKvDFriEXVvOzrtbPXv8uwfGMGwr5Q3Yjd6BFKsLZjNVIt0cbugbogfb1ss6UsnE71Vq59xmyCbpbn0npOmd9D//q8p4o+LZJqMPVpBrdjbf9wzRxD875Pqkd3TpaOqI3mRXDAl5nn8sUL6HlOVlSi6dD0DRhDt3X43UnD3qEshtuWvGgiUPUe6ylri7sIZA9Iuce1YYaIVUGKMOFOcEuWSUiRplezshRH6Jj+kE58XZz6Ja2nuV9aEytPVwVPPo8r1MarGX56fyJpbD2fmjAs4wNTGy56kHKyZ9Alem000euYPq+HsqfNYFTnt0K9+givFK61z8cV8T1YJg+tAekFN99QORq3es1Sh+aNm7N3lRdI7EOcOSB4PlDOipguLXa9/6FbCD66RoHGM4SUbZoRPRMEz3BeNyIU8AEepG/nxuTRlH3kRB6tlCsGtU/oQwGOcAhbOkJJeaJiRN5v9QBg64+0mJmcL1lpCahiz30FPNFEUzpBkwqPzTF5wit25xOwP82M5gwOcr8ySY8wW9oMWNgdgjeHYb+yBYEUQK8EA6w7o/+z4LEkmkI+/ia73in1OOfzWCCi0g6bvOD3d1dLTUP9IATsNAhn5WEOWybXpaWrT2PUYxfyhbJbqlLNN0+o5gvlVUE0S4UHc9BIJUEHFFMSs60MeEdzJJEcqspSeZ8c1Gfv1DXO5+CzoiW002FK1ztYQmJv4gbfjMyG8OmQhjMxFcF4kNTBzTbZ1M69P/mBbDQ0NEVUTfP8mVHr7m74s/L0Q+eKmCmGQM0Hg8/fZHL+eE+oUw2b0OIlxy+xF8fwvfDb6bHakzNH64sLq+Wblj7XwZ2MooaSkgwWme0ja/ZR2vk/0FTU9zpje3ElUpPM9io9bXSi0YcgStOoYRGoZ9iUZmNZWIrdgsDrMtU7YynEWb1lBoTwZsefMwNeIpCjT7XgGDmmFT4nLWaNr7QfRUkbvsFrxxje+OZChCKSC64uTu51gEN26po3oy4oTHQejJfmIWvQSpXttQn4twMzd4NF3AEOepjJZWOQXeclP5wqUH+zqc6KvaCxZrP6JTtBN27MwHiivVTJ1K7vLXw1rDE/DWRA7dZRnQ1XUG/WkaAFBv75nhmUIZrbONEVRNTDmBiAMiFLcIsGYWW7mtoiNL1ggLgDts//a4vACw2ZiaIZR83b2y7AT+cl9qfmVeBNUQxEqui3SHcuIcty1IaHMRoF7g0bhRkYbEY18GgQmlJnCXTBICjGz+nkqc/b9Ya0nwjl4wj5RN0o2ADlFxD2djYcjzphHhIG8f7swUrJNbvLMbdDlyjxY+SlrEATUIpO4F7JaDsHB9fgMpNL6ZZkWe+zMdovNM+Jm4ZAc3Frn1qp954M/rIz7PQzwHNFYOZDt2S8wZ35rUEkwZ8/s2KgJMk+G6tYa6v87e+v2lDvo4O05+uVPudD5sD5h0fLByaXcJ+4u2CW8SP65dPOeHY/T3adn6rkMFeTbzKeWSVYGi6s7ov656X6iDxhDxgO1VnCzR1YgkR64DXW20pkZFSJF3cF+2ozWWsPtDaRC+1JUNNhNtHKTvJV2zAGiSZWyj6EuwUBQIQyDla77klWwrJ61eff4VygQ4mKMfoDvMe6dsncQS3xvQU6meeBOhdcQ36BOSqWr8qII32w6kIMKeafJzVzUNXLVtuyJzj4jmL1x3VLGf6X6GEl7I7Rk83VZcMMhZqVUxLGXPHEOjK7/Ifr/K996Inc0kM3SgPc/69XDum8eNL9stOBE1jQj7I5EX6AQQ3VTpCxI2iDfaQKTdnAVurbaeadM/WXE6YGTTkemSkZSEZj9pH/bKU0dC+BwZpLWr5nbIA2W/FQM3MXuC0iKFmR/kg/c3xfB4Xp513b0p+rlfqHstkGawCCpBdYF9VY3qzzfCMt95L0Zbt7n1ptyMsQzkcJauN31MMrZwMXzYKdgqKO74++eMIFiIQnZcg70efBVKhnJstoELmKN9u+wFWfkLwOEnpcjSqIRHCrT/kb5AY1gCMaY/H8E51asHI8Gf7WbK8qqhkJUhqNCkAsacDqAZ1IBMtsGIN6yPPisHpsieZgSCtxfXCpWF/LxyaXiPmxf2FHVz18heITYffPtVFbwp9WqCbycTqslrn/lo7FF9ghY3cYj+pND+euX0Sq4P5yX0se5blSO+VqpuNGLwevJqiqcvtAzoqukDOdX1AVTOzqS2qzFbzi46QWCoVdZ84tLr5olnRK7ozBwiCTfjliXV2mDEpFDbkni92V3iG+p5yj6yRg4ck1LeFnz2XKuXHQiJ5t5LjMgdKHEXdRo2gWgwa7X4S34+FlN5RyfPAWFY66oAXcOGEVZW89DzxbUxq/AimjjyQPEaHHoi9Nv1REUy4+ux9yL13ZHoDsuI7xzvs7XrDzzXmjX0s7Y5OJ/665uTegIIXoBJBhBE13Ed66M5NqiQ3VYyQmvHX+iG1SfbBSTeaovBlIWkUcKn3B/pggCYE9k7Dz5GjGNWHvBnKpSCCEARXm/nd8a/WSBHFSVcZrHT3LdXNHIoAjezKbvvURdG28ZZu4np0wxj5UWZh8O576WkOKUSj5cAeM/TPpbDaaYjVM3NgA4FbZ9UlUXPAyOpkcwlPkXti3HIypalDApAoER3koAaQfDT/Oq3OwpMzOsX8aqoBGdQaz1bz1ECJp/6EvStNSOvYYuTGST6vDxeq+JhoefTLwNFxEN1Th/hvQyfH6OBJAGM8oAtbPuUgU89Me7ERtN+uJn9YsyfT0YE2NHxsVoFUEJaRzwoGxVM6EATnhkP7yOL37pLfV15Fb69iZfycuxPnVoo5xZUm9X6w7YI7UgQxTqs90XMBnV4U6gGGpcgkzhgs5yL/T8D0CacePRvjuIuuGSr2Z0jOKykU1qtKhW1rp21LmnUIDDWRd+dCsYJxTx39WOqw51shUkruDTFyLyQIo8tVS6WKFAurSVaEVyiILRthUO7joXukpYSXSvy+6ZeZ8SypIDqFyiQzFH7NDgM3UTYdJTM15LafsFOx9Vu0Vmgj2iSHgmE7jnBKbhCSQ+V990t8/5OMZpPvbkjTr4iiJtfdAVfFkFspPFTX2VbozIuO62AzBnVrGM9rkfm5YxedCiHDs/xmTT0fwyjliq1yvKBcxjIpPC9gNgUF9uLFfysLKQS93Teh9ytAolOtXhgp2xJhOw7g0HcW+QnwnCCYLyYu5fDQYw3hmy9EIeamMQsFOFxbTOY5dxzFnB1bU7vOSQkBYFIiX+1rvpg4vaqa4gUzumAAXmqCmSSrqd7WJjPGgkkecGvbrhlHTyCEYxtTDfJAPO+E+DLfuiJcax/HY6/mV3DgTJhmmmwYhK2CaDYq1QtAAok9CBDYSIwXB/8eV/ulwcLhJUCKn/3yVH+Sc3sAXS+bqh6ieV/vtjw8K/I5fONflF4IGmDj+jo1rwUMo7aXbxjS/0WJpa4ekBjAgviuOpDIuJHA+9/9hezzQzwe6Ui/EEKIQgfcp7wMIieWe1jPh/p5HpnUb+4SvjIXXqjsuiY9Ra8i8xoo1sOpJqTlBP1Q55t+Mz4UfXTGHSy+Ol19+8MAtwNrN14MIwu+B0Im8WGqiFwv2jIN94hXWhyP6zugWf37PBAtuojC0nHptpsHV//SvhkYwRbrOJlPRCUFz9JvhNigkbJtgBTW1/7gf47x7KMQjrwv+p+BJ166mj3KiXcNg81tyFY6l1FiJFGYZOda50WHwS9z8Wr3XpYc+UmH8q7oa5WGkkTbdeInFuqYYu8qobNPjK3cTBZHrbUWldkIDFTrm+Sjm/CVHRLxP2X/ZD6TpAzkYegkiefwMUKqKlvmdL87UiUlw0OisDlyxQsWdi6gY2IiccEsBJhs6K6ht3l5p0u/HFTfn4z3kIGVIouE6Qj2FRTJCaOgQ52Mau+3qNnhSNho3n4PSsnTMLBFYpHJFTM8mnb26i2CCbSaWe0qxMxITA7oFDPS/bboLsAnoZFWNyNzclJB7gyfkTJqgQd70VRh1tmYop6ySIBU17/+7bkxmZvdWJr+hyH8I8SPdDgc2/uJt9DEDspBK+eRGROb81TwDqjdkFV6Qhfd4CbZCFLiZilgqILZq/ataTQRtFi7zOsTBodPQ+WiwJ/wdFU2Wq37yHkogXFAl400C1pRdks/xJGBQq4eF1BuliRV2T39Qql6wBQk3eAbTxg4KFWJFSVG+mx/0Jo27evb7f+CC4bbdvKGu4MLJd1rcwNZmvuNcUF4D/Egarow1SwUQml+3P9V5vO1L9moD3bZNQAxH9uV7rDls4IehoIxWa13ZDarhQp9bfH6YH46RqA6G30lv/rMKFLpWYw0O5Jql+3ktUxs1PKQp6Ysa30eAe9Mld+aJ/ovY9hc5TWAc2gmK4RQftorB9/yaTYTRjT1EtqTU0zdGf3ggBrQvk0Udn17UAhbX7laQv7AEcm5lH4ZvxJvE7/sKNxGJpVzfe8aQcvh460ASu/f8THJbBrLo4vni0FJk/PPZfNQ1+Mi4RLbqwx1ryzjWGisJOvrgxl5eJHtHSqAJINQnGq2onhPmdN8q2aOOgzTdFhD55eAFNX8C7Dg9lzuUeWCINfpQlBozhKgZAEOuN26ZPnCZblnd8t8Mhgxvz6aB0srQAXug7t0VZOvF5BZQsPSo1/d6SMiK3bgazfzZDkDNgIcq6Nlst5A4JwdwreMvSYe64RgB8Axi38oilc67tUYtX7CKhi6riXxNXIu5/PAbWPSCNhGfRB4xOxkbCkMBnoJOqf3zyEIskvq5acBotz4jfKwvsIIEIb0XYmQE0dqN1ZCZW1nv/3ur7XyhliYG7OyBcqcfFxoh/lH5tPKBRmtJQ0V8LT5Qw+i1zC/fLRhiYvUW1EhRhYbr+CnYFqDZPp11gWYHFM2CqREuGKDiwTbZoCyxjae/Aks+BYlU7sb0sVq43zHwNhq12gSlg+uvkqw4PbtjWr+CSQHL6ZmUFS+hADluT+IjaB7zQYG71HpOrfKOgB2JILvoToqmrTV3lwWLXyaUj6B2FwYxh+sdRKydGLFYSg44gXmJLyO9ZzYSXtHRmlxdttLubXjULWzTAsqRLF9qyPmTBkxhXl/ybNNGn/riWeU4Me8jW/3SVk1cXLS3khzpKDV3snUDlxsNPl2dXKlQsY4B/VeND7Q4EcZ7BavKJoP92u2wt+EjoJAO58Hc3v3g4bhgKVMVHsjvU1iacT2lfpeKu+QZvvtbVDfkdixKJd5vnUolXn4rVdhkmg4uCqupEjRBVHlvz/H23BiSxFK+k8st3gYPLeMObjvPeVmf4sHwfxQxKxKEBAoLG0jbjJ6xYv8ruyD8QRxXg24FzOxi1wcMu0N1KTfxdY584cbXtBFPFbGUq4Io6ndnb9NngeTWxX5AbY8zz0vfonRWKiNthSft6OBdKcYpu+QtjyBFMIZfcrfUazONtv9jCoSd3ccOFdknFFH9RmXsHh7voWgbBpIdleXbcjp4HaKLXhq07dWKnvW409lH2junjOTtdR6pUDCQAZSrPZEcsGUiu6L3Xg0Ny0R4VwIFJLlRdKDBPqwlnMRt3q3fkG9XdpbnTUdYNOWB3jyr6X/wqNPkpAYHrZ3W69YIKD0uI9Y9ZFchjSefLH1fCYz7Y8TgA9jNIhy9HYt+aWdFJCX7FS8EHuz43hx4xcDtSxGpne7zmxp8bLTDVR7jXqvcBmdusS2eExIK9UJNdlSUpgysj7zwhk9HP6hKUpciBXx16cp3eeClyLhgt6d1rhNt5kzFvuaeqw8O69dMKNvMHQ9sKFkgnCWMKZ0Wrbrio5RgTtWLhxHI4EGwtg+aO49KA9kcO9Xkdv3a0cumivRIxuQsgQ0V89c4u+cKiOGMcTLVqHRag1ETgN1yjp1hDWpXMwNdiHEzOeA4sRyXZwbGhrR6Q6h9TY7ayD5z5WjFicKKFA2dBBz4DWa/ZCIK1rCar3LKPsSFFKCanFnHxr27/A64JhPvyYQPBwnB9KPyFPGyfdN6nKJH4Jso+ZEB5Ml71efmFpIwR0R+DdWqWc4mn3K63gMk0bqDeOWpZp59ywl+8wZtvXyVmGFzD/Qih7Dr3pSqDJ4x9z2ljYgoyEWrWovodIw/eFEuVWvnG2fjOUuw2gtJQMb/EkGJwuiddJkD1o+36RMgT2fgu6kNSsSNpJkbOnxpDG3ZtNB74uebkcQpA10DN7fDebv8l3TSoPmJMRqUwrNvGwyYnywnBBtwYLBYpjJc9u6NIVYntwAh1pSPIrQBLlqweVV8fTrjXbrgeijGceQtSWZ2EZk0yo0k1XMA2Txx+ex1wVzg30BLOPcIAqtEb6zAZcL3LfkXDSQaoB3BnhxzQd0yF2HXVgkmRdc44tryDHxeVK8Z7f4/9N3g4PMy3ebIl9FRS290kCiEx6YzvLN6LENUSfkEpocaS+Dak5CaIIba19csUQa/z4Z52sPodCJdcKmNxknvJNWvaaCMp3QybZFGrBDS6n3lYOwPEM/UsmxyxwkU+VygES2kGCTEPb1H9SMUNZWdA3ZG7JwqqdhbaGl8jU62zF37uXlj58BoZZPWDdMpQyQnxzYmo6Ss7H910tkH9GOkp2l6YqDh0NGWg5hbJqoptHc995D6s1NeVN1QfIGe7Y49kDowqrRghvtb1aYfYrTtRAVHUAKAZ/6zmSPQGIK7IsBEhJjQ/K02232EULCE5n4ZBTab7dFNTHgpdemhO/g5UlYZVqnWQumSsne5yt/v/vAWOnTDRA0dXTxR3h7ZyRyq1sghZcOYxCx9FN8WbZVVjYqKHbuRPSiExck3RQ1fK2YUNEmlRzleUraihZ7ji6bsEiUEzN9g6X/9pEXq27znr4WRHT6m2F4aghFojv5ssVY2emGoLJ0gIxKceQuu9Pdgqxot4Hh281LH6cTefu1U9fHRTw1m8sJs0pYBflwuBnqPnDD+14fPkW1X07m6RPnxE441IaB3FFDcyiVGqgV7soKWsSE+QbCi4rnHiYj4JHTyQF+yFyID+R3bVeZKv5UtF0H1Q2F34DsWHwjFCqmn6OmC+BxjYQ72a01GXOfpIb3/3kcTBdp6t5u53Kaf90wM5PtXRFNWze0c8COVw7qy1UuHpNYq3DHZOB3kpcOuxFBPLdl75Ap82L/wk9IzXC3dGEHMRAeQ/PigFN1UifNeZmmzWlWnE5JRkrFH7GJn1VWfysPknZdAegUqwl8d7sJUA2D4ccyMlLdJrh+CnMH3MAuaz31W/j0rhvFT4J9jU2BTAYzN9vSRz941OJu865GJDn0KXjdqZw8e8S6NGHXbohc4xkJhR/R4EescbfbE0WrkVtVPoDco26fmB4rupvTrMuW/fQCwzI1kVam5KEIDXDGnpZfbgaVzbAELXuFE7FsLU9JzcpjqecXAucV8OsDyr3Zf7VBW6ryyRhuf6RIU8aQ5K18zvTWdwmXV3hdh+XwvQ35X5rI9QH6kv6W1DEG3rS3K0eFkvMphFo8BT938HRwearTj/G2/7OUUb5u3LklYLeq9ziLAv8yPWlgY8CQmegJcQbH29qQrYso1fq6fg9M8xNLELOlQqmT50SLbzwrLDg2lEpzxPJFVglGr/12A3nYdXUh0gggVWz7eZ97nLYGB2qCMn0Exr9b6uX+HQ5+cygvYKIZKhXKBK1JMtgyYuLhscsQWwofoIpHAHIeVgxsYY+L3rJ3Ud+Xu9gLMbNIjXVCNRO4G5rntDyhcKd/Ke37B2Hnc1UX3OtlusADc98DoaUpxrRT/NLRlU93kmVZujsSlNQomATXLQpLBcnsTzCrcChvD/ov/SW9i+3BbEUk+XVmsefOkHb+Yu16/q5J8emkU95ygVVYELk8r7JKnzHrn6zQGCzjnhqKtiyh1zFdEBRVNs3+qrvYmgxS6r2CAWda+wwI1avQ8lOWeIhvWJqL+ab31m8S3IoVYxQgo6L/pdo0qacp/LyTiw/PahCFnjKV5+ssDKIPcU3Xfv2wYgaUJbykVvePc4hJ+7MG0aHuBGlG7QLonzcnBNQyOjvrnh2FSmee1XSNZW2kck+eggOkShUMamPSaYie1b+eC5fZi0VE8L3vk6hDvWOzZFPIDiBMJR6oTTZjW49maM9Z1WN1zYqrcki/8mBeFAPK+uLpGFQBl0IecRbTbwWDaKl5jYLH2WGc9ZbJXEGyXtHTvmQE+WiYbji7L/IqH1whA/PjvRZzdXmci4rHPVE8QegDgNFyQTnK4WzA71D4knTLYIPWundXNwaWkGtdrI6DcrEEdjzHpIT+Cmd6HnqNxs2zj8/q7pTkvn65YrFZSZJMH/5YQX9QkxyzA3gLpj/ugjWPVNNQHNtc6IudJ/9b/GOdMSWDZVb4OCroTD7fFWhs4uJa77Yh1vkpW4j4YmJwvGNGCpEJFocZuP/bljKylh5BaMFhNOD/bNCNeH0RL9WoR8xBbtzWtsPNOpRB3dL0yUFKgfHc8WFEFmt2at7NvCxM/C0+rHkPaXaZR3hKxZa+96iLHE/9EZ/KeMVo/3RIXC2XV/x+GgvpnxT9v1tLeTOOb3yeZ/m9Jbv5IYqV1IiJcnDOyIko3zfaWiLEKI2Jwo8ONXi8Ipnt2NCjZ/i/TrBA45IEosjdPvwcJmCGd9zP1DmGuQ4USwLQKQn5neyiDGchPa8pk1sePi0128ZMMbrGaaqQP6NOw1LRzLOB0hZsT+ACwroulaOMrkCnBze/4KJ7G7WDqeSwIzFsaFPQxb+NSUcyPGtJ/P4Q951CmcQzkweIp/tq+G1/ZGs2a+c5XWxBX/HoW6gmLM3SylgXp6Bfct1qjquhwFi7yI8Pn57z2DZALIZC9R2wuz4iLwsg/dmb5FzkaWu9SsS+tLhmT8BtEBag/EwE5YmjPDGoJDG+FwwjL+ByUBn+UlarN2m30sfxErf20je024+ZOT5usMnmZ/6jCsE9T4sKI4RmmTeJhVGZpgQtB8xSvn7pJ+S3laEEu1/PkZLwRQRNv9+PVYRPwB+ICjJpO7abs9NT7r3F/OU8sG/huA7tV93JF+74o/rDBFTS1vaBLQKdvw9/W/JR38XaRTXHvqYETP6Fe2YrKhfuTrB7+Dz/qsaJvYlLOKKoevnQnIjaRLJ6OuCbDoMnOG5wVEEyCU37IPVXoXSlkSgiWfkTxQAdwMJrVwssvIASv7ug0UBfNeg0E/zP11rs9xVYIa2ry/fIP4PkzWiirmYiNeNGGJ3cubsyAPgWloo+Y7kadoveMn1NiXMLCtdtPRVGBE5oom5kgK2bqNUGwpfagch3L8evq1V+CWkoMDbe5AvbLzaISbV6e1wummw19xW3wIZhr4H4C4LrA4l9f83Ol5p9acD/NuI9HHxcRNbmQXoxaCkkjNmHemu2NtksRrA+yZHy2Ckw1BojRWfMM0MAZg9LQF+UOzeDmZ7f4CALWZ7efmylnAeebRVJYUv0QS7rMoP8omrf9i2ra3q5pPAuq3sQtMEW8qG04N/l6KVr0fuQi6Df1HhLQsu9Jo4SixIKSPA5r9EESHvQHhXbAHDOSt7X9R/63yV6+oMXOl7fbKD/j+SLkwaV16Hc64igpg1NJ2qM/NrrKvTDio0WYjHPiInSs0BrULXI42le+0M44U1D8yxUXjZfWqt5T0Y2guSbIynv6s2G8PQLglfD7H1pg5MTyE2duZjwTxbx3SDilKJ6elIfbQZ9RJcE4kt/ev6ITEGhCSMVvFrh1YVeMciP2yCGzA2OiuGf4TyrPs10lim9UQkDZvdN3zXRvzkc6GrQkEk4DVND4BYOyQ957o//FvQ1kAOL+1Fx2U6Ss7bCeud5kmvdT7K2CRaHK1j3hYHYFXqxfCHN1NCTKkjQsnfcUasjG/qq+z+jsOfvTVbWUFDYuTdhgtjHNYnc31DYuzTxDrQdCm2YCoJMVRvva7TJvhYiE52zXg6vV+/q4gyaYYSvAkuN3/7TjbvImO8Jyyc2aafEMJt5/txfqa4eBryFDIB3Og4TnYrj4nQHggdgD+FCFEVsbIrIStVk32Aw6genW7lpNKSI700/obhsfjyKYVG+YaOJb5O518825nj1T8cETxMPxoZiZLwWeefC3UPoXn84L+4s7TSOTHE06WWa4YN72Bs36kcZyzR4FMExQcKc0cDmziJhljr134jpiR5yA05ZtnZE0P4tq7Ag/khrOPntGCihwKB5qUizAn3FWyrZfoo4l3AJYBVNfd5pMnuC625vDoHoTLIhjBCm4OmNrEJNB4tAvPaluaUvExtKnMrcohZW2ihf2xGLPPFbid/ff6TtvGVjWFKG1UZi8iuM1xu23b5Lj4TEV4vZCDl5zgzgBkrsOZKeHGC7yYQtBFyGRlB8xkHMijF+u5oUR3UGuZsfQ4w3mCD/O4+KtG5DDc6BKRJyp+nYFv9kBDrFlZ+k6qnKzXoUW4t59LplTCEeCYD57j5ZcNOVwbU5GxRnfatwB1H9maygd025hykFMgg6HmG4TjJVxFehlMlJ7rOXltYrnIleSDZhO62AfjB99GNXNtPzXDJZsIUg2fnJfwEQ9OaVtAQAukbXJMJY6vh539zTTiP7lyLVE6kFWCCyU6Vr+QyYKq9I2qRNipC4x4SIq6EOEvI/F9kNp5uXIoGb9AveONQjdkn7wKuYMwCHVx5Mej+dD/NXeiqhrUZKaCBXNaQGp1V6TE7KVAWsFoc2p+6E/BLTUuhxcJmxryRMMwm+dpN0agWrCWDzJGz/CiHfRpYqMNkSjjTknsCbKRFfO+1Wh9zBoH+jIDShZ2oweKIwgbif++CAQof37Adfytbh21Xq5TPLdl8bp0NwDrUIBMQ5yzoJ+ZS2e6/PcmQDGj8IBfI0CCwpTneCiCU2J5FjZOfnamPnKlabEBc4o3wbxehiCAiLEypNGgXffB8/usbgtqVZIjqpbJtNfLVf5M65ZThPvWxWQ3m/kHf3/LWKz6uJ3N6gsOo54kmmduEBZ3hfjglU1k4pJeUzFJIwfCKDc87Ed92KgGwjxinoyITdzf5EGz5x7AJkboLNoHeut7xtP/RfHqQYeUUBwPTCt6l7ojcSmMiMv6F124bHpMPjPbyCFfvLrCEcRCCENYl5J0D0q0eyz2mA1sJ2Sq+JLDj5mr66VbrRlKUg6esnFv9+PqOtZL8S6LME2ZfTd9o8t+0eVEmsL/lj6bUXO7iBUhRCNc/gMmoQ+h7p/36bvDWIM7jEdwVeJmo/AUWNeiYemVYNi7RDPKqLyMyRlfwml1ProPfkwnM4PoXF00rTNwy+DBQGiMTHPhsx/h32hOYoUF9PlR1D39aw2HdAQygG1l7eRixUvDjaQKX9bXpCQiOgQvz8jmr5jXkZlGN1DJRwG8r+8oMAptxsc61oqt0zcBBBvpSU1ITPQvICfNyTlzWkc9zPKpgFvlxYhxGL0HTCc6O74yDEiB9TGzXFDeJ0apdb6895Dl4c8NLdIygKoTTV9lbmdKXdsx/M++Aj2Gxvq0IpRqVz8vqnpNIRc8Bi+HG12HRXGRyX0Sf0KKwqWUNuBUxONBM2Kwnb0w4yIrsBUUjcEgIFtZoMaAUzKWdJUhO8eZPYAu3zrgnXceGFR1qJxw46Jq0zFpk5Qs43B+qRfVcPsXPEGqzOA2eqGiym9GYckNW0eVUhATTKK1USr5nAFqP5SnYmlYsH8HeG4PX11JYeWnM0FX+Goww6NOxmU8JQzJVxpjZeWPIgvYIuYsDszN9eYm5KLw7RWGVF/WGM4Dl/Rm0ziezY6oOl39PmR0ok562VsUH8LNwnH6bLI6/LbUFh2gAqdJXQypJZsag8LcYQxfbE4ajNPfn53HEH3ReRrYR/0yO0bxC6+6eI9a4G6VZUADsmQ6BzH17X9K8AIB/TbAg9pg8kk2EI3n+MC/SQUk796PkNJfpFF0Z6ZUVSIbTY9+IpnKL7mxGI7NKX3C4gO3tlRzhxkp3bH7uK2FyYjJAnG6bTv1bP3rRa48XlXgt9EJfov8PdyxNiPVHpBHdzBawY1p1mbwyKC7aZaUgH/KhizmAlqpXnuF1/qaMlbvf58XjE+SQAv69vTFWiFLA/GiZy4JBoB1mULwGI/qv4MRpR7Z2ibKQAGsK47IlEQWontQDuMWFuU6wSzthTPtz/ibBljtWi55dPbdBUXGsTS3XKhc+5wtfQcJxnSydJWI0SqBSrw+YKmQtfFIqf1n4PUOM9hb8Wp6v/pWP6lSjsGRYR5B9yPVTLyJh9TxWPT8ZBFetWoyx6C16tsg4cmQmc/ESbuxnUY7Qd7AJ6hyx9lkNX7Rwxq9aM+TVcTw54MdJCrR6gAF6FtquyfwBgg1FKNWOf9BlnLMDp/nqrclRtd8DFsdbvT+vy5rBNBmwSFvv8Er3MlEXeM3zt0WjF1HHRdoHVMNjC4WKggcaFPq4e25TjrpsaTAz6y/flMqlf0owxHxrXP4DE+6JSmNL4WKqgupCz/meLq4vg6CpzwylYvD5IijPvZEh0PTB3T3nojrTnAzaoBMbWC/yzd2Q6RcTdfwmROFXpvGD1l5ngkqek5kjUZrfygkMh8xmM9ooSlqayb+jCVqRYanc8KTtEY8KGCpoYLlZmxmip6a4sYQ3zAyEfmvE87QvfvH0eVJwXSr3zCigIg18Gi4NT4UWPoZoxq4q2OIG07KrVWFuuFx+bjmllhYDfz5aFs5oDeVARF2gKPxSQ7P6mxadhFSd1iYVRMD2+cjM6ToqmQmtIU6W7l/tizvFuA3sBQ/pQv41gpfmtyL1P4AlIhAEn2wXAptqDLegc/CIMBHoDz/ckRn2Ev3j7LoSbeRaxGxdKZOKabbg2AjR/um8hYHIi7Iv5m0y8NiNFDO3W3Mh5VlEEW0g6/26KVarHurNo8/hRv6ZL0JHOGS56wr4jg8bmBtuxEUDbPdRee0OamoODBcjxXASLpnMhYetR5wlSFseDWP+xulkVWqNdnpF4HfH9sxMMcQe3eX3cMcciU2JdJK963XIRSKeJ8Nzg95dEaQxw4Ow+R//jqqLC905JMclCgUgaZ6UpugIctl3JMHSVeT/y3GDNjILFKj5c3oRkRyZerjQaYR2QZDEDbvjkA7eqPWoDqJju5gBlOBwu37k0HD4/YuMaguTNfXKdxAZBpSEhdORcrfuQXluPH7zANH+8IsHHJwpDXNTES09xeX/9Vk+ZCYLFtvVeazTZRV3bkb0PzvQiR9+NKsaCnUIaB758QnPXV+gNRgwsmHKwhfjytpnXMXf/7ihNrKRYx0wDtuE7KRiTEb6za+U/RNM0MuPqGoEVltnUHWuB73ySGbLjKgTsbosyvtK1PfroLTdpxFg+xRulaLu8O3ZUO/hD+jfcpZnUtR69CnNZS3fTeIKu21Heyzcxg2iq+gU/hKFr/2NR9KU1s7C+hJLR+hhpq6vlpyRDykF6W1cXG+qb8M44y9Qd/CFP8DilVQ0/IywnowwJQxYjAHxdfa2pga0aqSrfvPz1vNYgaibmfGCa59DruNF7zZdm6RV4r6YQMhUdgL/VC9dqP1VHd3ZGmuioY6cKbxLbIW9kQ+mN3BJvfpoNcEsRp+zsrp2f6DxHK0bWYnjBl14nksGDbRejobOW1r3wYvIAgO/T6QR4wY+tvuG5uB+Pgzqr0jZBy5iRuKU7BixsSdTGVx5EO6r5wDJ//g2ugiblCckzeyeKHis2ZyA4O3ISmg1QcbSiX8gQn1FcQzhi5uomhPeUei8rmkPmVw1wUQokM6HmS4Hkk3a1aJRe3ZI0PIK29HaziyFtAlMZCNlw7mC3SJnY1Lx6NffpT3EhjONtVHQOBBhbkMwyLXdB5TJg+EsVMXWYMMATQNVaRX5w/do3jcIK8v2w9l8smgKBSsdw18+0gwHQHjXD49mNB++gaenl1TNklL+ORUS4RoADS44T3EoxsndRcuMJk2wERG/4WsAruKjmWHSwKgTPJ9maWGZXhqhWT3T2/V4M523Ox4wssIiNHoVJBRm3P+x6nMakIqf/gXs2suHelCvIFy2MUesvZvbZVbnvXb1Mg8S3BgD9z6p4UPAbqR/gwI6iORelq5fBxaa1cHWYcRi0/Jsto33Ox4reSBDjgPRG+DpXsCuQq1qTDW6NuM8or7L1tDj8PBSZppe34HXaY708hweuWogA878l6b2hkDrZnPgqZgL9/aZyMJYcUOCIyIQ+DZSeRS2uD0MhudmIlc5GZKrynZyH6GNnik6yxSdQ5A6960VlUG0EkmxuwGTIe/i84XjPEBryemQvYhtjwA0X3sdonbbQs7RseuWcH0QEvxKLHpOnLShCjVQ8Z75sjP0xI3h0Na+ixDUFDAtr5bSuumNcN5Ks1JC9txHe/h/MYtRn14Rw12ACL5Yx2dC0oeiFBFLwPtFiIECuHx9AY9ebLInfmr6FrjZslvDhccVYXvHn66LVjiqPuFQjc/dyPUx392LWVfUIR9XGJ/gduhdUfY4f4LTWmIj/X51kTxYDBIGrfZKRAs5MTWQy0yqDp5OE8otsFljxogXir57FOEeQaHKo1B5MnaF1nGVFf1AO3FWjAyLnmSXKAnlhwN15jIoULw3uuE1WOaiIoumt/XzZbNC3Ec4DrhziZcRPfhy27ZygKHh21iqMtvp9Gb46Neu4h8J9VemDXkcAZcHvYoKs1ZiloDGqmg4Wcsy6nfmsXvL51nqnRnEV3y+JHKZZVIGs4YwTWKh0GK/XeSQD5io+n2Exb/QmKygJwOjo+Zv9eWI+BeynaxZt4Pi8b34OcaIz6FshZAhVcjYGtshJdu4iuRM4i2Orn8NAFp2E6CdcnztpGO8UJ/Vqw7qaDyUdyeydxl0L1YVqXptOUuAoGKrg7ZnVDIc1WKhwHWJHRL+IiXPOiJA2SCwAStr8G2qMYbLRAd1HTLz25p0S97WZi/JRxAg4n+G13sf/cRCSzwWL97q1AKujkX0IlJOU35Qigg8hvJQAvzkhVwpSRcXY2Klo8Z2SlhzZYavH5V0A/6Iu39rPaIcUchBJfSsV/nToZU30AhBqEjCx96E3E3jTl0olRSFqABa2qn8lQWVzCB6lo3E2ae5Mj59E5mOvJdbjB+CBRZqj8cMPeHZsDeeYyOPSfEC5HTN0wnR9IWQWxKhgdrPmMmoCbv9iI99bGklda5z15lTZjX0sMhnngDymnjfHA6ui5NOYd2+5BymkA365Qdjatq6gI118V/0Rz7c+NE4kopJlPCM3+wuLQ/j1WKNXma2QjP68yscEJtpuY72hViJ92J7eTDjM8/7CKZSoZC6weeU3I7pFqxREQ9fU8le8vv70VKPe2OZlDkBAMsROW1Ls0ezjrH/bPFt86f+FWEEUxqAeNxqHpAhw2Zav7eQmqU++UMjRZdcfF6cMeaDEC/bBHH3J7pL5hSpvgLmrb+WflIHo7oYYLlzttDzHYE1YHwsGZ46NCQSNrYBXW5hxmRJ6e9Un2drmYjjtfmaD7IlgNpAe8w5ONkVlzY7bwwPvIXCSZzTjL5fG/bYcqvwTuV0kDW2Cgufy6pjxdUGJlDNSWUAv16grqTYWUbdXLjaue8BaWi4OalI5EtY1h9loyi5vf3Oh5c/RihuLEVeyjp8pTJV+tthGRTsJ1ZuCkONUw/EnmX1yZP8jhBBMWrmoOQNetScTpuRPFt9qW3mvA16DEkctCCZOd4DclOSzJaRBZy410I9KT7weCaxSpApcDQsg3l8WcUuDwE2qXxyrnAS8PKIPuq9lJKCnKQ/TSEfLo5EwECFn5fxi+FpbvUqxmYptjd5D+WkCJ0TKl+r4U4WXaBi4QN8qrXKML5dgvjYhDz3qHvdcIO0YBvx4EJJ5hC9fx2AQeXaP9TFZrihXQHLJ7Y8hnC/b9mHUPCwH9D8ymcIM47v28EdaHYi15W0Oxzm/CCi4k1aLXat5cx6pFwmi3Cnk8Ak1asjP2wq5mbDTo+m+pa9CnLz5+CUon7s4aZINL7IY+5bgHXkUam/9NlpW/G87KXZWste2vTutedq13fQGrxjxhMtcB92Yf5D7i7NB8j5ANrMn7DXipFzRNzBr/N83V9LGWe4MO9WLpEYROnYpmJ5L137bcLsHEah/87PmxhNbKbnqj0mf144Vevqaw4JxyrzZUyH0ZCaERld/oONfkySlNMYdMCijQLGq1y0bx39ECcYY+NvcJq/glNStzeWme0YDAN61SwJS/BP3EqyN/QgI8EWSGLTiQL0rl/PE9ZmpbEJ+Z9pQfHISCbcSkR5PCzdjdQl+yCCQkJRosvfJOZ/6MuzIwDnlt5UUyr9Ugqsz3q9kKoK4sCpDBRpsmj8jm/oB02BbTcLnrT/8ArDSfHAjq6IxMNBSTMVTz1bAacwB5Ay7tauLOVUtTJnL1scjjxFC19MwMWlrJ4+gMMXJ9EWzaDvGpgbJ1n2fi29rbG24yJgRNQfaMrYufpzqV4aXSA5XKVuKeFioK6ADIulOgugBEgaCdHFiUF8iUQUI9oXOuij38aX6SOPS2tHmL2pawxCzr9s34GyU8I23SU6EerfJvXxMXR2/J+DKL8G2+HqpWglcJgeGEAhSoeI5OyoeBc2QKaKxPoM8ZpvLysfMsRKijW2L4kFC2iNRUnsqcJ8CHcAGeqrShYBDPYbpkZunKWrfB0TApkWQbjW1JkP1u64iSPD0rXZoVlIxNRrMTFIX5/r0UfWEhNPQ6SbvFDfcLqbMqiQlurpAdNQRXhg1Q6Hn+BzAn07Yb0OLwMrXUaSTxwWrpOHmpZbKklEYiFwGMWxD7vcvoJSroCeQvmna5KyE1U2E/AbrmpGhHrkXAjW0JvDyJtso4Y8ma/F5oid87euD2hD48SHz527jUcN4JsmURP6A81TOqAaWYv1bjubnENH/+4xGFRwUvoCYoYBOHM8OqiA3i0P65HWx7zHQidEDQLK7kKRqDzKpRsDz2SybT1xedD3DPhiE//FfURMzWSBPyZQ0YxtA+vOuV7W87Jca6aOw35uFMgC2iv78dZPpJFMlfm0dHBkKBc6DeDOLPI1B0LShJQSlsQmX5hVW5xILO7hdpzM4wxRlvMxDf394eBMrEcuM/wtBkqhX0kvFcVryfNt9+kNbFHiUrBSs18RP9Y9BvKNVTS62FYCRx7DOHNbj7UddPRWXSDiIhmUYCfgeMNOTJf1HCqgpIAYnakK37gv9CTs/7YUvPKybo+52Sme0pq0NrQIQPV4hutcWJmS4kVgpyLHCbKv4LSdX49qIoWVG4ThI102OpSXrZQlp4KGNsNH/tduNjP0VPYoFVxs0ZLXBUzNjwrwfebXxSNhF70q+nY4y48pIO709+qGbcuDQSrmJ9EY/PeoKMf7AnDfikBNsr7XyeI7Sw2208TeJWqLqGgabRH4/Vx/tnR6Jw7dVNQvcpQO23v7LE3uazz3ckM9ciOzk5ubFU8ogmGt3Z1uE92CK+x3mrcgcQzpIn+ACLPjove73IQLwasRkeE3HjYJ82nV9pQS4LQV1zewvlCUBx2Re8JNz3hC4pgazY1cqtpDsif/64CkOOCB7ijkxlMIujFyPVioTNA6xCyByhwSiWboeFJjiqEzIajhnmDPih7PXhu1qhNehGM/QZ41TRIfPvCdSfH2ldQsxYXTbuBtP5IkGhinQdlq9iO+Q8DTL/sOiAfYGwSzswHt7SeplEIwHRwu8XAjYaMtj1jWkv8cqm7C0y6tI66rWs3Dg5xkOOy0APYoMKnSxqf6z1W/yrmUURzfsf3VAK4qaHp6dkYsRkMmohJs9Oa11NtZtTQfQLZRC9mpdc3xTdqeAfXJPC2LiKXstfS1jmZAgr1363+6RuFZg7SN4SJAe5AjeTT3WPA7mJWHtQSk32Av3VizOOocMTG1A/Z8syPq25tWbU6/VHZCoZ0C8q3XnbdHDbLvAlW8LZq5r/7Tkb51TAdv6m6+9JV7lDKBbRp1LO0Wt+QmepjRDbOW2NCEn06TjJUNC/jfY0KTW7JeSYG+64c6Z2gNv3bJU/Uj7YN1OdNUv9OqufVYR1XbQWYpGYPpp2Ca6ZRN1u6sVvsTWn8WCuFcJr1fkoDNuP2HpRKKKG4WW1FtO1okbYiscKnS1UYVyGV/92BQovVGHwM39otpKEZD9nargMRqlCGlCmQQtqa7/UZSNRj/KETCSb74ozmgsF7FqCvmRvAhPDRBLSHyIW7EKo07hPNzFoe8fDoQnD3A9a717n9/72VycoEzDOPd7RGZeQGt0lqXg0rOhf22IBitZIbXyu0N7QD+kL2OCcVOoZwsN5hIUW9wBIF//fmYLN9olwmxURDoxPUEzt7F4pweNsIYkzlyjJiaYhVJbaaMFqXdcM0OkmG8G/C5iy7qktsNPvtCool1T/BIuCxNjsYg3z4HV2uL38qNfWCCRlWvT0+ZHXvSxHsiGgsdOWcqCXzTlAdF1GtQkjxLjU+9bbqEs7JMFfiEdbPrBqRzOcphu9E9i/DAL10VcBQkfikr7Ibf3y9SuZ4LIGsGGcBy9hE+qEPwJ52zPlxxzqc02hfEv87Oss9e8jBoJh0mJvnuI6ZeAuEaZpeyWcL1h3MCjy0tj31EPOiSAfUhPk+MB2Bl1lRErZR8QK2AI8MF52jTf2KM5o/zetOqGM1XFm/ogxeOWVw3cy5yEwlMbXD1ziyNWhAS+y2tq46C2cWQUnXTMWSVc9l3e0uMzzOHdLCrTYFtsTzWrFzu6luXrelLcvHbvmfOxSgDfUR41hZ3Y2kAzzK+5JsCYTF439I5yOFtVITLs05EQQCPaecDtd5RBdr+cehVZhp2ZHL00Ck2LX/lDAeGcYpTWcWBLndr1G2nBqnn4QlGy6rTWllXrHUmWmRDWyZq06sWX88M/SnL8Bsaczz+Uj+YC/a5VpE5n/wN2tXxThI5sqsAap8syN9/pKbUhlI+Uo+znMt7ai1y/8+qsdQTmS4E7ri2ZljZPAG1oiHVD/dxN8LI6Yta3HfXset3hShx/V3SqvRixUT/ggGEzsU0mH9mA3pEIC0JLCPzrvv3ZNrPpyA3KqxIA2wUvMPi3bDn39MWgbJ0IgFbtXsVr/t/988gRgdSEE1132IBCoBgq7pZyrueXgvb3FGqcTmCf/wJVUNTjRNnHbE4RYX9wg9pYtOOBgJhnOHiJnCU/JMfH8ruZNBtn9+7hwaiR0bdn3onQKh7c+mhEwsiSL5Us6UDyKDzd+1DEb68KSBNUEJzV6/NLbJ/RX1TN0Y/Hwze5vs5Tf0Qd3GVqAwr7zsgNVdA60kQEdAge63wqQr94vEHgqFXFSykJvuIDbRsUHn8QxbxAMaAy9CwluDYstNxooExdoJJYlAY1jScVV8bBE0Mftf4pZnN7SciphTncOustnOh9gUHRVmy3+flnDhxMtbqFm2x/jTLWU/nWlThDK4EHgVPSP/xh1lvIRb04QTe0wprBgEYcio0yqKQRG1A8IE6bJ4B7rZVgNK1MagjdbkhFEqE+EMlBhiv7Oin/I0ixkUs2ieqexeK9AkQsLK87DfvgIn4mZ3VUb3pjF8ym21DW4IFJvz/qF4z5B5HAMu2jRuwsnWRlNGxDftyWGtXDCYFYPqICdWOTEtdFgzkSWZ5ZG72WmCae/SvB2AuTjs4QTc6OO9qBbN7ivXnLsUHbvKvOvOEjFwu+sRxMh3ioEZcV3u9Izu/DYp5IqOQqPnJknzszUBo24DkdmkCeCJTulsQ/OUOYJ2mJ/W/7cz2YbrQXaK0L2reTeC1NikWE83A2sjGSbbdcCHVcHafVbsZdMyY9aaaFVxlXqtsTjeZN2pPKY10CZPq2rzlmU91xdCKq5JOrwiPoP+9hLy8fBeU8Al8G9deUWD9ZcsJJUX/njv6NU9XIHJnEdsMDIxXQfLHyRfxt3xjtd3OVkKcrFVLLskxgdPbu0+kf2l6Mq3qCK6B6KXzr8qkggmCLKNegKCX5Fz4jG9n9Mkp2xMy5fOy5RAJYQbLhcsM5nRTiZG3koYbZE8X5REl+lTk/jpwSTJSS64nrqLQ8X0jF6Cp51cUk90YqyrZfxREa/Vbhk5f2V/9Zup1jDueZRqg9FaGTkTcY2Wav+QSSeyxCWBBZdkRLpH3kvafhKzPcq21gTSdLw1w4dUrbluEyZDVN12nUPUjFV1A765xMGgW7JNO5NnQre4e8v84YmJL8jmmPd/rL6rJzSHATDdS1Ux+8IrWgd5WLX3yDBVK+MOnEZwXQysrxvEw5DHM6o1A4ATv6LTabYVk5BQ7VzJfRd/p/EO2ocndkBTTJX3J+oV5pQlOLPy09hlLAdHnHQBZksqQXcJefMiEvd173IMbOECG/GP42gKiaSTQltppjODl2ws8xq9v7PKZWG2+F3pQdeeKtzIoXSt8RFw5rS8521ojkBCiCo7fHHinhUpoBZyuRmi7UraXfyBlrdPDjWdXsSYK+xzxsyhm+S+QtjuVnEAGGwEvpds6jgsZU+N23ZfU8B2mA0oaheBBoDhf5UtfqVz7hh0RawOmn2dI49x3J9Dy9uFWExj73vLciopfzhvAAi0b5S/Ocy0UfsmlcCKPIqpTiMOg0P14MR6ipdImONgmSb5EtkYrILZA0xyu+jH57p6gFu8x8JlbBVwNn4zrSCD2mMLjZ4xGpqJVpRr7wKcL1BLYCWZp4qGmcH2QVunsbiL05Qb3V8jWoJilhomJ52ZMNaZPIRfcPmxK2vilJWFjZ/2CafgJPZQZ01WZAUSdnbdNAJKvthg7sQKDp9A5AtGeheM90EV5xGcudgV0oglV/LeKn2ikKgDfLxljJJBfst2lb91TLjrlEryPvFo+ugXpv1mc1/5v5wq91xKegkFHy4qggKrP0SuLIufcEzUX8CHyrTaSJw3v1OzWPXjLea54E0lvsptRdygc+RsghyZOSk8nww0WLPJRO7hSQkmfrorEUQh694jy2c7DdsKyRYWupJhAZ2KdWnXZcGGhtSzkLf9jSul7gMp9Z0ESDpj1+X8mcp2/RvTTTkczz81yAhKheXaH6aKC6t5rWEEvTROH4PWIFaeov3NfTSFmwKPkwnrZRh2o4dsOfp+mYkgTluB/vvD5E71/QEXpwsSPR5zSqJUs582vwQ7OQ9xRv68Ln5sotWFu03bjlfUe0gz+aqXmNsDDskOqlt+kbhOUQFC4pzQiK+zBcbvUZaJAkUsQpMiua/qEvM6heoTs5Yz1QMw8YDObH9YnIiiIYtRdZcOytydQLTd9lcIyB4IPIYRQDrPs/5qrrq5k+NSgpmFQcezuZTnLqY60fv0fp4zsmIjEnqfd5DjtiOuOY16rdxImr7d6eqoXF+8dWbeQQ7qsy/JHl6lPCLxhWRfSuMH2hz0QlgZHi3xOpdBcTq5y1exeStdnCAiFMvSrkNWzFsrWKWTk5+IZ9HWKw7gQZRGBDtoreTa1mKIi4CjajtbbFoBYoCiBQDQ4c5yfzVaUC9uSWrh+Q3o5xPI5qbWgMVO1C9zpphEj+iuZ62Kgq6kt8fvNHBOPcYv7euZr/3YgmgA6ZeFX0l7J1D74fzp2ns57j8/r4sYS+1dqQpjdJ+hWPvj6EqXaEF+YwEeCTs7RL1IP5sQeCG4EQX9ebk6WjPGcC43W7kRL3HPIlloXj8TLc0+v+stF1YMWBXHvNOXiaVNDfPlJC5w1goVYQydNDYpWQoDqkwdZerqTs18mMBaBFw01xjYHYyLBMssmIz/czNpNCRM5YJSu4RRGYF+6PsniVAXkH3qNylYGVgBggqsU1benimshVizk7J1SFi/WK2nZrR3F3zu0fsGl8Q2i7hn/NIdsPpxnA4YH+AHcEn12wtaO4kpPo02Jf8+Hq5ORQrbXBnLbl5TtX1sTLePJzbBIwTw4WSHljwoyhBjUbQdbaxPThcmIiRHn/kkPY8y3wmRy2tgXr3HU8CiwtMCcQpzd/oCtbeWFCVfiEWo6jYrLkdcaJBYYQVLoLytQrwcY9RBDP9FrgJjtzHSlT+WEMQCL29LI1l0UyDlXXHkPVd9A9XE3f+FksdaK9YJ+sneDt156oTsuHHNmcJQ1pNJf+LYcWq4n4js31ByZ51bRxaU8GkKBJ2ywxnwOJardcYBfz5AuRlkHgh9anyJsKtet+DM7n3pp7z7NiLBElCi9GZ+IygllLWYdrbYz1821JZi4OBJ5fv0xajPgNUNz/jPXugl+76tAqrpnHXNh2WI69GDS0P+uojqykb9S+kt7msGDzGiqu7YdU+dC3s+6SG8cezSihBCFmYmS5CsTQQX0gX1fHWk/we1Rzl/CBFShDcLq4cYViKsEpweDyzMsFo1EpmEJps36YOhfcDXw7At0ZGQJlvMdrZlpnXYGJtVMq2Cpemvw+g3Rjnl6BbHT2aoMzsMOd0HpzRgNxfKz3kuLP+RGAIHEtutEDa6cO6VSD0qJOSWRNNgviQniKMeIp+JfdSPAV3vWmDh1nub9HMj5LHHC4AUSoqxleb5ahRIgP0dV2oS3KtOULD4F0oDoYZlx4/h6X19QF57B18nKTqc9Ipw6Dko+JpQBNB+wd7Q0zKa84lpJm9s9EcatrS1wIImlasmG3hx5y1rHnPyRTdy6nAK/kmnbBT9nJ2IYXwpwyQAjHXSRs+yewycErTgP6Jw+nahHLllXcl+Ev8LAw8KGOamQg46Edbt6YkKlZuMwvJ34Hcjq4n5voMV7fgsDI/MVR1Z0q9gsS2UrvBVJ4sV5OWWAvDuqO8hcgrY6hY625tGpQFPSl3kCIAKoBNiOb+pLU2dBISRWNfjetTLFgk/q8Q3hKaKNN8zQCuxHl6IN9WzG/raYZDy+7ZWWT+OXv/R6iYRHU9WyfvzXWMsRjOAoD4PZdzsB2oyC1/A4QTTS0XQFmnlrLk+0z2OPlW//dTkkSyPoKVjFNnVxfVbT+eDYKFRuIzpZ7iIplgOXhnqkW1ybyNYhF0Dh68WOWnxDYfterHCERt03SNv64MqH4gJyA941af0Ro3WTAgW+9OVxoRz/AHyGZrdttDzAWOWt5avrD2Q8hXueS+QANiReBHF+BNScYAHZu0rHV6hRxk9YoIfVCI2FnSZd1tG+XfwOMvqqIynyT0KpDewBrzGaG7BDUXVuoNxbbaS4oI/sGizuepWBlcUdR6ertsgoiAvvSiJopmHIvPHL/plxQjrWZEhC2D1K7N5DcxTBVoBDP7X1nSmHH7nRd9SRs+FXSnYXgXu3ijYGBRQwhtlOK9RaR2O4ZCrOzRiljw1s8EvvabH+oVFx9LDeV2aahJ6HXYhGMoOUfuC4AyiLdcDv0gPcMQ4FujGFP5hpsi8nxM/lnsD4wWnbhHh64tKpknMhry0XF0XyAHylmWfQ20Q/nQbw68buQT+UlV1/gwLgA1WWBO4qmvMb1FJnCUgohD8Z0VMWOG9hyGfRYgM0wkBmvtUxSHVk8SVfjHxbKRC6TKiAnIXAntR4MSDzvAMbKIM7mkNYQ5LBMEw2mqDcYI2iZD9ZKJ/H4zsxzOsCXSJYZP8/4/1ZE0zQpvJXIsBiZkd2Ad8KdqaLCondU8XpQw2fxhXsVx96mNURUi9EwxcgXv0atbO1Ng3ZdbbAz2rSA7Nv770o6kLlS59MO1OGnDFLioJacQNR+KHk/odTPXhOHr3WkY4UfyMvsNGWfmBPbQmwg1WhYNe2GYL5wO0khsC0B7apO+gaNdUGCR7N1xI+MPCjaNFI6Xop86l03VmFeYcQppB9AGakus28rWASi6VuhKdzQVrKqqxqHI7LIVmdDE5BrxNFLl9Lu+XhS88x4sTXdm24+EDtdD4g+JvKcvh6x0Mo3pe5hzXJFgq5A4+BCf8LtlVM0O9KgxxV1uXsq9mAUe0Wdffn8Vq5s5HX+JHMTyCwl8G77yN53Kf6vO+ey5jvc7Oj1fCfq31V9bctF7hCodoNNxZxA2mdQTsC2oD2sWoK+uVQfZtY/2cYBH65J8gFcyMevOW2KDGtkBHqYJqlJ6uUMk+l28AjNm8QZIx8o6A67NwvFIw3dzg6+3+eOVnMjY/o6zP1/a2T/uI+5tK59Fhx1RC0XSCkFrSBHDwu+zZ7wDhOYyJli9Ubesybs7eUCVtnS6r8oX/1dIx3KRKn4P5HLLqJaVffQJKtqx+ksbxm7GoJC+wXE9a4pJWaqSITbve4Hqp/A/zSktoxKqWqYkP4HgruZypTrpoIDgbZOuB90zc6FKQdr5zjotZgZHZ6z3B+lKDUrNopMFVRw9CSUvup9t94HfaMz29iGhmIEjJrZk6Vm+DbJDVaKSxX5ATU5t7j/19/zRhwi7LAGOTI+3YuPq5unIKLq2+hMnVs1i1fxfAt2QEqrMIS27HEqojIGKDM/TVZ88opHlvpQPxu0gQrO0wNIa6Dh0xCkL8T4d2yo6+lCNFpi4POgRx6eDsTQdK54fa2REjEQwLHM4uK+0y1OHHhAmcpXumyUK1FST6JUxxd4MjnFTicuFnhTd9nA3fwe4B8fjCiYOwQ4yNVqhf9poBry68uIWVdwCnfiLyTsD4yHDXuYlcR5fFzym21J2iQrfTHpWYFSrE6oSYQMWs/P2vwRaw+OZSBtLlSuT4GfaLfHV87qiolhok33gpTjVo33DptTbB9l7itfhb9NCxI1TmEEnnKXL24669KRVETTNz1pGco090aLgc9yRk31naJqSQFAyqmMCtAUndLCvyxaPDWENeO0Hvt5Oof26FqHFHJT4ySZiVkn/C3Nsyn+9aSMifaHkScxHog32UQqZy0XTPu13t3bqPAGz3P+tajd3NqaX/cR+VgeKq9C+O9KS/bPiFj13VjlsdlDP5OYpfpFFSRi2uTGXGstpvFrZBG6ZXjU1AziniV9R9/Q79MmLjJb1GDR3u7KHunc4JzNkQ3iZyetNgpbBFFsBGdrp/UsolXECCiGSNsotm5ns3Zw482kkDKHJ4E5rJydjQOA03RKQATPY143dlLvMHvpUMV/J0opJkp1YSOtD3lUQEess2NnEuSpyayaKS6/vZRVNAFUbHT8uFSFL9D+bn0AgW08zlkP1k0oPHBCqeaP+k7qM/2H7i941PG17DeasLiGuCfKzTt8395ZWtEfKLTcTq86uhkgDB7ZvJ6tdhhWd6TjfKNcHUGTdswBS1YcIm4R04PAc9Va4ZNTJ/eFvsMgx28TNdR6kdmfDETzyu4YtOi+g7A1xMVK5KmqC0Tck8O8AlYTx5Dl146Wb2ZnnUcS1z/RnhwXz/WFjYkYx1WL0cviE/XDSzMoEB6wk+urDJ/m52rjRedwvIBbUYnATcGb6H+d4+nmM4ibHtuUbSAQrExXguNrSaNuU4123aVZKCilVOUSWy059dp16nlsHF9uJBPAcarayZhllXjPdTFyg803IbzF+hNFaqHAZptUj60a75oJKL3qdnTt82G2mKXe/wQ62xrEo6IFAblhac6DizdPyCWSefedL00JxjW2bVqojxuMCi9qRXeScERJp9OHiJx9UPwGEaXuEEzSUFUsKhw5DIonwtK2OzPJ3uTmX6kfRu5cDhgjYZt1aafuo7gN+/MixNSRM2AreH9EoE8HkowlHARP9t/m9rKD2f1CSnt03yr6bHqBy6MiKPBbiKmse9b8hGMN3aLCfkk7wCWuNpb+4GP9ISso72LXEPAZyXSX7FDcowsCZFQUekd6EJY7HQlIdfNEO09fo17taqJx1PZxFKQraG/lgyEVh7zcfQBmYS4gMBp3x0ToiGYcHyVnBB80GlMOs+FNQ+XnoH18LvC0VBV4PNbxdVsA1QbPoMgXxKknX8TFuLv4mM0meZGpzdJJkS2vxkkJxEsbMN2H88nWwVIf5hvuz+OiigEEVrDxSW9Sx+lMNmAdDB6ysnS79KsIaUhIcRzp5QyOG6Vq9Ov0KEmRJrnWOUZgu1Q69SOUrJNF18HUUD5hykpM44LAZorVxc99FkxOJexclWMZyrwCPMOsEoAhgEdXlIFfHzj7onk683tPWZae4K6ISs6rI3ZT6GknsXGPzIThSI36A0iNZzsEJDA/4782zMM0EyFy7rbrvLHkuKnmTBqCdS6P40AM0oL5e0nqh7JSC8Jpizu61xaYA/Y8mNU9pLL6G8Rg5kjPV62lKdgvjMQ6pp/IXmOuVxt6p0RfKti0CiOwksBwAny6rUuhuPaS21a1hlrSNF0PJlgfAGcHnYNIicflt16j8T4jrZv3lEMDU5lKoJc9H/EHnQMNZBdwQbWzoyLDcV/1PnSQ1fuP5i5R6uG/oJBmTxWoWc0rfbQcSsReHB+IncFkp4oEgzBwaKsngceNsaHnQdvbe6iJyJF5fAeVwg9r/za/HBqtxc75S6fMz0FhjUGQ69RyYzAjEXGA7woN8nVLMz8VqgBhk19bD22qqoc010cscJPCSwp2HUrjNipvLiYXaMT0wEYVw60UcEGB/BbYnj2cxoFi274Es4X5W8GRDvU/lMqcm5cwsrkd92+rB9ZShqAID4L/5cvyGPJl1YG6iwP2uP5s1iPIe8rF3Pbx6burUTw5acoSp5aQdFY7FwOyKhpHBaR2NYBAVTrbyohJKM9m1rSYHgHfj9T++SGIs/QU86lvDbFEAvRew7OrYO5pjfG6RZDd2ACmGwNLhRR4Wj5P590eiYaS0cRHQegQdvAC6+H3wc2Rbg4edc2TDzFwb2qJN3MY7u01o41n36+jg6Tf6fuEhijVtahc9jkU7RC/SKy0lx/ltijdyc3h2hfhL/Dcbt0wUZOWVNknc2lG3++xWpko9Y2c3lcqMUglp140R1TtrFEha2pNjMk0ApdHrtpasrR3gABKRQnG1NXFOTHbhTzmzJsJTUDr7ZXL0BwogY0qzuzt7RTF+B86SlaEuj9k/NoEDWo33I8ENydH5wo6fFwXskjHq6TPFJ9RX7CPWwxcHgK1c2YO0FTUkaWralnRp2L7TzM8JF8S9r0tRVBh4WKLTIS688dNuqAPJ+KfMdwHJzHCvBoOmp8dJ6qmtJz7d6ghQYa2pH2UrrJTX2DqRSWzUOeI0RTlOL787mFuPnq5f5F8McfYxyQfmLnfr8KrQ6yvUg5XJGwmhoPr4rlU3ELpNtIVew1ifbqRVopfn4OEuOX8uyTPzYr+g5KeLRRoUcP6FC7OXandxEJHVn3b4b8FhB8Eo/vXPfcg8h55R0fNUlfVsKaPVITkeYFWBpY6pjO5+OI1FXKi8lGkp4urexU+LBm61eWweKoMWW4WpLINhdklK+9JRMwnAhgxLe2r8LNm7f1iKS1Od/5my/sFZ1Rif6LEvn+/N3t20EUglgbVdJHb9N/VbjcBqas7YYaal4QzAGyeSAXAJCb2spQL3f7jptSxMzl8HztIVKykiuo46DoQxbgWQ9S3LcCPFaoJtf5OHRWrexxqHYwY+yvWPN8qXaMip2wv/hLb7uucUskvaxoetOrZ1Ria6kWlnid7M2MIGdRiWBrncCg5a0tZFRY4osGiSqpYCY2mNvi+y+k+xSEdRpQDWguDVMs6cvO6GdgoO2v65glG8McvNlYaP9MYk34HYfT2DZKfYSPjmxohMy9ZRFU+b9OzTW0d9hkHb4tOVl/k1PwzGTtMzE1WwV0rJ9lpjld/GImE6DFB5Ztvgx77Ahtd3En1Tl4CdqDMQEFYh8rQ/kukbuv2SAYmAtZBZBhkEcCAmimQfy5Q5EMZWTbXM6PhOW5bUxi14xFmamfB4k9v3tPrrFYRH386L4hww5B45Hi/XcjzzNz7rwQtqU2yPEu4J2ft2df5l5lGunCwRrH9N/p1lzLXCrPjH+IurOVVcwXR3xeG/VL3LILVZAUub1EJFdIsk8iZEPUWSMoHctgo9dXdYd7TAITFjZUSUVNt8Fq5ZnPN/70ESrv0U2peD3ED4wqm6qgaRdCIGDJ7LLDkXEnVuHYQGX9nmjvJqnaVqtJ1Kz2zztmGHMUm5hBhvIxp1Gs8AO/QM6wSdy3l5OOsHV1qRmloX/Y3XboTNWrI7JuQIN7tE2Z1bpfg/D2ucE381uCJTuFvn5fgjdS6fYcqkVcoxhRTLzVqU0XQwAfwX9Gv+HxuTqzbH2bJxdekcL6xRV2SB+4ZnJvjdQFF8sgLZppBWh7N8Z7Z6yqXbdJgH9VfCPwGW+T5bKSPMlJ1IG5Y1xCy+fABgr54Ak6QUy5RM71+o4m3zefbSmfKrbRbmRhj8Xl25qBJV4tnlDSV3e4TyjYNNMXzw/W/4+mhjtNh3gznCwa6KVGo37TBCxwHtNLioPKqCdOLcMBpZK2HnjBB1A4MbW1uahCC0mx0a8pUr1xQ9HkKxPQmtcW+bvV9FbtOfyarTeyQeCalvB6mlPltTFUYhUxjsHWBBTX7FuIqtnY6XkAQ8vQ2YHCJnJ0P3imFxewj2wBa4xeOS37Ow55EZDy3bXMDmvQT/hdecFn9LMTUGRCMFaU6XWnKoc3i1crpCds+aZ70Zeg3tWvXboCnjAk0GmyYBYKbQrqgulqb9moitsMcyWAIdeaUOv58VrxngqXVJ1VZYo9DYys+6ggXk/XLX8abue2inzD4Vr2nuE4HwYn5mCnShO0JZZrOV82vczoXWDKBp3/dws/cWl3cUe8/XGrvNHv7ICVY1rGmQA3zLpUHDAjyupJ6s1M9lsDKX6bgcNp3XSJSVMR7J9Q4BeKATVWO1DT4/VEstYfyKG6RNOgVuVCwVV03qjDifnMmeVYS07V6rFacK2X2RxzUg3M6IrJK2rdjoSk8LOgfsB3SY3qoepcWtgiDBfeI0YyuVslN0VCt/O5D9tvKCjtrQzaoCF0RWsiby8jm9k7UvJ2ZFD9xNNMK2eG7wBVdpXyUSWKdNgqzIkdSZFmy9Q7Cp/I2vfq9kcH6IC4LodFN71oSobjqz2tRKN62nERmc/5el2ndeLj3JYhDSg3VPWPmQf/1587/6+DxJdoDtv7h6yEyBe3mmISpHcLI+YGwmCFq5SvY3uKW1vMJvB1O/lx6VJlL1fBLNirAx1+A8VdwJ/lYvfidEhWN2ALU6+b9wulaJMnAS3NQvBGcpPKO7PR5AGAwemVIpVynmFrqC2BI82zKfZCoaAiycnMf+PIwml+BwQts9MwpZRYhi4JtBHVQg6FqKe2r+38r3T4WH9KGCU/t5WaUTTVz0NS8qGlNENjwJzXOP9Fr8xFgyZOxnzFmjSyDoFOtlOrxRyDQggpd/bxpn4+9JvNa5CDwdgkRdHxdzj+kRDsA995/BIUf9UqXZninXo17t1Dl8Fb7N9/AuWBom+T+2Kk93gavQZI+V8iXZIFZxhNxWdEITxg5v7OstiUEXoP0RvdBIk3yGx/Ld0oQtmIFV2UCkC7iqDEnGALOiMZYGq4QbB6TDRt6ZiUJQonOZgaoYfPSNN4CW2MhKMGM0NTe4xzky1tuDrGxjJHeexfjdq8uXCPfTYVHmUlqeuqC+ur/CZ+Z4kh5L/l7ipVoSpgYj/RN991mooR39U48tqmfBC+XHDV2UulvQo8jPjYKtRHhgv6wQG1eqz56zgiKr7aKk0G+znsry8UhGeHWcxwnHoZKHgyKE1re20uEpFkX/r5aGDyzvbvcNHc4Vx/1MZziQiJaXP+eTuz3y6A43lJOzhbvXYjBybV/6fRnQsFhu4zfrCnl9wVuKvVploykKANR4UE1YU8mRwjsthMrJwxq0t+iRtM8aBDvS9EsuYgAlxT7trB6mGv0PnvGqojNike37FYWOvALztyMmE0IrQbGU7P514C9pkgRlGADeGktHfK3pN/2XUsbDFuFTTAvS2ZDebn4ogtVQCWP1jn1ZQ8AgmNGBUi5FlCNrJxNHCMm4yM/WCu6FzaIazlJDivKeosJHj1pF4OdBTxDauJHq38WMMddybCOwWyd5MWZBjjvtRRnRDoy+queDlGokdtFxuz8yADQA931kRSKtQWA4yZ7zSCiVRR3Ayyasn48t7k2W4Wa9BDP//PRPZz8JvfjBqHb/JPB7vfX3Awnd6dvdhRGjXsn2YWdMwh/oCmaBHRe3DDZ2w635ZZjaRtsa1C57nPz86Xe+FR+B79euelQv5Zk9IjjtZDvPzUXa48Zzg3VVw//JTYMFMpgOevNKjSqeZZaTezl+0tQYyrcPiMjHioIQCnXoTkpw8SNrcgrh0eeqESTr9WStsUcPUebrvhvnfNqkM8Yhx80LzHvGocsUxaEZHWRTku94OV0kBcsGGZflwjZdofwNl/8Za+S26Kp7DQR+wmcLMs9Cpkh6aUgXWCs8tXhVGIIg6MKkGS3fgDAs2NdhAKbQU+g7pxaKQ5zKoSf6exd5ruO8UWo6QF1yOSQ+q1O59WsL+T3kHzpZKycBJRHfmZVFcJislBIFjx7Se5+VGi9gCoxwJ7vde9bHy1qd6x59E9yQWKWMAjfo9QXbxPdMY3+BUFsHSvzU9SdTZJhAvqbENUVUy31pkSXEaY1rsjcwhMRww6XKZ5Q8KpNaHA/eDrQU/a29wWddYmNHh7jN2ICn9yTXhsHBGg2MyFAv5Al8VtOxgSDWxbUUu7BwlccJ27HDAbMNXa5C1TMHamOSUWHwn3oQ2IZSzeRrzeTBedHSyWiHB6SEaIPU43lajKtJSIU6FAq1D5Jpk/8uRpdOy9vysz0A+bbaJgkhSN/8fEksZDnaz8ndcbT+K82smC3CWLMIjTBx9EJ18dA6N+upFI2l+bOIGqY48IbkNAPzRcELc7NLloOwl0ePpBHayS6GHZxubbQioy9UGyR6j3tkbYFA79azuck6j1QippssJIpP5QtFBiwPKoFMpKNoirdRpm4FVpmC7pzK1m75Ie7MVscLMZ6SzJ7lKBEZni6rE4fFfMacRcEBmYmD52X/wWJVU3Uh49AH1Ug1TgjbP2Wi8kvm09uRUpR+vXTk8Vhb0q1YxDeILHkdUbQWrPaNlZVe1vcBp+KdZMmKYoXjf84aQIo5QWHcMABrL4qaXWNIjBSIzGzjY0tN3nTpj5AL3W5kvv3uTgADqViAKK9d9FXxVMsUkBBi/KjuTQNltz0ylWXNLhEdBLRcwxTv5argj4bRUgwgPkt0tzNO6U9ZSO/xb3HwBPlEEeUmJjcRdB6urwW9tcYhz3ljKYFDi93vSt4DLALNjd4yGuk1aPw6OjV3Xo8P5raNorQQfYlQTAwGKCgYPYOAE+HtThaio/ku4FFNP1tok8Fw95TVIIIB1vCPFaV11ZBWjxUGfBaPTBjm/15R1zapGZ9eCBSWVQ6OGFpGls0XvXQmy488ZhR7fPENUvmC7wvMd8znDEVp4HsD7xBFJUBzSsIpj/aKh0VAlWJEf/7y8IGboTQ8z8b7+MES72WRhvJprjc6ZEzLMgp0efinIp05U+Kl9JbEI9k6sMyy2/Zewyzkujpogl+MOUHLwOjZNbgIWkbzNoOUjbiGhWvW3InvsiQZGIOrrq781OS7jV4seog7QEPbm24HPSPKSnpPY1s2RF6AjuFVjMCrxQ0bu4kEO6f90gTc1RxeNWnCQAy3N91KsA3nXeLPHqiV52cm195NZjgYSvaAYM66vHt+FSKuNpaBw8ont2CU1PLzxGgoyOEJTPQOvIcBR8xtIkrPWUWgFZOV+Kjq73H0snt5HlDaM3CX9fM+uGRVJCpZLrmZumGPCl6zk5vuGlQ321uuRhPYj/U3nklOGADLNN0PvLeYEUO949XSoxlnc6ndDaz3IXOVMatRO6YxeBztobfaXpCHFrKxQen7LsUa9ge92Jw5l2sPGRlxOLD8BkucGGSXXdgOYgMtCp/XHd0pKSY28T+XmFoIHotszELEbpJuZ1IXo8V54ObP7ZyE18FLCwAVhwuoGbHM0pSaBm4VfBFvCHPW26OfMIKzID9SQfRngFLoOE4b8qdwy3y0sB/75zMKhx2mR6zyeo06d+xZxGtOS1MoqXTqZA0JHtwMXrrqeBnqp92nUPZgCTYVuCtQ0iW9gm5oTjB0N1hJvQ2WVjW5OGAeCU0l/RW83u+PiFUyMfZVL+t55I7PJMvnDPMv3+FhFOl8xFsA0tR7hx9Oq97+qUVkPryY4KZJI7oZ84dBM9VcU2NerV6rZO6ySMrb4GfSzBeBJPgpoxnBlOrseSYWWjDULGXkSGoWqtVwz06NDyyBCFsymo08WQ/OpKVvs4jsbgfthM69KBY67DdKqmlKqxTtlN+dkma2TdP9lq8fnbC2pJMO9GjNjCTllFpLL4UKMMJxL6cRNSS6IYVgSO1/0a7AqNVLbvI5HjMjTeGUhFTcwoBIBDHGHACb/sB6QgB2TXcB1lfNFce+ZrJfhnsL9w0pdQmpM31iK+7tux3HoO9jiOC27vzPDN9G6skwrrX3qKWQbZelcCa2tedZzNL3YbxqjG4OWZEvtIhxrpc3u8+5B8qUZNMIzShjNjFyr/FzZ0DvvrB2RPrYZm6PrNxK9leL3WBA5GlWgxwEjhxnZ1k4toHxfkcfrTt/+FRzQDPy9SIkabVB47Eq1EIrdkG9XjWsQW63LLoG0NeqWukQugOU9n+ekFuohzYbBBO1CxQoiGjWorRJ6UGR+gxxzjEC1h6nqNoLA7S8GuXDi3eYa9DlZ87hUi8EyYfOokGHg9d09PHApWJuqljXV2d11AL2LXkxzg2X4K58UzNgpQRr3lONoiwZGwou1x0LTkCLSQZXoslUoASav/g1nSkvdu6rKOpfX46/vrpjrvhI/Fcs8qggtia1Uhz6bxshfGoXU6rd+lTO9pCgnjqymTGATc0z5ksFSRY7oXd5OR40SCChTk0qT2VfD/qItGr0o218kMupne+gJvLnYed7Si/m7vMe/G6D6XGjtElNe2l97YF6ba73d2A4wMJh41VDFgNH4MdjGL4FbD6W0qmrjyQpK3hEPFfy9BwlISD9QQuK5ML8vUVsApX1XoQzxpwWXhYJtC1Y/xKJ6HQnMIZutjOAwVNxFO/PU2iMRrOvaB23PXQ6dJMqELDOBeZT8qLmQo/fE3ho1A1uybi6ihtF3bwLKRtUSa8g6Uir1LkgV0UeZNAAtonIMoyzzoHg8KaAbT/ZJcEI3sZP245vIg6UAyv2ClELeDBcUDwd8Rlm74Nahvgl7bvMZrXGAsfqyOpZzM2USVwi3V+YEM1ctb32heZPCJVSu+vCyxNayDLYnrRhE/3Ry9w86MiWM+6n+b1deOW2EvMBBaTfvrz+70QyG1rydNcV1WkC75y1kP94ksMG5LLbhlsEug3gT1sy294x5wYmBMn1i2++G9eA2LOQo3Afl0oY83rlejGW9Yl4Fdge2RavtbLPj8KLmz4POvVm1DFq5t00oFu94AMN09UrwJDH79LoSQs/k1DvMJ1S8WWe0wJA8eGQX5N+bAFkFlp1pYhAFP/Narzr9/lARnwLIqPPur2m35iBIwr/gUZiQYBei60hxp97Igb2bCrU181hyhbibFX8R4vO3fFjXtNpR8HatKk+b50wuwT+1LryoHJ3QJlEV2UsZ9jF8WKBCCWZb6aOVW3DoXJGJz8BBlJb7M1YcfstMQSaFO0H5W+iFY4K9mQYVkQtGg01rHgLJPz8sv66oq2NTJ34SQw92rxd4jDcmi7O+VhP2DsEc+hu8kWGTP+1hkr+ngZXHNBk2FybQcAvuCI/JgVURH5NcmI5KcNiFZWBfQtNDCXFgXOETU8FwCDh69V4sN9+AYCSiHl1dBqV6XGV0nuvJCN91zn2iNMa96SBBWpqdD2KKO9uxVkLpCx81BD/o9hZiIlxun/gDT/jC3YnHK3QNpcwCp2eCTLD9i/5yrQv/544FkzKmmkWKMqugbFGI9oxXZC/ittcONExiG/P8wex0NZx56VprZaytwyxdCWmt5QCPZp1VX2rj66XCper4Chr+oeBHHh6mQQn7U4D0jALa7C5k8/lzZQztSS3Id/Gv7GiKEX4gPuQBr3S1XW/fuS3jYetyFkSfUdbpcPVdg3MHXVoEfES1PmbegjRP393zzfP8hsU80Wd5V3+J4jlaENQE0RHDtG8fUFNFY5tl+Jsj/qTMjKJhnTp7Th0TbA5RnC+ETjZRW/PYa8MIOEaV2ZdWPaBm3YSZBLqLeAMI09VNxm6q0JvwFd0TZoLlFV5zB07drx2wC3hcQLmOPTlHCMmw051JYh0V9KWsPFcUnwlT4s15iF62NS9S5uewmWEjYA951KJGl4R3zxygTQ+WaKG6gqf0sOgwb4A6pMJuE/CfqzlzRBGzSJ+4H5VuemfesHPtrn1z58j6huQkiw5zK+EbSyuRFlwacX1APywZukLQPPPccZ5eZ6kzzreCnRp2UQrWKdnkL9oSYqh7xBiDYpuRYf/WXzXikFWBi9QV2ntGTyRBbWi8/ToN2S/VIX60Kmf+oYM9MZqqU5xte4fKYw1e0+gFGigvKGStnXGN409tZ+VmDpHGNq6BN0azfy1shFup+B9MQUrC6WArupE8TEQdqJZ4oUY3UOaJuYHet+APkW7WkKpi4+C6/cTQ2eLkMHzU/vjFgSx0VMhgZ5Cvgbip8MkVsSlky0uqnVSLfm2iUVwN2q20izXYdG4ZFiGbEpWGwjb3qlEJHeNlE+kSpwQFdrf4RshR5ZDmHxrBEPz0oXVVs9Hi4HLw8B3yOQwnRaUhssa7lWWDO1NivH0pn1KpfchagF3F7UA+OhQSHyC09fgEX7uoSR8q3rEP/C92POgesgbn+OCAubfFG9GBQ8zYXQ9+YvhBsP1Xfe71FWQcXcWI6jgRbM1Rnks2KsQeQU2zlGSdzVm9M0G7KJQIxDJxNjdKUFTEH5vV9Q1qF4V49ozhrGa8UsGl+4NGWpbfyJpNHX26g5JZ0uSWoVHfANeA01i7GUZQDYI35WHuIqUE0khMsDECDGKvkCjCjXstOCJUzPvGBiO+oo4W+I6+a/PvygOglaFsWjOdGiNJLQr/dWwUT5JyKW+xsMwu9w/Vp6Q/IpYFJ6SIwyVj2oufMQvLtDVv/9naW1uFHVHuCFC/zhcni3aBnd79/NQNoRLB67T3+Z/rnokpOE6wOWAu0tVn9+mH7IpChX84bfF+d0thAX1ahQxWGqlA0hc4LdoDMnJaFFK6owsA0KODldl+u6pD4OgobYWQH0G/4+wOzkw0bpF3f1iNE0uNoZAS3cxvoM9zypJZjNMugHWw0QZUh8dOimgYXw8er85HAnjAqP+9/ZyXda8KgLHyLctPdVbq3NG2VF3OMjctSWEydl2CFHWGWWurqHzJf+KsEJ7VDMdRehNrsDIeiktYlXTbUM5RVWI8eeoyO3vAOoWMQcYI94QWteRCC1aOklI3L8eLAEjCiTwvuW7FqCJUBRXVbeFILp3Vv+SGETeflUUPJyja/1oMfTid3s9OdAYJn3vsKiPrm6hgUpSrEYBfnn9okaXHOp2/+uLnF1UyLf+49ky1dhZQmYzLkvug1TgrCZ0FHBpSa2KvRuCo+RzyOCKWKKORLEoyxS99WAPXuCqPXixh3ZKGwoRMQsRiGwbxFUBYq4nWHAx9YjEzjiRrwX2P6gFMKO8o/33AjrsVCaFCZl7pwe2r9FKYpyntUgoNhxRqe41BPSz+3W1MIcEiW4yAr/H0V1W+tBiyLzEI45wgD9fkS/IitNLGgLwmdqib/IS6W3SHgH01fkfZBjy62TqYm4+P7zpXC9+TOubcGB1mdFT+gs9RR1zHXLfAfj2ZzyRFKslGQE+f84nTLa7Vr9PNp5xaY7iWmGJJmoZ/dKOGJJzI+fnwVP1Q12DQ3ab1vpyct0ya0JVTZFTXW+FIgrRyKZB+hE5F+WofgFQ9rBcEf1brvZCSEczXKyqkNz9cjZloSdAaOOMfSdplytxJDyCUCsaE0pW3yJdl7qD264iF6Erxce151L7lRx/lM7ezpOvwYAT8nQFshBHM8Kzn/P3kg3nxKVdxL164iYtLKkzxA/4lzA1OfE/LZOryRPH6vntl1EVEudhdG/c6rHk2lPT3tDO+uii4OW0z9psIuRZAH/gsrk9JNxKD/wCgO+gXRwNW+acWuJqdl4BI4BXrWJ3NtpRzgHZy9dM0uarRXgfLUexwaeC+6FC4P6HQvSQxOl64FBXwFZfBn42qL4CFj5QaWh/eYd29IT7XUetbCI+i1zXe5j+Wv9sRH65U/jtGQhCq4n8dSaMqUtNYzzGCGzgiv2IvQGcq3C4uZM5ay8HgR4B4fg2SDKZwR0CiqSmxIMQtEtnEoD5LRE/WOqorYwqHKjBJ5eH8hUjEepe0cacnSCGRGvnDLIDN31yGSlkmTZt1Pp5Tf47/UFrUgRcY8rfncR7gBU7fGixmalvQUqMpfExXv47QLvCeYwY8lEWkqlCHlvzMD3nZjOtJZdPBBKIcaQEq0sM5S9to/M95jhpBEmYM2gtwyEsYECDNUSWyPTKqvcavHHnTGhqi/dUA8aIN/AXcxl7OPy/zYQ+4pm9VhfVsiuR6WSKloO+EACIUqnzsdFjXomRyIOakf8+DphTh+LqYw6k1RzLowfo6mb03jMEc2PB+NwHJONZM7hgymOyROgFH3PeUyFCtELkvCESW/mmrdElKMRexnu9WJXnL9XMf8ktxRvIl77l/21nSZHLjve7pC6BumZpaOlRNe+MTp3l6z8HnDQ89EXdMAzYeK20LVFBHSE0Rdl/CercPYNDSUzYRFo+ONH9w4CIvdazHGzBzKt+Vz39oVz+YJr3UE7enhENxi4+KfGG0p/iipOWS+QK0Hpff4qSY2nuorHxxsWO3IzwE8zAenVFPSEzrLJ/pOaIH/i0xZh3psfKvMHK2RBavPO1XUNWrxrEsMKA1or7Y9m778mf2LofeB4MSFCxJL+2zBLBvvtgGhM7W7Z/f/vmvrpqmQA/GtmSWs1A1Y2J/TwSGkUw6J2ySCL8BLC+j6m/euwrW3MAxDaPpCqDI6jrM1imAwEPKz0cu3qm6c5pvxsYm60OidQqnwbk/9NZKVx8Wr3LvQuS4jVDypIJtL2Yy732bP4nb76hY2Pa2cjKH4UeNMmTkRjc/0h5rvdIWaXbpWgpPLgmKh3hxX3AeThYhTPgMaZRV0pA2bFrHUtvWuI9xFijK8JtzZWvyEfGL1lwYERCq2ZE5K9k+TOyXdlFFKa+h1oBOwx4WnBAv48v4FkTwqFaaP+0kjjV4caYf0IF1+ztIQdai6UsuPyWZQdOwEv0W3rc3R9fE+laVh6asnoLdRevJu1ySO24VEbSPvCefyQZ8H21nd8o90iPQHkJNCUkf7+U0HPIRp4nr70gt64xbGtwh40T4RiL5YSDD/KRWpxT6xPjQAlVUhXtwyMRZKJ1DsXObjoUwlcR2zSYz5qQ3jNUJGViggPPz1oBUNz8HfnLJvVkMcc0tuTZI47XUuZ14KA9rQWwj/2j70r5rRMOtgtZBL5nV1Yk6c0vl6y3wfdm+5sSbc2dZ8BCzrW/mFStr68Op+HVrdqeW9oVSJ35rbHiKi6ePJzOlURDwL4XWTSlTAMXC5F0OUTD/v+TheZoEk0qy095QHeHJj8ljt2nJulGfk5nL3sjBadCOgEOqWXPpBrgw487hp7kXDOxOsQNGzPGg71Mz3fnK8zWQprVJAqLuIQx9c8jFF8D3SfPCCXDYJIH0+LraNJjxh93bKULUWb3JuV0orMq3VMiUh1OiNsdWgJ02EEF+m1mkse6xtMUSoKmubDWVgYCWN0+8FOG1X+1ywJPyJY1GjM7Z2DIuWfbkVPxsGM1cA7aeeiAt4PXeN8Q8Rbzj//N+qbG0+U5EZqTkbSfCq/XcVY2thH/gATfLIyzK0WUvsE5xsaQZ44CXycJcevGkKi6+D8fnRWCYRYQT9NxLOcvhIt1V0trxVyHtDPGF4kZ2M1L2c6+d1MuaUETFB9unwd9eUCZfzgFKNwS9X0En6GCcHpW13jSIWxfLXKT2WZKx0lmYRmQvOIzXrLGZdpYwsb77ghgUJ+KCSEjsDTCwK2cXO3mSiWT7CZKP1J88SJmg1/b/EF441HxSrS4SXdKvrlq6hR9UdCOs/yRD96h4JCeh6z9V9A3vFguLSpReS5v/PL9+U10Xmk4SSFOnRQkb3VdFmc65UlRw8Ej19PYXYozELmeDEw0IyrZb5XccegwUnbd2nqDkFyQIaOX6URFG8vq/FgefA8EfXh3MzZTokxgUTcjPthredEkVr3RVUo0oHftSTHWZEKirvew/uQoGeBJPvdhLGUCJztIUu2bRO3YUKrGhHO/ofGJ0NQQIyKnSQvIu4/JHP4tzhPDFI3FFDKpg2G/0LpjheeS9UxIkUopoAJbB+gLbnLawbJVisscH2Ow8BFRhwCPx0UgmeYqqEdP8gLLT6C6F2FOzpOsrqctuo4ZD34Ps1EU+wgBM7pN11YwZ0iaD+l48Gs9o94m96uBdza16y5bvmnVS+qLHSuw5hAGNlEi9YskOpf5RotV4DrHda2whyumLTe8+Vgtz0/55pD0vTU5AF8Tb0w/vowzpgNjdcR9zkxxZOiJ1rS/fht3HINoq17HqBFxB1c3L5+cIg6Bj5uxhnCYv1BUJBK2UwLwoSId1qABnu14MjoZT7z/f7OBkAnme5JzPV75KEknQq7oUO8pzt6ZFINFP96LjkjR23V9ZxXFe1IWayMWjCFSx87PHLtSNrzXXxYwtM6hVNGHmMRpaxddu6tpUQ4+bKtAVNfZ8/g21D2TgdPz7ZebjW44SA1uc9uq4QqvSjD5ympQ4DZMBfmubP+cQpEjLo4Hga70xrvsiSN3g0bF9omn4ia0jI0fWfG1/WHyJuaC1TVDtlXIQyVsgewIxxpue7SaLn5g0U6tORNThCs5+0Uiz0Tqgp2dA7zmyakGJF97ACnKizSfXDWqXcdwtBC42bT1VJ5UPE6peCZicFfF5sH/CDPP86FWr1qFwcY8ppgN5DkJSssv9bqyzLV2NJahRAZ7Qkb2Bl8fkVuJzfH4vXcB2c6wui06PGFMTfNbih/Qt85bkdjjDLkY0JYe5+pCiRbmKZJ8MfGwC00IhaVH5tFKCRJRmXAv3hHJ7oU+b2AUkIFvrlqbas3uUYmQvF21O0C1taw24gJ28JmZwB1HJ0S6XOk/9+Q2/WYo5kCpHmjSHeHt7V8zcBG4FnEYuzB0vg+L/f2bn7/jKCWWZNJBHawBFlw3QqouLbjgEvUrougE9umBB28OcRxhI2ER25c2PwueAClJ1yfo0L03CJ4JHI+9q79R+anQ42xAhVxKW+f2nHC6qJrvbPyeQ9TsqA2ih1zLu9/Plu6SyDW6b3WniETUx+7Yse6TlUA5OVeXuFYffNLEFS2qzUUsZjvWONBzifRscp1aXCG15vxW/E/7bn+TJKE4SZVq69ouskmB8bufWRoFqSEuKWP00kqGjOeQc+gskP0YJU7aCDmkQ00QFJVxOM7Cl9wIkp7hv4FBKeY5qKg2onOuUKeAX2WCAbeLWMX983g/2s72FPunr/KB4+Lb4bfXoOYZxagB7BItx9h8HXsU4ypVY8lp0bUi+YNeh0JoutMaLGzXb6/8XEqTpX0eI5fCCQpNjcIQU44PkV514jJf5I9O/KjR7RDVMDbF//uAKLCaPI7SxcgrJDzf1BAfygYmk1LYFbHJ2YH5b+ShrKVbleUDgilipLImTm084m1q6/yUTKmCpCvjbnzaYqvjOpHo+htrGYC5vTf7+CtmAJ7t1SHFp7lYbSzPRH05mtVTcgCtnBp+frty2g2fG2XXMUgG3VAttdHe4HFlydMjgartxVCAuKVMuCGM+nph6Vr9GH+XVESyh+P2RmaCLI16jib1u3K3w0GXi4c/x6XlWX1p2Br8RnW7Hk9WpzVzKr1kfg7o3CFozJ19Epoi05KpwZXkk5U0JQ9JDELdxg4EAmZUeI5kFbLIsH4aMFMfiOZWEr60hSkscooMcT7G6SQrUsfk8CR9TdqsoqJnUXK3qUP1yEWX25/60t7ADsRkvGyG7damELjmTHwD+Mx5RoBVXBK6AurPgK0PVno89kYv3SW7NvI/FjA4JPRUaGjeq5IGtQ8RjAoLO3r6bL7Wa5JXr08K7mDhC0Z5BN9perMan/DHDPMAFe6Z0wS6YyHrPSvJXsBcZjrd+jYXGSovUAbcfq1Xi9UA71EH+dEB7RAO0FhSpWhdEsV4WcgWSID/2pKUUkpJpm9nFLrWOAX3rQ79yIjl6Np31259G44o2SFPnC02T1gdy82O9O2UtoAhorLKf/acXsCyPER9hRjMZPssJ9J03fh79hd7CZIO6yi5zLaZXBZWfilXYCkK+GgFfjX0GewPVWHcS4OT67fVLLpENX8gm+wj6aP3931Hs394vw6eqLVvVedxxRSr2CdWGwbxGlIhDN2jh+PcquLm/3b+lAFChdjAvmWkRUpByi/HnfYuh0qU33LlHZvaGc5oXzrV5LNKcLsoUA0Xvw89Bq2nNIDEtDkbR2GILauaAgp1haLzv+zE87XViwZW130zxwsmjIAfmu/Izdyo1DPF58ro3k8Ul022HTMj/Q63/2kcEXxpd5FznPWV5ONychHP5ebegKfx3H9mEtExB4RPfAlMTBtB6PxGyUeJ/roPESNdd0j4/yNPw4NY3J9Na34S9uQeSPJaYXP1tiZf23eII+FCMCHCuGiq0+0H/BflMGgoJj/1peUuSYaBlUkkXliYJMZCjNpjc49GkPee4RpJ5cIr7eMWFbK5Xh3InfkGhMAldBAi5lMvUfWqBNSs9ANL+8ENNmltXmd+r4PIzl97cogMUJnOVgYzDgt4zOHe/xiU2UeQTuzFCYVPUsMLXAtFy91i/+FnNX8h3/b8hwfg2HPJmVODN55BsfZle3JG8NnoJpqMbZ/nzBthH7zF2s2tl2NJSaXBjT10Ov18r3pqkpSwfpMYJ8zi/pm/TujjfAQfjLUZDYZU28a9DMJEqATfC+YGBJHmKcVHmzL1cYatVsEEbjzNLvz4OArkid5tBoVvuJnLXTZhHutMdZcVKu5ArGgLFTYJA8ge4hUoOcOno7CLuMH983q8jBihg79ubELSDE4hJr12kitkDnuCh8Q2xpYL4sa5GYmpBtzG6cPUke/M0pbZyvSnGUZhPCIA9u6f3IP6c7rjp+g2Uh5g9HHzVssPz9+rEudTwx6pIM5NIgmcc5T+iw/PyIFAkWXQMBE/4JjPu0nItj/7dOVRBz6HfW7F1H0d4AAgqRWGDMbTnsUUhzJ0EvKAxBj9d7yuP72uQYXHXdXRLyXamwq47DUajhdVY8HGBvmKyEwgJKQ9Susd6clwF4Uf9jxqFdHD55Y39h3H5bax7zkSTzbQpRwr81pn7Al5pd3BSxh0/me2fspiTKi6w/g82OTznfvpmgxCSDVTKHDtbn0L7XgwSVn1ERPP5S7h2ucJzndn78AeFMjOvWVC43IV2SsyBtYyxNgxnSc1rJVgcnVAg3qV8hHhscj8QQdKjB09tSXiaodZzLvrmha4hXyJiBB/ZvimSOr3dDp8i5bGsnMbHeSV02k3jhdSIpSuPbO2seXWSlmeCoDHCY2QgAnuSPMwy6dE4psHw8Jabuvwmr8NBM+Ul89pi8pOe6Swhe9qQDYibiyR7RZFjBFRz8/Daknps5VMBCszGCPpvjenWdqHR7kDnNX4muJAW64TvyfWa/t1tXxI0vtneEAd2k0BM5VwPhG2QmrLUThCGcrJgF+7/CjzDMp4DW6ipIliQpR5h9fjlrAXDV18XFNcq1t5dUx1as0/g1oCK9UJbDkYqhqzxqCHYikPFTdX5vJe4sIeCm3ErBv0lqWiLa3b/UeDGtzTp/tVU5khj4aQFl2x3Exj5iFV8p6w+6OMdpyKuDFyzB0kOM9jafbvG2fB6CfZASh459ES8h9jDIe/sYl6CEcH3J2mxsbJFQT58806siLhLnzrb2WgdRf7dcF6wewO+IOGkNHquVsozf09P/QvMMGKt4eIsBmqJ4oom1ask3oeLlT6VhXgsEgoS7xXadHHyrg1N/8Zn0FtiRngxKGwWHmd0iGWhzZScu1ZpYjH2HtqXE0aXqUatMjwTvxjRZoCJM87FKrnZLBZiGi+GO8uaRCc8fpVbHMkM/qAJ33CdPXod/UvOXLVikHhruIho7mbvFp3R5+wc1hhIxPDSmCqqhHVfImJx0ITmFbluFgszC8wFa476STGR01XiddNO5+RP3ii3+kwPpT/7qstnLbOTuU3ZFxJK7CLxA78dAe3E1BafnaRmnc2P77thrPkOuco+6hbZdCQQc+O7XISPgEeVYgkB/tN76EtZmTdr217qR9vGGpTewwhfdnrXVzWLZRAIMtYQwMh7rFih7y1EPIgbqtI1Q0sljxJdiv46+eoWMPtYZkCCSDLJV0djrxyfI63DACBWdG/rJoPGngwTd8lv/Pjtx+loaROngM2QvkkiiUqHCzLoiIXQdam+B4Djkc7FOByMljE9NdLQr2H1m7d0EBZHoAqF/HLnyTS+/TDEUD36H8XIDMP0q7f7gk0Vf2zW4FwNbbIbSAZL0tFvYY0+Ldt2D5rCS578a/2sRLQIg+SMdDiwewmPjj5l4z58q3nXMuzhCxR8tYPC+VcKVC9zJQtX76W8934WVKrpWgp4J8IGh39S5XQ8si6ecgKWfiW0+peueCNYqz1+M0DkiC2Jbp+EvhsGufgyiI8/TVmzrrKMe3oydjHnTL5gVs/pIK7oe4D1+UOphZu7pm9kr4BhGIty1UB4Kw4Z0sXKRNCRaLj82d1xA3knj755/UY9oFT/J7Pqp3yWUWdOoG7tdpMTuJRtSezoQ/YlHZj4gZrekbapK7KxxFTWmgSqmbB0qE+VTT/TFgiWDA35DfokkEAAAVWfEaMgC+Hj8toui6BYW+YBV7WFFR3oN6fneiG/U9QEycpd3y/YafDxaj8xzVgteTo40XunxOpNu3uExbHeN9ZW8xwFTz7zcrYtnbCFotNX4R5vLryWD8i1NrWaIZvMVrYT1Wwljzq2r8h6Zm6St+C7kmr5veb8R1wsZs7MOhhT80WyxlqROIT17i3uT887rTAI0wioh5YSmBRpbkPMXnsPB4FFvk3a9yU0MytNqHEpvUgi23OhiiTw2FfjzYL2bQSBt4/s2Tc2vBwN+hAiMMHkdUlWEkEBBkywlOon3zX2fuDFcwR3eHIwc5u2y3FMkHh0NIrCmE1Cfz8axo9F79pnMXadFwKpDpan5g7zrWQVOp/ljM9RqCqJUJWCB3Vtgs3qAiZgv9kJIRs0Dn8pR9PxNDxmc80zYHlYCw3JLdUMp8A2XNgkQyXmw6DCO1C68jwLLIdmtNVEejwREk5K3cBlwc4bkeZf7i7/AAp5x3tWRbZqiSTd0Doyb8/aIjuux6h5KHkAHhibfDaXwvogjm+mfT46eOKc36kA55itcy9cPBIs0jTqtQXQrV96h1GDc6H/Wv5fIy8mMqDJaLL8NK0U0gw5rdPlR/T9KjFhrKzTcDSVLvHd17xCNvBXKdRE1taaa3Aq4Ki/BAiScDLqHqy0bRKlEs5xlgjj36gBdXzmKTjWGApcHG13PmsnFv/sgaBpImgwAVYeeQHxEHPPPEDVEFk7M8dKdAPX72n2yF16tqkJmQzcbEKFNi8AkhFsVKVxnVoFh+Swl8ecA+1wgaZZxMR0AwMWbr1MgLAx0qn/iVMq9ePAU3UKunQ5mRWZRJHD6tsDTGBwA70VnhzJY+D1UuVYiNPDesREhHF5F+nLDkS/eW/EKsDNihOMc07lv3bWrphceSM5QwuG4skTM+p16MUEmtfDX4ZOAwQfk1t1nSn6FXOIZfxZfDbZp5Oy4VJKxSsp49C6iLyE+IXm8cP2H9nXkorF7SBpti26LBvCXhrYjrnYY8Yzdm7zTh5egi12xi+EW5OFsJ68qG+NXOE7QM2jYKt9PyjO5h/kDzfSEYHaX2DBzwKYp5xP2dv8sFm5sBpsUWljVwpNfgy0c53gkJMVr3GcldcpxFH929ixj6IeYJS+m3R0UMZjgW7UIXVZoM19Nzop26NFLiI6cuuFauT5V/aMxXIScSGNCaFLhHHBOqdVnZr4wJCC8JIgSkodrkdijsj6QgnATOa0QK6n3WfDpZcqBoEMb+zxMsf6LF3apT/STDld9BLwrvtW+Il+0IUCCRFOCIUvctCG773RXnyqfqzD/UgKcuPoamRF2FaqV+fHGNUlH8B6OCsXxQDHg5tZ1cgVNa4j3c20YuGmbUxbQm/WiNkn3Ezi/89iZToAgEhkPEAJ16Rk2H5th/FbxXcrx0Z2jn7fd7Z/b+gNOZptrx7FmxS/qHpi5uPK4GBvGL+xSz/RzWw5GbFjHctCIRfcXXGZxypwaO+qVeiepdnwh+pRblgN+i400dy3Eaf6X3fbwQPFTHIX3THv+8wXKAMRkqszLr7qjCUzXbn7gZJyh63XkR1hkNaBqxpx27iSXLnbOh5ngodhmmsPKRjh8uGsozs+KYZXCF9vN+6hknmded5Wi8rJJ8G5hxDAOw5+VzzOhBiyNWgdILvWa81qgpUx1nmOLhWoFr7EIn/Fi9eRPqksFwQ4+VHStVWE2BczeHMyeTpGEMdgEhjcac1NdZnLTsI8EbFhciQGHoGWNGN2Px2OlzOZ6MYGHsmoNfjj3Olxu5jQLdgcfvjemXQYfO4AGB/4MgBNBMSnQyQYSGWdds62OYsiqp1vN1kfeL61yTMN+0Ckm6pq/LQXcYv5jEccHROz58wKQGByjI8YkAGvhy+mb5meoIFkpF9ujlO+p+KvvWBVJZurax+5C0Na7XlLStH8zzbch9mjlMIi8/LONSnlcKuyMaesKlJp5taqzS9VN87TsSWuAL8Rwj4L0cDJky5E/xCDy+hbksElSa9zlSWsNlWWaf1A5EII/0WqYiro/dsk84JHylxBaupvu/DB7YAa9uZd0WMjwbtjkssXgGnVK3kl4GO557awljYdZC7NQwiDb67lP5c7nwgi5qLVLIM3aXV5xNU/5cRkOeSWGzhkjbeKQ4ZNZCE7iQsU6ypkGtSHBpF2UcT2xg9tFm4NwPTrWCXG481wRmgW1W9+LLlzLkxqc/yht/MHlGEU/oWSDK54x3GmcKFZcr2Kdu89Bh95OkrCLl9C8osTa/fpClab/JxYInPxTsO5PLjDGEHOfrypalxopyJhHav9o0HZR7aBWULnt/rjbKmwCVKZCxHxD8quQY504uheZi1VPsqOOzDyligUgGQ54t2Ki5uXtFrwkEWljRM0U8HyaoJj13amej18BroLK9sB+FBa+NMCWlS5+8MiHWdapqt8PNPzVm4Yy3lk19LYkTZ2JW0kjezj3J6pc1d5rNOPUQkt8p1b3zzcjsmeKSH4PxFUYuxw8PUVo5Ur8wHrQPwNma1OIFbNgRI9EjPyBXSpK/lONCy11q0TUUz1wLkdFQfxhNaekywKU10uM73pTaTfcFDIihqXiTkGarkgcpzXznKJZHusGn1B4EPw1DuBeX4+z5k5bXRI0UYFUKQmAL6DCQ/VTcjFzXdk7bZlxPOcriYEgnaoTwWkL2iJv3aT57n6/OhoKN3Wdn/PxwuzsJGs1hqJF7arD4IFrZZj6hhFpv7nEc6ih4IWFNFPYuf05D64EXqeNSTc+6+wAqjR8e4PMSzMCnc1frV3BboEhsknKDOyPNnMYTtbUdGGEx/O9q92CxUO7dS64tLTRJpdlHaFG7aUqeGw2CwN6NJBjsCQU9ZbNKPGPZG7X8QBleOJCqwYzweP32375nx4qqqM3PPx8YaFCizReXA/Jrr1ybod+Q5ridmsh0zz85JNVqJ5N1ZLrA62HFaW1MQCB/UxAaLpCqvvTdxtdlKd7Cvjl4DI8WloxZ7s9K8IyRdidyJQZtncJRHOqVT6NrP/8BYHSG2zIz+OqvDqyfrs31DYIfCC7YwObu+rNIaXz23qK8rLNRsrBJ0yKSwQdi8qqyaGcCSXQyHSq3jwp248P5C8TgLm4847OxqzMIEFcbdemT8XWkIEvU5ik3iOmdrbVJIVUJGeK7dnDZQ00sBYzKee4Tmdgtp7Lm5mC24OSFguiCnvQ60QRTe526CW2YezjL0DH1e6jpVjTw+LYUWSt11rrSvrD8NhmMMJgC7f8gcT3kVwVEZjAoTfmRszIi8C1RzHfx1vsohkJCnXPew46SyDHSMQ3Yg8fr5x7X5un9hkH+1vv0tVHw8TW8udCMCp1LPIeVDArGQLnDCEJsnY+LYqzUhMAQxpsseXEkXRp3HpMuVyqF9hy+sKeQuDV8+z9Oe2gaEUvzEVnxOyV1C7op43SVTI7Odt4GhhhQws0448dBuK73iDjUmqOrFI3Dt+ltoYUpaDUFqGHQN6AVKWQ08F5OI9dzCJqHFWhGgOv2UUSpxZdHz2Wb2IGlra3RNrptHVbrC+pkXvGOn6cQDVqYSi6q4CjlPiNNgw5fPITwI9usp2UZbmHoUgHwVQ96bFDDFPt15Euna2MjUWX+WeP2f6UJN9/2Q7b/HFzx03jCpshwd2EJwrjrOrPszEd2KDd2qQVEtz9aAbCBZaRPrUHur+zPI4lBnlDLnAfjXHANSPVZRmGPj4AadfBcAN+ahyeJI0388kJ24Le5P3pMBiLoDghU95wiAhruOLdK0GByoMG7IVkWpfx6YUSxfpAvxzBRjLQqhky2NtxiCMDbkIjqxayGt1Rn3wtM7XXbmg36csLrcNxI49wwOnP0s7/x++jnCjSuR4DpaJUfZusJ/o49LN3aAc/2+umO+GTIWFuhjkeL44NGnvGcj2GzBJcfzVI6FDPGk5tAhyat4ITTHN/aGNlLriyOaqu0bSdLA1AhJ5XAImnW5WkY9aQLZSeiROfl+SK/vInMYOzGR2crP2ilohfLMi5/AtSiVrfTdYOwVe3w8P/TMTN6Kjc3XVg8ZVMV+5Mb8NzPFl4ZloL0cV6mjbNzqqxL46JD3AMGS6GhcP9Bw9lM/XJUy1aapbyxKJ1817T1lFgt9gwW8OSKmz1FKshek3AXxce/uILMRcTnKEMgXacJF2op0YcKuBtWmOZLgn/DewoRAxj3bkxgX6rqKblXCwvXFZpm44PMPFvXjgeRONeJ3z/iTbsinmS8006z5DGh3lWpekuUbt2xpF3Am/vxPolJiy3usa/hGmuL/UHoT5uUNfA9837eOKP54dAxPtepqfOWPRjWSiTj07xgow6YbNVvQItGmswDAR5aipxw0dmLHdD0KvKIBw3fN3VwQEH5gxSEIAn0iBoHWuL4Fbsg/d7Mny4XTr+49hNgsEQMQOf55802Y2FuDYtOHniP6iC9kSJuS5tLgabczztrCqY/7f3rJq1x8KIgR8Kbow9HHFdUhcW99RVrUSgFDG0IDhKbZS50tWtS5OPOPWha7M9+pvEIqjz19jpoDgqxRejveDBgPQ+Gbgm9qR7wtb9iDI2ulKqDWDXVZQZtT71d7xH0+ONsofkiXw2XWUvUBnTMBcjvLuAmy5TbT7Ip6AwHEYixSrGw2RptxgFrJfR4Vm0u4rStOdyilH0P/q3/Hw9ZEflxlhekYUPVCFujW5H/Od9GPWOhxG9uNRS+OPl95OnrzBdYTRRcmRs5qJMtZH+3N/onNFJBf/kCXC6aw7jw26t603ueRwlrBVs1RicBaNxlWrXA7ojsQhILVxz4YQCY9VX/n1bBfe4f6nk7pq1jsJHKY9zrRfND7qAeKnEXKaW71SxkKuAuZvvZIo08zcTLZWpqjv+SltFWZVxRHdZlqgPK98UmO758J2vg0x4aKitzOgQgMtgc7rWlcAhALYvzpZp0hgVRcEIgKCvcATm6sqa+fjzuE1F+AdWJqn/eTzJVNlt13OIp3Jnxied/FOv3BJ2ZR4NqBXJIow9gWj4VY5+gIhJg/LuYmx+tbXcUU7eyAUTmo7Uy3zDAB0DqyFq4AMWuYP8jjNrptf5lB9hz5NqrigvzwyT9+TdvL+lNqWtcQhd6W6hg0vxdqRfnkWMKdwVEpPScQvAb+OW2hee8IAtGr4W2G3yqezhvttkmmDFrn6FhVk4E0RY/0B/onTCNzo+yV1vUzTDObDiDZ7AZqAgXyvIvR86hdESOhw87Mw+0wrcJhV0GsJRZ3xZttmMqvwOHFsHiqCxrLNNt9jj/DcTAFWFKprrG033MNI4IoU4m+4cIdW/qBqFnXxg1Rz7yUmPXsbXtOtvRZkYIlT/ife0OODmxsD5adj/J1OZqymKLC1TSNuj5GSxjMXbwa+n153CXoBPv7Azp46G/5iiPX1bRTomQW2/e4CICBAysSiaSNQ+VsmqDoQ20enweVd/f8P3cYuDT82YXY9zI8xaGRHpC6MdXGeNK592OEA10wyGMk6u20a/DLs937tO2QUfpOtjIzmF0DWA4bi4/Q2eCoIY4cSNOtWtseGig2vYClCZxAWCwVZRYc4h3Q8emSppDk7Q2jq15BSfb7GP9hRovRSmftI9q9x7AFIOUJpMm4CedrNIM9X0NesFXxz/Psn1PO4Ix6X40hYCeJA3hfateo43DbCo9Fwgnulpt79ENdIznmOnBjBgFo02QdQ4/NgA6RqbPWWrZb58tm49QCfA+2CW0eo3Nx4w6BrP0Tw9AVnukudySmkUK6wkd5peST67xlnl1Sm8FAE5lo29ra8aH0pw8XtFGTDm62bjudgm2ohNS75SgoXqark3lUtENvZf+iEX/PYDVqZvTMgS2LcaqcbLvsqwfiYN3vfZykOZrCoas5LwNiRVR8i0/xYDR7qQfU3/z51RsrXEXLLj1zgQjzksoUZIFtk5KfcoHSiPU+g4/pMSAagpLGLSpEGNHPnTtLm2ftzBYi+0vwfKM0Kbk8jGIwri7sIq6jBnO3eFkTP4ChI7C5GbGLSjrnUJ6+ToMQRs8x58aD1zsg4WV9eMRQK0CXhbDydGxZ0lTnTg6tASvgz0tAI9ZiU6b8iYX99DtZ6+KECpm2T9oH/LvrmnyH3bA4srQ0guyXwbSzgpjF+m9dh5bsM8Kd1BUmStjdnSAi/NVoqb//2YaCNYK4okDk217TNbXuD16j3zgo8kgeD2D96y0EboTeZF8LhxIiruYM2IYfWQ771N/XXTrrtbOyRfeX9a2If+DuG3EukIpYXDDrt7jWgS6NNElUDi03tpZSwlPWRUBpdk5GGmieCzXY4kS7oVu8e/9Vdk64/9qMGnAxjJD8WgMVVMe0OJxO1vtbp8wbSnS+dmlx0Xomz4nrnsIrCyc02Vj99n0PGM0m4zRWXgUbe6+d7TFoz0Z5RCfjDtDDnwWRMa3aaa8TV0Wdj/K3HYgiuA/pQr7zIU0UGEGHTtvuMprTdfhHjGJwZpsV15CzumuJDrE8c4nMN+QkOxpwdeOzStMQgD4ZXfI55u2PYMIyl5HrIBUJ0qTKKHaUTOCyY0Dp8X2+Z8vJ/7dUvtqpQaRfFv+nenWnpnLziLUKb6ly4eaJKZR2UZbUTD/Wh0hABfCvxA35/d8TYmWhmghr3ET8WTn38NAH/ie1SMJ6id5bi56IWYNxglUD16AaeutLbhw4wVSzDlVqRhArWyjuUKwZYsKJQNAUuvmLh8kXXInpid+8S6VEmDcDaXfRskh2PkWHb+0Nx42FpBhUsgiNIM+MCxtB4cz0lfZ5OubWGvUPx6r9GiQaRbpCDHmoB14VGOWYF5m7DwY9mEbPIpO2sVymMtiOvvzJp6aXv+yjHOkQquttlpMSerShDPzaHan9wmlDVE8bgnfEMChnnGaSnZx38x3Ej1yac14ctJzNau+yISZL+NUNmLDMbVE7QNRct6vlankOdGeVFGEILmMI6WpZIo0wbkkSLIzomPSc2XLeTj1KxrsqmPnTdaLCUzVh5dG96hXMqCxicBX+LmjPQ18f+Qu8/t9Tu0A1QgQ/oW7IgVr/P+7rQJgYy0Nc55r9HqRri2+g0WwwI+uW9rQUC8vEvOCTIvdf7AypfCmoK4HJ6mF+7Z1RPIYooWVwbyJxa8NzkaoEkeqZblvNGJhfngV6rSjzZF3hBf93XqxNcijVQJ0Hb/5fjEQqzdrtbVLSh0yxkeUxBKxclYEHbF/iIBNnRibdgiSdbIAWU5Dy8Zd2IgQ6rzxzEtCWJzTgpe5iz4EQI9H2/uSBVY8TUxH7ZrYwtIypVp1fLciArKOIGMAfqJ8hBh4xLXiO9FE4NMgNki9j+ys5UB08intqr+7wNqMYj+VD4r+Dn+O1PogrigQO992NO0clD3Yw4p7yCw5T9YH75AFBfmXB9P79tZM65OnehG/qALNbSQ9MdPzAYzhC2C8smghLNQ425xeEWKq3owEbZ/9PVQw5L92zFGqr7XU3KW/h4Oj13pPOm2K1kq4xN5x/CTFNMiIgv9OiQ7TQfW2dCIDwma4yYGZTh0ogWQgIBeSzvGmUWLJxbN5gf9fojylLjdELUmLaeZUwrCNMq67aLIfos1x7TBJDZX0l/rpsWjpXr390MjINQ3cASFqfjTD+SjS2U6N49+9IAS9AuzXSx1NWvyR6Mha9U4zxR2FeP3F3spl3O2ONsIREWEhcpMLVTVwR6aoxZlNUOWfuHtgmMiQ4EbKJ0lRo8kyAzQsEQ09TVJM0190dnzmfi6Zr/0KczwPOPNnF2Z6IyMD2+/enN5WUx67/3WjIK1g4cWR58uGz0umAQyCXNEIigQG/f0jBCArUPE2S2vdBtzxE1jeqFpBPybiqrK0aSN3gkfh1f+0If5Ju0Yd8r81JX1nQJUuEGms0PjznzmNIECoQ3/vl/9OCdsNvA0DIoiEcgy/chHaBDippd6gAUDdU94hgJ0+4v+vffC6H0qwGBOCr0OEbIFAOB0lttv3eNT5QdbYZieic3ZUc7Se3SngQ2Zjl9yOG/IBxi4JWvVfcfQjTvSeaPySgLANah7mWy8DQIZqj14L3aZWaSL/xY1nY+VZV4QUHXBsssBozjvoo6HKYFzKE23lWVySIfy72RrMmmP66a1AGBpNm47Joab0CYH7Z9IPkTiWQRLFC7oL4hV9U/dNF3vaH9z6iIOvFZdMtpSWBexycHo0FiMdOpg8Je2kNaUVu+AfO1yzR4cyifUlHMOqBDjUI8JoN1dyKdGp6Rl0jLD8LHp3MVquWoILiz7wt/ZfZE/NhzdMFVzTrivWx0i3LV3WTGy8z4B8Z9aj3yz39SXraigyNxIKAn46nHnaUG0DJmSGnstLadcpAHk0rMBE8Wpa3lnQSxSp62aIojjOVXXX95226GmW4tudoL+aB3gBgIE9hRLco8cyi/onQhn7DJ2rBASTywItZPvPV1tdRJCZzA3RHO4n6nq7mVb7Gcdn+n5xE1Yr2dd8GDPA5Ek51LVy2lhk2fq+gS/ZcM88fG9XXkKE2M2TYuCLtgzyEtGOf71bZADq1K7850ev/VFe7tGKLECcyKuRcnJa2D6BwzAozvakx7bFC52PAtEb5LIKyu6KAGDvxXeoqCOtbzz9G4qvABUqNlyqmISQjZxcNRknx6ooUUW6umEDYenhiGYUCJ5zk4Plb4pKsUrgRaYOvbTAp1sm2n1E8PuNlhwMfOEby0IxLFESzSg9p9MMT2dqmOpke1aJmPN+bp02lkHQFMuyXWsuTLyUNRwM3pqYbtvOs84mZ+3AT0zEmgttqOpbEMn4tOHZR/iOFqFwR/wTcmzqBBpSgIUzbWjCSBitSoMPq75L4JaSMj7+KleDGgXBkV/GEiBLVTH+qZCDvFs7VvTCWu9JKsfm3SoiwOwZS4W/2rg0Jokpbzx8HHtV12Cb6l9ER3Ox4WkM+bdWhl9tggdV38+fRTqFyV2oWVbXBzRYBRDdukEoOpMosbZt6F7cyXebI/ztrpCSQk1cr/vAKa6cyFUsh9GWhVMz/sj0ICHLq5lfAkYGqH1tYgORl0oKLlvHDYxC7K82AZV5i8f23EG7oPvw7IAVgqOaBbRCy3dSCcfbj+0cgu6sjpjNzMSBBoMtyl6EuW/hOZitaKDyh39Ir031SDmali9bJlLGYDSq/cC9b5q0M+eDhLvrODvnP1A/KVE+tUE04AUS4SEFyAhfTOA0tJCAttlFhQUzhZZakCzzDDP616dYOMZS94Clib5pA6VKpJRooG0LBLVZzmskOPMmUZUp89V7tR+HroWHBNRWJYOJOsohOPTCPGpWIoXneLTqN2JMOpkb/ocbzyIADomTucSwL6USvrnLD20N9ZtiKVHpK7+gGspXQA+QMNO0yscXfYv9sors8HonGcKk5qTxapxep8txjy3Snp3BcTUdKyMZrdkb9sGQ6Z3jIvxCB2tvIikij8e9FxQShVHoRKaGrVAOT2kVfi/6pzZVhxuJcXtyD7qGQK5IbO6LHTDW/Bp74G38/uMbFo+kWWaTwJ3RmTmJJIkSpD216BYLbIeWLIxsYSDk5WZ+Gz3f+MRdQI1qbAc32S8jPU0dpnYnx9jQsX72lHRRTzru3ETZstiQtyEw2qfjr0Js08EE/WXwPqULCeBzNuYfeQ7MIZRXCf9lMAS7GZC7yYqbQbm0neycbQf5UeEH0ZKO5MB6sWQZzki69uBO9vy0+FoQUXrjOq1NcI2smui7MAZR5PByAeHuYJjshGc7638NS4sOkoPjsteFlSJAS992QJguy2sxbYvOw7ySTNhBxbCDOWwZXtRNBgt/1WeEnDgxcM/JQw1OKmOJUjbC14rrW/0zK3CpYnejCG6hP41M6BbAWTxrzkMIa3++d7PuGXQ1nYvIMCPTOQWrtuWJkR52mYZOWQdQAq9hAmRrPgH25GMbIOOED2wqjsTCWV3/6j5CMh5UWPGNk0yX0jpDuZHXQ89HocVFqOfIt8PqWtrE6cpA2i1z2RWKsFx6/SbgMvIJowYW8zfNvg1Yk53ddOH8xEY8PZwl8unwvbFYE9VxQeVlBfmp+vCXbF+Fnka7Mnumpe75rk6ZxPu+/1s7zqqT+Ej7eqE4MvCUg/7VRt4z6P6JuUCR4rhuyVirgOzan+kJPZUXmaBtsQLgGS/NdX51nWZNBqR4QyBuOSscRSYwTqAmH65VyVwYJ/DagvHblPODmCc/7wdNFxGbDtnSwqzPQPkUyOmMFKV/ooR8gz4YzU9nnGPmF+pFa9V6z2GEXhQcq/QjC4nJ3itx/b4N9vQuM5/OTi/+Q8BzdEtEIu1jDAaX0qnaMKc8rAuUpppRfnT3lxIpZqvoLbWmGxzowqiY4XwFiGx8WclVzHCWpU/lVdRXiOmPDb5WIn/iCl1gCVUB2ljC2aGC/6qG6zmVtplSVF3nIfDRZcMOVZmZglzsEPYPrGclQ9kduVO1ZfnEYX6lzlYP7rYXW1JUiQYQfNDZNA/g6LXKdz9nWhvC2Ysicdv5F2HYrFbVK0rZVKdw9PTCrwSsEKooqgKQZzrQS8yrj+fbuonjt5SKMlcKpaVqG6FAJPh2DXONdXT4/KKXwYTLmgBbS/qsk6APnmN4DtvEhNRZe4l0q414/Z0lIpTZbwut5SoiWmmDblBOXLHvan9st/LumLr7UPouY9NyVeWnk2bMxtdzP5RzkCvRvZGRpDqcHJPxTvwyyYbZwVm6e40/z4Z+1vJaUOfmf0R8loBjQmOHSAZ4xa56Ol/h6PBK5oFKU4w+v45fnyn19eRn+xAZ9zNkFwya0YLefmWLax6O0DUcoZWueBDd+6JfdCmoiYONHASqG0Z/SV/WJaHf9F/MPObgwYiQygplp5s/mm52DLc1iBuIRTBXQ0+rbXAjneMvGXPpi1xVVZBsmznD6TX96Mc1eISAo7rVUUA9O1/3hazYnkb2whl5QCI1mrHaWQ+O51CUyP8lUWxDQjWVONdteWErs1mjKo3iad3XdBJ5DYhkuEq2FzLpq52hUmreOf0FYFXzlO1S9CW/QPsi9F68fGzNT5OX6HeVuGrTiqJwQuGWBl06LGKoQXDw3xeSv/aOKZSmoDq3CjS7yRsjYWm6VxcNyMU0NChFqxvEnm2ZhZDiUSCW7K1AU6pief8XGUv+rvJYO5nyn3SHyh4doN1lXc/MRlZWhHWoxBxwqhUS06lOaEoLEkhSni8c6UADCocWaMTmQ3x5onluQU5kLYfwF7j737rPclN3t69xz7UxNnEr4rGismhm6F0Y8e2+nYw3VwpshL4usRK1mBC5YEUm/EOScRduZxwMSXLMScaCZ6DzG7ZkV6BryFBw31x/FXT/61XZeUmFli75G4wiKPZCnWM5KT/ctrIRJJstTje+YGjI2XJuySmW52mGqddgUHHOaAQqAbUJAzSE+HhDMJkbD0trhtsuf83EM3ltECsy4CfyqTM/3JC/oOCHqWlHjFyKvZQNBtb51CKzEPl2m5J6TwzmKX8eptFXPsDCBK06v9Dd89+x8WjhSd3udX5650djEYm5EzuY+gYGb5Amz3uv0xQAab4b18XgQYeYrGgEstk7/2/dwY5eFDECdNUt8IpIz4tYYBG5jOE+Lruz6MQQxNwl6aAi/S2xPGakERS4j3D8rwwF14MRizSMS8Rdzia88uXW35qe6qywzSIGFWvyI/2UWoldq57gEHbKJksL/yZe4pv5mI/ghbRXrWry4k1FovcpBCJb6kaqorV7uX4PqRBUN0OFhBpjBsm0dbu6cQH3a2O2M4fRopqh77AAuaOAnibGDYrRMa3zAoErqSZNzVk0GtAc/WI8Q+qiGxfnz12QsYX/dVW4ANkNGK9Q1zL9kW0O5ssb28U+bzdpEaqrH39p22M5gPnIHaCORNtSA5vR3UfmAwUltDFRJ+7OCFhSH0MqHSFr95FivmAm0nsOQaHrfkmEVBytLtm6uD1pBK4KbtrtTo9LS6D1vhOME3M2OCb26R0BrSgJAmVJQLgIcQSamuAHo6p+hlGAZSvK3CPR9JIA+M/Kk9AMZcvRmTOqMWbkoM60FnpX1YbTP37WqAs6Zv2yE0wAfs+MIxadjxftBLGyetcTISOUncXtODbDZefChSUdDGavATP/3frFPX1LUz7KZV3c25iON/Ztu9EaSNpl3pc+P+MH8h96/Pkl+C1gNntWeUIbq76xRTOG/7KKmX+pV407xawoWXqEWAX5PIWkvdf2Uv6MObL6HBD+5Iae4+7kVhJLEZWRYyhlYLU5mq3gszv5Oam+uUQ4zUSX+pM5SWiCKqs7xUJbt3EeB3ISo5soAIEulXo0oLgNZ1f5jRoOCP22VWkhhFe412BmUOszwZt84T8KpFMqEjOBgOFM/TCxviw1WF8j8HlHq8dAmWoWg3JAluNR9Kntv0Vabc3OMxa3y7EU7EUkdhIXbkxkg53X4jXuL60hhuvgSY99DQad2IbUyc8+KPMJOCHwelTNc7xLZJOzV5ShzFDmuj4V/Dlh5upKOQ5oQuZZcu6/JKNXpwvWCGL8zFhQXq6z6cnayuHeAr8Qk4L0FaIFywKy5nkeBb2mT6dqvV0u6vBGcqILCa0j9fxbgjP5GNa+6MGGL8DFqyULbbfZ8bd5ZINInXO+K5E/a6ac+5oVAv5RIw1RmwnXMpNHP66NniVZ1QtDnWRuNJndCBQrKiWlxQ7zm/OdxjpG+RiBXRIYePwXAouMTaFeIpWLgSbQ952JlAuQ+VhkJ14K2oOKJKau5Vd9ciIhx4ySaU6Lcq+gnG0z4IbAzvRZ8JYZ9+SIqS3eZyE8m/u99KG+roj/yACYdaoWYGxrSyJt6ZVs4TIzYiM+0Lqf24cBIp7YCPb0wVaiD0whktPrHfT1abxDjgmUQKXJ+0bpvxefL7YrPPRfVmrkGgZ1i8+uK/2YlaK5czplAfe64qyj9zfBMbRnmv67uBbIOWX/RfQmA1ducMsbBiabIK5yhQkfYvKr2bgY+cfNFvNIUfL8t296/lp5WOjkXAE4m0FX1C319QWGiY8yPgdA0Gprxa4R89sMq1qAAeSIdqH+cg3NcjMhWg38/9Js2o5YtvFuWSDSQkQ5d5+TXOeJ7qzuVLnsf9xIsgQ5sOHazQciVqiPnZ4uDNgNqDTTH+eBXwURNdMjBhXqdFhx3X3sfdiz/D0rfRr+QwCY85jALQxYeJ6D/j+eznuAEYFWBiCEC1fWleBJ3W9bNRAIls7atoNmm0k/pSU1/d/mgSQTVGrlhPPL0XV9Uk1hWjPeK3hxqhSZRt7gaUhB9zim0kRNPcAmznmXa7ginx0SAHUyY7gjb097IIHCs1tw7T5tgjAGN3OSOuuzDwTjzAHyTfqO9cr0Qmu8fieNasQYdDOvYa+TkRDVW6N6sOoWbjA7129ieR0j46Aq2HZQMviCVVfaQvp5GucATeY+5Sfd/+dCTzS/KSlqJZOFhi7pQcgO41SL3s0wOTI3MoqTF0bFLctklG/kTJgxQqB8GtLuR9rMeWgpuKax6XxUe/R/3+qy4ypjcQXA8JaRj8tQCsM1IZ4gX25461gwZA6dMEWtjvQqdUPFQYdyTOQ1jwzCckNWtGjtsJrh7V5WcyPq7xc556ofFBAbzUD4xhgW+abpO7PhdGW5ptUcPhU9xBLhnrmS/zSWDUVMwbmYzVnH1c2HmYjER8B2KYNUCdYZLTDqeY6zbCO48ihSS5zr9MSXSGX4hWhpMEPYvOs6Z4sEi5En7+4h4UiFH6NufwL2RlXOLG0Z1saJ79ISanIM3LmXKlYro7kd4FL+zwhoLPaO/3aTnVnVGVIfEO5ac+joX1hl5hutMdzZGboVlEBiZ7E6b/NEjKZup2zwKGcFxmsY85QALO8ga3qWpxd5udvA7xsCbaoRxREwdNmkdYn2o77l3/0f89UcQQAiaIklzxx82MAONaRICH0LiSPtGzDBqUNYCawDxSh0rEWCPfVr4iXTCiYq33TkX/+kW6+mr+nEh5bR/RzoLI700nFGUjpwgTxpwYxQtNCQzLykltGtA9bjg4hu9BCZkCv+/tA3LPkrVMHcR2r3JI3a6c+kgLxVfFvdf03cvQW2zOjEmpYPmRFWTO605sJ+ZM6PQY3pRmV3ZjgRl7PBTWmMCv8B+nepApdfvsVhibBBzH+h8Rv5gaqalixvfYLcTkEhqLwHmg7kPWR9RLIQr5Zlt5JzJMYeawVw5su8gIhnJev46yR0aVoc3+e4A3UfQlN/a84D0iYdjMf0RXKHwSXG44BSr0pn7EOcPAwwwki+XyhkhI7te2Dp8AhaOEfDmmA4NDZskOptXJT9cb/Be6ZrWN86irnrGf7LfZFTBQCN7zBRtX85n7vUAHY4fee9T2NGyPsTix2YlHYHvWyhbFDLGN0AulGIN81JlxToV/HtzyVjy2XPZCrhw6xdICvjNObBJihp9hBqh2v86+v9cdymVWrg1E1oRuKPD4U/PjcRJ2H6EvrkJ3F9AG0owOpt+2QYz86W+/2jt4DkDQuHcqsDp5Z8wwXcFIdermskmHATSJgn5S+XbpNLll4TxF2o/RsA5LK7FeYR9mBWJevjAEg0X8sPVbNyakW/kv4Gw3OTT/wmQh0MzGOTZaQRFNsOWZqAjnkBzU35+DcpeL8VHuLugYnalfdyRzztPGg0wfJ/55tNCmbJQD2xd60xPt5lBaWCE101RqNyLIC9Y8jOOroWBq//u9Cj+C395tMtvB1eVNBlMlXBRzsDHQ/ysG0QfjYxD8VWbqrbqyzKQiOHUMcJBQcsijzYwu4BS2cp98NA/EP/nDETSxM06ZPZvZ5Sn+4m7osICfvVY4S+lHHFACEi8N18Xjzly6l80C5oOVX1m7o5opZxRnp4xlmaBb5HQ0wVgXknOpewHLDr8U8nzkO1upJkN2r9WwgxDIZyC5Exgz99zrREyz3Y1H6MBtOaLA7nDay3InPdfOdnZmVEu/uQsZ/cxMiu/tswuRTOHdBAOc7uuhVGJc3AEYH6ZrvYgOPYzyOhlIehrBTiuDSKMuz95HdGpO5ZOJ5HiKZ79C09vIamWWBvSaOuelfMKYJNlk7s/Lmkx6QecAZBUBv/8PRh1MMUB3JwzvVS/+y1lULEP2C5RHmXCDEc8tXqnrSFjJIzak0pZm8l9qtX2kx0lQ+0cz90P9FG8mQNZ3ThR5nyYKbkhxKr5qbaJkZNh4ydEPcvqXW9a6IkySyvFAbGIkc2sNAvamcVCtjRmqOFdKCO1Bn/Fj9WdKsPnrwEC+XGa5S9z03nFJK/chKvhvNO6XqvIqKazY5fe/YpxI2Bt9Flk42HY7RU9G12uwInrdX4eIwUp32i6kxeB/tUhyIBYtaIavO/k6aMx2VdIZ6Em8ZyYFSknU5fWJ7C2mLUkB1mer2yuFvUiWnbTmvnZEyzsbXvd0mzVH0syzJXFp1D0gbzi8Ne7W7Atd+ELALfPuyGMpjYseIomVUUuBt+/BGkMgU8oMc3Ekf3tB4awPF4mUQWQq0wdLkkAUgbQQOe09wBV9ffhgnzgqJY/fGMsyCuXuccwOVj6H0a2jG01kYLGaPsp7jI4jHbSrXjL76V8qvZnkRMPfr64I9/avWC8Pjg9JihYCyG+Q8cHSBQ74cDYCQiu9mSDKLRWAoGDH1Y++jDTnF99u/lNDRE7LpDbLQH1VN4Vth5X0nzheCpTkb/42cIadXs8CtRzhD+LlvqhaQRTDl833p+lIDVBRsDbkCT5tkw0fjiw8e8ZA+18ZgANsVHovIeK2/WDz6GpOH4wFi7aNYa/lMfe7vin3yYl+OSZkv0IPjzjBQT8OffE5Eor6K+iQaa4WUMpAfs2eCMW0gFMIy4iuxqf9hRhHsM++TrEkkI+bGzP9opZAKPmqCSDHXX5O4e+CeK5VGs66rdwRva+DRZpgRUHcoEn021aPO5iIrzHYUgoNIcBtB4P27EOD0PkX2lAj9UB2Gd1jtgZe2qyGQe9VNHCCIsaGV22vRItU5M/cgYTn/nR5yHHdClk6UOOwSX3CuQzogaRQPGOhZR0IbvJKps51ewDM5POK7TWJIieL4YEfiiWo2mtCuypnnm/1UD+Nj0lX8G1HDPcTmQkBVaURwoHE35w2ygVdVBE/sE9Vy2SN76Y+hw1Jc2Tq5IjgfX+9gdoorXb8NJ/UpSuWQQWz1w/hWExfMC0sGIlNs92yeMn0HTYKfu78OTaQQqmEUR7LB3DUIX4aL3kGFugNTRbl6wAlQZDm2MLsl4VRO3o8+Lcx5aaK5oadxNxZgBNhZ0pUrGR/iK/PDbZwRA2tt0OJtx61D/POpZCSSSQRrZeK4VT/lsSsaKk2z4RkU8m6Aaga8abvTwNXDqpfiWsmouM5NU2SZyhNAsK+pZ07asGcFd1zWvkX/tHvz4rT3glUMkzwtZ6jJAIcCAE6DrDpoUJ0NsCz8fgmD+2SC5wX9NmnBl5zz+PaGUA9f2vnNo0JPDK/2cWeH5odgJAqCGWgO+jM5seDEpDQRlyhKKN6Qd2IEPWQ9MOOFqRy3UHW7pFxBnjR/mA3Q0sf8poKgM0FCcA0O01xdFbghb3ak5MC5Nj3pwwL1kaR+WToGgogvdc1PA+WNsxTVx/ePoPIlMz4rWGY6xORu05MtCnT8fLEe6d+s1P9xMkEaPI6GQH3eFXxlpS89sBTK8JYQ7Oz1yHqVi7aNXqg06uyDlt/nwUrrDEg3qwp6Bsyppl2rurTfnnlhazhBG5LOHuIQPwQ39bjTclxkPEv3mAP+iPKb6vnBN1R4/oqxcFBhwdXWliRl/QHnnzhupWXCALYpfNcyOPVxLiuf5L/V5lhnsfMbZbCLY7Ze953buNLod0uPpX49IK2SJFaohzkZzVZYMXkR2PAIqpiCJ6pi7YWIjUiapDF9eUig3R+oUmSxD1GZ7dmwrBi+kYkpWu3K8RKl8D0gN7BTSKOQ5rxoNue0nisqX1tbaxfWIeQdME2o4LCqI3hZfUCPpqv59+UXG/KQ4c2/u5dYHIN4i3ehMXs9V6IUU86W4pBB3qzCBQ1cV++WpwESHZKU7yNi2x8vj/2OyOtJuh6/SLKixHeCQpUDF8KFJuvwzChwpI7KwFnSBF4mzsjFzAUGEEs0rDapE/pEo/VjMA17qZF1BbZogMYnMLdnPtPLHQ7XtlRyURjXhOhVQPiqcEfLIUMLufjwStQNThwoCuxj6xR4BQYxybC2S+1FCYBocRi+dL8qCaiFCDb5d3YgUmJnaVFaHAMLGjNGi2PSTsf5wEcbe/jGgoyljyLs/9VzazsCxJ1Q5rRUpRtaEpa0zrsMLbeJpRBWD9dvddQG6obx3D92MkIHnXhcajnw1RZQY6MBuD/KEG2QRs3TmPprnioQX5EuELc8AhUVDvQPmb8SACt13+KNqmJGjyBv040u2IZUkk/NtWR5B9gk1MwNPeCq3ZnFL2UrFmu5U55SzS80rXTa9kHYWV9UD3zveclckP99qJVngcN9Nlvf1+iLChu4oPLKxeF8dbxAqknaqT6wuXEc4wfZPeRJfM4UQ1IBs97GNa/Btz0Z5Bj8e2C4dAqHwgKJwHkdUGJQxAKbC5Q9ZlwJkqVDwuKzAgSCjNhkEc9KDXdbNqFMXQsbJwRPmWI3+mztgOu4c9RtkidrwnIv+J05vr1E9G+4BOzbx8Ed2TyrV/nlZpAeFX4+tYhgw/7FvSCLYoX42oQ4mndUacWhCi6XZwmIw32fsQDk1g0GSbdsm8WA+F0D6IUIugsR6uibC3N4y81j/c4xnHcKdQ8n0h7hb48N+era+2xo0YMZfN7hCZmeCBxz32Nai0Cx7VhArKviF8pOrnnAWiU+9oWhxzB0ws7cEGytE0OYDe2u8QR5tMxvIetfnqnRRlGD7DkO2t+gWemLazhxi6IWVeJsfSfbLTQV4z6iFRG9fzN32Mcq1goWvsA6HMCPKVvQf92YU/J5S/lBGzxzgysbl2v4itnK7OXYd4S2qcNB45OJTZnzdQD7XtHIXjA9BH/C89MWp/+GTlcJnO+ZHtgw65u610scHs5k8iPZXcX/8WLU9XJiymgOLR5wmgA1UC2xlR0+EUdQZuEQHbCSkECqXyDp4lzuUg3JWDEKXCcbFITf4hlLNL+9g+/iBSAG8Ys97/trsIK+o/inc5WWBIadleK+v7U3eVVSH7uDe3u9F7YvMwhNLrrYCyNB+YxXmlhC0A1Zwf3sHrkPSiT3yLTsGpVvyMrcr2wCUuJIlG/THt7PZb99c4omsse7aIXL864KrI7oS5vhE3tkxCKCsimIrFCZBPmCr11SjVCk+bJXFxY+aTUGtpmD5jezSsWhweiKFxdNa6UoOnHe3RbEZk/aYIEMqUi+b2RmaFbsl1d1CsFLVaRl6vixhJZzxXyHINJBnVD7WBKM1wdRvNUwIwp/A0/P/gAOvpOGB8tAvWBLckFZFFC+/HLk2MlPpamF7q/jL5XOAdvESEy8vWcYjTyzQg0PMYzJBx+0SmcUX6SR3Mbs4tRmKLwS701fD0buLy5Gf0Ai03vwpFuxomOYXJVKQ3aV2C6HuXXoxo/Un3udSvv+FTiCHwvcpPpYy2l9pZJTkbh8sH93cTpvWbkCiwo6sk/M/yDvIYqB3HoNsjhX/PJ/leooCCuqHx1xVg0I8nBPWGAnSRvR+VQ9f9jJYWP5hbC3AZDC+nBahiLOUFJ/vFojV6SLWgt8LnCVRFh7Hhr68bHmDU3FpYhWcFcZWhY++XiKEVoeCniYLSB/byuMn03iOBiU5GQPkJ05+5Pd2jpcTCqIO5UzmSWVCNtDjfDrGtBUHpTM2xa1Ljf1eJxcywXKoSUWoD+whBwi2N/jm6rfBAJV88bSZXuG7QV8czNU/g2GeyXNPvOgO11Ze+sdN9hRxZfOqYbSRsEi3kRIgQpl4hrf+15FImwXx+fZqTlhQWXYC1/yOQZV/9ryar13EeJQj6TfTcwSaTSrNfe+CxLPuZToiEYFHgl1HWhcNCPwx1LC5VF+3xaW/0BkDy5QiR8TaHkUy/0QXdBMC5XyI/YnvlPGFSg/wzECnaZXzkrKtAbYYfUsaATrgs9iP8FyDPV6hT/V44IVWMwGclatWUQVJ/HfTH7fkrmOaoKaJFZ/2TAAqoHCdjTp+uFNLPCt9jVpml+uAAyo0aK493iUHKmQjaO0/jNS8+gVoUQf2w/JJ9BhN6OFlu1DF0E1VzPOpLZGbFSsK3fgWYMNxdmNwRhABydrKkNBDRhUAvQd7ByYMtGeJJQW2lLeqt79Eiknr+kR+vM/r2XAt+2GaFzDKuN2jbns2lv8fJZgV+PgI6CeTr7OufkxbTe9RPtW9DSx8GdSqyP6Cp7/yLAPb5d3y4/jGE0PXgmYwGm5e2wb98liaKItht40O83PsKz7GPMrRHq0At3gi63Ka1AlwfuT2aQjKhi+6tkYwRf7PthSt7/frIuvxpiI7LD3N7Gzz/VKGrC3Gp/+2bV8wnP5CGEyvSMjEdlEDyECOwwuKQeC305thnov+uXaSH9MArF4wvWr48R9EQmxxCeg8v1cH8QzXzIxoxUHTY5QHinQU9T3WPcIrKik6l0JACiaL1G3RoDhzC+tEGHfdJSrDmkETJvn+IIOZ2U2xwvOXE0JqwE4koy56ieATFZQith5Ju3OiQ4UsV4oNCE6UJNB61tC+vkFt6pwrnQNLv536QLz+mkdPrq3Chrmq8fXgSVhrgZc2HPEvcG2TdBxph2619WwA4uwqTTIX6MwVgwZY3Jm03Dyb1ahSD0IukhKkVjLKCbyvq3eloB3eAheJXDMIyaH3AlyNU4kp+sgnf9JEjzu2ElvDTONRVnl4ebeNbP5y6YWld+SfEw//VvQUFzy7zrZcPu7Sdu9KlwrK9DRau/DdeMbwBpiHaXfmWmEipC+gv1XiNFBBZr0BzKQdWcsySj5G6ExiMJu/PQ7k091h/DkZ7ogpL5XggCwHYnBecbu7PDOIsPlsFDhJdSmStivl8NLN++Q7cULZ0CiUvdMQi9gTl3cNKDbslkEkKEmuUPHIngCIl2bqfE5QQCjNji1dhjjMCW3sd3SWfTicBeGLtOP1WnUORhyxqz5BYjQGbBl4Ulq+B4TwZuYn7yiEiH1/nphbpu7bNqpSp3ZX9XlbebTkzrqf/ubCtgAYeMVQVoAx2SFm5R0GoGKzr9o9EEiD+isSBOvde+u5zoSND02qTDeFhxccgOAo/bsJiI8wizVeXjxKFfCjAUmnuPqw/q+rycEZjQhjc3FcW0tFYf05SCaJWT9ah2SdnKFKrodE5PqjOW5iop10OKmICxhUQQiHRngqOWFlKOptGGGFFbofSqRJNB8LLIa29/BNBtDOao/iRIj4j+PMRT1B1uPRFGoFqYb4XJ3WMKdUWarLF41qk23VPPdJGlA/PsP0PM6mMpMIxExhBp74nGTVuDYSpmDuj9osl8uG7FbCXG/jdGqKCUvtrWT9EHD0vfULVF09I5cbQdHwsTjPecwUvVVxM+D2ZImWC2V6bXpfS1Y+mT8uag5/2g5n8SoDq2Oh7C3FKzEJf5jlPVzeMTcwBO3uCs/o0c6iniaC5IbZs6CLQFfqv2y9BYCbYWguFBAOvKjK5cTcAPv2kQDJm73JypeBjqfXC9oRL9Xz9MtCiv5Rser7dIEAtrWQHmNAO8c1mYvqFg6AtAxUrWz81Nqua2IvvFEmMyELwy6JJ70Nnj1pR4Pdaam3TRBbgZDcpc4Hy9k6V3g/h0HKeAFKTcsN52N76Yn5gVNc9dW4uxOkVBOCX+kYJnh10iMQbK2R8x8vkALf69yFK35I8JI7tLcmfMKdxpJNzcGffAlCuSzquoqVsoja7hkU2BLQnEznQLD3x57gd1l8pb97DBU4eOPwGfTkE50P1HSZCywIBOBXUghEzxPNz5WvLZBdSDA+6BwjHcxtgNzEwlnAh1ApFVrrwIDVqsmScLypGbe5ZC7Z7KEFL03Nof1WxsU6HVy3UaEELTd/Ka5lMESTZlZyguWLopSGUa5m5bDfk+sSmj2f2VT0MBwdRXMHtpapBNrlGuBg88/1LyM++MnHL3Yaj4Jv13BaF5qEdTbTYb9IQEbqd8cMgttgEabEZltbsoAK1Ej8sgVjnV6o5UPg86MujklZzgEjMr04j4M84iLVgilIGYALIxeEoTPLaA1xbPjrgUd9OEcaaN7HmWDGktC10QV5CqU4MBm4Y9MqxPjBHcKojgaYT8uLqxaKqTF3/aRahqyJrylqNTqtsmRolpn4girIykyv02VdAM7Xai65hU0Gxzp+7DX555Z8xbI/cHnAgMhgaDuYv6iHBjQKkyK0dxlUo1ENPaS6AuZ+EVuZr4SLbxqJCmrVPgK+FwyuOeANkz3DxcjG79faenDIinNL2l+jp2lAKmMJikXUU1Mao9WDuwr8dntz/jqaUvBLNyPjXQoarKN6fwKGb1jHxnuIGY6Nh4NQ1Aqu6tp1N3WLYsjEpiFF2+dZogI/RV3Jk0qdOv3usljgemnzOpVAjhieM73C8hrtQBboblKrlZDon6j/V8uhxo98rxnWtZzjGdMB/ZuQtdhalocVksRU1hyR1CoAEAyeubfNNIXv1Z3dMq7sI9OMIAX0ij3GrOYoHvBcNhXX6DV7tOJH0NFnkOLfMk5euB6JPVocvKp9/sifLOBfWKLEMzafCqh/sSY3tAdYfGJWbkwJ52PVxsWYSHKZrk55R59TohgpebH7G/f0GceE+4DJyjmduRtJr2Zq3Hh7GUN+UPDaMsg6seZlmEMj5TZAejBEyc4W3oSzKq7LKKiYnW1F0HX9xbPdsibqYCtuEEeeXB4p7VorID94FddLEw/u2RmWX5fy4T2OE4s2U3ohaFrFJ9eAzbCkwPTQimYrsxECFyY2Gt6nrdrDkbzB3EHwSbsyhB90BHSQGsFfHNXG9YuONpjYZnO6iLRwF9zlZWTvHpAMsDAGk3mdb9pPeKAkUDpz6T2Ks6/aN+U/UnBRuMbpipFm8R0Upa7ah54sf9gZQOYQMiCC+MZ2rK9bKnMkcALm37u7AeHdxPSRGWrAdcphz6H/vgBuxsbYtUvpKXVKompgFUT57xyh0lhW+qO9nwJAu0X+g2FoPZtspYUKYjVTiBsQ4BFisGL2Bczf+wiKhfq5O5th2PAKoyWNYGryAOErK9wz8u2hKU6/BtO1NX8Tk5vIw0UR42YHo9X5hk2TuAqWrzEDr2/JgAfXK+4mEUzwq2CqgHmpi39sTqawUrAOhf8SZuBWYIKEtNvudKynlXHLyh5xx6YAERtxNHpdhBfsDqTaYTaitIYkALkAbjG+gFwMtogvg9guA995iXrsZTfBCIYm4RccaNf0Htsyb+hnjiAHipkMnCJ+SEgY3ahySIOaug+ZZroR/kDcawa5vVmiFq8q81pDXatdpmSKKOySWlA4KND8CsDTSBD3pl84bHqE/lblfsYporFszn5mpuNaUwXcnQRUbDGnlypmrQova6jlyRpDiqJUZcMgmFQBOqTbfn3g1ze7eNFEJcKb/5GvHCGhqVxbNfO2QwVNOQNk2bgMMhoQgNUfr/3KS7zhSylwokGl2EwszuUHexCFViDvlWGcHJbfurlOCsV7SNaNJW5MEj7RkO9t+TaBX2U+n7gupOkbDt7LmYGmYia+5MmA94IvV1F/kETPQJkJXOd727+cfs8u78AI/KvxZJQ41gtOA0BHy/vl4SbmeMagbimLZUxJsupwDHTGvVJMlXyTa4LuOWetKTkhXEczWEOFeGeED3qhIzMuJy9qI94V7R/d03wJokqfUIrecPs6vOi4B/osrYsRmeCMAQYKgmO6uJkifvGlWmk009YVaf++mnEVaLJsu0S6pcu7AfmakUxzL+mSPYtUWwIaD1ivDdFCk46x2H9/VXtK03nuNMHv0d63rHYCsZFA0p/oMQgKyqcBs18CY9mj76RJvLJd+nc0FhuyjUaYr+2iv7Ob7prsJCcf/DocUi/gl6pf2nFffvCJW8O46p9rJLQlO7EudRcHxDqwnlgCWuSzVFwbl8X4g1VzknWTK9lKPitTLWpVeiy6OonFPclxuyTy9pfGTqeQzQI/5C9Qt76756qrMQPpTlKZCyNZfJtnTUsAyM6xjIiS3jMH9rG2fHjGARI1G12v3fVLgav9mYcEY+2S7V5+9WHUTbTxi1taql2revqkbxHyWV/Z4x0cdT5yvace8a9ksGKpHYgf7iHzZu4SwfXefLLmPZNBVr5g7wKm9T7/UpdQpp1W1RjetxRGuWRwI22rqS+ypphPUfNbRvM4GmxzwlrC9XaZLFa+GCBF0LaUZtBhfEHlo+e/4ZTcvjutoLXHhsPlmbFouk6BLGbsWBzKh2Gl7ZQMuP6++lGbpGF5eCGnY0ovYgmOdsIb/kYsjUnfREb3AJyeC1A6+0BXTl4tEOPuTd4vwklVWe+I2zCVBt81Gevjj1ICzWplwazegOp0GttDMRwYcEdw9V/hxlcRg16WBPnBuJujFhS//sYokSkEgchlUamA8lmZXI4i6w0asnPe5PRV7wIbdScvnnJz/v9Mj82bn20zySD6jaYDytTCoiSlVHDgNg5PFZGo0/OAmki5u7WHbnCwKlFqINOai0VybmFoE0Kr+GYi4GLCmFBAVjxmJPnub+68biDSmdKVuzcykxPTZdDf0+D4608pxiwM30ZUpaWFgUjgigt6pJgF6ptHJ+LPEUz8f0AbCOm0lST2Be6HhDu9qJxM7Dk5QxZuBmIIybuaxja+OMm/13BeTAsldBD/JPik9z7rWpHQuGxTTBSW8YRqbCWHjl+iCh9+x/Kdn2orFeRobyh8GxLwzKovBOkxqQtsijrpVhlr8RBs3eWZk7Yd43YpRKefCaOaQ5S8Nq6l99HkQ7nN4OtbhcJ4Y0s4SnKz9MM23USDPT8aHWJJXH2bnjqHqOPPIvngWsO5oNkmR1MW7/phaQnhueSlRxCjA5aFTbsdbOlWA7MW5QSicgr2z1EvkE0L2jQBW9jKxFjgIAafwj7AZ5wQvcwPsQMXzlWWTJJooUXoIthuGtczYM1k3kHE3lAR0rWPA1GzsHuDs6RWo5Jpjhr/1fpxkzy/6OsEgEP+Hq8R3WNY3bk/e06LKxOgXkTQHoJsxUgiBPl6BQXQn0x65qOBhCWfhKB0DVLKpso5/2KyPgl8liilJAgxtyaIP9vGADpRRFKgJSDrADLnRhQNsZg0dfBKT+BTYTAa1memQwgv6X/BM31lUg+WEz30dtOaIZwpqfIVRJHH5uUxOVhw4MHK0Mzm1w6IDte61ST1hLDUhMEHqGfBgyUxVy5UAzLpHDAFX5FywKTeQkxZFwbxFbF8s/SPTEIV3wKWflhysslr4hFFDDX0bQVvf4np2644W+GsAa2expfKRUXW04XxmtMFFhmpREXR4Lr6yrrKVUFcNGata5qvpEFZNFjkJc7j/I0v9pX+ZCfZSj+Aw8h4MIcEtq6HOQZQfoukpEY8XF6IDtqShxTl7h2kfNqM0rorIQO4Fsho3wKHxdwXtmuq5drbv7U9S9V2fxZ4H4KAJB6byqQ4EiAas3hvDYCNQD0U3k/BL49Ecptjgv+0et5Jh78Ci7O0w5CULouV497AgCkwPcSJmglNHAQMVfkV2tdVy8ERci+hoBoxiMRHJGvIAGZQPKJBClmxX/fO4GmPym16rHfChohMhTmFWm6lOX1I1oNxJo76KR+a0xacDToUwC4UGxLwG40Z0j8C4OOqD6DSxV6mMG/gnSfsDmFfdW+ZQeQIp8DuLAKPBdS89ADTY8QcpGRNjSwHjAjntvSztvrF14RFXgTNX9lL0MaditnYfwP5k2bnekk6CaKxQwRAj3dxSAMConZoGIgEqBgdOYz6rgQk0gT7G0hTGhqmTdS6bgXAUAY7gxRAj3h2rnzriJEW/lMbQcePiY47TTjR45FlFKrQtgMHvP9H5q17k3/TCz3I8VSunmaexMxviE3H5sHFY47mr94X3JvNhd52ElkYrTKNNVS1NUbX5Oi6eBloBA2we2qmewZjgiOzaS0H65wXaWmvOxg5hGXwxfHvCjOtCR9tZpDPTU9MeIe67bEiXCH3stS4VutyA0S1D2BVcHy/CFUf6wGH4hKMBeFhOB60MHTyPH9U/+aJPQJe6h3baZ921IhoqtTK8ehGYSjw+N6BCJjiRPo3QnmvN07Jh1iQ1338OdGYD+twSZKocGrfsF928H0D3vCKIW2XgVayV3KyxxuuMmHEZFKLS5WmtjUbGOgA2cC1eW5Wgs88lr5I6oH5SdZkPWWtTogn1A5SpZnqNHu7ghkqHfUaLe5puZJ9JpCDoYpQwQRqrX1nHDe4KcTxuKtbdLgwMyci9BS6swG/OPA7gO6lLas+LtwEWtMfNEyjfaoGGKLQHhdwXnX4WMTtErj48FTWILdf6/w2t7c0PqAx8blastcOQSmK/MQpmM62XnDYhjHzq9UC9f2wUySze53yhF6mGrFc6q1lnvV2awBYQfgIGp8IFphGsC2tKdH3qw6arhzr4/lFxWwKQ+RVQXDc8V0HcMgrPZgjgvVx72FtGGuDZ67HocFNf7JCq5wuZzNzMHc6zhct9f1wkWqnCwDW4DwZmz54zSbTHhuSwwscUbplPnRkFnAkQ8Jn+YGrN9qEGIZE9EJMunSUTT4spzOjP702LpZBnbzPynU69fub7gjePT1KT0S5jxYC4ztw6hDctzbIvFfpHIxlxwEu/brN5IXqSkzqdTtA7H6DIOXPk47vnD+rJntta/ygyBPilkCtDrRo6B6Qej0tx0mRN8vY3gO/ZhrSgqHs4z8ku/1a33FRiOmgMUsvqj5lG1jK8J7N8Kt+ICD5CDhK3fH3VKGVV7e+9geyic2ikLFo7X2DgZPysQDoPYLdd35LvJEXIBx1/hrH/PUD8+uwbRmduFiBZ6pR36ZnqXmCBOjNed/HbLEAA0FRoQ0ySOCo+w/h2L/w+7hz5V3ZtBaDze3RxkMYWkkvm5EsR5CCiwCw7PHdDFH47kB9Ke8Xw7JRNhW+rSFU8uJGur5k1XShj65QVtasWI7xJT62qLe22uCWqysEME77ZJk/ds5IAZvRJv1aS2k21Tru9JluhojTTCTsKEphGAnDVqwEXkaxHbbjfmkyaPypl0IEZIumGkwM3JQp97u2T3Nb4HgqIS/YauVzySP1wEKs9J81K2RN6X+VhrmcSV39GYu8lpZpX9rZZixnPNBCg4ynyl7BO6GIHpXBUYrsUePQr2Y9sTFL8wD6p8/NRJ5wPcyYI8t7GZHK4eJwdZM7boo+OQNNU1TyQc43mlcG3q9w6XPQs3x9y4Ah/b0UNHzBOIYzTkZFcA6oSjg3iUk6fqQeBWPWknX+ZYGtTer7ym7dYgaVPbosTQcTLHnLPFdtvw4sdH92MG8Z4aaEGYajQvyuvnlBGtUTW4DCQV+mnKSRm5RrTvotB8WLr+9SpczIrpcHCwKaxup5Xgx/YvN6niGEcwE0Os25nZ8BW7c1u2DXOwWs4mCtB+FP6lqxXI48NSPmIv4noXMn6X+j9fz/2P8BwnrhvtxbuZYF9S/f10YdE+BM5xT2k65At8mIowZLAuN/Efw88GoINT5BEv80ldd/aXPFUBukXN/3FGfZsg35ZjOgngGPaR7cv0dFE/L+B4tWVfmx6wRA5rPliF6INQA9Xv+Ydp0YVExZ7gWJRrIcou7i37wSl9AIcdKEdh7XvK6LxLavEFf/qixaF4Ya+8lrVEXNPAxbr3xSqDwRIdtN+60TrU6N65G50FugVnFF4+dYPW0gwKeqbiFyeStL2eEodwcjSiuZ+L4HF4foBIm/tuxSwTv4czIjW1CHC++YVm6S/RdFk5M9MpxRsORHyrfapb3pJOdXsGv7M4RTBQhaCjw5N7xzIb7OZLnAIHcC+Uy5zUkcig42xRnp6TUlCVOLJ0m08IG5/M8q+/DUbFWdhciWLsc41XetA/C7ehsPyTvu0eoKkj/4AQSrVlRmI94cLmQ2SCbHaGeLf6G2nnvMC3Y5a1tuvuJi/kNac9j0iGd/04oKFhdZwHIn939Cah6H9dsjpeP4XGkeGElOG9w6HZm+4sHh7L5iYFu18l34UcZlOwwaYfct7jzEz1v+f4/Ilo5Y5O8LD0Le+Bp9aFkdqvkx2b140n+vuRb2VRAO4POsSqzPCG2v5mfHJ46hr3V+ylcTCXg3Ma0OfnM/tnAB8FxcxvFHGmvRhdg8JtuD7ihP5uYtF1aeT3Ttth2fUKKxl7IkFwLH6h+fIythAk0ArM3ibmqqu2QNvKlgdTw3gvuX05+PPHMM7t8IsOGy7Vle1nOCbH2WVdHHF+5KbehlINIovO//PiRGKOm3LQ4/whUa8aMSN3dgvmL1L+pXg15Dli3CRiXYatWWMJBBfuWQsY0Cjml9F0DwPuerJ4BrK/cJZPeFT5l7M4jwNhToqwLnfdmiIFKnb6j1cRqbF4yI8nm4i7YUIougoylelugwB1M0/XDWV4uJ6gmPpvNIyl3/LLxwt2ixhMGNVesl+4VE9CHZ8pZR5uBihm2GzYz7vRFpydHSyJMCXyZdx0h/61azrGvD/JUXou7hIdDlUROsyMmFLfqIHCmeyr0vLyYeRGnmjnno906C7Lb3Bq4ZDlqF2Xli7mmEO84P+my7zyB1Lv8F2/XL1zbEMKnYRyvtd35yRiLrZxKmxc2UTrIMKnco8Nk4hP/4L17ymHG+a1Y8ANcbl14D7hB8t+44KFwdKywRx1KVDADs2cvpkvwgOiU+kbGO6FmxGNMunPJET4r5yHZ7oCdHBrID7DkL72F1CQqgL3oCDNq929zb1yvO1lLFxGNjXJaBQS4RqvM58UKEZBmUFNK1pSXsdH/jg9R4HL5y9VENlDIBqIex5CPqA7CTIAW7Mc/4fyZWbhxNZoYutKQQWzWw7QyM6xYICh+G9RcognuTehzy9frb9UjN3YFAIIg8iS7HVwHZS5kWHs/uyqA9eLKAWsVAJ5NIldOFRkdKXFrFTVgLO1qhyzWlmFEKQGkIq5060mA9klZe2ucC6wA7OtLmnfygQm3HBs7kSxoXuDqU8GEs0yuqJciysRS65UhXIg+qupBMCXVQVQBh1kBtTXVPHj/16YCA03yNYqtuQ+hgzCUzf/EH/ArHjFDteKXVweLXTzOJeSkK7wyW+2NmckcWhuLnlei2sdd/nAJdix8YHV8sQ9mTh0Cgosw5eUUHJUw+gudkmTpkU09C28imqkWi0eLJaqHIE1PkzZ3uVVEJi8wk9SxpNTcDU28f26kkuEl8mGRab5ZRM+Kyf/UTkPJHdWGsy4gndJ1smZptCXXrMV5ZPvYuRNjLyMuuPYC8CgLE+8PY8ZlQ4RQB860A6IYo06HmoMC1pf4S5VxQ3+vnE9HR4QdNVZYwqxK7wnUM58EODYIAidbHSMWCRjBss46x9JOvDA6h8xto3GLu6eBJnD6Q5w6M98vUjPzGnRMryIXVWcJmz/eQhb10DN4QbDfpDrT+fqXP/yLmUkIMT480Y9ZFs52vZCb+eyrd4yXv15iNscp9RCbhL2H7D61nru+PtKgd1ErP7uA1ymIik9ghyrOZBMzcWSFZoT61Aw1kmR1PVmmdYBokgR45L8A0YrylSf9fqKut6fiGspEkQztF+6VlHq+cWtjvP3IjWqdRCeoiOB+cc5YbILaLZx+RKxL+MaYS/tOcSthTpxAmD2gh8hd+WvQMirr4zZcZRf5BsSymjXIL2Z2t1AKoIyJdbwPb1udYKdzAoKmi7ppXCyuYYc2+2SUq901+YtTem712Fh8Fm+Qo6Lif+eP/43v2DMf6V7+r1tBbmtrXZ2xe9CdbZOGIMSwZRF8qOHzDtvNRD1V2C2SheJV8i4prlmXAARpqaTTkg1bPVHNVhZ2qz2sdd4r5lZqmmEJEajPYwhOo+iiH9gKDftDXLs5bY0gO5qLuZ2BXlKOufg7oc5nfVe4/ZBM3d7yRY/NZtJXJbAtLXr60JiK/djjsqggHpUjjCO+TkbotXRwaWh9nM6yHi3LyXgnjrOP4OKgRr6vsye3EZAVhBKY6F9FJ6E9fvDk6eVuUc31Py1UmD5i8+wIQijhWKiukGT0T+xY3/XC7B70T5otLQrYS8KFpxDbQjW8yEQozw4ELiBimNbqGEpS8sxtJxo4Lup2EdaukER8sAlv6U/Whi6ine8TQzef45AoQ+UM7L4ASuM3ILwpxl2gTcDUI6vPrQs5SckUXgt88Jwc2ovqohuVVXp7j6CqPX8snD8X9JxzXPqszk2Xd07mNCk7QUJCu/1fzl08j2DIg3ktuQXv2LKCviscT1YX5YSc6VReeK8869j/0tGg6r/tmojtN6bJijOoFAFCBYsKvmMrQLemRqvx/oA5Jh1WkBpmud+gUGOaRVsn/1PbWzrtfrgjObriLyKR2WOoN56uL7TcaFwyTR0IhaZ911XHScVdo+Yl+ISyNm4H6KsOSa+OJIaI4CpotF8KRDpYfIQwe0RXf4L3RziOowk+BZki8TLHBhfusc51a/Khznxwy1IYHTSRV3vIWEYKobMiHQH28XUgWD3NmCUESJBrvDGcp/vdEl3BZgJZGXMqu+oWkCrHDAo3XjRLZ38p6h0zny2uAHcYyqke96GIrJGwCN6FHdqbp4p92BTTSvULxzEs4ZmVXgT0lzWj62mluEeOqt9pqiOuP0avRlePJQERmrjnbdPSlTy93tTbqzhMSy4akNNFpxl0sCubDNrrbXnb63GJktKnLyUx/GiYO7Nnn10lVpsRcj8ySdd/8/f8P/ViqrRo0+Q3ErogzVkEyiY589aVk19H9wgt6uXxvGHH1GoqykV90+i1HN2/l5NxRAfA3/PfSxGtE8bikfdbqseSQQug9zoW4q22vmOPDbk2XUJu3y7mCXOT84TZuBzRqp7iOpexE6f1l95Ks+ueobAY+r3s+Koej6yo40RavcZquVRhLhV0cfy0Js6/HJcmcJExrpflhn1r3s3Q47mOEa+kBlPttIwdiZERUEbxp05DvCP30tNU3FRJltpnHBerUIHLwiGPE6UD1v+KAlDMY8JolFS+lFSWbZ0xZMNCUZMhOkKrSCIYpHp/4s7wn2teFcsLWz9b4e4R+iPSl73xeTr9E5QGnx2xTMHbciWAgyHobUJAX/0h18cZrUi+YrWJNzCN4xx6HQrr9NYqpnkBLaR5toqjplz9Aj03uQ0ozranX/SenOc01SpSt1KkhG5l9NlPmS9ftXikm+bESjbyMiYqI2siY7xbO7EK1V5ssd1wBYxUiBiG4+d26H0S1YkYRliYJ9ZJqlCsA6OVw+3PUqGhxWs7P4odFE+5lXt8PvnFxOYOM3UHF4hXPss4hRvMS71CjQltqK6HctXn1cCXnrzY5Fy6PIMJ9/fnyQE/KXYu3RuA3EkAG1SgYtSvACntaq3LRA4Cnpn1vGRJ7wsJgiVd/4SSLSa1ChRxrisSYoiSHuvZB8Msjrl5+e/iuw9CRoOdr/2aKTqRjul8RzgP+FpMGBLcj2hzdEirt9Hn5jUsAp3ZPuBmd5t5qL8S3IkYRa0ySLuPJ9sKxW9T4CNUc2mUxXxsvjnfDz+WrQD5QMY0r57K8SOVsrIZ6vjSoojLFLgcbWMHaaEZ9hFv12ejxBLx3ZnZrpiF5/xCa4+XuubnBPDiqjSEnzvNIymFMwiMqaXUCLC4UpKQDxzxMzcDwhEXwuk44cVsKTsE+gs6zfMSsRZWyaDuMB3USaRGyIOpgkpIF6qf7u0BsAvdtI80nEiz1QwAUIkyfBw2YxVKxbEmafAG3oFnonwBY2pyWuUoSGHCtmuf/jgFuQlvTpPvcTfWJQ54yE+hYdibGKeLJ9bNR1DJyUE3J7LtVW3tzC+uMiGIb4iAxNg0PWiFW/+Omx/lxsGPRstqpgW/u+wQVHr9ZzN1RE64sjLhyCrVwrhtZJoaX9NB9NJHTJXYkYl3YoZqZUfJzv1fr1QanKwFM36DIami155RWO7JYQdjTcYfkqCvA6tOCj/mmkCzsv1MuUvhoDS2AbrScXlTjCGxfwouL9EPa7oQ15RGzm1WvbnwJjPedmHcZb3pPcsVi7n7O818C1FvSi60/TomWDXfL5J6WI2peLxzkzIgkU7pDjC8j8X7g7In+emHDT+RZTSsw1/Bp0466S7xzn3TDIG0nIJMZsOTpzCjXRxgdTbDIvYEUnxeflc5iQ/CQSpoFVpMS7TFfQWEbZhI3hsIYH1tY+JxlxIJLf9dyrtuZ5KxdNEWQwPRns1G8Sz9J/5X4+yeAxuUfTyVamcQjsvp9rEg694Hi+uHeWH9kBJ+VrmKaEXpeRjgfP5As1roDP505r6DW6F3SEE7jxJy1p8DPVKX3VIEcLzfObEH6O0S3rGlIeYtDlhqLaGWd2eCtDOUDvM8XtOPkt7Id9mYFNVDeFkt2wVdIUZk97q33UU9m287yLiAx8F+ge3dmPBr/5TKemKKvBC2/A3RLNSRS063KM8h7YvXGCUCnIxmq9yobnyl37d+0xMOBQ1Lpwslzmq0L7qQdsyfPolemj4IZdt9xZWXsIE5pdAbKZ3qb0vNKQvYh9bDxJo0JUEnY3Ey4ScA/QELFigADJ/wi+uvOYOCz+3ueLZlkAaEme9ty6MpWJLG7OcxcnRr42OsyJmJLMVB8xGxwoDi8FgEhMugD68F9CBeNQai9we9iVVLplYK/tQDyqRxfMZmff/P7o64Vtyshwp9+NJC+4QZhe8U/ppx4CNBq6YPRIkkgOKpC4XD90ZYXP8pNuFJ/Jh8fsj9GJhy7EenUrjzFnspOEzqcqMX6zjZBIIL5wECBBAxI4s7zfFqxUXx87i+JHguL+tkV8jmBUaDnBn1afj0zh0LHJ4JkZx4x3DE5hnO1qmzqbIKoBFJgv0kZ2LoDXGUWapNlNlCCUkwrBa5IjO0bBabD0IO+IZ5KN2fo0tg2ZZSarjlRzWGYy9P5Qdz/Tbv1GBCHtSqaqS7pOLn4nbZGh/D73aHA/wptftZWHkFjCOScDBBdRmJo+RfOjQTs3LIheB79DWQoxe4W8b7nTePhNogW9+xDemHGzQvEeZuccB5ukNw0yuE3bNQ26TEixv79qjKaSFG+QhKZhR84t97jdEPNu88pjsriYF2vQOAwE74epD7XVRR50sKgI982ZFdecWVBzGGNQmBzEMKoGvdPlaKnYH/cNROCSQtgBFJlWlNMVh1P4pnhafjaD5QA/987Vgbl7w6/LYKS/WQHHlw3oueVM71+CGebJ9y62LFb/MI0VeJC8VpeFHxn95tQEW/CPGTa7E8xPVi/b617rHZxp3hmdbERwoLMJdFdUmcz7MdpUaCoACXmaqBg3MWiaoFi3USLPONKUeV2xlPOJN9JlmZeyEgaDWOSvV6GwdRX7najzhEBfUb0mJac1DhwLhZ2rrVca2wMLr6uFI2MqbdDttbg+T9MmJ9ioDmnoOEhahSmLSUnSNGc0rdUcRqHI582MQTbU42sIDCdjdw6mNfxN3uMs2d1Na4mIozulGoIosucUPpcc+HPmHiTgn/kdyDZHclCEQv/KMeRQaPB8zLdEmu6s4mtfQ9FaRLsCBM5atH+ThZUZdP/8+lWwN4m70BAtyw+lI4LhL3LY8Q3hXXNoKAemCI+LN8Fe889Gclmn79H0jZquoR/paG/tEDeqWCdwcQ69szMmmQNA5s39fZG7gOw5ZZPc4H8KryxyJDrYm6y9y9V8SfN0oQtoKzY/OlkWGPiGqG4eNRYMcoOztWMqmrUsm1iRo9Pd8UIKjhnPaTAY2eoLBBLKw0yIpgahKiYYgyqsbAh1F3BX/M4LcqP3/8G6Vfo7jNUo2iyKuy2u2Z70bsFurMtwnFJ8goZ1wgHexfifbSbUS5mU3HzPuIUk6CiyoEmFFPJNHuaKjiFIksRIUmKie9WlwbFYXHxCydhDTrqOMw7amEO+CtEO1UFDAFjtOHWKxdQfLo6+UNarNSVQKeIMiiQJV34L5ju+U+jpmJwYSc1uY6X+932jg3+PmV2x55TGzuhmjdExEn7I7CeUnM7lrQO0xLOAeOeYAwmamFMhUjUTuCltuP6rrycUgfkDyMaQ7dISS22tx1ADrza0jDuUxDyO9/UzFkMS5RyJK+eT30KCk+JATNk4iliPKuAVz1X1+d85Ou6vZEa/1XDLbID2Dw0wNoqx+hhiwNkBNJU+ANtmIyJClAih0YqUzczhYH5172Z+xKCBlb5Pmf0CF6xA7zUTm0iQHwwpnumi/9+Dnrs01eHTFe2S95E4xhDxUXFB46Zf69I6TgKM0UkZXZg42fEwttI0Lo83WfEAgqfGcFApAT/Oj9QkCKSxLiVCQ+ubly5+uqSeQjbTf81Umb5WcZtut2yfA+gWbVJZPm8XcG+h77m94dfXqYLvPKMehhLlYfhJ/eV5zfM1RKK2T+EbSpwdO8gCiwEvB40bXCzMNz6hsAFmFtBIsoQhCwjoIfFechCOUssrUJrAqE+/n6yEcMGFloVfCyS1C8xdr5ZZ5plQWMTgcrC0LVjsVduzhS7/BTr5vD1JHXB7MaxI4yMGJ9AsThZcBeH58XtZH6yU+lRTJrQRdH1Loy/cFulS6QKoKbKASrrLlES7g/hxlNSqKZYLGqJ0qwqJE68NXwBsUNnNP9ykmcjkczsiVeASeQ6sbBB+yOan7fi/GU2Y++u691sDvesmiwJrfy8jPokf7zvFlW+CmENy48dHbymhK/iEVuIGV18T5DHqxpo2aRFWcGQIt7sN7SZwGnn1oo2BLvcUhq9ZRf0ZYckZYdFNs+tXxcXPdDGImh3ns+7b1JhNWMb8NMm/hDlcQ6QcUY+ISt7PMRRqe+B2MveD2UwHJS8B8CDotqledDKdUgA9oDZk61MMJwDbFrmhZZUPW97lAumWwsclgsWjUrEMdtRUgK7PwsNb1NW7oNoeAqSm4c3oBAQuM9TyHToc1E6FVinyXjkDnjt2ysUMBZENrgdhGLo4aDdUpcV6YS5HUqwAgqJzXzuyhcSmEYHJbKGKQWdXe7MrEpngy+x1dP305LOo3SX6DbMQPogYvdXceDzQMaIlKJte1gvcJ5dVa9l6SFP4CCcR1K3WgcID/JfCEcJax1DFQMQhUMOOMmxrbPToYf6enlLWD1+R2HxkrkjYvNBnqMlU3ipbPsCzINC74aEbOr/Tku9n3YAmPqeipFD4ZoGwSPeW03yCpZlkDlIdWzZfOgV8g9x25TvxBfT86/C+soyrsHbKohtIaegpfPuzgvUArxI71ZavnJRiWjiuyXFm9uBL6vDCpxO02VD3k/ULfsf/Q51N99eVv1rmRdomVwdUV7k34bmZmvW8GGO3S0AZ1+isUiBglswu5BtSrKd+AWU4VO6NFT2LW9lXmZOKCi7TYBloz2ezNIHKBZ6b/PPIFozFoToS71YI0HrxDo/IC0XGXDInveD016yRtmm79k9HJHRy2Vdl4yKH15jAnjnpoE9Zzg7ph+7Ovb/wNLIyp/DQgi0lATUEaIDHXw/x1UtxMinhdfKjv+GIoOzTJ8wF5lM1bXsQSRaQNoayLmbyrbc6uAMDEnumbmGwt4HjPwjlGU2bqr+IjlvJqXwhqNCD8b59ERdFEHYKVMMjgntErs/NInG0kWKd812uEZ9Q+5lDTHqO2Gd+I5niaSP1TxiyA8CZhYTxscKFOLwesLCgBA1J33W1i86CYhlTEBCeVU6LoeKyGmRtaTAwY7bFVNiKlAZqnsqBK30Q8obG2bJdZmBiaUoKmeGdUhYUu7BjciXqolAFolmvkfn+bS9YBJq/a3ymRoqJtHII4+TJqA/xPueRwml0u80m6w24I9da+LcWsWucHKt69/eN0hU4PFPTxy+7bO4GWnQLGb75NV5DE23HvET0p3wpg8mUM1a9YE0K1QckH0KPD8N7cRmdD18ZHpF1WqITQKaMuy4WVrQmb0U9yrHUc6oxpZeYehHJZfsriUAiwgmoFkeDHiE87AhPS0LtVTkCpjLqPvtid6kp6SALHPjtM9TTvGs9sUjE5XJ5sB7bM20C/VM0Gj7//P0H99cJt2nFGs71so4fGn7sfeyoTAxv/V19Q1A220H9bQHKe1zNvoDsDWRac30LCKc6zO4M+DdcGTN5KMEGfmII+qR0GFPmcvDbg9ls5YNRRUKTa4i1+CgMtY7tLiv3Vl21d/GS09VVTLOtRcofa9hECqvp5ulWeMnWsmxuid2/IMt71DdTAhzltDydCUSA37egqMGU6TTj+GaugBlL3k6VbK9i8GlQcv3GYSnfHpc3Pe+DbmM9zPchhEj+kRZgAtcL8cg3dKFmWSNxVw3iHTv1YtckPYzuGM77vPHZq0t+bbeXMqVu8Dadr+XDw4Hp2wbE/dgQuyz61yijRuOgMzhuSzNC6QK9bRKTZnaBrzwE7lIE8K//BhSPdyfd0FXoekTEIrpYxvlooB/lQbNpHJZ6kiyb+GOLrwh6SvlXcO0A3/0o6x+Lp3M3j81PCQl4WYbDQpxMuJjo2F7TIEj+yTaTUlm/iFnpfp19yrk+GPczB636x8MolKHhktBYOejsCEF/+DQK3Ttb0+78DWaNbF1x0e8NVrtkEqSPk6lWjNPh064Bg7WrcRlC0kR9KabX138CcdoqMtOfz6BMNFbdhIkMUdlGfn0qIJvDMcbZ/kxbAvXptLQ5kZlmNXanWplCEHVIdAfyoUYwfDgaGUhqI+LlhyuoF15PMX4pMMBoreBrxfypzeoS9MGJvPdLIYeh1yhUwkh6lu4zq4OJhtrFN0RJ0H4UstUklxchcb2lc4IEnirHRjno1E4fJWR8Fn5+HpviumR3PNCc2U8gyuLGg2xKd1p0QWrtSlaF6pLVcOSm+nDdW8g/zF80NhWCf+rzJ6elA8BGNz6tTfi02GHF9oDmlUwnZxGM5iQE/zvxz/X4PXsCukj93Kx/pnfV7/I35LB6gQZuLTMamiBwTgWjkgDoRuhd4Y6aS0uAapmsimXKIX0jaJ2xdPu/ZKIrNEkS0e4nytaprAedI0cuxYoOmlC2Ag81+pK7yTQ3LAGC6SjZDduLIamEWwKuaK42CtW1kK7gBD13KQPxssj5s1Z6C1kHCYUkKYJN8lEwFo2GwaBRqIgpiTs5dNmZE7z3h7XeLLkBFB46idfYI5h46xD7y5F3By6+c5kgV50vuSev6WDh6+XHrZyrwdzgjFfxCOti5wI5WkhOfe0zlMG/aVnZa1e9UF0aKt1KD7Z1GTCJSDn6tm0PZmGMr2OzSsqAQwoi34u+2/LsdaRNr2FZXF9rRZdUsJ7obQ4AFGZ57CRHA7HLavX+XAHgrEDOKsj6qrHtiKHZsbTsXLC4ETrnP7DyQJeamgEZMIUdOY8uUuTyswRQ6pJ3cR0GqTk0mF1HA7uGwBsV8nn4JrHpvEXQauUvQ09tysF/BpPRILVHHwj+916O2dbCnDYF9SRckz/fajejDsAI2ODV4g+VVt/mb03eVE93J7jy3ZsSoPq824lErMpwPGIEaqonYfrV03UNgD+yjYqGeMRtEBOW9dRHL8Z0dSTD7ILxYrSbZsg0nMT5JXjk6LPEvfdXl4feS+0Y79EbQdKYzTeYTmosV+DT7WgNJzpNYEDUiBvMEAiE0lG+PYYMF2YtftHI/OHzWLRRfTNllnLd0rejG2fnIqfpv4dQLwR/pLzf+K0z0CqHO+/lJgA3hgX4dHyrDP2Q3p1zKOQzquvRKpajnaKjSE+ZDLjLBWSFqPMTNtK/3BMjUewUYeUE216nizfNyZr/xcYmzF1mPcaqxqTCt6SDEmybdmS/vJy2F233YizxTIrLh2xl5xOiLpzHlU9u+0Xe7DVBoEb3m+PwdzHWzBBC5ZWnPXV06/Bk64AxJU67pqvcVQYzJj6ceopkGsCi+neOR4JnsYz5AL5JllELKT8ggGmm8mLumCpoHoVggb+hSFB5/9r93OvN0+NDy8lfM2vw1GsSY4J/idKhWwq6eJ9o0WfG7abRV/rNq/B7alWavRibx2S3a6A6JGMJwU8wtU/LR+wk9Vx7Lzda1w0+HBqdQ/sjDKHnzq2lqfrjNG7BNLmLP6wy9FRdRk+0fAUi9pzYx+ASPhOvbdF4E+oiukmU9WOXrxqBR4usKKwaSVkQ2F0OiWraL485YCcBWYuxrKjSRWpvs/yDV1MEd/N/KXbOttX0aeLUszcaDJI5+zu20dkybXcT8sgvMZV2h58hLLwb15KOCAdrB/JveCgUH1RMOlbArxP/ARYe1hvCctLL94uZzlmiEtYSkDz8DQyoXhkk89IHt/sCyszc/fPBlUYYh5dE+9imCTv132Bw7yHVjUQYTvG5BV9ARMErx3T3aVg2zc9q6d5l8Tddy+wFKR5JmsonoRLekJxh5PYHbWELjAvPv6qlwT8tjGZ2LCX+T5k2AGIIb0RzWuq9rrLVTba9vVqkCmxA1wPLGH4FmW4c1wGJ20XxZHDNcbC7DmsJ2GO1TrAChIyqGFdXWzLkJy1/WRHQhybrhwlLf/j4pR4Y8dacNbODZys/YQo3iafl75eSz7Sw5Zd3/a1oT0VlkdqYQtv7E2rOIIA9+ZBPEvdwBR3jrB+qA/l5rNM5URZs1CMUcKEPRPMoHPtJlahzN3RIdax7lMx/iroKFD7FXvD7NYEGAeHXVCF/q3cqtRP5KwbrnRDleOsD5jSPGeqiQpvANgvPO5PWpxETImj0/iMiuooEf1gQc70hM2g4kmp3uOr3uSVg0LXVdI/viVUOCZMFhMTOC4k6bGDHkdaf2iCnMmTlrvx4v/zxNEkhu48nbCMsb6zLQ3V7/aKawnlMuv4P61INbWCMxvUXkBDl6TL9mIeu8C7NshXKDvoqH6legmRpNlmD6Qb5afVFH07yb/qbQLL6N5sEuDk5TIwTFX3LTaIeZkyaqXWZDJ+IyBaqPqQ1VSA0lC5h2mJH5ad/ChkGR3m5gvBmw/ZpSipR/giYZ/tIfF2wUDAbfU8z9wmtiSF/RzRwjpjvnnDOlqG58qHNBqknDAzXvIsiz5yVomlW2WyzLfOkbQu7g/XekYBfEA6AFX3JcSwrDAEFb2Idt+lqNYdlue0p/9+BB4uYWVcKVFhriveWKEUH8g+3mu39jLh3TGoHRu1vrH8aD90KohbCooQ95wQ0Zn87itH1daS/gwOedXriOzt04S4VH9KV0UziI4tO8W5qYNqqTFPR6OWZAl44jFyl2ZRknmjVveLZReWDLBR5O39mapd4Fd2OGr21xGi/TzCIJlHWwaLMJsTxCFUk9roFow3OJi7B4tS0HaOce4Xh1m8znS+PYKhOH3s/sG+JlROxcfwfhuw/ea7Mp3rzHVg5cgccNSiw2C7OiGRD1NRk2AiWvaxce2zK4Tidt96QOLr0GeeeCk9ZbjGX8mu3BiuNNQoFKKIlYaBFb6AnpRUOXY6HPUELWFa2EPL9kf5w6wYnN+eK6Dlg16Jnm7Aw3IjfOVOK3aUE7EjuA16l5TG5qpG/fIJm95ztWnkVgT4uEtb8Nhh6v7tIFaZBIOjA9PH9aQ8WAENNVRzxPpY3DESl22WY05n/sjiRWk4yoLFK7MzIOfJ0LH7TH7fbMqpI+tTMXPOaFQA9+9liqdJyX/FwuB36jekLME7tmF+mReGthP62+f7Pt6veFJ8Z8eRLYFTgSbAz7PvLbxfU36EV2X8MiGe01O81nyuWoEMbm4x2Gxqtcj7js5vWFpG1DO3GLpTOTqz07snbURXCIs+YZFv3LQK6p6oUfDvv6cajZMhaAzNr0G6R79EIO55ci4uDTEhy/D4N+/n/p1WDfDiIo6TjAylqclCBGLoKpzm2Hh5ymu7VAW/SV5y89bg3/yxIjZDc7AxG3UDIMpb/1t+lF5KMjF/hod6ouMaWo4CInAMCSZEJt99i3k5bE3UasT5QKzFrXK9srvaXviyU7MmLmykAxk/6BsDOyxW9j122Sola1PhXWUad4b2vyDg6X892SJ4vBzDUnKPYM9pguO2GnE4OBKtd+IJO9e3cOK++nLoNYF/FqBqauPl+BXWb03y4Y8F3IxK8tk5ZO5U8b3BBq5GqktTi8fjRwqg1tMUaQ3DR4kdUcvjoPZdTSA7X7kyLyXVaFZYm0qUBOrvbWIAMxrFNO3m+NQox7aYnJM6ZCRtbMnqPz1njSFvu03Km2Pam7Q+3Pu3xBIZP21cz9B8oULqmtVO1t7CtSVPDaJ6aaTNHBvmQk281tygT4Pt/wcd2OLsihnfSKPmRJv8qFbm1eXRLoTKNeM+uNRUDNOQvrpBEp3Z5De683iZqe3R6HWwTRAMY+NjYto+X/e2djXNp5ymZ2EMOrAHQYrZC2O7+BKIxJN4lfnbbw1y9OOfOqsA8bIdeIt0sAJP0LmQRyJ9806JdpOmBg/gRStMQE+UTgCF0ozyD9+xnUbp2xdiw1fyEmKG+ZsKhZ6WF9foi18hVHxhhDrtxdCOVcNJthnqisbXg2K+vrpm1dPvreKO/7+TahfEz/jSxG7Y6r91Ll1veO9o807HkX3a2AWE+eEjdpERP0aSI2uRN56cWcFNB6w3GLxpCzPjIpHnKAIvnzGyJnUKMCZKJU9aQtYS+ljmQy7rdBfIRBykVQvJILWsCxxW/p2yo/yoKyhJ3ZPawR0J20vCLvdZm+2RpalSFBn2ZbHq082mqpptteG0/z4X6KPNFly42sG4Y+l91Yeok5Ag3CmwrKxDWmVkLh7H+tpGFGGR0OaMdCbr6Cx1QsTOqs6u3Zo2eP+JN37V8qGkpVamogYyfkJTdpNF4N/jWX/NF1OCQ+vvj56NJnvydY0zRWME4hMCmF60wYfVtNUbqLQYmwfnaRgekXR9FBWwQ3+aNiLFGVxqv0/kb8iVwuKD2S1xC6wuqwrNM+NWD7QRWC0XSKbwUix2sVhouXTVC8TrqvgHzkyg522EPEl7JG29ONc38CygrR48+i4GN9ahaPu1UqZABC/sDilrOhNET2pDbdasvYwHQAzszXVjznPNLmXMkIAX+wkllHtjOXtpgjwCp8kOUFokndM9y0wsj7ve9kjH3ojwIKVFyf13/XdcROO9MBQ12KG7lvVvmB5TxiR8iLU+6NkadWSjXi2HLZkgVBANkWJkdtm/+Jf831vrynqAWdUIIreKq8ZhgQxVm4kRkXm3he36eE/XI5zDJ4+P8OS7npQHr11NhlZ9ZpLzqmBSACD1o3+Nz0rlTL5qg4iBEqvip3ZDRJoXiO/KK36boXhbUH0XmlWWJBOGX2XkWzMoHyFDuwuDU/u7X0GauAE6ZS+ROVZ238BGeEshBjevSmgO4LBV0M464HeFXJ61p4Lu9Sih4s0nJQwmrx2bgIM0QLagU2csAbl4r2ZoiWgUaztADB8T70TXK7aiOF/CyIFDF7HxGwz9R0GCKeAnzjruovi42ZQOmR40ucapf/3spwZ/XLXntwkgk68mpUiLLIYMVDXkFQivUMLBfVFCkYnMtpYiOswL7XN+pP3AlP6d2OOUMD4v2NKDpGY5APF6GYdFiPuiGKb96OKeSnSerMYLvMzh1c/mb1M/BZ0mWvj1LPBBmBqLozGH5OhyeYAhgkVkK/qnP9+QRshhOiyb3JtDPy2rNN/btoFoq3nQEYKAYni4t/gC8wzYicsbKdYUW9gIo0UUlMCPx8uHoFElHkZjdNENh8wM5nLgm1pz677jjgTrhY6D3MuuOlv1lOYTf99DTirRrE0z68b8Av88lf9d/SRvVR3Zv1bHfLYy301FOdNQlKUNP2k1vC21J3+4by8ZMSuwqEWLxPEwneNHz224Jx/dKR9n/n6t3Wi4unmDbxZcXwrV7HPXHBlul60Q9dS44pYijyXBP8uI0utiZM8PwUDCigoRq4DaE43aj6ObGK2Vsu5nd5KfNR4GF83iu5TbxlBQFNAA3EqU0nwCs5TuRnZDBcOTv2mSvT0l5emV+Y+RasfDR/rxZXvUb+41weg31bGJhdcLtosrsaaX3xvzIzTBGZO2sxgCz96n9ITpI6aDw2oNgJv/vjz2EF1OJSvZcBAEs2Om6Ls4ijpdHY4Gk0mzHvMsu1o1Djx90ChZCcjOEVgHjH0OOGrzc8LhZ94Jn4CKrMkICUUlEtBHWvfe08CVI5l3SyfYaBDfqNGkggQmhfdCt68Ygm5zBNgf2cTocFHRmtizfmSNG0W8LmaHrb4qUC+YUh+7BrBefyRCasEQnTSxAtroixsQ5hwWeiJ1Knk3EX/CaWTHApMlm1/ycVGuumK6Ipc2hbZSOa+vQxpnpGyWrjkA8FfcUVK2nnW2Fqe36DS06qX9n1cpjkc2zx2IKIF20MJRpWIHokEKE/gyYfk70RQ3RGGYaAsUoNs2RmiB6kPn5Z9QJcOPUkaSrJX1gKpqSWlQa/sGFTmou1NCoZKXRuHIVCBJ3chm7VTbSpAZnsq99rMnjiBl0xdilg1+BIrPiKBG1e+e18nAOGL3dWwnxOK4/ptvqJmyk39IJDFTWuiW4Qml/AOpf1UPvZ/HUO1ezaUQm15C6uANqkeVGokEnbZwgwH262Kht37KMlSfiFJ54ceRSI4fFWhbFTjhg/RT52O5rcNpUt/5NHVP9Ic4Orjps8C0IEUa3Pn3yszOCwrXbgSqQ0r38lIcD5GhulYCqY67X91VUB7DRbuatjaVPQyZ+BrU5eBloYREFb0KTMapgj01CSjao0SH7JbPt4ppfPCFyPHrngfckqqKYGIjkpc8ACW1jDMsTIX5plIkgxmoWNW1edePhPY9NYZ39GlzTl3tERGlCIZJyH1AH00o/uaDEXwOqWtAfUlNSFLt5+Cd3vi8oZOnARsB2t+yb0GFdBFy7uTj84QuIpyg4os/waDXRBEuWVhUWavnSn8lE8XOSkS1fuYQQHFCChlmHP4140mJM4OgMnCm7bWu/x6bu0yjgRGYAmfc0PjDZnZ3UUCw7YqFUAvMyLOxpEmRi+wanumPFqcv1aWuE5SwJnohcVDjNscASs+VjM2aYUFTxER/S5fULaZ2Hv38tfEyfYxYw30E7R+SrSGd6w0T9P2XLE8TrWsKrjxuF0UPxVuRFU9Bl2adBbcNZ5y8kpjLs2xoiRHfs6u2zLK7o8gxcHPQBLJzboHNqtkyLsHH2NlVHzMaLC33d04UIyuHXIK9xV5/q/jBaOODLPZHHIs4/3sx6863v3+vVgh+WQqiLh+jpSk3vdqU+5ERclJpB0fGnkze55zH8EjNt11hpKwTVbNWOVGahFWrURT6N8LM09PAW7CrBZjjjgDCN7+1t08APkWQiA3nNvC4ViXaTIhYLzIjK0FLUCP7d3fPlnwHU53KO853WLC+jHpV/AiREibk6BBdLSFocPjRl+sRUKhM3XcJd00bS/hBvnuqsP/guAsQFkWIdRBSPfFyA0CWbG1jbPzI4ubbixGPxN0//odwpN8zdwJ9cegM2Ed331w9nhlE1oGqxle3w1v7d6Kt8RxsFdg2QF63CZdR8d7KBklFCW0TdZw3DbWugQOPtLn4ZuxR6J6W9Of4UDh0xDSTwsLXnbNbSuz24jRdOQUgjO+plbHGGhlBM2l3zgO72xZKa24ClUccVv0Nu/uUwF/XPK5HACCqaamPpSAHfvJCX5umw+Xe3GFouDVK0+nVTRsL4bfYyGR2Zbp5+M8GgIv/AAKlhS1Hae2uNDqtrnnI2a4UDY/Dvsd9iq2boskvuD42Qief08M2DLUjshF9tN1I3c60wIty6xnRXVfoQ/WKu90Jjv+k0EUJkhaGnSMg+BW05tDiM19h6cZ/ap4DDyOWku0DS8K1+BIFUTnMBev6ZikSDWgYaCSbeLyiFT9C0Rdbv/HpnBXi4Amn2bpJdJUQWJP2g58cbcmZlwSATP7UIpuv7XG6MnpVcNMLtw8LeBklRJxCIalz2nsj+Pcu9pMyXh0cMFpkkxNJW9s7el1MQA8xnpJ0RGZd5pG/TkQU0iesPV0Y4Y6Esj/Nn72pelq2j5ZEQxqCwaYa7iRbNwgZtE4g+4rQ1bB10UMg0iMkli/ly5k4ajg+gZ9ILNR4oHezEMDhp16LfL2s8zOC8S0nYgUnhWfCxyjlC6yZPdlD0abrTdOPDeAOdU6xHU26isEfkihhamgKpFIcy2shLYHNrtUcsBdJJIjJAR/sM8qNLsKramZEONw3dM1KgAg5cbH+wWXoZ8yqER3rEhEizb8hPG64wVuXTIh9V0Sd9xklApyZKbtIjPE2oc/GZUVIEfqE7ndIZWfqr9xspF1wfPTazzlmravjWeNIif6kQnOTrIPnVzBDOpz5rYt4V17ayhoM/dAKF3nOsv9Jqm5zuf8bK3olypqvftqA3RPQ2S587/Zj7UmBfNDw10RNmSvn4vuzgkEXgkF+D5w5RzEERhsyPnXRw3C82cEytEBy4d0obkfoyjlLff0OqZfUjiP+tJixzClkE7x68Gh4427+2lvrWY0OUX6eAmwQyLHmlA55Uk6ypEWtSZ5j1KsrLPxKpZ9kGD+2kOKv6sVKw37n2yPK951WXnIg/bCMmpO0lcqCwUs6d9Ocq2+INApHyp3Eim/pu1awXYYfcF5vxEWHk2rHDaICDBM7VutU2/X3dYO3gZV6jjBSN1CxDhP7dJ27qos5kN1JBiRPD3vapzuvbXT8JMHCU6995CeRQa8YLSrlX46LnfhV92k1dyWs9Dqa41VOiJkumoRqreOYC48Y5MGtIHY1978GYAMAa31Fcmn4x7W7/xel7n4zU/RF4GAWA8DOtvR0WkQsPBrErVOTYsx8+4w7mrX62AGrqQZ+wU7XR+LoLefj4jYL36IPZBUpdDHSA7xfq+hr8KNQGYE/RtvkmUy95eWumwFssT2TlHKlHksl1MttyKJe9UegX1sPnJojwX42Cm1Nk0Ig1sV15vWpbN/bOzYSR/NwraVEV3PAwMZ0tn8oziPHfs8UBWuvEmuVAvZ8aho8UEdeh3zTEb6/bkcYXBYKeaeZ8A6dV6/VFLddmDE+TuZSI8g/Pk25xAYUu5f2AFNXaZWu3H0nzZvDgPcKY65p6K5xmsozz0LyehRaeOBCFtcRMJGVkw90qDm1vTCFjEP7KfXbKIeUSXmr4DewOBDcZAL1qhH8X/UCbz21Xuhlc9vQctZYoYqRqExu8abeSb5mmKGXr2QRUIGt+Hf+rOStYZN/0UaEUgBvDNYJgpXQ2/xnJSFh+IRPr7OUT9U/xT8AoFb3Zk/F7w/A2rhO9LTsoOx4bGv/iDWEAB3B2dpeEiWdfQ51xrpPdOj87vjLO5baC/7t9SZywArwjwagkQyB2yhl0PBRJuWXu99EpqgFjiH9tG9KsM8oZp2ZkZ9nB6V9FVbbQmoOAGAlNsvKUSt/TwMvwFoZLaW+14kBa4AeWqezpuyhNu/L33vGffTq8NUVDvj0HzsFGtT7bHBkOelzPnPvVRsI3EW0A2WLVeqINQBqYjpPc8XkSlVhcfn96cvuUxI/87w1IofWjEs+zmaiElUrRB3UKkdM6oC8Puiw/M+dZs1gUT6kLhgGF29AHUiPV0rl4E4KLLpYeL78H0njW1Wg1kVLevzU6+hGOQazY7eNhTvCMl1bijgTmw1iyBTNqUOHBOO1e56sfQljkNhEaNZJl7Mx+TOSbVF2Ja6JIDbM55HludnCQLAEvIb9bYycvoSbwwFxRJi3XLLefQXRkG1za2H65TQmprsvAVBellx4U32rEnXaaDf9Qr5Np22tga6aQEX5G7fsAZNPYORK+n0eYNfB9YktENoKZWm+URhZ+TVf63FfBKUTCf/8VHpjjHsSVmLOA+HUVkcMW3tXXNbslCVy/3hxbCMsQ7yGPtO4zW/7EjBlLfJBlNLpFQVqKF4UGnksDIYBJsxTK2KETN6HBP8P5jptd7JlTStMRWhvnZ1v7f4SnRlp5PBwM6xAnvx3TW//3jLv7p0vYENmXXvh8f7qepmGo7bpiWvszpEccVqkJsK10eHh15VJr/G2PCLIO4Egj3j+DulXbQy/SR017wKKhbJHZYIfwwb7CwybzOVOidO9uktE+g4sglKFSoq78IvIQCkff/gPZWA3Hg0stirOKzkyY7n/taSE3XeGHUoTbXfWz3L1gfgrzViY4sEApr2AbIbMMs42NN2vPc0uL+lnef4XcMMZ/YhaduzoJoz9pBzjDaMmK19m7CHMlwBfUXMWOLaHop74xKkciqJLzS3BTz0o5fdOwnctQTxgw07lLetaQsYhjUjjoyH5ksIk09LiD7Z9hD7nua72QRQgbZYScei/afsLnOiC8xEiL4CErZbTvsZRlzBdc+qj28g+HNS2vokc6hSTV25K8AjzRLOC47Nw7N5GVb/DP+7s+ujDoQTkaYi85MHTX9wThIGNP4k17+V2t0u1C7L7ULaE0uVXWTQivuJ8J3VJKvHjnr1wWdvLp3Fzu+ysFLgobGhqvIRdW1MOxBsNWfKArFu4NQONjveggMOS3VLOxY96fc+thbQ2ciqTs3rgIqN/hCajcRHTSUUaHYwL6Vy6nspXrR4muT+nUd/qFqfpJb43tcI8jkTDUqmpj6RQQQysAV4yxw6YVtzCz3qZhlbJhhXodfnv8GnwauGF7VLK0B98Kl7twvWA+jQHH8jcBCUGqeTmdb4op0QEq/DWAkMGVRT5Aj/GPZ97WMo8AVG31U6xFeV6rBdG/aNIxLlCwLgoxJYDEUVYncBtAailUUb9uvti0fxQFX3nVJeiwa5ZgzOmbcwZeZ9ilvobcMjQqQTjU5C7vJxreGmk02xmxiSoN6HNKzL1jJQKML7aldUALaZfOlfU7o3/LEBSpFWOwfQYWExbEx/3x6r+CieqAYvCotNfCoRrCL2g/CoAZDk7L7rklX6dlnl3ZLPAlIHrzTNxmAcnmwkRCRxvZ9k+0cHs7w//UiKHRbsTQmTnrVK+gEzCbhKPiIVgR3HFK0hU3DB3yUn0x8hUmST8lZB/nu4VJJqY/jE/hvRo7HBBQ1ZXHvOcMP9YD0N+QZIaftWHljS7/pnWP8hNfpULFO9oi3DyIlFeZsz4nzNQ+H6RBjfqP/bpj6jWG6DQqjNsZapxbmBTWqB6Wyd03OeQWGTS9QK33/0Uux9OdvCvyVq2t0d/9DSQB6UC0NQV/IWBE0ylNW7KWiKeF2EHUioPIMaMrtMNnWhfjPqJaKGyfdO2ZIko+/HobU2WYU79/QRl1NbaQM3cVs2JOLA1I8oh9Ip3JPg9R/dlVEfslqmu2lfxgCr/cn4VrojpF4sOcmea8X8lYU2qV6E/iF9vyfvdzaUR38/Dy3BcbqsaBpjpbKM0shKjCm/bs0fWkThxCkO+9YMzoAPlYT/e2HzI91n7BuTfoPJPJ9bfoytbIzLcUwXueiHlNkb+q7kavqge+xB7JFo0pqRA6pNlcEm+HzeesxoHxbsygBbMil4kxLMeUCbJD8CUCwpGC5a1EpZ51HFs8il/rAH7L6aBJ0WpuHx0qz7r/9agwEkuQ2XhuvCvvqMKn28vgVKJ93Xd5YTb7HVFP5eRuF1VplwbvPdCLW64pr1wS++q0jMMJcLsKiIGMC04VtkwZtRvRs1Yg/SyQvKpMI5+oBnkcapLEGcR40Wtgzj4/s/dtzTLeAIlgR2loKK/F7qDczRVMJa/JGQucpVZUo1tBnHL7mQrG10VINRDU3XiO+KrGqbQQTHpFaEjqqGX4C6g6xfg3Mxc6+80UkW7jIyfpDyCYo1qN2XFbm7yuYpQEkHcyMjPv7y686iGXM7bdpc8g89V/F0IqrVaQ7AJ48o8sksNw7Yjr6ALVz2ZGsAHHcpnp519ZNOXXaUxXXD6Os8imrFHrguRRvM1jaxGG4iGGf/kgjKXjXISiWJJIeBFJ/fryqlVqPdsGeW+sBZobFOMT1Bhuh/B6TxdPgab8rlcLYdatJA9jOZKQEIYoGaP09tPH1y1AiOhP91dPWkTeyVN1n/DPCVx+v3f68WiturwSXEgYm/Q3x1fYBs53OOJV0ypOZFfytWL3PMkfeBfOkVSoCoIDDPCzf2yvC3qKCP5ZPduaQ0oFWizC9DvdCbFvodq7WqwwoYdZ+afsRwOZyrXilaMBV04P/wLayidWib/eqHvLH5TaNfkRYRQ5gLWuBxuOVme+uCyt7psxh+JIcDXpzm8SPIqFMZ0xxer+fScjtbK38zE6ZsjaZ5l/Bho2Igeb6iiLCNrgop4/pOpWgFZ5778QKyZ6hYKKtt0aYNZkzCkz/+PvvCeMFHLvOkyn0lx6xgscfxxXlajsDx8Oo3HcbkWEg+bchoHmq3V9dd/fPcdT/FLBaDzUbrX4JLYKxj33IcBDeC7nbwOdcYUZt9JK90IfJJ/kFaCaysRq/EbR/QItW9s1ERHtyIquGvag4tYgY5rCALauCgy6BlA6JN0Rco4aolNLX4ZijCRTS7qg5U3EYugYavtoXlTuVXrumpWsjOYY0EM2tl/0mMIN+f5p8rrx1f1S1P6OoRLjCQLsamD51RmUjOoGawkaLtr4Q79f5vaz+WLtTPCUqpdpUFV2k4JMxDJbY0I76uYYZyz/vUudq/WSDKb8mYx94c+8sMk4dzbsiTs21nTkkfc2uDAWSafilJ7NbuRr4q11ZJeHOXg9MP/ICz546KRZs1X2a1Vv60NZLNkKQDKNJMHdqITQvSUGiZXepr8/OW0Ai6DKPl5tW4qGgtLRofWxH9WtKpldKuc65eZgm+PgWNpxnMohVVwnaat2a/de+8p74WH5SxHXu3jM58+LRBvx9shTWXNUgY59MzL2RPrDVVqc9tzODJKnKCfAdxawhj0WVf/vhvKwKhkADlfwkREFiOn0VqgYF9843UqZjvfCKkikp5zGax8S5J0KEG9FqUo+S5IZmxLZ6k9HQ4EZ/cJXmn+xURm1m/B2brKW1qsCZrXos/qs44NKw1DbVIVH1rVi7Q0s9e/fhd0fT4sOCtQri+Q2ECiTmdv6SP1Z9RZgQsgqCV/BKedLJELaepzPGfEcfy1cqMxXwNrvC7ph2swMVli9kuGe2yRLtnGDxUMRxljc/2vBkD5iWiWikGqJMTgILBcOgDZs6ML/3FY4Qx3LOtga0ezGJOMOLNx1NQnsWhaq1rWhCqW0U+9Naa84X8tfQN7YMqVlQrp1NDgCHNQJkGUFw4AfQDtvzwoJgJ3fLknwD6VQI5agD2F/aptjgw18evffj9VhSkgncCXLSO7/plCs2AxVmcV9C3gjWV0nO4odQaWNSlEcQaaOB7d1uYSseZw87sKcHBoSwKjP++sua7U4S5+731gPV/OkgCH2oI/ubocr7YzoHLixNubDfdoycR8/AE+PDIWk7vfp6AoMJQji/NyyU4rI27iwxMEBuaMG6sJ9z4NOuR19zP34r5+tv5wmtrv9mZQ50i3kz2Rz4/hU29aHDWuU0UCTEEC8w+7+k6exjbsSpSibJ/+WiiqXA/WH88PjcO0uiTWP4ZBBXNsYDZsYmjJLKwJvtnVl/op9WcwUrLzrnH2V6nvtvtKnDpqn5piuh9DmKAzgTbfQqHhUj5pQGAtfaGCfHL2tY6V9OBupoU+DXgpk0FH7P70R+7pB6yu2X/XuTkrjeHMdvpkeEp1VL+TERNnieYOBb+CpEs3dh+dxYtDS/qUaSd8WV1QsHKN1YdXvSarvDcvdMJKQbFCWc6GshJlJy246HFJkwwK0Xf3UcXyfwJIVuWwtJPa+4yQEcLuvoO3v3SEZZ63atFtcbbVIjBSq2+r70vz8klwVRjk/jf4thkrzzO8iBUnR13GI4dBvDvIFSX5lsEmIFHDI+R7DKaZp8Vav95phnCHbuV+9lg8lBSKE1+RoAm+YPwwlAbeJViZYNjUmrnskU9WC6aVFU8jwvC5xXdhQT3ElIPggirVZtv5gTrJ43rZKyA8frGHInirwVd3Dz7thjPPtu/en4fPAkCkbONGoNpTxU3w+jgXv/mA/wSdhbJYPu3msJ8GoErD+yT4LAfGdN9qgmOLZMzhvJnNpBnCygMhCEhGHS1klJRYwbI2GSHRxEzcEf+q/vL4c0iKmcwLVL92jy+Qoy8Wp09qA3fGK+X6yTCoMtQKTE4dwr76io+or1M5W66/MsLFjI84ysFG+iCpfg11QAOU4YvwltQtdOTe9zOOQ+cYdgR8OI7hi8/qVxIvFhqAPkoA9JwkU7tQLXg2iisl1BwB6BvzgY+jFbUhdAUKJnBoYBNYSFGN2/1VtA5nZGWTJnT8zMCRy+eUWDAENyYDF7yJDXvjTjEXiUaXarzlW0Tx6FnjNXw1Waq8nRrjpyzCpWR+Qbxl9hIWBdEt3snUlHuNzUvWG2ier6Uh/PoUZh9au8svmy10vYzBVdSJKNeQZ7ayklJmebglvhYYub/Jz0G8Brj3LEZ0qchQUe37jUJ6P6x/DHj0QAEodXLqaR2GScxWgsHuLhR1ZGlx/gT/CkFPTJaONA6GC3Pe6Q+alXiIVu1BEWiOZKfnfeTSLb/yQbqs9DFBwvWX5WoT04+UJ3g3rNdh8pZuXD07a/KWP4KQvYk7lBjRxwOriM5JRnhsKZYKQdM3lTZmOA9/wI9dXzp3SUkGiWvjbfLCKlev61VKPmg5R5DI0vbVO/uUjVCO/LFIeJbJ9UqN71Ucw4oomW8Nl3BOqdwJajwjdqZ9W7K08gvN4Vr+0HilshmZ0BpPTRyv8FXlIh5uu5PiJQDHP9n2FLqKRlJYXvVLRXtpYCxbv6D9MojS9SEghi9Vn7v4vfFMY/pFgww9tQGttaeAbhf5qPVZyt+3tRgWZNQiIQVlBYJBeHjOUgmoB+tupR0WRVlDIfGqSHia+h8HiZSAr4jHEnVHhHx8Mh4B58Lt2GmSXtP0D7B16UwZ+X+m2OtXhyD5octojaUUs9j7xf3jTey8HOyci2tNPxJRIexuA9SR8sLEBXEsVvqLuYofrRiKc9r9Ba2yNfWkNOPEPYspPWlWUeEY5SPqJjg2T0iX3Dw8dd9k6DgH7uYsUWah6JzpozHdwAkeLCvUB7Gvd01q+O6ssM/+TVwUmjoLTZ9rJXClZcD7HEmHXMQgzk+MHbIwdoETnzrlqSuTIVjry98X3pU15b0tcv/LKSVCibJbE01whGhCLWQExbQy5un3gWLJvllOfuBJm2RXW9xE48XGMrAOcIA1Is3I2JTSLBtNGJ3g5jFcnZk63ZyN9g3nbuezss1PhbjXdKoAtJl4qr3146W0jd9oEaEZKWdH6Zsg15D5iMeKV24INcxL3M4gjQo/1+M4okCXtUKv4zbC9YGO/CWrQEbYt0lJH8j1VjRX1BP94rjZDtE/jEXqAwNGchjNs5oPTctbbkhUIV9Zb911ZftRYSVRAgIhnS7+MwJ1MCRn90qr1Xci6xPKvOg5M3wFbg2BKWiSr3YauoAMMBdVrIE1RWozQYognuhxH0Tq2XV/tc3xUHmlAl8S9ldCdszsLz3eRttWZ8QylG74X/aWMts1X1nd12IGHzf4P/J99jjLFJ7G2X3XicV8m6+DDvGYH1kGfKbFsaqfIX03Ic1egcuz+egPz2Ha01yccodoW7A/2deW2sTnV04ir8ezGHDShrcxsOtx0S11pxBfcrfEtLuZb0ac8tW2pF9CwUh5eLGcWBrPPmjgslDBjGldCEbOSWFcH8I2C6OrbtoMO6dIlcGzZhfGLVPOHHxN22qNTWURanPbE//bFB1lSH097/5iYFc0rMBYhlLdmqdF6SWUVuea66KtnsAj1LeOXzqjHkRrxRd28B+H4t0qwXw4N/AVMcwi/Yai7HxPvP/gj6Fy+I88KMZ0s9Kh39vUAgsUpRTZpzbNcx67KDJJAslaIfyxjlyCSSoXrq+slQEmzBQZFpialk6TCYdx/HpvQamRDQ3BtMcWMvVP/HWP11X9xmIj2JKoS4X/vg/pNuextAyTfaBlxho16MZYLcS/GFheLu+ihyxtfayOHfgY4Rphb/xp/iykU+MXf0UWpkMPkmNr0Lv8Pv72mJ9UeTxNcoTJqK4IQliToiZT15xXS6tf8QnRzvObi4GViEC5/CT6WLsU7vXb/myR9vKqkgMkq9hx4B07IdexBYoxtk1PM11i5Wq8fawOzWAAX5iHfdOQ+LCbD+wA9zy7KDCA0JyD+jsqkROgfprVRRYeqVKYYHGOD4Cc7+0Fa18/Gu1xvZ7FfqU6YSc+gmLpPTVz1Xeqzpseg2DPpWkVgfrGRYFnG1NShdY01hP7aVO2jorMtzdiTKQXhHaw4+IcGpRAgSOxKCZumO4hPuQfLiFrRLcYSx9NVzx7RoFfvwLMzNxlYaHT4ADhuu61WFenSGRtYAR5y8ZxoGKE2VkD1E1irt2DJCmvL6diKmSRr5fc0XmN/n3mbHFEIV4IPwgUnZnzOqJNXhkN/65L6KsVDCUKPgh4NMzrscfzHdFAnx1+0IxeiNK+DupkO5U4d4DNUfIblhE/j5NItliRpUhLFZYL/uZ1CsJequ0nl856aZ74QrHm8SfjBHeKgyEyBy+m6xHIAQm+DQTDlIRjZh1ShSemEVNKUlkVti/HAphenTAU0k1x/6rvhnAHrdmucDjiwKaTjVaATVo/izBbxKZod6tDxg4sf4KNxieUBAe4o8P6uVaEHR5uzC9AqSPrHRVT2a4w6yYgwZ6/NZr3URLEp+kCShJ1eeC/mWQZTELajwk8qozx4aXSsvBwfcmMRlO5gBsvX9xmva3I/QiE9X4iMYK8dRZcgP19SnTo34bwag1LEGlk59hcDQDgomCZ69jTmYoOXF+2HQeXaQWJyfBygf7E1Zwq3DnrtCihzPbSZAKcHf3KgmwZuhk2nN6Vl0UFnySHsKZIeN52NTPLtHI6IdSdqFf1cXd7A6leBhFINzJKV19G9npQGQUEP7E9/v2ET+fFanBdgKEUjUj0zPtEmEswzZgeP6yDV2Voq8AzgeIs0x237gSacMNWh07tx/d2iwhj6jZO8rFfVtGidJ1XsrxcD04BZyQs5LYo6S9iXXWyapzE5MNwTKMuKUULY4/RWJA9wpmGFjUBKQu9bDXZ/cvSCqehoXEMggmXDmbCgwAgf4xg/RyYQmg70xBw2ke9bmY8xZdLI30kNah1oUuvMsU846OrSWBBWL0msOTNgdm48XT3Qf/B+2Ec+loVNIAiz0dKhTK4x3b6pqD1dRl5cy7A/OpG1BY9WutmpIvP+A9Nllf1j4qAf9BfaxWVGUzwa7M2MioM3c1mZlati45VzAj9bYoXqzcyWfGHzrdNsI4mzVxDcMqTdIvOm2XryrKbJWmKQ/YjNxTpgM5/dOTah/5nEF/k0IPh/cHWBnnN+zhnIJSC0Ov8SzTpbConaORq0AdVZUCF17/A4tl6EZbaXdHNBl9Q4nThhXb5d2zFhNsPYrFiwoSKkfSl74saAzGQeDIM9Bscdd6mK6MFMG7dUPuAZiQurkZUVq2yMzERQwwtFnL7VNw7s4077xQD5+3f4nooVyySw67DwuW/08QMKnT479EYfQPOqhwu2y4P59oY/QB6OOhbuhHGVx74knZmOFKQ/tqmkZahdRAQYbG5gpLGaUqPeDrOr3XrcZZpZAzxrkwHE0BDgqtWy8Z6Pd1+j+6/1LsmmA7JvyMzv0QsH3XN5E7yenAd5ovPTr2JpyjKjxuUYSTZGS7d9HBT0IzIYCZwHk3/6gjftDI84Ld7ZtGq3z0L8rV2Ik+pVItNHnVEh5eC7QbJPGW3xKKVhRgo8CQc0neJsgO3mDZdWuyut5YWQZIcu7TmZXpDR7Ml5mWS8+60lEg6qKzTHnYBdqRD/vwK97Q5Medte4fbbv38pnAq5w3vFkUTt6/bR90n39L70Wn0yeXMWwKkBcWAj4IeQqFdAp6dEtffAs2lv6qp+PSgSfwyFhZsWuTAK13jcHyOzWARtHvMfn9tS30Jt3Y5Y6QNoeZtda0VYlLbIvpW3qnCYSVO5RhfouIuoEIv1MOsfjUYm95NWzYQnomyj8mhTo6QZp0mvbB6aFl3Jqitnq28AkLpdo1er07tg3Y5T5qk8zEyGj2f1rLlTHJ/6fncRzt0Jd2Ddyb8gaoLG4C4mQGXciBLI/KtWxSYpxKf2aq0+i3pv5NHtZ0GBVeNt08BiiZEwdn3/KmgKqVXANazbyYavkvBcbnzNwb5a5K++b3rLrR9fVDnunYkK8se8cBkiiZF6vAyu00EV4SkoYxUrfpE4Qp6b8pzpi1qO9k6sr1wSGe+R3Kt0brS3ZtraZ+DouYO7F8v3VBaMQaovrLJc66PsH3OKdf2BLC3+SiM/kL2ptrs3sGHF3PNX/PycIe14WvWP9a3lOgZQO/IHMlh1Rhoy88BSKfag1GbikJ64pi0LzyoxflnLa9SKHeeC0YSdE9UmhtXJ4BVxGUyQSZj5E6UZirQ3mAQtkg36gyNUG7XR82hBik6iHo9rUWcoubX/p8PJfDdU+0dSqe0HGvalfunrfjts6+QIGsPT0l1K/0IS3ccUDBfhvrVGErPZbTuI/1UmypN0139wDRAwkQLjXrUWL0Fe1D5VAb6SLi2Uj3DT9ah9eGjuz2bULowE7Drl/VRwHU3cZ0LTbzgYFjxGRB4sgxnt0fT9HiolElbMbzkifgOuFM1KPzxbglvTkGODOXgc06JkE9LHXIEVtpuWH6eazz/6hf6xrsKhy6DQNUN5d3+HOdP+LvSnb+Zuxe7vSpZfkIzJ8khAzmZVk/bXFPnWUk8gM6m7s+LE3vwHvBOKPiVRcDgNgdHYT50CxrK/yh6zpkGKkE0hRbh22dX48Y6/pSMQpWIx+5/GOlbB+YCJVrdTejf/kdupsvvTXP9DDV3GTdVFXFoT3nPgGg2H+QJ9f4GwtQ99QkIz+25d2ShCmM5nHGrEbF8LHdXNjuP+0EcUhL+jOT1X0RWto87DNOmyDB7K8mSGQiMCMEnCUruZVWjGOBHE9Gj2rrzmwREXiTTmWqgyCgHjo227woPAhZfS0gAQCTLlHdsyjPiHgMqdQ836hw3cKrw26dfOvTdUohR1MMahF3GmvFgmdEEHzER+2PVsUd17oWr+TLqXk1zw8nKFq6UD3ZDnkNOf0k2QGNvTbOyysLHztIoNzTcsSQaQjffw/M2sulmI4x0PVs0oglcib8++6Gw8YTM9Fea0+gRn1rDL2gEu1EC4soznmHQio7SeAs06UVI6ZyDYW3ZYw9R6hYOdCQM/hf0ojJAr0GSUiorasckHDWyc24FHQOTON4KTuaFeOoY8HLuaI0rXCv1m/M1WXSxIztS56B/9nVlW2CeF2vQ6qAj+TcQKJzF9CtUCCidyloDccqcCtWPTHGGJ6VbXTSPCYUVMXQulLp0nf0Kuu4Gq2jmNd1FWK1d5Zyp1Y32qo/10/jGqrIRnlM2s2Zvhw7cGy/zoPOfS6KBm73B5ZFFeoBp02as3aYbi5C5Y3pl1T+HMAFKscrjyof3MVd1jmbFhmZwvQAsDQpoj2tpgyArpgH4TKxUs8g5+99Wtd9H8U9fJggNHc4cNN+8qvdbMM/kcAY0Fh7G9plGIA8bmCvUg6MLiNYhC83LRVpkT0JClLBFcUWRrm/Aa/VOzMRDRqE5OmOuCBv3fVlyFnYkMVvMkIsGD2nlVs1xzMkP+3preVvYbkYD0Mch4QfMcTKv/rVlMJtPhYRopnqlq6AS2RA1V37gY73Uz1DZT1dsNMQWptIa2RcxkU0VZHS4kx4QBcJnVFjRs6mWjd9oosMqGOHeWlVVRSNfquocg1JwJtj1nU60wkXotEtzAmbYiToYPHAzjuwWX/iU9DbYbq8vGO/8OAbERsR+gufB3sZpw2zqd+eNVXBVWx/TbUwtGENrZvuadCJn6xNw0/LFoJqGiSvYu5deV0iDrI38GFDApyqwiwjgtjOrkQHiQkn1w4NIGxBKnbVXUk/EdkWNScxqAILwfTq6cdRcXaNpcOIteqyvj9H6bVk6jdMvlqsStoWKIiZvuE+TQpzu3QQwKdAGN1Fg0YDKiOHGpejtTbcy2gWujyMacbxsX3MGeztKuMQCfj+qd3qP/18f2XdXv0xPzss+Wd476ANpMCsCzF0IXRb/TJm/e3V2QsvcXcKNjQ4biwIjx/i8tAkV1kel6UD+ycMT7+0VEGQyE6YwsKUedcUVIDA4oWqcJgOR+T6mkSD7nMnAnStXmIst3+Zc8ZYJM+WwR3ZqsXCBfsY5lj3MufHCujYD5Oc+MSzHRuFt6mNRr7ww0iG7bRU79mDYXvfh0PPmtfqAJTc0Zn8av7tRSJEnBnMiNjwAXKKDTeCc5Dq+JIuFH917qZ8r73wYmCLaX10mVOczZggTZpPFG07p0kIZI5KI1gzzqgqe9sru8mfGOIXTyXZjv7t++MUm+C8Cu58Jzxsq4MP9veVIaVrRJfDF3Bi/zu5pKAI+uJD57k73JhyPqvbtwB576jp+sJuRUT09mKgJG1YFXzCkpr5MvC9S81r93PJtY39aWVveRoofjSLQt7zFTyC8yxFwRM160hx52iGmn2IGoV9sNrOVZVP5JtKj1/KF1e+pqNRJU+/2SNAs6QvVTgCc4Jb2HNR/kiioqVdnCpBTbvsuZ0edGqdxPSFxi53Uh3P/Mkg6hfomLwTORurrPKHWNDSp09GWCBxEYafhPiclix27dE7eY+q2tuGp+lYFOzptw4Tyem3ai8LuZ1Fm2CghAsKG4VSHdw2zaSLQYbpwbDVsGa7MgblGKO7H6CMIaa/0NROuTXY0Lo5cwaO0Tmj1yNe7cZeZn4XA1zJLYNU0/Recc6JBtI0PwzwnPiFlldb7Ei3hOkeTkhZlmqWPDgXPHv5oudQbRxzcoNQ+SY1/Bwe6/RiNei1PRGIQprd8WJMHbk6eM6bdQNF97WE9NEr5uzI8f2sbfZxzl2RlCt5UKnHXy+oHbUvmucP9EWNTekvRzw/kncYlIEVCFdnWeKLH+wWE/owqSGrYSBXJpFNzgLwDw6stYkbj4TIcQ36acMpNpttZ4GRE0Ic81D4FAgfJL/YatlYlsPTixfj13R+mKG9iXirdByEZOnNtDNRNoVtkY+oXRZj3/kcbKjFEGLBiS8kLq/l9PbOBu5H76JivUNQ/l95M87aUF3vjKrSErgWhfWlw17pmv+gVrlXXWbKDfVhyPaXmV5Jp50lpV+8T8FmbcIQ9g2LGNY1X+7raEDI9LZISdWQPWodg55LS8nIxqekqSipaskbGVClnfR6fh5APAZgpMJWCs8WXn8y4g61TJGAoiKuZRE27Y/u5rFz2DAsbPZNtDi5Cm71Y/QG48/5XQM2hYjE8xLw6QwhtGmvsTrRgVTsECTm6CL1n40Lc8cWtNiV8qpRIo2ZPRLC87aO+UfHrv3gHg8fq+BC01dwZJM0LVGrYF0O9AlbJ/92qNupvO5dzqjN2kSrKgLO30YnVkwd1Ur4JER4ld5K0zEMCYsaaMKlNr5srZ7icjmjp1zNSY8SjbAhyE30rQrmWA3HcWfV3HKjaVzw1IF15t8XqGJHZVQxvP5VTD6tltH/prhcGRbffWQx4QeHOROS2KkuqT6Imdc+QXLlQS80Y+Jlum0PDhfBmQied62qRGnjswP753gaMYto43GkHSGmtQPIBsQ1UHPXU0+HOiq7BGqKO6QP1UHQToDEdFBAckXKQx2v67zX7CK1pSAdzo6HSpSWzgqauiMjN25a3XYtHya4cYVLBG6IrXLBrLwWwAAsejuLU2zPx1BB5zJtv8tyAQJ9Z4DLU7yqE//xoAuZbscmrf/dcNrzPTrQYHjYvdt5d6iEi2X/6A9zE/aycPWT5kDCQ1GWc1t2giy0Kog0KBpKz+kqldbENsVTpUOm2wuIzVydoPsZuiyah72dplYLN4JStNMazI90asQGIKdlQQ+xr6kteLRfdnEzZiqsLJ4sYaVle/EcGgL3sVODAIFWl2StHXD62UBvEwTFeWzLHARaeweFmd2NitBJw6JqXcdSSvbTn7xCFaFmH53u8+Qo0yJImhrTpPhKfsx8+rNOSKU455EtqOSes1Rw67QH9N8QuY8lq/dVGB58VOx7risTXz4vaP2qB5ISeJL6UV8SJr2rLWknFDao+iucBYsYwtmxbpelUrN0gXqP4AiMmVZx90etuqXyw4NmbRAXxwHQsNJjIdhN+jf5VFk7ix2HSLHuae4BNbW2iFwyVHTx6uKG/di55T2kALnBV8f1wd66gaMGarZNCIJHbGZTHqZm5ZWr5Sx36kYTgc+Li1MtnpaiTNPs65UJyvyBHP8DtQisGUJH+o6ce8JPPQrmHUwlor/MdAF/AONEcFao36PohzaJd4JfHggsBy+9xdeYB8kIwFv6zE0yUhAHzuAkZGl/rgyUR5ZhlkbSm9c7Lq7t3y2VEGCGKCDLsWkx2pL/7zzmewaiZSHOyY+z7xEZ3RzxgD8zAt+rK0w6n64jY+YRgA46ElHYrNnapuh0w1gH/dhzGOj1XoiTRwGCC+WOVQohdV50YNirlJRNcGqW5D8cX/3zv/nc2B5HZepWnAAK6Z7wmNjNYdJfLJZ4z28NnLOlRiFibnpywQQkWdgfrZtnkoO49p+pVCKjqeJ8nombAfUABarUSFX8Pz4jaSYqNhl19DGUD7RPxVQQkMn1iuelskfuQ/WTrxHG+2fE1QnBREe69iIQMiRCkH8KDhZ7STTyc1MskVhAXtSPqB1bJsaUS21vqcbywU51GKL5/AXHgzlzVE2YewRDJG+3ITcHV7WKW0AZcMVmDmEsh+tj+fEsmZTNMcJdFikQm47da+ilfauu8NQ9xquMjcVgeMC0ZM2uka1k19Go9pzSFj50Vhh80L/d1ZgY5PwzoYhJpOPE5qitaxWXh857SwkfQEcIKXvVSmdZp9XL94mD0SjqqNDcLZnebjagPO5G1v7BM7hbTiMwFNHt2Tlucl2C0qLFA3erU4lWEeqMYQ7ws0OoxhR9ZmnSYjJPcc2BwQfv65ibIjcGjy1yhubAhGKCpy9iaBFu3JUyehbMeq9GlSV9Hg5ietL6Qv6aBgxopHgXS+GwQzhtGb5u4c39HrhzgNz6q80/3Mc74i0FlNWk3ZLtnxvtICSBmytm1afcF3ppCvtnAakjeNmOUnwj4Ec8GQhvDodo/ViWp7Rw56gQ1WQToIGPbLosZXKT9ySbKR8xf+eRHeOuGF1VHd9ynSJkQpo0CH3eIC8cmJENuHe1tnWd9wF2loXRTYsh3ma2bFv0QLiQiNnUHYjTMv5bF3QTEpzHW1BgczFtR6c8mf5lx2HbySpvQ99j79HyMM+3XZ8wvwR3/cC/QFs1i+9zeuxBeRqsC8ZtxICcMf1qFZuYrfluefEzRKm5t4/OhPbCYUzkXtLfZkO7oCU4NU2mcAc0EQBE3rdwtfZBNYyWkh0bOw2zcurtZrMMBJRQrozVyX3ZpvsXvthoK7Jtz4mTp6TJSQv4LVmXw5P/TMWbezQ2RW/V75V5CyhmYAydksh0+TGgsly62iQ09U19Fyld97Ff3bOFtj2B36aAFD9ZPntl0i4GsPXXlksccrB2ZLU8GoPj+h2EdtRpX+kj5imWBqNz4oYTr94wKV+egw7E0nJo1ELWCCN+g9AlRSpJrShsKL0YcRNudaguDbx3j1WrQLGZPNp2zt/052xyWBYDFa84N7O6d1XEyW8B58O0wiENuqPHU1uLghiKfXrsLrIbs+PUHpjw9VX2vYcSRV5BB66O/mdwfyROpMOaiCQFm9DDNViX/cxBNemYTUrodtX/EKuTex0S+7GZnMMOufl5NurSmqrYgORb2Us2/LBcCdw2qVIFJuf3ZaYa5YBbgxKSL26SA3vM1E9OIQZ53VjGgEiF+BI/hXotXVz2tiPaHV6hP3R7ejRJMNOmsuJ0jAdpscg40WcQeezpsTs8zbPvY0f+n3QnDXni869vQKSfFp21jNNfoiM/PzGiQijzjhB+nvCLoHuHQGTAfMMe32JXWs9oWpTZ0NsEcVOp5QUqt7O9L+Ab0Z64cjTJk+ormup1zGROKw9lpoN0LRgOOLur5NDCOsa3R4s8i6u9ToRl6g4IlXt8mj6oUqDlTphXAnw6WOVaNhBmSNRFz2NspKDBCzYqlXOUsBcXVtvlHpnwwjHUFrEntdUMm/xLyT1T+oCU+caaz1nh1IAgDdd47DiAUgq2WhlaaJTJv+L6uoGF91gyVQS71xAWAV4/EH8w9c/BKgL24FoLFxKgUEBj+Ad9eiFKhGJpSzbU0NtAlqZOW6UQRF9Np29FwDQh4BSJgatVzIaGBaRYGqASBUjyp5U8GWgpItM5rt2QJ6/2n5Yc9hfyRpb2/uM3oPqp+I/BdFsfDXJIk2Yv4RLLZJubAL6TWY7pyvvLye3SSwC5N7sBdRrEcNNZKTbXQTGDQ8mwTKlq2D3wCUFy2cMlFdy+H6B//Skz58FklLp6rO8GMhBLuTcg9Em/tS/xc/oaC8JBAI2YM/ZkLdC6Q1tq/QlHPFfoht7coo+Jd8T04WOWGsfqOXX6CygO9HgltacbRkBDBc/rhSsgskCKtCfkECE/bCWHTV2hM+3LS0SUpljcHqFMvOOOGIik9Py4zb/45YCLOIbaxVF5XETFppsDUa0QN7BbG4Jg/0VHg044BQwtgAr27nJ3tGp/rv8AbOSdWsspvQE9zHYQodUtQxHYsVlihRhihUPvqeB3hiRmSnC9ha+hXlYfINjKuPvsfLDINTgu659vSWuglEytfzI+zeF/NzaH03KQ/Z0YPnbL9GR7TycE/MCqgn3rISpk3CzXbTtpwUeNbYk3avmYdv2ZL+o1WufHoe5YQdW76EkI8npi9R6/wkWL29ZEBXfSUaSWh3V/V94MX3vZj5xuA3zR03ic/9UDFqyWYqNPc9fP0FCTNDbs9OkJmC+OvIy1/8IttuLh0Q5i28tvpsnGSmaEjHGdiP3GsMr98B0WncVc4/VM1zi595AWTW2zYFtGqXkdYH7r5YnM4qhtnScYNTDYR0T3NkJIdzDIrxvnmGBPqUFMf5GuKV00WkoaZRNL8Jn5yppv26AB3wpvfcKfr4dvVsydxKcWB/ae8mYqmonLkq4yo0F6JsvZcx3YMJ53/AdIbbspTM82ym9P9D9GUbq5rkXtdjxwrtUMgjMdFhvK2Td3uQ1K6ndqog89rTr0wPVGtMsfY1iCaR0BzZAl/OvCdyaIlMbMHc0zluvRGQTHXLQ/wy/nozmhvXrBQPj9FpF7Mu0RtEbRpzaTFS9LLljO8kiC2aR1wHLKhJsFUBWe+QXFTqKB9d4y1HfS7JReoeffcyh1uOuCs2Di4qnnqTKEhp3IhSXyz/WwtgZ1XxyPuI4rIeQXV0y7jZrtpT5ndVSluPoVXbHI6ebytU5G3naiqprxqi2wN+9bGD6o8HGkTMVuxGBYJPDWJ36DYkO0bbvY1uH4p5P/51n0uSprTiNAvlGHkzkajZpov+CR7BJ6I8HwbCZoa/9rty1TRFzUxvdJfnp6MpNiIUDFpikYCoIMRoWfWU2Hbeuf49ohlnt/1Rtsi+vP6tQJ1PBNTTyiB8Ey+bAWn3S1LLT3xVxH2374MJnNW4TIGL+OZu6hV9HzWcFxuCB0CLY3rCx7KBUzoCC6cO0qxP5UgCIilJumtdG8TzqTtND+pNxZjOVvWzMoGve1pgnA4MqcvkRVNPTn/MMLqQjNQW3gHmPd35hUzulwWxSORFC/gnSukTwqfETq81t0BowRV8zJhQhtoV74Yxkt7iKhGmO8nE+d/9TYOAytQrAVyZNcWViKT4yxhl5tY3Ga6IYntihY3rLBYqv8JTxjS4+7qPRKTUboKYLdH1uBUOp5H5FwfyLy9t8iRb0BR1ManUpWvrUC+tLFiamugF3EpipTYmKXjjpHy+RPR0BV/tXHkFGIR1TGfjZBjSolJwPviy4+YpH7Cwa6MQBw+httSdpPs0DN7HDcLHo2W+Q2ehzBRxU2yp33R09FAGTsH69XEfF5la00CPu7PJO2RufmPXhrRCeRYzQc2zFXbD5tlb5x7iGKJOtUtomnHxj1yxnQXF5Iuu/lg0j/2jSg+QV/EO+QlNn60/wu8ulaBdCjxf9hC1cfSccDFHBToQDT8sZMSp/qqN5YvoKnsW/BnMPgDJM2o2yGvP7z/4jzVf6WQhXhYMCEL0BnFc5I40SIOd3rZdNrRhy/mwGwMN2X0QaI3mW5mk7fVeTyqNdSA/DD8AQ7w74EHvObcnYL+WvEmMve3kfGm2f8jnugxM0xfs4RAASgt64wD9oO0CkpRddvfDC3kK66mqzQUingGd23XbLRcO22feXvQDDE2cUZsttFpePdreGNebqPcaVIA2bNKD7/AOLAk1jrdEfzCAv020rxb2VL9okq1HSquW9xDcAzO0lKDBoAl3dEiVIUhHAAtWSrQlicCiJlgNS0t1AeeslWbZkk+gjmETTF4n/l1N0Xm2m7mAoYvBTaqKZQo2Z70s1CoxvJL6QARi5ec2XOW4l7hiV0qU2kP6ClLyVqzS1FKevnZqeN8RHnmBz3Zhn9tx4iX4CiTCFQ8YqEbWftEBUW0Gc9fWXO/nRrhP92Jb03BQcE8j1QZj5V55J/HXuc3Po6bH4TKWqxFMCMbff/ObN5W+DMznWvopko2EN6ZdsV9F+4d3m+8TJmmBld2IYQvgCEJngsvCo/VB4PRMZdpkx9Rl/cyEr768EzBmFnpkoMYP6myaaQVjMf6QYqUew9htdcy2OfJF1ErtoA8OKNK3d4OTQGokhz2teRmxsn6Fl5ibgLvtA3lJbkeK9kAmAV1erTDXYH4rR8r6d13qibBxeWDYAYrb/yE4x6Q+fqTAOL94GM1Y0Aasd/D3Ikfn3+VzQh4Dvfo1Se+ykb4ljbyq1Czn2qFZz+utprleQt71YAqUrxOWwX+LhnRnq7bqX7rQGdazJZnUedQV0oJQi8eyvfC1OOC1OiNkJn6NB4Hn4EjWq2V91okeC+zxeOHOiaX3IinBAF8CN5qtAsUm18YADqYthMKKcpz56pA/NzHvVDjVRp5APnrg69mx8pSMDhpAolpgOqIU2m3rhry/bRtqOEEHEEIrUIEM6NLtSCCS4J6lBA65CnB45l5Ex5qdhEnocR1F9TgOiUYfbK6+BT1c2HptBMATUzOFWufUjuEG1IknJ3e7c4FnK+2nNEiWQQV9NgoR8IkAeBbCz57Hrg+7ClM5KCLR15mUlObTkyFdTlHkiVLnWA9/+h7kLwxUl/hv0wOzoatIu+Uq1DZgc/Mlz/dzPdRlfX35Bj3R7jKfYTqIXydxXteQJPU9HOfPoqmsX4hRsNGtyrIAykh1TBal64wL8MbrTGzMs+5Kh0mGI6br/2ZHtWGSho3sKskGcztA11fW/Ql/+3ptywh0hFdyEceDVyH5LqsbTeI8xmXZcJlBy1kOvrr1LjaWWtF/TYKaafo+QW96wgWwjsyr/4kLUiQm3MzZeZXKqT4I5lombfluUifvamUpSX3R+2+b8RG2kh425WKtXnIgigdpxJM56My1Lkrqh/aqE1+1X2QLCtgW8z+Y4TGikF0IPi+1aqXd+odq8l1Os5rLwAPykDnPB0hyOhhH25NevPIgoPq7KSQjJI76mlu8RZSiSN+aFPjnKzoBoForE8yxgtbj4rNDxeWe6cnfDU9WfjviMUxaq45H1GyKEjqQ5WQRs2Xw3qYfr+AkADYGkAnWG7V8IjY2NLQSedQqeD3VNhY7rIetEWBDICzITpRQeXb+nGOiA4/yEjibSYHk3vIsCtaur2G1Ldb17Mm0G5Mwp/HGDm9AWaITgJr5LiSNjI4OkrwpXEXn+nCaKZAvi/DYbe+Gdr+VLyOWPRKndzp4nQzZ0p1HVTtcPmLfLuE0Re/FiyX8uKn7zaIcupIpuLcYAgrPHRxNuSHZCRg7YTfIDmL5XrJ2m0PG7JPRIaPQjPr59lONWB/6v6kKuYyljhHKUvQCujeQjEmEOJrCtGl+2jpUBZOLwkDSESEm03n3ZtHzwn2dsT4XFvxkUXg30R+LWuVxvoV0VgrUSyQtwogu2tA6dmTE2/cBLwXUdEt+soBWrJHVTFdNf5qsXT1cusdOXiZdboVi3K0IEftGSEx8xEwHVQhWkdOutdOgQtqyXM3H0xLBtREBB0FBKJZ2URgInNcfpmQAuHy62i2/ZlQeh7NU67Y1mwwJ5FkyMTe+IaEobfShQxAtxZQ9ZMNtCBQCthyunklR2PWxfBwhczisVVVPmo164EPdgqodA5uS/C5Szb7lwDpQFG1Y2QxjzqzYNiEc/POEv8uuWIlo8MhkP5GphKOMLyYLv9UUJt22ciGPGdIjq3/QTVlo7aPt9zGfZaPxpsucVGTbHCvr8IkmzFTpcjCB21c2VpFZGBNj2YaUNvk1lsHWsSkLRmynz/zqk7b5QZdtwYQLJzMJ9a0Ma+Jj3zK+o4NxvDo5eo+CyK/adB0c7xPin0wgG7InwvJRmtSPdzhNifXl7elhXC7Xl6QCk7QYnxbHHtIJlF1kWM7/i5XxMqE8XLAenM2hVKR3pr+utYW9YYPzOjZLq8n95O0vjXfSo5+PSEgiM9qFFwoVQ5mXfKZPIA2Q+XDKy/M5P2BI4ZFHjXMVPoDO/3Hgjbpn3SnBHAkXu3O4jEXS82OFdYq+siLjWpGiHS3mYS1u2qP2ZroAQHjIBkqi/45qn1jcWIJkmsJlYvj2Q3JUr8AVwI8pF1oZE2i8DKpuox7jJ0vTxEDrT0qMVD9NezdnT3WP3N/cz1Kmyjxqyy21A/fXcuHt7Ypb0/v6dhYTG9JUgECb6wXKgTk2EJVVlZR0kf0knyfNHJPlsgcvVjoWWP5FeXeu8vt/RBtGSBsCbj1lTw8IZroYqkv4XRs9YNFgEAbBXuruBHUFW+j9U8WyOgvEEWTTS1nQsTflxOSXktwutYI+XDrIc80ib+z9CW070+6hPLlPmAT4KwgkSWzgthSE9r3jm3DRk4POoLCtyKgdmgNZp9lVlu5TvwDcjY6XWuFkXbqjTzGq6bv7EHmkXR/9d4Ffluc8lJubvjTY+/xijP3f4VzRLsMOqz7YPIVOO5YfnFhltVhHuumCZeYcWvcO7SLWh2CLexLfQgOu5HyVSQ2W095KaSIjx/JCxIksGNYHin4p/K8cHeecSCoTdImRwpzcN11hq6AmWWjRQ2Fpo5y3z96hwdN+IsGmSLV4CG+MyvNHKRf7T6RaaVCRxRruyIUGGQY82glqijTqTUVYX1+z6uq2TtpVbamt3CaCZsj2WJmQwKAcDYYutuNHtLarJfEXSomi4rpsjkvWsmMOP/wN932ACVJ7bvS3M1xO0ytHmSaPin0aTgsipDeSgOVB4lXbBRRpvDB/Q+JubMidct6cRceMlDkgMpDp5RcmixJzRNsyxcM0QD2Y0yD4m8sWZGB6e26OYEcSBPXMo3FdhN8vc08WRUYhE5KO6crw7x6aHmoA1a6Yj9j1c91HQPpMHkYdhsK6ShHtgJx6LjH3X5cx8p35zu2gVVvtsPYVaTK57E9cW3em0sronyffEhJY2bqFTNRnZwFw0CEX46faEYCNaRvRHAArogBuZQkls+z2dFHerSW48yG5BKGAomRqxNROz98Bzk91/y63nCewo1kBeUPXHEwveh8BV7T91LQpRgII9y+S7jmJxClV2dCP4MPKNDu+UfrSnxwjYzr1kq3T5eOfUrGw1URQ9PqbRWNVgS3NdD8qQb4foDwstGcEX371914spe7xTXcrkCz+1b0wTpqJ73YbztZX1tk8v0+TRGMpFnRZZ+YHXfwFaZbbj8UNF9h2Wk5mnMRLWkPHHJbz3HFMXziUM4UV99ZqbMaL7tDj4Rm/BAK/pS0hzf0ZkFh+77XUtiHuktnYEmkUWnIjpUQYkGZZu9JO95De28htlNv4Z90wHK+GFf4ldixQQ/jSLWptdAn1xY6Y6WoUeBWo24O9zTTBqRoizFgAAotfN7Zo3IuvnweXLeXRSVEckl+AiEzys8PUXnwShWJU8KqABiOQU57EolpE7E1sOWBoObUSqzgb40jXMLxHvoID8zhtFewaWSjTgMS2r7YKmWLLT4t/TTtdoDB98TSKaZhxjs/Vp7CyiW147k6Q4t8Y+p8fgsYuPvYeZwIXxsUIZv3BDY/KDIM65nzRcZvzUgfz99tNrThxctg7wANu/Y59IeQg7oAJRAoB6Q9bkfPL98rrE7MzK0X2k76M1tLK7UcfVJ1p3mxEw94bGdlPYCRuw+64vbFww621G6eI/DuFY6e/qyT0gv+x/LMG7BhvenDvzkZ6vX27Z9hupYSqwRdnjEWjNTCEuZa6vrS914QSNc3rwawOINDxJxs+38M3iasb74s//RY3DVaWB5689N3JDuKUklktue9MCByEXZ4xstPIR8+LeW0lw83hG9a0pLzUlCx2X/+av54bJJMDgYfmkv69FHtwav4OnFtM1s7T1XTgInQKy0nesdDgo/PuzmD2lr6z3KZ67OWOIQHMBoeK7cMGYS2WxKDUxHm7ujmxi+B4M5mxiXmleMJyXs3uNd5sl8cAEWhBVb3CfBFbVgloo3ZXQBmeV5YnewCXqpvxlwB3W1o5TLBZfXoz4WTV/hdymeGcRo3WCYOpUs5CPr6Y2RlnYmSY8itNxsl7uw+Vei1OCder7GTyrC/nFuOjDR+YtehR0BBdwDwfyfiFsGL9WRzFUGTMDJ0qvDuCuI35ToTGYYu3UYBt+pS5lBxXpVm1j9QWgz1z35lkiaKyoNA0Dfo8GQS1WFqDr4Ol8gXSDrnjDdPD+bIRwB9w9ZGFLTk7+ppmg6Nk1KKtIwLSf5aAb31U6cIg/aNDE9QhcoQIxRNBn+cpXuSwWFibC8beZqSpD4y+LCujLkowg7Em5/A65N3KxPkZneAsGLhhYE/nRlQkN34l4dtoqzpK1irMvFcot7bhGKso2Zg1p1SbYjPx8RdaVc/xR1y3g6riqjzCgFtuX1VzdyLxn1hM9vL2RQaK/jdgs5+zX5TvUn6+589ov4zdTktjO7QbLeg9CpvMescpF2eAbp2S1gyXRm0qjterEWd1IWVprKAmiARWTarPYuxhfdn1gqbGBL0t7WFNl2rzF8BpLzoRGUXHuAe7ENhBozEf3d44bnWjIwScvKNOupVraDIRY2CCpoBSwLurG2rdKWESzwoslpEuq4ZgZXW2NacdB1qRLCqXR2uUJgx4x+6KQTeAO+HtfONQaX3tcreKSm9QOnKgNJjZqHil4iY6pyJX5XLYaBAssbeU0hEv5pAhbAAk9IFKSMFiGlDSHehMfFLywQVsL9BXLHD3AiZyKUP6o2bQ+UQdYWJ7Iaiv/qgE4KmdgJwVN1B4IzpAEjNGpDM+snokekNETPdSooI6fj46cc3fTnul0t2zEUCE/4OLBhWhinenjYxbHyUhIck/ap+n875OP00f+PYw8f7iRSvFLbVM7tk9Bhlw7X3N4F9OmBEGT4h2c2eAYVhxvV00muTE+yj+8IxCspxn0ctt7P/yWmb9haCp+Y2dO9bjM7a7VMdNPDuBWWAbeBdFuYq06rMN2ECIo/7dwWQUKaBPdBy8nVlH/puiyqvsG+v5N7Uuqp0B7p4rBwBG+3UXycQnbE6gwX25wJ7iAL6N5icQgkCK5r9Aw/Cd+dzmpqftPbIbznu3nRuj6FBPJ41TBVIHvUkFafQ6ickmqI7UiP7dVYK9HuKjRwFyB3I3JYcZeMrd7DYKNf9Z/bXZt4ecJ9sWOCoLfKLx7RL4kGR8FCoBkHfdwiuMQ/2EtlpGa6kW+gdAsi/Sbg4rE7Jqwf69l6z9HuTmOotE/00QDt+u8uxba094Wl33d4C9dyZtdnQXKzY+velN+B53aJt7gHOD1eWspFlaDvdaV81oRS3QETGHSulr/s/Qh9MYuPiQT8X1Ug6d0s3O/OXaYszD8eSEDeaqZ1G1oueL8+7xhZNE1W+ZzndztFCGGeg1TEnunAOLMac6f0LGD+nZF0ofPOcUA7XUnyXh9tNJbIArUVk0HGiRBc6IuN1XsI6H49z5GIIYTG18hPpPdBintZVO0zJwWePIkAyR6Ixu+Vb0XZqRVIpxEHwNjG0hLWnCgjZu+sTqEFN4cBZBppUXgc2O63jjx3eeNfAv0As0RO7vxh8vmMH16nfMt5KwoAvyID5TC7pOYFAQGnpL/LL63xU/vWBoDwjt02nu8PMnpv0xPm+NDF1CfoqbW3cqzxwoAzps2RDIb8tH31iObbuEuc9h9Z89yaZNI8u8YjjESCGIVnXvY/yh3pZJqNsw/wzJFLBMhv3zKBfpgQe6hj4zUUbsMpaSI8nmaVnuFkhhysmCP8VktPDp5WOgQL8eJQA25S3DfXup6As9CHSipTfLo8nzKMlHNjLJ+48iQVHgYOMsgTqW5MruJWnsD76tJRoCjtWhrmhpn/cvLduFS6Z/eDEyfG/UWTJYlOsfMVio5yosaz6mB/aQT9PXb524s3Y+Vt3gkQZ4pC39eEKCp+rxtISEnov55Zg2/h5JL+ryhC/XxYf/cGBaPBImeZA6zbRTWaUYXgKXbaEResKBKG79NrAnUCDdNvDM3We5uYnCEgE77hG9y7EWnNqzf0Zfy4gXRLzXae0sQ4RPa7bbqrmjoUlM7LQLaOxbt3u9RuXJHIY1iv3JWgOob8OvZfTi96BQKiAYxlO22ZZnUhiJfqiFlCuw7ZT9obWplRL2dsFzWabszUCOm2C2MaNvd6bzmEooNppsdgvU0snxQThZTx/0tH1TL++HP+VyEQc/nXPxB46814Q7kNM858aRQoU9YOFwJd6AmB4PKdHd7Coy18t+xnmzjvBSO+UurrMhms1b6Ga7k02DNCCAFAIBJ3Xcri8y7CsBudTy0uBBNJEwJmz5llxMElEioanIg7KYZAzLvmdu9pICrfSz4mMEcNk2yiF1LbJZUVoSeTaEOQENkqklV+F13NybgJ1vSNw91l0Jz16/38gqo6YYI0epDrxHgONElo3sdtHVK4qsyeXxV1bvUl5Ro4QeVjWA15MY3XRwuKHLZOttdN83s5io21raBMu79aDDi/CVZsyWzg8V0jxBUOb8vBggM1wLg7vOZFzxDzE8zljIk/TY6EmvRI7DjO24jf75jKbkKUyu3f4+P54gY1z6Q3dDiQ1GX5dQPu3+4ddqvDyyXnPVWpP51/S52aou7KOdq7o98mFkmDAoMpwGc8caAG14ohsJ/qdXpTKlsY2CkgnfL5y4ScHRxBf45r0gTQSZ8anJQAlu4qZ4gJBCGZfzH3L2j6ZVMjklQYoI/WlIA+hIOGX+hIG/MRPnnP1bbfKXqlZIu9FyQ76huJn6m1dsoJLz7P8m7KmpFXmCTgaQUg1bhcEfIWDovqjUsgPFWt6Nt76qFsyPes64bQBUkFvIUMQQ+5cDX1gW6NsxM4FgssFvFbLEMYHtjSUuekyfAWVoYqWX4/UzApm0Ak7ki8q7466bL4OyDtpwJLmTpFbp/076aBjuR7ey1/nRWUIaN3f6+r+nsqYUtJPbUzO2SZxt7zB4414/6HKUJTO3utM09n44sJKR9X8kT6tAF9FP63N6UqjX2Q14KkvJsJa8xKssZltIcRzfrJjvLvZDTzPbmY8hBJaxQK6Prp5tomi+AyxH/vfOzCW/jths/C6pr02oJkKiXr/pRTKBtDVEYcGUYgVJimsZeA4stPpUR2h76Knt6F5ZQHzg10wcwolb9AFC76y7DnmPmKaniOD3cb8Z49pzF1fO8MJtkOZstlWglnTI0YIszroMvZaaDYkpG06stH0/ofn8xZioJ+4V3WN2bYs5+aO72lp8ipyZWtkaSWAwccgOQMvIqQElLmM0mvL437SX61DcWQrEJfefU+Q6Lb1c/redhwFNLPxqYqpUHHbibyc80Zr1P/irz5XXZPrPfO5Ptto8wrBEReOkiwOC/AFWdOgUvTzjYgZDvXr59NzmfNFqRjX5e2mD1jFvYBou0M2oDrEL8lhsVOMU/vM7BYbUQbjLzTM5N0tDt6lXNSZMWUdhcLiw0sXNDPX7jHEJJDUruG5tbQz22sQstsiSMAllldgU39HmDxeNiV3OY0udbNsZockeoEsT4jEJQk+seyd+Z+aTAgy8o+RNvVVTTBBlvf0YmfV8e3dnuMq10O//jS+/ylqru1fyPcVOiFbvxlTWOGip6ZwKVJuufqmMFIKnk08fK5Dv9EF7Vik1/f1jhvB8ar2iPZT65wPLPCuXYQ5CJEuvw5hucynrwxrL+Dc5btcQ3oPJ3fkX5UWwZVt8gbyRwqNnD6LiYDCX/e4FJxtwKpJNV/rXv6umEpy4rWloH0p0HsCxnYgsYmjSwqHFyHJnz0EVqKStcpQCrGtzTWmCL99brGkF2nyjwuheb6zkaILPkTOVwQNPzrDpgHHlS2G76BV4mCzhbkWP46iZhl624/q74T9ufDHyj0OnB8XEMVPwPtqdKCcNfTnpPlprCFF1ZgLTJvwyT7DfaEpjHKh1pBTnUj+bim5iILzOo8S50qfT1kPu8jhBV0Zt4n72QPvg5nlTKuSQWvgJPT0B980+BWbjdgO4sEdQDLHP/kRbVl90rPDKq5PcwWvYa59LUVwXqoHlmXkN+IM5ThctpOWafpSanapOqJZUEItq09exu+nNxqBpXr29/7okebyQsPo+X6a/yetPC2O8s41pQzwbJX8D+yzWY/79D9HMXUFFEIayDRcFahat96NRYGXFXSWjCLjHWXHbtVTF5pmwXFWw3TbJvD2uNPMl4oWeva4aQWjuPVoU+1Amn5Og8KJTMOMBCUzlSG8tu7GcLv7r8c6pkvWfM0lddA30trnZHURt0uHN4Tfp0A03MN6QFu+mgpD0QCfdeY0Lb6Eu5JOArVfwAt9uDjPgj9Y4HYjTmKQ1ykiJCu1xxq/jWJDUmjwe7wtFPd3Yf3IcwkuyEht8QA3LYoyRllvTfOVZ4JQr9+J3Awspj4D3SXP5Occ0/s3xYYw72ce7pnnDrhzSysgZk/8kMTBhSjp+3BMqfp4cxSEo1pf9FxDx5VgtfBLY6atpnPU0wuvKTdN9LkJ1MzRKdL/PE3aBKzqm9P/bVvv2qcukDq4sK5qaY7Mv6E9hejbVUdUpS8yRwznN3d9qJlHP/KSibGuk13IXUHOqKG0HxW9WY8TDDxRw+0c3QBfPfkuNaBiRoqdUSYy+IijLfwLDfleQvLcwLbnyC4UYCYy/YAC42fdZ2EINJ1yd9wNpgeQgtphurqXCY1YtYcl9LOBfQtQWtszcRIq5DocA25f7f+j2uI7CNj9u38R+UwtbMJ+LWd7NaIMiJCMAJlFxkIw13nCVDpzcAq7sLDFraWLezsei3yQjnURrMIyEUDU0COZATYUZwYSlQ3j+YNO14CO7Rbe1Dp+My0IzoIizE9INYwqtIc1QJgEaNvBV1ygInwkf+IMNegp1kIwkgLRpmGDpx8Jm5Br9tKEWyMlqbk68ht3cvf2/yYbLWT2iiMKyI6IkbWEgqLHjAYszWqaVpbVxGs72HjS81oyrsSQu7C6Ikzw66+oJxmV70ReB2aGMdDJTLKnJVFOrtseJMSzwTHZfFgxs6tNHp17//+u0jgJvSr3Mv42jVUG90Dtui3jtsB9y+OADh4WaKSCcknqimVlLRrdrlbwetks27QyKw/ehfHDO1iVMfZsj7WSohB0sS8IeJGQi6+kAIp2Y6+dFCqMwCYEUkOrbDHL/QOFFq63fi6t6AYtuHsoq6GVGZabDhET7TQdEcDSyN8vSl/4ZiQlY6X/3KStIdTJjr1I/eK/2dAhZxlaZ1kp1SM+kZravwuY8/yPUjGQkESPaBLh9aGT6q0t3uMGGqOvKLH+9t3LFB3CTxthJeiT58rjv5673mESIYBTGb+IfERVzd6KUElfRZMlyfg6lbaDgKmVivs7Feo5Mbf9Hy0ucuGFqQ9+WfbZ+25q+PXCPWhMKLS3RuyKXx+MceAXBaJCokmsUPZ5DafXc0YLhCCrikFwMnUpPG/Q+CPcPqFTwYeR1p/d1nwqk81VonYnaixHFVyyr8WA633scTH6bM7WvzrEiq8HlR787ltAy/vr95NG7wv53v28j4QIgSkyvrBUJtxzGcK8iXFkAM1xwI7SizPdM8CBUO6YhQV0T4NsLu1n5fBoxynHDzAiCnAEqfbIY1y0pr8zh1pML/kT4woKz5spzF1IxGbwdBL2UYXKCg7efi9xV+FdO6xbDIUGkh7Vpvp7J9kD1kuJLKrQRX4B6A0kATGlvWvfyG/598Zm2tL5C/fTZGM+anjOXUknPcQQDy5aOSMETw1PSOw6Qnh9g9gX/JZqIU6K0L2BpYENnIBi5k+K71PPQcB2FM1Mpxfoy57N0DZYBQooyA7lMvMO3nYyRzfzIf79yKarEomDPOVFmtjp/4kQdx2XRSvj/1JK9BXCy+1x+grVFlIMmXEwpfMIBHzVgUbng4DcNKDb2dDnmjzDgJB07QvyHk4sOTkbvPJdasEAHJbZ8kuuLB6NyyzcFT3z9BRxfxfMcAWHb4YYwWC4gf0aCGLLUR1RlhLVkPL3CvJAORBOl7N4o/a3FFTIsX0t9VJNGxTcTSdD84j7Zs69lX5QquG9QPyADeWmo8phDMhPfldR3IeoG8igPTy5/I647rSzkI8CJl6+m6EZgCXcsAU7juDQYmPY7xuds0J+ZjPh37mU3Xay93RC3QZQLUrX9Qmum6k8Tev8I5qPtTZigGjuzwut+rA0tOvSp/3jWAT3h+8JZfHbSAfYv8ZGa1YMrj+dgasJ9xdvAloED0cifKeE0m7mkTAJh4/E+IQtgeSnzjaDUxD1SrHnrv6AuNFOFKiydV+R0WH175hyKBIt4l1T2tJgw+ArhgM3oKxgzYDx+TeW4JEST1+f56yY5sV9XJDp8YtHXbkDF42n50BbbFelFGE9nHXjmLIzEhUVICcHCpkQO/SbRNg7KDThoLXfSWjlByyVQzgyDADP64IaLKoMgQ9jsXDsG69VhIvdlQOBQ7E9NQW9U1GnRGh8cTwQXpcOBhrs+Ss4Cpl9i4/JQFyT+1A2QNA7L2FgXV21Xn7q63Idjm36SKAHlrcVK5kwYZ9ONMh+PQvN2dhhztOn6fHEKM3zFC4S/A7XQeaLIByYNS3NAzISZq/7SfGDaZUB8/ao9mYCAF2wfhbHIiud0UdtDF1CyyWb/r9AApECmqQgyoFnIc6amlaYIScA336BH0kFktTttdgv780lfyU7Bnl9plhjY0ZhJce7Pg2PusnuoKwHsBJvlktEGYHvXM8ccHhulm3YzGCoIk1XHekHVaMDPFDDTO4c2AwI8M6nmNygZRMS+WzRH9YrDNR0z/O2TiFgNwUVdaEpgVncH+ufgTao6gLHwslJx6YvitYDOrI7QIQMwWJ21DvX+KuhLWGL5W09dBwEEy5/QPqq5a0DJ0yf0xqOo7LkDRcDpf71EI3uq3E/CwnTOiH35siERIC0Y/xrJc17dX0ZshNKtbdVcYj8rIAS95jqA7ARdrB/RJvpepw2oXDeg8Rp07x03Ribor+xQ6k5XBh2QlrrIGy8IMkvK3YyhKysJwjOejBH/RNOgCFwi6WeGh6371Azz73zfnT8cwGASwPvGimvrwz0hMJJkeO1Hdj7pG/jRJvrWAXBxhj4siqxWNuems8ixWvXuEMyq1NRTc6D5KtPkgufR5ZyxF0OG01E1ghc+oFnshQvdt0M0EqFu6trZEmvHK+0jr4ZYxXiC71hEpcFwJ76b6eRd59Y+3qnY//bQQXhVhb+TOxcuWl/SeHCMER9syi3mRm51HciiqqBsEsvhCDw0xoUdn+sbbUp9mhFOwCccGxrpZ2MLM5yLPLgu+EcfD4NPIKs4ojhUQgZamBtPgFKxURUwfaWGT13uidiluxNb0IiD3Oen3D7mBBV++ZMdbk0Xcw/pcn8P4dJTcWvvVtgndy6dWED3gCgmn9IfTLDL119bYgCFOKMio9pI0pLW24xDcbVzuhnozyrbwlzbAxzPrkvBBX0JodAdt0dKfqSRRgQq3aBMQ0sk27mOxAoei6nr4O6I1to1tKzc1VCi0+TaM+MGYRAzVGfrxgP+UGUH2PhqSh6DydRz4zClYvZproPetIHN7MQCxZnxgRgHWuarV6L82XK33Szoec+BzHlWBkBr+Fg9WcwoeBHBttuCxSYzz3sYTE+1J8yWEdRWG/h6hVgpWvj9M+Lv/Nli4WbalbWA6XzrdQDeVcY5oMun0EJfS2VXiWWAmZTx5HofVpqYmmBFkdu1OdSNd5l9Wpc5l1GMSiQIjnYf6LGvM9znLMed5xUbh21+0m8Ys4w1OQNO4jLsWjr8wkZokDveB4GQ5gd86WZATH2Q90dj3ljKpLQB14HimkP7PLFmn6l/+q6DypHOaizRt3EqvVrhgSjW5fkDudQpEBw7Zwwy8Uop8+Pwfa46PqSAYAg8JlKD+WVHYUtgIVGKZ7Un1s++05zgMJF9YYYuBUZxj8Yoqqxx/ZaCHjWXR+R2nj6NEMPGH87kJbHqGulqkej+ZXsogwLUVTkeMx+sKlyAL21JU+8rjqBPfrxZG+pUSEPxOlMXR4maLMDt8f2RASW08Y2yDt5TAq7sGK+pnXsFO8J20kUXqkx/MK4E4jb9taoLnva9DVgzSK15ySUmDSOGSMNQJ1IIB1LpTaKG7Gm92HFmHBvkNCPq6qzPSy63Ep0cHYVd8C7GmUjWwIkLRHo3DH5wdNk05v/EHhQ2+xwn7NAzpoXGqmU+auGnOJbmcgltob2Ct8Cn/222+HjOJsZyW5DZL0jfeE48w6fpSUKBi1lK9DAJRmoQnPxGFXUETxmhdO697q9UrZYV+cdnYAoZapIAO9xK3eI+j9U03FhecQqFDIHwx0W4MxBEjYcmBxbWJBxDxWt3Tcm5QkgiAJ8EgCvBzkxRXTDZNp7f8i3qhp2NvyM2aqkDf8TUvQIGsmgq20bt9rz/oDcxQ1hSvJhPWKn1KmHor5bTVWb911N3HeBZuh08dg7xgejt1S9r3WzK1Cz77VVDCydYuVZpMGpAnk6hcdg7DodIjvmpwCyofdsOL2/Rg5AszJKNheUDUzN4U4QBnhEtiMg1ctsc+UdfvGC+SU+PJFVghNFla3rIrDmff9xw5yHag2iSkv0m7vy3X6WC/PUVASUN/RlfKk5eOLzyt7iwgd5brQgZHl7aCnEZl9rs1ie3WMVWVFW2gmQ++rcj5rmWOS9Dvd3WEFWy6gEqfkEdmDJp5UY16xEMpMhBETm2R1HGQ95V92mdP7OolMV1D/Pw8pjw+tXxnqNX9MqZxy++pxDE91WfnDyVogLChLP2aiS8fa4PZEYSyHz7u9EogzP1ydZvqkAQN4w1bPMYEFiG/cu7T8B4RXkf7tKcrF8QPfkTBc1/6OIUNz5GTS+OXh+YpeYJgskoF6cmHOhDAvSDfNY7wWmahs0Feq/iRthxf2izV6p71ZVncXYVucavNVFyxRZU9L9nDYgA4sl43xapxNxFWvPv+0JrzRegjKsdimGO1MStkTEjHwocPvpjoMjeGXw23YOKMqn1HRRwZwkncoaaYE4Hq5lTMmt5FHS5fW2EucxAbc7T0qGHWN+RrXS1aJJfZbF+9/mtry50cOeDhEta3rVz4kwZ6ycYYK5JN1mGCEPgWYj1Yil8Bc0dlCEUO5r2bM4S1aLzgoGUq28xcOmTH2IDd1KrUvmVUur9Z+CZThkexalrPXuLgooWLMaamMAhej1771QxVQjh89hmsOVyLjNv+3Dpjb61V8xLQZ9du49JFDztqGMfIFntVb9OyN7TU6WlJJRuxw3m7lMw3Vf2XaqOmWSWSlZaicgHp9RfYu/DYxdbjql5sq/53wXCFlss4z+RyVgp3yraDoJ+e6blL7xhpjAQevI/pOSivAVasiD0fqwokemxZ6DdyVT1ZjBAGlRXwYBJqrEhOOjAEOGbSYsaNqc3JREw0MzGgMvarGNwDkt/cgbvFj8pilBSzWp1igiv0ZZl+4hKyZ/LlacAb2ReFOveC52q9VdqZsg8AlVxWhHgIHYT9llp2ez4stp3m4mp6adcNYOwNoARUwAmD9Y+0qQhSMxKsfH46Pzy+G41NrKJlLNb9bL1BnM2a2klik8A++DR4i+0y6r245lCf5CoZ4TLmaxyA+bXTMpCpYsu71rc4XjDw1FzMmendcOsxqTnOVE0UUSFDE1PjvNFSsKXKJLwyr7KEomswc26D5B4tyPJeBdbAG3cO2a6xFD+UM5p/aKlgvROSck5BQ5jlhA2dkChkVd1OxLBzCDZf9KYSYs9zvonR0TVwjs8KAd79Abtbxx7NQmgU+zxcp5RoV/K1qNEudu65tg86qJzhpI/coFGx7+ds+6wivxCdKk9+oajaUWi59TZF+H8ad0/DR+9wfmwBaJKt67/14Hpi2CIvqXeloSLY7Pz5WSn5ddy2ArDXCTu70Kydo/6SIcAcO72urNEERNlub34XbdygYGeyByGK9tMvfrnijYtelDhViwt/J8+Uar62/+Oj/yas42Fr7u+D1lU2kQtZfjhHx/UJ+EDsxOfDzsMhXOIPtigcv0sK5Z3xxL/Dv4HilCvMhHrzMSv0uWbvEj9XZUOi7at03Cr+kEI0mpvJIgSOujnhIFbzBc4J08hxg+vLw/Gg7rQO955JBQlq4C12xMaucnCxyDJk11wQhsJCVzIyo4dgosIsU1YBvnMFXRmFuJPVBwjMBuvF8wHYGWYNsTp329l6ProyneYLIxez5AiQYEex0WICwkhF2dxQJNC1wGWw9OoqlWnYkuQjDSinigcsSdTKGPq504UIFbx45XE/wfncZTxZBCWRZnL3tMEr5FQo+90y+UsQhIEYBEp2QrM9J8LXqtywRvdhrANU7fVFOV3dsOl+JMjgCkw0avuxxBVFqo7y5hd+/oCC+YVYAwL/yfK8O6QDru69qlq0n3is7R9JTBSGZjYZ1ai3jFC5dkc7i61MuGwZO27SJGe+9khyfnhBBXi31pO1QERM2MlMRgr0tAtYDJDc0Dlv37umj9LeAeMiDUmSh2hUF+Ovzi0GqKlHDREDu16bPcIGF7mQghKrTNuTI7Bxu5n+PHLa17bvIcvQH6ndl/sLvlu2skXYaQTwBCBN2fdssQGBh2KITieNRlcK/WGemTY2bOVUzBsU2TV5rJkjWP1gTqycZAYf14NjtUkBPG3ZqZVbuzJj/Pq+cyW9vUsV7InzYHIYLIHaONtlG8EM6koDG0GztdCrbly/Y3+XlaM/rzfUJGI2B9YuFECWyyQQ7Y395jbEPxjc41H2C6us1rgxndT0AsrT9wUCiVSH2isrqdckoq+yk7dtGMH3zjhCPXdzTmiC0qLt31qORHt4Gry2qfxdu378qCbUgE9VlmnLfUGU1ZzhXJ+n98uJhZ2znCCEHtMScBkvSWeFr7G3UJ8R5cw6pmJKZdbQcgd2q+jWAZQZaYBg7pFFBgthD2GBXLzCNzf3taRuzeFdV1N2p3AHC648MkYxil4LZMMe1jSsM6kgtcoEnYlJ1zqSK1I1RZYv6NdJJ/Or14JwZc+vo86mEJw9zLNbUPgAYhTuayzKG99RCuFBWoq/p8Yl0XJDiCqhV1VxQo/1X0tuu61XhFdjFyQnxVNJWnUZXRkeWtnVfa4yJVE5hVi0eTWeBkrPjnjwfqKjNqoYL19Y4rLtPMfT18J8M0Z8Y3M4KXZ55l0J0QOsKlvRlpzZZUg8c0MA93Br0lGV80Z7qoVpkFJOEB8PAj3dOE7zu+GAoBGdUfwpVY8VVnO27oDgWaG8KU1vKFFXK+3HQ5XClcdill2Mb8lrM5oyGzXVbWwItOq7hqGC7NMZw4sQmmQMgk1lpFYcTHZSpJgJjnaCJRg8b7agaMXFV2fX07s3oufaoYu9Q7JE/XHanp7JHzDOooUBbQXlKIg6l2RC3m9QKArXJdS49AJK8f8P0GGqgssd519/UO7cneAKG7ZvnHEhlBbivk7VP6Qf6BV92JhCDE+jehIwWRz5WtDfLXbYKnJUwykPsYnf7uzEOkQ9snmDpS7LVt8CDpqb0SypJEUrvutG8oK6vE7MaIyqk66/VHZ5xiDGbxOkh8Hx9IGCb20HCsBCrdFFS3G1RHo6zin7jHMX+WWDQHOjq7xlkJ3EzF034TsrylYCh9DG4E4S83+35ObABUlbi/iwqE13GHbBs5qAT7JoBMv11C1E/eheTRXWFko1fVCwrvEsmBQ5UyKgspdPM4VdEY1aD2aBvy+MryzCeY40c1x8Ql8h6llVxyTAvZ42WnriqFBgJdL+LjkgWAPp1zXW1g30PPnMC7yEUBgBuOvJRkE/NqdxsmfsFnwzya+p6Sfy0nS1w6N9PAn4C5Z64w9FY/tgDiJs6cgMIhlDl2IE1EkVUv7ihP5HvUwDJq3QT9Z5FJvSB6ykQLWFaAKq4wFgNmaMOShpVZ0X0cMhVV93IAdHFbBXZQE/kR5dPOF+qH5/cSs8l9ZpOWnUngF7/3eEsRN3WSUjRpFAEiYyE8HG9pXyuhn8UvTnbvrXy4LfWLS8DUF0C5pm7FFz3uTHDtsWozFnWCRxozEWUoB0lOBLcVxYH0vLgYt2N4+j3jbxSvly81rL6Rpho0/kJFiV70bkid/d+9IuYsW4IqloN1QCH1RxsUhflYGj4ARkd0TakLdLeYor+wDLwYPLh2Th2kDIa9a3cqIUDnfod7s5hM6C1V16N2N1DEuBuAP4DGNT98F2MY9vRIRDSUMrZqLteKcG1RcHoYQdUEfOwC9w5Qd7WtplJQ471wiiEhFOVVyUckXZIPzejhWycZ5V8gSqBQCHiDSRNJ8pa0nDAPYgacFHeh850TkkjODny2fXoNCLtrW6BUJnV1BuiAOW5IyXzimcMWqaTEfiFPE8h8SNzNivhkBJ8788rbgsKuJgfnK840GWQEwZ+odJJNe4FhVnJsWbwfkvCRSbDtGUEfe/EMOwL4Jry24gPSFwllQBbCwa1UNeUAgTMRI7USOQW5d90xQ3tosA9DvwXUyHwL+ILDPSo3iZHcBiYBLUkMaAf6QNpSZ70WLPhK5slULcYuQT2J+Wt9odWDYYxrJLXtQIW4/6M6pcFgDfwm1nFMtoPClfQj4dJMIxQo8U4FbIBYywp7S743c5y96sH1SVKycIwoKVXXBS2yZo0kQFSjrXjDYIDLnwdEdxAJgQMTcnNoQ58BWDbPCcLB7mtg7BT6GmhAvyUTdBF4u1Wd6iAu744sMurpheAqGFt0pFWHq4Gfb6VJuAQaecDMz3BYq7w05470og0bSMoiqKH27jxc+HQWl8rNIzmKIpU8lgrBQVy8GmOzMi7NjmCe+9GUR+wfgzTAMPtlVX7MDuaG2KN17bRItWq6m+WdMV8g1jwrcIoQ1eKw8Bt+xDxC9bIkzSSI5AdnHDV4jORJb16iEA28bOE3OQ81/cxysSZ9Hf6ImlJwINKifh1vVl57ci9TfR9VGpe1pmL/lJzMjHPv9lpxHbUhmssuyO1xKvfGlnxeyR3kjbL9YcvJP+dp2PSyYLyDr0ym6p769MUvuYRTmgAGyB9uYdlzCPJAcmjtqZmrxE9ZWTLpsXdJejLgR/jXY8d3HVigL2wwFlS9ULyHqkaemEsvHx9dVte6y5w3iuwHycka1wj1FJ2HnLY4eV5oeoKs3z9d63VQ6bXsEJjB1vN7ZsLoqdrxGQJNPBUISyA7DYcZADpLlYHxpSPUUJGua5RRkkEO481WNt7YvNnmxO0Ph8vWlX4WB6ZCDHrjx9EaTnMEuwwDKwwgSaTunK8tT4Vd05d/kugPWWfh00871lh1rG3LxnIpcKcC5aJAUIO7iQ9M6EtBGeR0Pd+f3uqevf5c5yfy5kASwsmTyuYCpXFZeDMaCawIEoXxbFCGNlNp4xvoBcm5beVFV9pn3DYxJ/nMfH3uu/NxaKfeVQY9jor8luBtaecQa+zKE41FQKYpzlcNS6nBHBLVtSUgkNWTxaUSACHBy3H2t4WRfySTWjxpjF7nzMpqxHvHf9qeR6DGWVdiEhoYInvfJF9Fhjl4IsKfFG5UuyTPYctq8W+Zv7+Ne3bb0qGunVzKiOtaVpZqeLpSl7fJSPSwfsy6rfCdcV34FHjF/XvSCDx5UGKRkKlPLMPZAT8nW6opI3A4ThYRNSYfz+OgeCOSlGVCglb/hhs49FJbx/3qw5/9LHZmXfgaipNXUMmV/VjjKzvZZen20Sjiz9oKLpt6lur9ZpuDLkbOUYbEspsHNWimsLqtUXrcYQvXujrjtGPgNwUPTbOsftZ/OSmrabqMyZ34+5VjunwVw8giE3+tnLfykCSo5MohP4UBa8E4a05zUJ/GpevArS2KoeagNdyoUl/8XsCe5wuEmVGOpoVOCu33GwcX84WSP2VBCzQUju9iIZ7XmOCKuaVntb8hxel5vOk8tTPOO3u/4kjwVefRWJy9wougAC9a1FmtBmVf/WmeN1kqDu45L/Q9DmF4JHZu+CAKom7DgBqYv1A4wQRuCwNrZ9n5Sc1PMnmm8rlUX8YLu300oHcEsfswuPqSrdZfVWqp+O83Ri9PtWbrLXbl+bPdq/41CmFBCi9zKpZGC+3B+m5q5tbvsIowIodHv4PVsrQffeLeEYGr9/y1HN9mWkBpL2QENwVTquDG8Qc7BsW5GB7vmAD3NMVOkwi8HLLibaDDLSMlLXMUuW2+B/BIS1UakEHBO35NBwXk7bI3qdBCcH2z245Q/PK5jvQlQR9tIa+yxNmYtZsO0M3ixqUUE5LLnFisHJLFKbG+0Km6Rssa67BRn8Q1i9mRvIOjm0K9Hm9PkyGj4UbP2pxeZ3cgfrWQPKT5uLMLuot/9QarZB66rfbz1uXTdAuUbxGN8SBIEpvICU3F8NZGU+3V2+jdOsyBaSxW4e+pY4X3ybPA4GIs3mIHzyQrvRFubchUE6jObG/HRt2/D9JGyNgj7bJMbkNtEg0M40uhCFCPW864lFeFh+yH4InG+fpw3mk3XRpMOiqk18WU6Vz0pw7wbgrGqqkWaim9xdd/iBTsEKfizhZ7oPj/8egEzdSgdw/RuR/1AjHqAz6fgsxRyRmbrFOD68PBtKOEobZtLXMjR/8J74EMCJTOxxNGHLCZVX09hC5loyg0wUYB2UVluj9Oew1weMjPiXoZGXQe9eeT0HHG1Zr5yjDAgbvivolrQvyCScZzMY8+UImEI3do/jCptc9hJZHg9x0kfdMDMIuZ4iVdm8sCJ67+CcwsVxKBB1Xzurle/3so4zvrk/kAXlPlNDnnHy9WFnMQ10iUJ/27o0BvK3jHI8uf7EL34oNRrEIM+cSYuGCNH/gTcjvD1enZRrJnu0aoRlvfhNBJsTjIg8nWbDmC38MLLVjw30YSzc7daEd3jlqO/3bKf3r+Pc7n9jP2pz5jc1oYImda4JybMckpOGl4qYmCtQPM0nSihkX9cH4cNISPXKPKBoGQrgGqSGt836zLlgX1Qs8OPB0tPQrU/23PXrXyJShhfJz3BQGkBM+tN99lLZRibZg/nC90irl/aHpkK726Pj3qAD5jkS3opcGKfk4zy8nGs6l4DJGUOolIx2v4GFxmzaqxLHw6zXJmBBYDYn2CGl7JUlhxMLXEAXT07JUTRtTN2hn7RfWrV7ZAJokx9bIqKRcD8M6rs5SIYNayYASRNOW8lRyhS5XFTuWLEpyhFKyinw1/IAOQMe/5MlkwAM/SyeH7GcRxzElX8f0gSO9+BLpw/+t/BHPjj6N1Ojw/8yds1UbALmyiuycwk3Dd8gPUg4K3esS9AJIXXH886BU3x5eQbKXDZ55nb+OYSHVwjttkSg/DzTLndmiHJZCqYncSpfBIDtXQir5+CDNEqFwksRBVq2M704CgmqCQTeQpsno/AGBGYX87lQl1Xop2oEKAhfUUCT+YMBjOIlCWj2aJGLHK83pFN+mJmiyH3E7nGdx9xTdXE76sEJEiR/p7ZakUNhVMP2zk+/4Gjme6Txal3uU3GBPuyvSXDUL0vZYQLKpOwJTRTPUQvX63uV4Wqhfa3sOjxmtLFm67Nt3snkIbI5ic4P1nQiCVlvLvKrvLRLm8Te8/m++v98bjNqkaeJKtFnv2+U8axNPpzi27sZQL7PLVj1UZI4j+L1F6Lg04pT7tlLg+jun3c6JJaHdRyTxuvy+B3wu7TPfiujGFWvf427qQttcjgXWgrZNLrwRS3GgfXkLepYTeBujA38JAPkp6PpNqVK+6cUv4gbteyX+Cs2WIIyVU+y3m2yOfCU7OopxWTBi6gF7PxzaLgTuVtlcMzbehzjdiGz0vzqF3W/bKcRx+Jay9u26Mh0z25s6VKg88CenoN5iK7TnOSHsazeI5oV/DmoitRHlzJBO8eMSr/uzDAXd8M6HFznv7PxF7bSGmiZXOvh6xunv1mWTpH0LxhUKvZgr8mOLqtAv4wcxwCyZUc8wESG1LRNZWLvUNG4fLQ+RbCwE4k0ojK1Kr9cqqc8dM5gLbWK3J4OZFRDLZrJNRDwpigeW5YsdvBCyLucu2OVXwU+TKbxFBfSJAc8xxy00P07mLJxo1yF6GoTxZKEWOabwRvFWabGTg21Qr08DgfbLyeiVDnBesB/vCufeXmEQEky1PNFoYMIKKtgSQzfqUwkfz8bXXGg2O7mkVjZoc7L5pey/kjQwHA3lGjDU2ALoxR5lWAKZqRpTQ9DJLXPldUoUxTw/GfZZYnVBImr2mrc9jeLUpqA+MDNe+Sfg8GP+KXnvrXvm0IzTL7ib2flw0a48MGx6i8fTV0+sur75rudJ2/IYoCKecc5gHHUWGwc78pQuDaIYf09+1Y8g+J5HX5c59Uyh11VrMngsdKcvoayexQPEimYl5kb0+vI/pwQeozpZxoevQDBAaUhrcwjR9CZ9gkD69JUpw833fJ7gEshXb6UXLK2askvCJmXCA5RVWHFDOlYTS6/Ai7MhaNncyvQwiDTOtShDeVxHYdAENfMqMDXLq2AQCgImo6wfBJS5iv8HfXik/g2OoydwOOP5qX9BtUQsKwge96g2kxRkAYA+xLvDBhDZVUhTIGAPdu9HJCc+Y7t/cT235TlKqCOu1kxsP7oCZRHnRgMsG4HS3Wjx8mneIsvKogf4zSumLVprDabzfkOtlfEtq/lBXqw95FxxLigJgpP9fV41di+r8I2ZVBLRInIXwOQBOePXVCJh4mSgY9Uha0hrxOOAtEK11CDYT0ZTMSmn+p78Sj8riXekWnvlOKda5LD4BlK2HEJOKe3fgPf0S2ZxyEre2wCdkBnKB3SsuZTV7QaLgNUf8CHEC6PuYUtIeY8ufyO0az7h2ALCrPEivXxLgKWo+0Qx5xVIJxvQngScjPjN+WATA+4D46u9eZ+O49J4iiZjTtKwychpF/1X3ukx9U3TEQfBa6U+aB4+fqB3ZCckB2WDVvGyDDG2+Rejw8ZFxsdWlWG4GixzhhFDhj5aExD8y4OFYS1Os2ZEan8gQPgt14mA9LLXLrdDELm1hubgAJtO6ezaehuEsVIvmHWBfjPtiDzQct79Oxo47RzO1Opt1+S++l1cu8/IvMdZtk2vyRpDWWUspNNNvH2rmRhQYjxq0bHO8wHMclulYmJL1Z5WyYmWd96v8y4FmcWSKM71sk2rETKMPVB1p5iMoZn8CNM3Qet4h4j/T2vB+dJ35cTZC2L6VxuZTeRrfI7xeoK2l9O8UVXXgSdUx7ATDEyMQ08LMZKivbtF2YUxqw7ETOEmyr/8+STLDVCK5tGodOwQ922TBXKyD7Suuog4RleyFc8QTO/ectqBew3kU5nYOC5vwuijJ6PCGb1N/+eW8tuMRdlwRdDadghyhG0tnkcaC0V9Lqw1g/FKR+NFlGMhW7GZgeeNRLXEK4EI8bHcF6M+twQHMbJXoMjGO74zU4tgoyNA8X74E77BfV39aci/HUajLdr9pPigstLzSKhWKt1uBRJqpPZOax9EkG6BjhkM6CK8cQtQDvlA6DpgGsSbgdXEqPwWbdEfC4o9wnUzEBpYHZAw6Zdyo5UW2e5InIXTKWsglEGISpnSdeTLBkT9jBlgblyPemYddeqXaKWn9PH6nzNpmvqxI0/0InxtmhqmdaFNx5Gsgh/1M76UuRChx/7E9LJoRKPmIS0QtJIOwYfQYY9A7sqzg8HBfgZSrJq7djhaQno3DrUFQYX2uPAOTRy4Aj0edouCiyNsnHNq76m0rdq8L6LuOY1XP83hgY+ZVXs8N/7OPioha2jQvRx3p4UH885f6dq+ROHx+9m756lh/n+CsK4wVsOAHhSkhUlfRPA4Htnf4PMjtqNxOLq4cLhc2TBYtmUA+iRRVfq1W08KRHMrXCNtHF23/KdQ656bWjr4jXVZroJAObEU2zlF/BdNCwFdWzDm9lEEMb4np7IE5abC7cWwVoWcxbDWAXtmpxU3gJgX7+/stIk6oE9Pl7OP+Tjin0EeNu2qzFJTEuwqkOvlPNRJq1vWTxqM/gAMqbgXQtltLKDfZ0pqSonupvrwiAEHRSUdlWwctE4Nkc81m63vt7JufdUbth2wT2qntT8CKLzjM8Epl06G+fSKy5J3q+s1qAe3UBFDhZJTOqap8QPYBBzBzi/umH6SVgreHnYcKIXimGm9aWW7kN7bVi9Nb8dLDuQNjNok5nIz3ORhSptmp7Q/Wzjptk55IAaUQtvWY94oECx8mw7Kjiwc7Uim534bpDE/0cVXmaz+6czyMv+A6p3tgOc6GPzs0BR4Az8qSGDvr45/LUjELvUzWpoUS18MzAUWz4Rxbj5B64TB9XKk22sfVad7telorbaVxZs7oq6JzyRITlBBAhUKieLm7PVKdSyc1alivg+/1ETk+MPFalQuoefalRD+s1uuf9ZmMv588JEjufXHT+Ixp152LST5mZqr3mQQFNXrrMMUKeyIcRZv51JDJPfgblY6JRSL5FXSAIBm6QUJRkT7tb+sgSWmqItGwuu2bIKP24qFI4jLj7cARFviSY33eBQIpTxAj9dShyDR1ZuLLQsu54VL0iJFeM59bBoHJ3VYqEnG3E1dJAR6LU7jEyHoq5tc8djAcj+ZgBGC5kmwKviEEAyu81BnBVuaNJwvHZDqXPb/jUh5MUitGnwiXelsGp7CD6xCklXNGQRRyJzugGGiVBrXwkoN5OboeKLve+aNvnFX2JvtL9bzJXkk/FU2UIK0cUL0Mb7bgOprt5jrU9UTMdKVYXyd34qFPlId/8Z2etjpxgE9LfS80geO3o7Dv2+MZ44MtLIKQEsEP4FQB4nIZ/ZwH85qEWm+MwywqVxTZ7q3OKkVIQzsexKE0dbgYWdpx9Vx7TZnaQa+mKtJ/oUMwZm3Gbfqg2yULmgvklcrFStPAIdIgWwClaD1juZRmARxZ3rTfjJJv66qHSOlSv9nwGU/6A3Yd5DL+xUSI3HkG8tRJEaKNjqxm9z1qarxjt8NSlTW8Y83Npe3pvqQtHFZyib5Y2V83iRBmrg3o+d+zdb36bC1CvMX1J1WcodtEZypnLhoMD8+F5kBQUFGplojFxZkFKgksPIbcGLKg6RwqDVyzQJZ/+FDswGOps12o79kWMX15Y2BDEXLYJnWtvgAGfEZjubPDCAU0gM0okrV0iZ1XtKxWPE5CPRVnXNhNQQ6eQETXP2GacV6eAudLhkoNt1DZSawq5U1y2qMrv6XmxxZk6cUykBOFEynwNAg/nr4c4m/5uqx+QYFio0gzR5JKgLIew9O7snWdZ6ux6yuI+s7t/2ELvF7n3t0Ww89GfNjZFqWOux/Juns5oNl6MZ2s1ajop5sWdym+EhWtEeAFZC9fyWDvUhh/lRFcdTAx3TPfbJX0S3bULhROl9KC+HiNtyWTQcuMlw6DZKCbgl4jMy95KDzzxq8rHSuJxp+xHMFeboL40z/16hS/KRsP+HeDAGYffzV0TBm0jqRs7DxkLEl9N3hAo43zWIgAE+TDGLfxUa+8k6YIQUpTSvLQTe9yI7oNnABI2qNd80cdRdgFWbqK0YPq7ABuF2a1tsWVN6cMn0gqN/vyyOlhEq1AJ9eFuVRg7fR4lKb6Hf+s/7Ud3OQ5Why8F09+z9GedfMPmXQsDTVGDpLW/TYprNLzuwyrfB1K3Pm7lAma3RtXrdKa3Qr14d16VOoQZj9TbbNAZmAqIjT+pMCzea2D/82vOGUpm5pLobNVue9FtUj2QOiOi/07lIEO7l5TXRcFWuEPVim+uo5NQD0XQy54AprFPCUJhCY7Pkcohg2wlGN0uWksGeNho5UzTJoKrGsXDiFYVQcBrjcig0eQWBIUahvk4u18L17O1xwS+nPU17V8W/e6DT2P4TllZkM0Plk4XSt80hmezeRbP6L4t49z/uAGkQuzcyKUnwXQA0kc4HvEx0KAujQ8NZ8tgpuh1D2kqMt5S27yTRQxmvtyapDnR+Dr3kQCTmzf6oZ3lK5nZhpYw8YlM3io5OBopNg1ZIYTKgHBxHot7d1YMntQuP/dRavkBwhTeQCXe1SivUaUHf11twqfzUSUN5OFUY3zJav5cdFgFopU1WL48wycvtSw7pl4O5f8foTd612CRjBeCu4zzoarzZiWn71vThwANH0VXZrjFrX6E+UfQQEYVhrU8bfYdwec5WG5SjZRLxYJRyOpMLpB8pAj/gqfCnT0PWkbnk7oTnbKJXTf6XxDJGZKbrUzogNDIRDiwE5OOrZOOQ4zNenvV8szQKc2XKzro+pQG0nPrdJkET6tAvguQtrlEJjF8kdyFB2uVwuJ9UeNivLa8xrgl3yOHms1B+RYMZ/r5rX7Sx0x+X5dXYXhYKgQ/b5LW1I9AvsAbH7epBGwd9IIRmrsjP/XxLsgWG6eeZu8ACKLRsABx5ojOuCyEYgBdZJFrNJgUQGQPIOCBSo9qVA9TJ1RTqRQy6DVXlFqGVUC2UDnzETS7Euv009u1nyd5pJU/D+HtsVsud8AG4jY4CS5CRLYK5LLf+na36A7fpWFBv1mPMTJ+/HNQ5uUJ+D2DBqdU+bVGOHVFzfpSY8t7vvnKIFhlBJnmJbDxmIbKnR0czn63tVQ6JgvV3O/B+KIjD42M3AfJpva2mpnuopgyauxaREmb0au8caxwqVFHxHDHw2gERS0+KlFL3XnQjPAnZdhvY/NxzrgmJhpU4VoEkCpvdRysLWT5j8cIrnoW4uuTqH0FiJf/zU2XIgae4eHn1rUntOEhI5tGoii8OfiBq2NknsT42DTK84Cxzzc4tc10f2GgJ1tGrZwlcogkqGYw2sgChmnczd+bb+FQst+sh/6V0ud7waQOLF5juIbHz9DADbyG63Y6ujZT3dABBjlmoA4BWpHR1bGpiJfJhGjO9RIuaNkMd+VEj12NpZwkQIvYsW2PH54sV6bhMhHXPyTESuyFOZj5EYO8EAaXOrTyW2Nndc41P6ujVYLHpTVHmbWzNtEF43TUFj4gISGld/V0fuO1aDwhmvmDgXUCS86pqJbseE+F2+I3dApFnHNrysQTd0tVt5FHVikFkkaLic5SOaJzW7snmjPBxVVlRuKWefKlX+ZJSEyDXNa9anfes+jjr9M2VOH3RFZPWSHTFEhBdQndk11+GltWX1m10d8s9vVhAbYbIvHuAZvuASp8ArISUMW5N+rcD3w+YMdEhIT+SVfV4ANbUdqjT7DS6O5zIBNwOXgqqDUZs7aWEvFaTC8jmkCLe3mwF3Smtg63l4Q0WBWvFrhpi8H1tgxlxCOLJEBkh64Ms6636cjBHnSrNIInNNq7hN/QuVxsiZ0H33vhE/qJAqiRIDbg89yKq1f+sGk8P+e50bUQpoUncYdo9qILIPRxvrrz2R9vxre4sDZHQGjrPg76Q8kQJADy6ELkSu/fEqrlaa2YGyh9KoTjcVFdBeodjEoel0Aj/lUGxnV7h+zTntbRwzEDKu5xyCojVpcD8mh6uyj1Yz7yPxJ91q6SFB0LQnNtTB1wV8F2FJcpRwyfJEGn0SVnNVhX6PrjLcsRr+7LGwbVlyIre8/ddcfqRPJRG0kQRpD65gJK5O3h8qAANjP70NB3AhF2mIHTYB8EsmsHlkXISQtyZhUeWe9QFZwWkUspetFjwMHg99nbu7RJs7jrGLh/vuzflKZlfzC1xR55Evvj0V4Zp4eQbomGjSqE4cgNfBndusgqpMbtNyyt2y+Nb18k4bqWnwF9ECgth6gvGpikZCj7pBeOjurd6ZF4F1a3VJtUz8lsupivg2dn9ROOAmk5rSL2Vakax2T43131GaKsp3F4h31QLcEnzDjLAqjeJ/8t4grwrfeavO5098ZaEUasQG7B/uguK73ExU+DWxee9EWyF4lxxpVc7hvLyXuU41dSV/g6vmJF/zcevPk78xBQqF++Lwl97DFVoEMYORsvI9lAYP/18rKzLcrGHwNVMnBxGOvoG3ji6qCa+MOn9w/CPbB1K0sAOAu4jCG1CDhsdBD0HEsxHHd/gWkbLbHsfyHiy15kXoHjzwgIF3JXhSU0MJIj10kTAZzHsMLaNcDj0OYBHFDndFkWpfq08ryMwIeXcAzzec8yykp9O0PCVHESOUosj5zgPP0yDfdqULrlPT36mps8HycY/fSpV6NoUkf944zKrk6PZQwLPUmCXyTe1cUhdM0EFNBR7GuuCr+zAnuQ6tfoJR1gRlOUJc73RqNmDq0hRwEq7xqdKwUWIVvm/bAD+RbcyDzUnCxTZh03DVcADopNgEvwGfCnjsX/NYv1UiA9jZtEGgEyDalIuHk2PvsXYecpDm/jcuM3ftwsByq6PO6hUaZoD4Kzst7OAI6aStG5/qQUuOIATiPTOv2AFS2v+6IZ7QRtC4Csnlh6tCZzADqTLW7K3gN7yfg/YO6xJ4pQI2YThZLG/qDMNsNFUvFxH95XzXwMIJci9G7QjoAKVlUxzYR6dIrK+lV/ZvVtjjd8N/6N4qz6d+MTJMMa+cLsPxi7HCgyqTmR+3hiZWVdtkA/bCYydDPG7ZmtKKvXNY4bNx6wIQHg22YnhwSooQ3kKiISZVcq5YuI6mIWIyiS0PfEQzCB75CKrBlsmbBW97aPbGkIwjm+/gNjEHHLwwXNLiQ86fJU6ccsyEu7VjEz0M3PtxncR+FpZm/UTWGiT/npoCnChNuvtNvLo7WojphGxBixWC3FhDODuC6jlkCvpUyV5+PcPKUMT+jJ6rMiX5CMyHMsrkyK5J4JmydBERATUH8eM9fPc9VO5UhsqXepOc4GQ3sLFHRzfhMo04+T3N230nc6zWsgsxq5zcm77q4cIEDSEJ8sz+mcCea/j+3qRhaIzbgOJOVf6edC8J3YLkBuYcx6vStcwcjSBVc02FKfi+kcqEJq2PM+P8+arC6S9IEb+D/AzknlkvAucRgdJRQuunknlSeqUQKz89v525C3eGQSXKIx8oeYjd/6HLXJaBa5nEe1ITuUYfrwsXVHZ0Anx5e8NoNlLkIY5MCIy/vyMPO+uyAAKfwvmNpzNMbnpHYMdexygsniGsjUwFV5U5A0Pwsq9U9Ttj9gfSJHvFN2/bpSVdAQ/86DouwuwwEBQ2Qh+uumHb2/zobYsH1AeL+/vKdC7J1EWFQcFx/RDWpMiSc8iv+GUrn0D5AgRThJebV1dqk1hOvlBBvHbWmtnIet16i6voVfTr39pqCjl0x2loRjmewtRi5frli6nxIdNbR+pBM+uVumPV6R3Rh2Yfiy7A+cZZ+DZ1kHJOf9oLZbYkcDZge7xQ99jlCs/b87n/HlGloNn4fiphHGIMklJ6yCZRvy7FjjNqMszCsD6d0zJUGYEYhf87eadnXCAXmIgggWC/uKzexyFyUnOl/wIhKgre/PYIPXhcABoPkGvEdps4fFfOjz4L5WAWQRl0BTmOkvsBqa2ZDi/aEFwYXfULOk4X9DWnH0Yg9N0SH2M+NsMKUgdA+XvroeJoPB3/FSJcDllUab+vUzqittXCON6ZhC/npI8Pwv8onpZrX0WZuk1W7YQ40/1kj+F7IAyMjh4ilUq5DFjMo08ov4WzbnvccgAmnbFx27rqdhMidoo1jGCv1VlWYBsHHOAsJL7oC88QIAacvRD1/R1YY1SrgjP38tB14cYY/ESv7LHunCXWz5xrG7BAP9oPrEJKgsY8LSB2G9HJK3DBY84c1xvjPZ2isMWRt1c68tV+DlxykSoGm4eDontGd+iirm+5rpEHQC4haHqaFdvszmWbYTg+0kI7FxXQjkTEd+GFGP/Jf1j10XBRWIVQl/ytjYDklPi8lAvA35MAI0XoAmh8eUPZ9iVSoPImRE0t5EePBc4R49RMl69bASoy70Ma6Ng3NLjjs1y/ysNXSLiuwOAroDVlj8mfjLrOpc7FrSv12sa0w0YvYQjAAmyt6WrLZiQE6PPq8qWUo7MGawjipCawp7jwvmNhIi1eLxBIYrr4/PNVhcmFq61Y8mjpoDbhlIfPZPMODDPp0wsD8TfXUdHa1r1MCcxbZwrRdvYhgX4kMB7TOhnD/Ko5AUa9c37wUR+HRdQF/cIAmez+jGyB/FaCGeOvEk/Yj0Tz/tBusysSPw9r/sQ//TXAEGx4I5ijbmmYbNpx27BnkVk+kJPEPsGRk92UVNL4RHkee4oHMa4uAPg4IXDWBgkXQeoz2G4gOCIFjDfut+lPCQ1BEaWmL21upU1fdOo3+foo4Wnd5mzViAbeQ2CTV5H2J8W9p4kYKLwV77crMqiCo7eQXX9XKRzgkj7bl/Sb46bbYEmEQ6waeY3hnSuiaT9Ph0nygET5SWM4ilQDy9XcQu6jozA6xvaT7xTzOPs7oYK4qb2XOBec6MbzV/vVKrGCP206QcmA97MXaigBR1ll8/FBlXTs72nZwtbDz3vx/fTY2k8aXUIWZsN9lZgiEtuaF6DA8qQO09P0cO9zte4McCUMvh6HVunDlKFiOQnzJkVtUy+v4nkWBd/0zvYs3cSVi/WhmExpBA1zmuXHmSYgfbBFWIT8mXwQtx0divHbIuNA5Ws8yh7uqYb0gD7nICXwkzeU1RKseFXShsnzcE0K65cHdMWA2IFY+B/x45+jnCuPxtcVf0sK1Xg1xVbEr6DYaXECUHVU0aVCtgEIkdUdEiTnV7N+Dev839h57QzHX7IADVKawyKuqUWkeLjr8eLfOlzyUqtb1E+4/E7nOoEMKOtGB5eRi6zzIeqaI6r3RFCp1Srp7C5XesYBQxsmduwPiY7e+YQb8kJj4obmPUvmUnp0c3AwIhat9u00cnyY/vwn6X/rjRgkXY1ZUV05S0rpxVvnAfIMQZgtscP/8uMdnK80gMvpjD1ANbpQxb+JS/Qi3Ow1egZ5c/H53M+4kwCzjaZ+1Z3L0v90uVR2mMnatvNm8E7QVc7673ycoqUVZMDtTszHNCRX7KHxZYjybLCfZ9rl2bwt1Xc+8xAKHsDn8I58IGC4PVe2bxEnkTz0lfa5Vzggvp3+4Fib9w4riG+hXT3/aZPwkK8gzdewQZyM39IeYqRDT2DCW+6hC0zarKMbMA9GzvS+Dg2eA8YEVxng1DDrzfqhvA/V6p2xPw2vzv2g34dLBQBu76a7/+RkBS/jsr6shtxtFn5jiXj47d6hptz12xrFWrBlbjS++XkjY466DMSSjYwOpvbc1/kiWvDjFdEcwJWlYITwrrDMBLoA5PhenG8jZMqLPzVE3QXLx/Hul0P+AWh2LTLLkbUI1Bukf923cXiLvB4rzvvjUwD/CZg5YOkQr8ULQCyiFQZdc8a2+oZK+6/hhJ3uZmFezlEbELwQWRAlR/GH64v5gHfBikFl85HpISt5w2be/iagKkihlSAXQIaqerJGcHd7CPnw+cEHdOvlCucYIFLUI+A7HsHAVB2C6yfKlt2eq6rDSVa3U5CMKDVWYrPA5Z49MKgSUcqGFMfg+VXfJJ5eZ3Dg3w3eJLkqCJmlUkWT4BvBNCNVHhwj92SaNSQ6mza4bqIGHhPHKysd9eiI3d73eoYL4VMV7EU02gDiKv0P5F5GKA2yMQYzJY4hItVhlsNjldVz/H25nUO2xVL2aR5U+bnic6PpySCHE6OJGZUzOqNIew6Qx9RvZmQCA5bULlYkV5v7dtlmDfJucXz9YLedctulg+cGhMkg7uYIvE6t9q0bncGBrblkRmQhpkTQzEpnJExxUy18HPmrbRasb4P1IYOwjzrjxQupOG8PrFzGJRfF/LSmWhcOZma3SNe7Fa7bluxXsDFGq4hgSAA+Y/leNQLEF9MQeZKUw06+plQ1rG/x2p5Micv7vTDquv7MBEzBt+vdDrZ6s9xE8YbUo0HZdvsz8m+1jZw6GmkCBMk0VZcJOBAWU67Lynw3QOAhyZ0yI323Qft0ZqJaQ+IgUlayQ2NFxtUhtee6kYGNZNfby1v5QCvIgsqCt2bZoEDiqgufF3dm0qez5rEfDV1qUO60J1c9bsp8ZlzkmxnZjTJPZXNTmpMUYCn8f+2mulZZnSWhPGi7tJY8+z6ny8u94KChAdFENqh3F/vQH/6eZ68f37JEUygibTsCD1YmOd125Dm2/hhmJPY5H/+s153gnsJ5gEbblpoVl5FEnGQJwkNMAKUwil/c04fYb0XYEmvkrJArS1O2kvUqUaIs7y9mUOkPv1tE7fRrM2vBgCtDcXzjSrLkd1MmWQSmJPVlhqiyVOFbLKZBebe/ZDukAJVtjIrE3zLGRjPypgpnGce+Sd50VLv0HHppfiyAqmyQcrcKp1Nkm+5bJyQdNXd7qmPmsW6lHQbmbRedUqzeJ8CyCnJ6NtKDnJkUfCoNCFEJDSPgdu68nYfae7nMCi8M0G7U8BQQwCRKjtkiC+5sTXyjIWqDnjrYj8NF5uAkkwfBO2dzqGF2xvB2voL9sTB/u/1FBMoT/JxG1o5Jfb5GPzdOFsqWfjDuvShmI/U06Ro8TVxceXQhuEmemnwNyFne5xoXagCV4QzhnJR1rogMwGTNllneu5qZ+tu1Jis7W+EKIb7mHRHOYzKXybqFx4BtBqvKhC9A8fONCtr0QNFlbLW/TQ/we1H6TVCaftKz0FlhEmUTn+XmHL9II2Yf4WYCeK+VwNUciDd5oRIDbaHOoK1JdcFLpGPSVCb8hWMGK1Prd/eQFa0S2o3UKsWPw8W/ems0CtKg51lHCYzOKT8uQmlr85lA1q1KifB6UXqIgPJGd4IC1FmW8E83s9VMYXDcnCdxg3cwR5Y+R0eNX9DHsur6wdLisvNnp/N3v0LTEBp2wJeEpWiAY164OPjgCz2ND5NFKgL9RTaDyZAGv4zPrilLWft/njC+Jj4RbLMboo5i8HdACpY8FwX2mtIC01k/85/qzjEpG8pl2V3+sLu6vQL4OGT6rxLO4wjYDsoAth/Q0mN3JZqB8kGBfG0jdVsg2b8V8LZdEmvmf6i0cIUTNyJbXwk1m33QaBzRAlOmo4A+4LpLHi6Eb91hbRNYbL+ol4L86YGzDfHARdOFP66925D+57EO7gs/QTrIjnNMzPsmG6888DvTkk9/L5yRHibfQmBeVjU4lpOiiGZpsYhU/lbxYiKEwT7we8GLLZkGYIXdU7BH+ZsjgHX9+dCEJQ7lji5JM8SK1ZRwQhgsXRyNUBpMg2STdPCEJADvFypuslKwP+rgUmnuu0tHNs5A9o9dP0cUpQRDgC2WUtIHygdaN6RRUwfisUGWr1Wr3vV/jBtLC1+QMrLcxmLmudstLRAqXc9vxWONcw+XWpufkytyAfzwpefae9KvvNuVJEZ/wkYTHA1PS4MhNbf0k6jc2xHnbbhOyb8FPQzRD44XHNPzKQREhO/RNsjqq3cEOU4OhI6AN2W+Gwpjc7gU3rt0qVW18O3yqtqjNu6EckP6cIaJiopzNEaJamTs4gUTrWIb1li7ZvN4es3so4Rku/BIPXIz1mkvU1nmiDuT8jsYQfxruELROWvIvo9eFFggWOqZe3M9yNrzVUAzNI+bMVGWh+wxeqmkel6FGWfovjsdUOIpXd8MGseEWIlm7A5J8LbMue1ZKHUZQ7pVy1X3l46AuiQkcqF4kwxqP8ZHdNSUF2/Ui9SrhtxbMAFnOKj+5lHfAU4wfTnLx3fbIHnayHG92S54TjWS1Xw12FeKrvO5DP+SS4SDBAClDXyMiGhFC8uutWcxA+V6eY6PdSdYqyHnDKwboPOWnSXj+ROpwlIGmPyhqp2LOKtCN6OW/IkYFRjxdnBQ9WUuURVYrTmpa8PaaXpHKZm1AWF+MLey740RsT7x/mbemZioQ7vLlFs5LZ03/EcVsDLfjD6pM8vjUYXThuK0OY/PrX6zyl/QpQIn5+hGwVKwnUb1hp6Kw1OiCx9NlB9JNpQzXSOQHq1Du4xL+WLtM1BS+N1Fvl/zzEsOIYI4JZEQmW+/squNzfqxUYWXYnl5W9hjFBCb/doC8i8QUL/pq9mI3A/MF1PB/qpNi3GU9Bbbt7LnyE78KIlFXxdH6jGd66muGL/2cAdQFx41Vb181KQUPfbMiv5V0S/rC9yPDdWBU8U4cu2mgsXPQMVVcHJjg44bKTpAxFLZJQ7OggiuoCZaC7cHcAF7ewSDiXTn0O6FS0DiwGTC5ei3FXG1bVnDgVWb/UQWWDY+/rvbnIUffBJDrjPayaHLRqtxk4ZNN4VIBS4Y6adhms8pBmbwidg6dH2iwhONMbS4IVapL9XEABJNlC36gBabZ6njQiINYX1yMBVrYNm7kdbZktEOSbX1/esZR6g7rRDebYtK2dfT0WsScOLXspLjW0ZimWMESs0Vledc0CPQzI2SfJCrB/3FyF0pz/LAEKW5zwN6liyeSqFVz4+EBRpvHYox53SgfsBf0qdt7bzI+WBiCQSWBJts3Z0CvrsSU0wVFdYd5EF9c82YTafqRhdA6LWNaFQN+AhBCvjJV7tXfFP6/sRXmZ58KpAb8B7evGasK7bi/l7iuzTzNhE90KdktHV7mhA3vuOK8bGAyB9KiQnjk4yS52S6CzSGdulrKU1kT2oRxWedOfZKvq/BmS83RetLpLPJIokeSj2KgRmDki/3d704Zi+uF2tAlfXeHYUdIPefPL22PqHxp8Ow+A3bxXP+bnx//Ag2k/nv/n4H2MIG9TTKctb58UiQXrP8UJMLTGb+wpDJQ3aWforXuXwBlXM0hPUrE7v9WpnZBsTTzNDf1mHAQ3F3kTAMT+pHQJ5iZqfrD1zpVK1QdKiZ1J3ye9bV1Do+5kt5+SEwRInrdBTXnXxanIyNq4r0Z66gAMChuxRBNJDa67tKbCbIJndlA8wfnLit+K7hqFg6N8KERIKwOTNI7iwGEVsuFHSiR/N2xwfIcoc2yseSFrSDwVLFtEdDCy+hWD8a7veBPaTmIxs3lWZvUqeK33i4MLm+77VhTOUDRCG5v682HA2Ai0ueKuOJEAcmBf5Loc/Tsmsds10g06EfcC5biUDJZ81yF6jMB3sGXXsEP6YpDOr84WnYfBoaF107FYtLo2lOI5aWRDVsTKSIaekt+BiV5JHG9M+k8Mxgtv6HnK1G9EG0BG/LtDUmrFKV3njsyWu4+FLVMnZHwmU3T4JoxcLyE1Ct4AcSvBOv+Jzcpst7l383pYGHI8aEISXlfUIVFXvjDKQk0JNjJOFnxX6+21DJve9Mx16yoQrNJrkcoXMKvTBijC0Gy/9uiSnny2//K0+iAlI2514JzdUvPA7uxViv4jig0Q+ut6ryZQ2qqY6Dpg0pwuFvCAFDcerguPc4GzLfKVh3zb0xAS16WfOhHCwfs5XBzNOt6hfdAhQyrpRIeNd9MFDN64jgIeibYNRdicqtdkj44MRS112P4ijfCzLbGTL0SN2OHMNvcyttjPEo7P1qpjAzYQJcWaWxTVqJYsLLOn6sdDNLT+jZKqyPzQ/LYdRkUwOlwAePE2RekGsczy3P5VXiNYna2JLuALpNGdccwDiZDs99zcYMMDAUA1yJHQAwVDdheanhBcZYnM/phwww1CoNO6nSb+IaxSXEhzb4iWQFFGCd57WXfgSrwlr9k+0RfpemfhMmL/9duzxv2+PVuf15GUUt1v/PJddxS6Km1fwKdRNeh0hi1atShG6CBlTDfTKX/r7W+4zbqYLR+Lu0VNeOtnNIsoiLp33yTJgQLLkmtmuOZVxbltNUotG4b3kD8lF4S5EypWU/7Jbk5H3a9Ei/ybQFRhnJVAomOWsc+TeD52WuILuK1toBPD6M66BD0qHvHQKthC6HWPTRJIIZnquddaz/roMp+l0EStHcUj7qTEJus8g19bbEmnDSAP3YQKdgVZpFx+xd+JikmuF3vL6Np7QPfU+8nQz/O7cy8xXqlIhTB5qjB9C2vJN44pCYC3rRQ6RBqQXVNL8yThaKIPGH0yDENGbqDBAuxkjPiS9Yw6h4XsE4XPVFrx/nOS2VdwRPRQu0WqNM1z1twD5Av5YV8SQRctNQurK3Rn6W84Oz9++e7uQIqTC+v7MQdfjCVBr2dtwta3Mak39WAcoNoS6drKAEPzsXSq1zJj49mABJ/XPtsacUHf3McUqAQgnGvyPUyltBohGsmqLdjbd+rqLd1Ioa10BnDWIVz+GbH3W5wuv3sSRHWZjD+yc3nZWFDTIwDBSPhCF/F+QdkysoFLbRGIpy3PFhtijzGNPVXkYFIYkY4ZqU5UbES9c+VQ4sofYoAU5TntdIxtz85LPLIza1JJBxCFe1l/G0izQIPOJepmzUOfcbWnSX8yuWck4x68u9R+0C1PSzZw0O8pUc/mjGEGph9mpxwskIs3GjTzuqeJY+/VutYD9nzj2j4ANwikx+ucoPQltLJVcmR+NdzE3t3jJiXtBo1OK28dpgWf3zRQTBsfHSnBuvPpk6jVFLKyMTeC1wWbqR3bE79Dd08f2vWsnUb+EN8NYTUK4MpUybzTCqTui+w9Jb8bmQ3CMjZzFe863+fIYg+robYpV6minHtugyqEhR/JHVfNkIMmlBH2mMqpuK75GNZwg0cgFclo78m3KqFxPmGG93euN0HOQzW9TixfdP4I/VIK6MaudvQSrFNf2fwuD2t+BJaZaqRWPQ638fOE8H0h6+k4QiU/XFN+j4n/2GEsReJwXz1sQSgq3RD2C8dhTb+u6LiKXCcyTMdPzIDLF6idlODy8V2OLXKHZCJWSK+XNp2TNI0BYBXieMm8CJHEOVseAbntsYDLdZGOk9iRvtZrBv0EfFXnF2imUFROmJGIsL2PJevu6hVVGbhLmkIFPrmwhDrZCf5u/ggzUJm17ahVQmW8/qOD/i5LT32H2Z0f/3Sp5wWa3xmzn5VU1yneDDVyvACemetxGW8btkDQee33gEk6Ol7hrufXocuorJEgKJkGVyYAQP+PQvwJ1m4aw/qR45qvNa/VynN20No5AiJsGXmdgO7W1qebyiR2N5hfWCVegvMHz3lympEYOEsSJiCfaZ/ThMURIEHA7m0pdy/N0/lS3E1q+Rh7YjbGLboS1MGDWI/u9+77cuEWbs8OoCeIdeU1pgjkCIfyJNp32MntdcsGhMVLcgvOqI9qcq2byMjgpmRMHyfrA2jsRNEcE1aaPc7a7llUq91htHoR4nEeFjrgj9QThEQkf79VEO4CPwHLkmSXLRbFZLGCC3ioCwQDcTSe1JaSGHKfyt7drBsSHhuFWIrHmZurEdmD0ZoM1EAdPmdEmJBPX636sTQ49BX+DzPXWZ3Yl7Wdtt1t3FEWomfX95Lg4W4AQ7hQMY3I8nU83VrsZBpuud27g9Es2mYzWWef1L2NlDAaA4dgZDzsZXrB5OU8aGJTm3d2/D3dl0+TkdvnTdi8xdovxJuFklWoTiZXcxJK9RLCn4pWepcpeCrbsd0wieg2Y3GhX07z1oKV5kFmdIrW5UQ8VBLp0fl2B6zdsAFi8GI90bHWJ05BCHsAZpv3BTd++anyoae+tn7XYium3x08fd+CD02zcDN2IscIUxdSVtlCer90Exsi8HwjKiR+jRBgm+s+5mXtMdpn04KIfYpscl3231ksrEljUQGuEIonN8O8xJRRsQRZFBnG9gSuvyR1rwCk43BUJXW6pxWo6fJNlwdNdUy7teW/TUHMFQXwUNYiIWIc4yMRQdMc3Fre4G2UrKW9bSAMQ8aZd3VyWYZXsRpYm654ygIl3qj+lkrCRUOfokTthggMjozeqjw+J8OThqS61GCLzBIyJlLEFI3VCdFq+NovUEEiH0bBj+HakXwXp12ugR+hhfLuw0XB3JgQH90lmNymLW3JGD4bVFdGG+R2FI2n7hN4KKP2eC5uaPgCo5KKDH4mcs0FAK9EVN/rB46HWfT5ymHiUeHh11m7lbeQKg+puRZ2tSBUY4PN6sD8LrwwCwJb7wXLtY3b0/UPROBiFEUD6kJaVVVtXiK+j9MwRskg0EHjZGDOtdFfA+Jx8/MGw1rwncktvJrhLlrPwTv9eZjEgL3MtPcMUQ5A+81wBr36BLYNbJj0ScY36mm6NZHy6VJzoW7s5U1SMLMfb53u4ap+9UNsVGeqEY2kadnRD39O1K+PlrhwtwSP9wNyDseVE6dCM0n0JBcvDBjxQ1xiI0omHabFEkJ4i6z6dR5R/jDC1kCgGOQs/vRC+Zm0h4xZMuceR1vMjX6St0JUlbZcx/RVNizUX5d4gmIO91W6f39tp45uVsoOfSORf4nL4RCT0UTiUOwZJkHpLqnBFux88k0KNkmIU4A0av6i2Ys1SCRfseJnTfaSltNnnZ4SX7XtV8/zMkukU/dq7sm1sULTDngAd6KtOd0nVTqrMxldOK1eS2lBftyLUvuq/8vdOTWQEj2vsLpqLZKsZkUa5kK55qO8yvxMq2Aww/Jl3xcqQ443bW8tScN7vthGlJyqeo51XVlt1yxOo9+rVl6EGL0MXCOZ+RGwwXRi5EC+O6klvwDQb4QD2eIPyfWoSAq/i6RA6T2ggUF86NvauRMMa0VE69sp3PDF4FHeEPsuP5AYVkgbZzzy1RqVyJUmh59/EZYRkazu6f+3ndwbKWFNSwGtD2AQ8tOIsQ4xE4e5muBAUWkGp+G83ZyUdc0TIZGm2TnFocgxlQ+/FW89GAtbGdQIs95xQWa8ep2Wy0a/piBM7oSVU3/x0VZwBRylRV1YgaarV4jZnqrfCBfdX+rUsLNL8G6A4Rwx+w1tULRX329hVYe2vfnj9+6akGRUEG5p5mq3UAFc3NURzlkCfvz+C/TjPLg8fD/3H8tJcGidPKy+c6DJZf7HjJ3/OIE7mY8Br3o3COpjB/vLZ+TPQZhWHCvkCK1PsGDyYD1TXcd93wkmQNpaUvrTrPVkpIPI6PixoXUMaowUASqD9zGuQjHWvixn6qerGU8MachCSrtTH8YVFGwHu/C2ZuVSIKZf0QebM3UhFsud76UdVbM8C59qrofAS2VzbrWzYRsplX2+HDoXiSqOrsqOvDVLzdIJV8rCawc3ZQCS4HAYwM3QVXDmBFqdLppQJ0QSHkW5BSvFLbe35A5KU/7RIwSeaye/ZhXbSt3fEbWSjQbcvTUtA2Jc/mbOEo3FrnNAsVS+F+mws41WTgEilbuMuNg2R0dM6X6d5jl94lcvxbMutBad5mrA3NFv5eMgmHGiucBL9clqC/SNa5saqA=="/>
  <p:tag name="MEKKOXMLTAGS" val="1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COLUMNS" val="1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iWcfk2RmY+GE6Q6T90sFUr0lg9IPP9y8umrse/9AoLT5R0GKq+XM9pr/aTyOTf0wptcuHbHxeyqBm9svU01qeeEM1v0hpSHUgirOnAK/wuq+UsqGola6sthEI95wPBHszxQtMrvxEpTDkdnHBIQY69yimsJ4Xk7K7801zAaAOa2VdpIhJ+jebm0ghdzTVBEiR4XUW9cZkp3dCVEZ0Xiq3F7oVuzY/HiN70pcMR8IjyW12TvvvUwuVSNoQijMTeOV8ZQuwZlGko/lOcJIid6dBM0IarNlYbvyvwi2GJiUlLB3sbGR3h10lKxmGU6leALFDe5MlBblD7vQoZQk59TlmZvS3qhy61enxc0kWEsGWitSpkjgeBPrHMmVFqAFHBJ/1a/pvfferswntFILxSr/62eQSVsxxahmEiVRnVJ0mp7Mw1JDBNlUNfE9hCs7vCKbe1Gg+bs9aMabp23gAbx6zPUoaBaFaLaZyEmgfiz25q9SqVoJhDZXouuUWJ/A6f3df9UmmetCoJPla2dZXxXoXfu1w/Q1156q+lxrjELWqYmy3FVgr5caIulL3Y+ETT6nXZJYIWQkgXH5uJW8vdg4REo+0i/ZhdFzp+HfTU1LblP9VFymS22WWNLKwC98bHFFSs0kj4kk5xTNKe5LlL+fA6CyKJeWcFjfme8HZ2cSu38+6khWdEzIK1ezHs0sVMa/cOPiqk15bafHDOHrX0Pura3RkH0SGKxu8anDwrtPhkuNN/JTCXNExFgLpBD2cS5ieFWPt8TAT4SmnS6HZdH8SjRQ5RSMcbEpAXrJk0lAZMqJha2hlqaO/OuMhViSZ2Q+vvwxc1sEj/EqyQmwGgboBKM3jPPpQo8aLghBM1Vq7N6TJXw33FiT24qOhLYEqSdG4a/G/hV7C1ka91LFX8k3zhoqRSjlVwTQDBkLC0EW6f4aQfMB/e4txNktaT7WVOKhjEMV7+65wTzJwZA3GL2C/xLCHm6nzgCvBU7aZyKQMM4bkb9mEme/baGzj6oiG5q3HPCwkqmGbyk7ELh4w+zBT+XGOsh4AH/P6XWg3oXNsRQE/IZDuky85OqwjloNzpELXKX6RxZWWh9ZCa7qPv9lbiAU17nTcCXkgHvL4dsq6x3ZJ1H8xa5wLNxwKYznwNeSuJMjpVyKMjF/ZWTMdW+1NPcqWNGmRJ68UEuHSY6rXrcxpjKcEifzXRs3XF6H5C6fRHbw4V+96EzLhihWBnNU5IJiwLvNaf+B/yeiJTdL/uYShxEHBCfm3hPuIwnyXI5ujkRhqh0RrtU3ci3QnFzHH0vPfJZYWS88B/+Y0JzeQ7YrJljCeNwoI+5ewSdf9qPV2/gIio2mLxdsljT3Hrforb6b7hfK3wMBOv+8v0y1x1/Bbo+b1/qbZ8zP+zQQ/cj7K7deuIwrGxJZQAsKSFayJtBybYgQb9LaI5KBCjZ7VSUir1gUADer2A2WoEluhXqJRN6cSX6wjRXPkagdPTizSDmxm2IDd7XfMOAHu+a9tDywWJ7UeiRc+4caxzkl7vU+olxrGdx/L+NYAY2XyeCVQ2ioQVkQXyHVGHNHvbZgl3OdPCLqM41unrHOeG01ZP/DLwtsiHmFg5nhFwcJaVSMP6J7fjS9Ymt5Y9mE7Jaig8lnQOQs2MyYOXJx++nCKf5uP2R+h+Wu1/xQobX5WsnNGeYlvX470YSmkMqTwmL8vIJ2GH7JKqzFZ/flG/snGGGSb6788+lovYoacoWQmFGInIG8hr7lO5Zw0u5q53g/9YThlcSvhPGGZ643i/orAe/++sZttKTLtR2D1wRvURNN+VB2PoJ/Gdh43cIzUAwObcb/stFEKy+PdoSitsRhHIh0GY2e08VpXuIncg3E21wp3XgzsDt7N9kqu8D6vlZhiSO7+1XJtzVD7UjLKV3+rgIxg6c95/32w7ISAkjVQzNaIs3D+1cpDs7ZHT4hn58RIywYaRTEwCrtHf4eyFyglMoV+zbAsSTGhwUFdZ/L7HsMKB6RA9v79Dl724dAe9Q8j5WRdMvfvPtX7GGKCrqhZ3Q5vE3aDUodmLngYjjHlN8xWCudZAUaJQYlpoKahbxVL7Y+RjtqaZF9arIdoumSuhZWRnChPrws5mQHz+Guh3ZrKHGgDpPQpPaupoR04F1AqNk7cPWuoR8q8NfjcSQh5E2nMmw5wuMGgLddG1Um4nf79xyUkWcG3HbHX+ZlUfNy1sMRZ37QBnuB6zkuHTWa/l+FEpz0WjoAfQxn9pXXm8llXrcp0nzEjmS18BA7aODCwdEdE0vPvcpsaVJaLK0dkxUfEYzYVs/AwFTepxm67heSZjnIgeF5eJre84E3nIEyyhxCSlA9sUMurmRQdaU8OwfHGTXwJUV80cEbSzYH2gymMnj86h+Mxst6Ah86TmJHDRIF9V1C/FVteBhFag3n/3aGqC6PkhnvoufiHI+gt3Ls6s+rsiwjntGoGn0vvw/3ryd74WetSuDkIXTU9vjFAdkdNn7Fv3NYwm2HeHklAxgTGMOfPFQ15xxwQwYdJT7IJYu9yHSAZZS+E+bPYTln8W3iejqe2DZLQiN2p/gDgKIhoSohrVPCsdB2PeMyjLFE1+AtU7m5o9Fg6GHdm1bTCBTCkv5JDpteQErx+5NLgTB9irJoZlzTMHl8215tl44bMSvVE2YFH+BgBBlQ7nAcoM6ocFqbv1xLEADHV29Uje1d0e2FMx2hsmCUq1rowd/fr+Ms65Kzt3gLz5+60fc0tvCaUmaLPpm/R4n0WHrV6ZfZ4K6hueL2IN444eqp6dGldHUViibDvSfy7gtxNoNihO6zb6IDh3RbaLbLtMmRsfmDIeC3z/hfd9GXfc3Imt8rC8NCfvzgFymzBTIvroT5k+Y3zKrcnqXlA/NRmMJomWBGJimXTg/lSrhWJvN2aKWLPrCe473b0bDmAL9W/xqpLz7BdcJU3ZRLmI2vbmDQI3udoZjm60BOKaHJjxGWbIRRvhAnznf4iy0D2Vyh6fOylnroD1270BJcsyNhOfB9TJvk7LZYKjflVtuUih/aZk+CjOEtF+PdBXFzRQH/7G7O7sHpfqy2oRkgJZyYM5j83kouRtjaRNSS45R3cIpouVX2phkO+MvZ78sQVUbzyPTct780+bRbbqGI6KQ6Ah4tk92452adzHHry6fwe8v53IfVdA8cBBMExiOV+tceBl7DfR/Cu3tKzGB3WHUSZBeO/lT3LQG3HDFrMQAiyMWUEjHz+GEX/AndxDJCvhZgTqpnmaKVNfdxKJN+oS/HJKd7OIzD7I2srGY64VlWcB/8vnDvSkJRdJklymQgVyACsFnpNqg6T7xB7sus3JDGvkoCqZDKYD+vyE6VbIY4YSQW1Lm1I3RezHUs8W2JxFxzGIkYWlOK6kImxQng+cLUwagPTlHpVADkBKqjGP4Svh21gPd03A3Sflf47JmYZjEGqAbykTPnn+qnt3xU7Ueq//0vcROBpK964e3aTfND39p3Tkxad/gdRECmFffXk7EC6XqkIn2eF2iWbJiFBt9YpJAQV+OxvXnPTxDNROf99AFvOibFjiGTykHiAouimxMJqvIaem3kpZXNAnBMUasNaR3kW0lFupONlRN2ylfxPfm6hGYs1YF74/5eDPdVk6PxZcfyB+6iUWc7SQ7NadI6o6osIPiNXwtPYc3WnhK/hbcWZsOdREhUcZtRvYIa7HR1nF9TvDn+QI46B+EP602seD4IgrnTAviHIxuk+03eUrdM/B725eLXvQ3XNSYFXlvDw1XrMyEKv6tn42e4UFOvRoplqnvkvwFuqYGE/uG+Li+jbuZkvwmFnmJ9AkZ6yQQl7pV581nbZT4GoVkZBayMNWWyGgBTJBAz8y3U3jfJOB6xHfZG4V8GnL+61Q4XnvmfZRXXebMPkGwJTnkn0WNTemqiZXRXTlieB2DmXBNFFKLzyqRClbTECeeMw/P0o18YUddVAjpLktd7lOGYGYgR50yQQU+wK9QsZXCBpPbA/3qJuWy4K/Wf2yfZUzPTIOEVjYdBQGCaoD2UB9ydtlplvo9UnTmFrB3+Xrp4LgHHVfW6jOmZxMPKtQJBMKI8qPd+ETXiCqPiEp7chLBV+NpRW29Fa937MpKkhns6vDScYB91lmwHjKxJdv1Olgwu4J3QTi1SVwpTX3DFuBVUmJlaJ8Bk9ZycSIgjo+t5yq1XIoX7fNyZRnNUaKNyRrnM1z+bfnog4OsO7zb0S208UAKAzXi/19FpABomtLx6HzEfAyMtBrykmuy0laL0BcHycbtvGmWT4UaDwI3W3khK66lNh7Wi9kfCoHHtOLt2IlWkkwkULUba+iSiFPGPWPg00UeA11RSdYHQEdksPpnVYaKFgsO029LeOHO1oNWW6s1x78ltbCzx8TrjoUrUE8LSO5wDEbPl20/r2MTd0/aO5eInFBqj1KwNtQI2A4N3NFP0X+kIsBc8MO9GVrMufbKu0XrSTfVjt2brnktRMLLR4YR1D7htXetnARgSNw3L+tJZwGclnFSoHg+T++bUFMpJ5doBpr1t1EbPFD1FMVd3HGhKoV0g4bER487Njhnhd1QI3g64s5n9Ug5s0BV7kq7NYnL/cljeYb3CjE3Eydg3+LrPv2XxWWlUEqu0NZ+SAGJWZGL5n/0hHO1aDLtMwiO6oNIzoZnbpP2G3y//EW8NJ8dIkG8xNK3ieapd6kgooITcb+CnVHOo143xODPhdczFR/KDMZcMUQFGODmefZuC4JruFVfUC9g3E+eUip/SqRfdG4IHN2y8Z8eEe1Fa4/GP70cIwJrdAL5VjJVXgeIFMVIakbyc3iCk9EjtOMd3dGyNdTlDS1y84aR8E2/DkFHzrPL6TjlGt7JWTlAadMYXf+LkkZbesI15pZ3vkcCuJkHHzRBArL3VPUbyXSUjgTEu73I2w7M+PpBuXPmB5JGixWo/pdv10ryg1Xtb4cnecFtpOan6gw5sydCI1syzwKMq5cVRfVpdwYIt+qYsmqr52GVelBgwbyY0t3fOFTnWBoPv+8y5/XP9hqt27uG1z8WSYExfnOnsVY4TFn3oaw50SVHSvZxV2B7zpLHtQqaJqH872+SIo9Lh9glXplvfdE2A2LuDcwGfNzOxc0uiequtYPDc2nA0vKucbkh0lfQRXayraybMXhXu80nNA7yWeknCMoJzrXGtcO08t5b7VyUFPpV37rbbvIoGScYyuZT1iKYcUFU4s052X57mkda6v/384kyWqNn5t55DuqWamo+ebYkbRv850fzpaMI9kVeiaNiqtcGI+oEDlB7JmSvmvRCof9Yd4BGg0H8TQJlWXG0SfBFGdiT7gZzF0mce0TvO+ctwuKVgVvAA4vOfqWZSklxH6DTEypqAg+IZtHJRuSAJtb1FQPq8cp3pimPMy1eCEs90RT9/8tidIF+KD4OahN4MDu9c7N+7tBubBVE0xA/Kd1P9dTV5snngWylkUbOc/p9HB/yGVWRvQYt0LlITfie3VU81BUEED43vr2S+hQQZEP41vkdTAY9s7IybtDxo00BJI9qdXPDLhKCFOmSPCbpOtHkK2XI5I9rlbjCQx1/iXL3WotLgtD7vE6E2F+XAbXmO2IY1LeC4r0rp1OYxv1ASCV0/5Ulayv+UMFe1BBEL+SDI86bn54H+ypL5HnIjSk61G6/d4vVUKuczOy6nWtN7Vu8zEDYygrW7E95Ov0tXLZO/2Nd0cvyixRCG0n23no3dZwMYXSHxAzdoQF320cq3EhMZBhplYLt5qGqAt+YaGuKDJ3Hm54qIFaDvI8NvE/Q+YDQjo8qKA5qhwoeQ4fw+NW2j4mThbmI0mZxrl6p/ennmsjXnS0FFMUuLNizyZrWddpNL1nd4Kb/JTo66U9YzzitteI/hm+hW84fsvmi9PZxnra6rrH0yeJfAbwKswHTrqUCMKLrnoG8v8tvAi0p4qSucRCOpyxhzCtGXPu4wVio8FSp7axUFqdy89KuyXKYh7By/ZAZAyWr0aorbNyOdcsk9/pgSINYmVxfmBEHfTN638tpkyJn13T4IQhbZbH5WbxVNCyTeywZfUAAe+RkdXRM5x+doo9eNb4oL2K+imgaR2GpWZt/h+LBJ8khAjjEO7ziCDY+6LwdY4E3xFoQsDKOw3+zPCO0yirpRvP658JVVteh84gjvM0SZ7T0/E6s+pL/J/bKPAG55Nm4jMK1a/GLOuOn40rhCf9xxFkzvi4eHYwKqVYT4iaSrXsF/U77sXqoWcFdMRR7thY55bqmqxWKcXeMYkmmc7EGscRPOK+Fxk5qu4TozC78wAscqaDypjnHy6b5j18LeyeT52MuD+fgTF58dRQ055idzKZKr1o0H50RaCgh/TH5IvOyfapiaAtZbvMePkEOV3OIMInrUvQUq5UwmkwLpRqDl2H+beyOaAlEtYkG0gLjO2TiJeLvdCeMnxKIb4SxIBCpG/6/SeBvOV8SKJhOgEi3I1nEmtKsYZ0vse+XfA6UnDWOE1ECR6bIin0w6SBL+OoFAUCYzIGcWwvwbatzR+z8+dN+OQuNdbhKnaxPqRqqFemFxQ0eXfJpKLxf0HDxgUR1qsvAPQnGvRYL5xqLLJRPBIrPvorSojVVM69VF+tUBNAWPMlWyWluyrKFtsTECYQP3X9RASyIiPNI6UyqaZQkyBMQf60LeUhSnI0XtxrGDn08UQaaU4jIVkDIUIu9xKg4Q/F0622c8/FztDE7wlQHThr1676D3QSUpJrBdxie0S8EDp7r3xhnad9t99qnYz2ZQM/D2FgFQEz9yKFxsWyLSlzbrzWdVzhpaGh/mHCXmRnvhW1wgz7FgBRnVePfRPT7O33Wl1rL2eoOeV67maLK5IdGKPjZoiiN1yEwDSONXX2O9WYWN2/jSjAi0KXY72dxm5zA1O2oKu9zChRF9e48km3f2vO/ffNKF71weoR2lR3nE3rtszGi6xD0EHAe8d6wXVElolfoQelpo3qqmSoWS4K0B5DKyXYhR6BVz5Wuv/2aFeXx1RKIYdGHvHSXS9W3eTMF2NfuFHjHVytXDiOlW4vpaiKDwcv00bM2zoPjoGns9u4bXphZfGh9CC/tHvZdAycJs5pLgLjp3nwHJfWgbNO+sBlBx0I/eeJrPsPN3B9ddngZXW/c/3wzmgh5YqOmv1BF0H8bXtdg+pK7NVmPDJH0MFtuiGzmGtOau+WIQt10npI3B2HAf4YA2A8g/32hktwS4FwoL0jkQX6u1MkjyXVplrIe916aQ58pG3820sF/9KEXeSFDJxe9E9KkxlnCp3GbfhLFkB6Au7Z5VSeyuBc2Yhu5XGSEiJ+ZY7F6TAAAGlWZSO5MM4rfu4OQIgZkcFS0AQH6Vo3w6lN4cE+WvJbN0BDR5aivVtJkHBDm15ByE7InNUxqL6gzpZz1BkguDx9jTi+gLE15rSK4J36DqN65PvJUC6uXDaNIwjw2BGoqSG4bqY1FL5XjiR6kOGeOvGkHsqrFoX3jmMKnPHID32OQA9ai3KWsaLmuP3kjjNThqYa/tpKeNv50gpuvff9TC8LIoNGONhHQT4RmrvPPwQFZhAMniA/jzgtzPcgbZFIgdSa6tQvrFfMpdVs/JKT0CXGG4/7fka6uw1dMys6CImH/S7ZpT8uJGC6617/ge/6SxBIH8FrQrlWRx2DXUl+uwAC7Q+6oOYiwsNl0aOwzvpu5MWHXGMgFBctUcgSvxkJSXxd7qmc2be1P7wMDL2vmE7d0JYzCzcS8qeZ2CQ7V2DqSjGs7tQiKPmbhAv5fBAPhw9b5kxNWzqixmsamTW0+psoFs8xwxKm3LaHF7s14RkSU9x7nZ/JtlxsVeobeI/VAsxUjj7D4PFZSjdFgbzXU79MRhgjk3Pu9kxPHKa2xmGwfWLTQO5Zwp+XV+kDn5vg/luwjbEUSto23c+8FZY1oCoJsR6u5+/Gbulr1/kf8CcIC2QO6pCtEvPTZE/5tCPr3re3MmSvhUT7mFNG62DvvhJFvcTOZqhpdorbCvrhYp5ez1+AFT4wIe5htTZFZstSYhvMmXK2ysQKgb/n523x+Ity2OLtlJJLqZfWvUeMJkiMyWA6Wk6SwTsqoWu20nfz6Wi7kxR3YEy8JlWq2O+z0xZUMsll3/QwXUmM7jtUmjeTJjLuOlXL7AOHL6c2l4lfako9ExKArWDff7CDZmyHlA24Dbug2zfgQEkER6/RYfEroT1h7T1giPvhuEL1WzgIDjmeZTTnfmc7ixGMBXys7XfH+7tePZWnUypjkYUaSFW32PXSsT9FGEqCJ1RzWj+WPxa7GriaW3p9dYtvOIqk0IXG2MGbyZofAIASkL2wQaLYckFpPyLI6dTRUq8vjngldihIwVhFlzeGot1VPeWBNagqa0EJm4cQz9LWRAfJg8gOtYKal3TEjSzGh+RvXOx8BM9G8xgwStbYHSNuxb7xpRw6oMfteXFEAmtDuo1ralDFu2lid0DGFbGDjAbWkClMKsCJiuXPFH6fN0iYYy5E9eaIa3nuTT8EUQF/KbTk1HZdyOfW+wFEhIGqVssYkSDS2l3CVnJJ/DzE4AheIDPqoLSxgryMOBQTKq3t5uryy7WPfyNzLKTZCZGVeDQvgq0BaNI9sENZrLg8/UEgQfdBHZTEYs62wIo6lgb/c1v3MDlJ8er6w3TRXwHdjEX7bOnf8N8rV3f9sTbrew93qxuZ9RMY+/2KaD5bHBFyrpmoBomJSAFKk8pqPKonH/ntAF8/MQNzTzZvV2q5n2l5J7cR4bgY7zURQntVpHcS86SoBGCXNEPeAkSd8pW9luZUdAi4THwatl24bqfx9G6tLWBzRRAUbrPPG99y6gWfEMGrmOqYi3wEW0CIhvIRRcz+SI9n6fGwLKdmiv49QfdDUq+x+7rW6V4SNDh4COKNayNMtnGP2KZkMSV6W+vYolq5VGEeVP5cd0fMBQSpgag5qE6NcxyKXXoYsORFWVwDKSBFk3NOOw/vTMGba54/xrbvIvTUW/xa1AVZYVxqRXxfaLw4+Jk60+Uo4gYy3q8vPdHeF8WkPC6En+Gk7Iyj4ebZsVxHvPTCiPd0iwpanleX7HKKzFA6EQgcP5l91/H+gaRgXIcPf7Sqkzse+n+BGRCVBhd9eMQ0MyfDDkgABEUrmcMzha4g7JTYyfQuLF8yNxc9XsJrSzoWZNCQTfx1jk927sE6HLFSqqtpTW6ElopMzGmDS1Vqz8WQWQoZpxsA14yIRgSyljY4KZp16QTomlrrYM9551CgkGHScfoTXlRQa76w4X1BSLPWmYzf7A5Rdlq+5YOw0abe8ZMsTpUfA0mCzwgAKdlg5UhZKrN+tpC4U1vkoleeQWFWhfD9wwJU0qchEmCEC9B+COzJboogbjOhVovFWefadQvmgWbn0ROZr+3/As68z2PxSmXyuVk56TRoBkGoD4wMQE64D17/WYuXvXIIQGBGUhwF6dgCi8LtBTJELdT0WXoSpaX6sKaTZyTXrTM/nmF+TGGzl8ZHIvZYLAwk7RN7ZuNV5oYlYINOzUI9fDwS1rHYvQ2nhe52vMJ2AaevBtBunuCgxJucGvd1uVlfLZM7R78hiKTiNQ9uAmHpBw3jSxlA2aZy/QvzbcuM57vJvwOawfJN8nukwFfma3pPAbyZZCF0axtXJZT7hOAktuh7q5RpCxIsnrKbX8UHpTxheySa4pO/ROinSJEv7yFtHgmniSHTe+eRfA1zTFvE52u1gSvRzW+GJNVlyVMlNJPh4sQulfdcNR5+1OW6v4tV4Mz3GcxY9fmTe/MQ+z1BuG9dMyOdOUk8v0z4xzyOu79Bql8RQtmJhIMrBMkdK5g50TGlnU2r0ljsjajl8rfnfJx4hM4+iG6qxoi1LDPULvkvV7fc3uoDiLnkG4yyAwMlMdk0UHON3xtHt14f+J61G7dROOEyMXBZD3HTd9BNy9og6l02PDuwtpwN2N2ENMywCd32m9MyGaWL2GveilJJdHVx/bIZRU1Og44PdOh+7yXGkM25VnT5iPRa3e/t0ay9BMj/43RwDhiBBYg74lsSt14E5LtbCzQSbPYMMvb/aMxPCrnZuhNYyNAUpJK8+YZ8IVZHhY9EOBpYfomyXiL2ZJgR7SZDxO8iMbQ3QmQaaNkJ3qemTO4yZKWh+aZgzv8bvqhmmzmXPUwgiU9ym/GP5nHOUX0Yn0L4q733Ck4WDty2QhV62AHZqImS93BD19vSuPTGIUxKKtacvqTQFP/c722nQn364Z+Lp1Ai/JoTgp/974z6v91dAa7ixHgWjU13vwRF8kANiwdUtxUwyhgvh+5TmMHhHCswiE8X8gDnOilUjYLin0bVujG4hON97zH8/kW30NyKBaO9L5NKGNnUpBiTiz8ezGRJSDn0kBQxn2tAnww0YdgvqEpVkXVIKa58KsJNQsNTXqHfCnjXRh+1r2JT3DooV4kSy+Tq9KiDgZkAzeEUuAxZ6tuI+UfMcD64AWnh4PO5xIep+nQzedEOvi/GLYkJZtXCj71b3bFzPEEaBc6oRgJHJJt0Ve/266YXEB9xHBL1A04n5CO2bun/IyX/zJC6YYmxPMYNpQtDJCdEggSiXS1i5iOXwc9NvwEhz+GQOToM3IGfaz+i2ArN8Tw+9CIo/Vmv94kAMI/kKhov4UIZ2SEMh13PcgyBLjU0HWgLfZ3AMyYPKlHj6NdoPUhqot6XI5zjrVIi+qBxpBDKr/LiLLEMJrI3fYkk1+gUc13v+RjzS28WSCvn9ohLy+qJpnO2ejeGRM9R6++KpKnszwDcZIlyXkBXWR/p+8Vtj2Jryq+XT3IEZCqIRCY+KOGaaY4VECCnIjzUMhesOLf1aBB6luMJEWMZW+3fiUXDHtxS5iE4K6BL+o1M8h9aGk32NBdAnZYKo5hbzEM7jIIVeb9wNptK0dkVgK0okILzZIv3entSQ2hWm3I0txWdJDkhn1s4cAGsmkfNj0sR8nsJvaeG4lTmkUQtWYpSqBZ4l7TWQ4zxqH7uEk4rYromFOJ731rhDUwiTi7aWgfYQi2/TDvJ7Qw1N9qBaSGq0WWFUY5KIpOdC0qlL/7dw5WJ56wcmj9yQxbo642LNCnxfc7P5NuUyouBFidtc4qd1B6IRVVlYDdyn8LXWxmILmllhNNrCnHyLqr6ZYEbC8DALBxypGKHkuNr30AMp9peoU2/32H6qCAaOZfYpdV+v8IWivk5D2dDxN+b4fIum8//puduelItVxX8bHOpAMpZA+J5VYeV0GwC/8aAR6a5KEN3DazwkNZVqFh79DyOvivrev1x16G1Gjps/ZiEIsa/c8HJ+fv25lHW7YO03FlGRtCHjfqK4BhO/0ksJ4G2rVGEURSnVk75vegNz1kox4hwimI5pIYIft1nqx4xb3Sjiuu5mwSwHDQsLXzP5l603o7T64NrlUZFFimNZiSwQ79BcQWAlhvbQOyi/+ehKxOF5x8DuSBctncQyWdUfokipNP4AL1f2LuIzDOcMe8O64QkL3MvxQJcWzqo57yYBlb5jABOucl9nR/wzvNDtZjBsoU5vlN9sNacNvBGQgC736mFlZ20aJ7vFkFISC14jpoGkbmQDkMlCXEEOeWAVuOqp4zZF6ya6Ul4ET6lYXSxI1fJYoTnRme12Jheo3nYp78v2pvhVHsLfx++NAq9hbyaoYCsplb+Px96m/pXTPBkJ4H9wEGl0eeU4eF4qUQw+O3TxZHPnk3BROE3NwS+DFZ4OGcwzFwKVIQ7Z7Dk0e+T6xx3sngT6tCLakG/YJnlCuscE5UEwqx0p73+lJSG3bVOv+Tc/R6+29zJwrhZRR5GecFeMZllE7Cn8K6Ik7ejLp1MkajAYqeogiZBBOolEVld55dvHHrCOTJbepgSY43KVu1R/AdpI2NLQ6KwU6j8//2GwmyeGn/NLkxmMbjRhgLxVL6TfwPw7EXOFl3K04NlPiY0ThzQTn3ShiRA6sFMJKzp/QoKTQmPOTAU6+mHa4DvmdCP0+m13cYR6AxNDTPYi54tE4r/HD/l6Mop0e8U+DTbrxqlxFJjmrAJaaedm7s8suLgZyIVeNktMqkrOp1luv25hoKfqaD33C1Rf38ILkavYGjzanWaSQ2cDFnyzM209SjQlcOR5MMoFmSiy+5yUuFydnRCbQNcRustHTkF/udpTocoJu/qLGh6LDvFmfaNUNngY+/FzQ/b+i5PMxUrOBLEtJ5ADt4+/HqCIgAeX7P2XuXZbc6V3vRWKCH7Rks1sdjiPwE6phMAg3oGOndo2hYiE3IeFeqlm4r3qLg6Hb6NHdCk8VU1lopnCjOOSJ/yJzSZKkbWO5P5fMtBzA6TK6EanH7Nk9+doW4Vx4o5DSP/jm0cW2SMkTFTorB6q4CK+JGCFGuILqPcYinfshAgX8Q3+gB7hCy/UFcN8w8ZYVmcW3K6kXULsSr0dPg5zunDrNts8Wf68ADccDwTEpeJWCjmYrsjFRunUVSMWfZWC9sH6kvvPa46JjdStorJreXTeKQTH0/eXN+xogbhhG7IMzoU846H8m7qZ8tvoMb98jun1iN5XMK3UKAdPme6hCJrJ1jUc/RExZj6veVBYkDHNDnM+3ffiD5gCExKjH1HNW7pSZdZVg37kdKvubULERlyxAIqVPXdji7EfZhWdjpCOgBuLHOfTUS3ElTNKmELIUqRfIQSwbCxeCn8+lCseVsoVsoGVkutwAXJQLoZzU8MX5Kcosp+yVNTNyS1antse+z6n0G8QI0Qs9WHMooCohmwgnPAa6cn1qjE8QoSZbLsAgQIavliIHL5hAhUI0UvIOvpCes1K5pTpg2UnT7BqIBdZbvh+NiFZSMBk7rDX8d+lHh3zuUT+9qFKHbjsRfHKz9egMD78jf4MMYTZg2s1ev3A4sM97KE0aMPlZ8+N7hT9OwGCpR4EtoQ5HOw3fhqSMum6A0piZzzAedqwss7kUFxUSxLvv74b+7wbJ+TR4koPEUhC9R4IIZY2Zn8dXVm2ApJHBJlRnng8vz0mKlGinkMwh836fm177VhJovBYQGD2Y3rTIq+lRk4+xUOkCYA+6AzwRsZreAa+zlNDyRqT810PReCG8M/LXzXvysvxlTpS2vbezkzhOXFid2JIW9rwbBfT9rxkF4Eowiw20QNLUed6qCUoMuLVTOuucDYEV1nepF4aSkq0i536bNJCRHAWsQUpUDp9INsUqSnW3KujhWmCZ87Yp7fdTmQWIolNXTT2keEdxM4bOuAVwGsJwP8eOf8xPH6z1T1y8/tkmWebGYe837N0lfIpxfGjFe5yU9RGctAD95FoRs/+/bKKl/qrgTTjptN7u8fHoJkx1x2FPP1GUMSfhcMsCiBu2uWv7ffre9/+KyYAf9AXgCk/fQZmuuAdI9+kawQOQrZA0qFUvM+KXOAKYpChXD8kC1Bt2mvfO/DAFfcIG28viCEmqLdtfF4gt+HtL49Eruf+xjWYIzxrr8rznet/FWJD/nGKY+oFGTujqCXcms1ZXn3L/m1fR0gf2pOVTcdW3q1AX3dzGLegXIpezBB0/pQWT3X1tfbD7nTjVlOztPAWTzxWhhqN2xX/bGMB11ed19ERPmX5Et6akGyJCwBPKHpaVeP2iV0sGfC21wIJSc5862Ji0mxRcjr4VkU35KNRK+Hk7plz3+3hV2fq3jHHHB5KrqblJ014yUTCjK7nL+HAg26yQEMR8ecZtfO/kvmarWXJGDC1HaY22EYkgD7608xCtNOfFNbwX5EjbpbNcCXiAT/aXKfqYkh+MDLVulOYmrzZC23ujhp7vAzlcaT3LBDgZbkOGb9O8aWiNvgbBupGX4dFuXpgzt8cNQU8NhCo6Dw4jY0yCfXkmF4Vc1KTqn5eDOHIgHLC5LG04FbaW6tL16mMSIlVexvqOrERep3V0j+lLD906jQCZncUo8awXHa8ffs5y8/kw7t+zaQJ4leDrWtZ+5m/kK1g4y2lLu3btXEv52lDdwCwSnYcveloHBiIR3NJz8eM6Gjn0NzJwN180CzFuyW0einz58b69RHjj8XoQIq37sBj7pCfpl3BDtPXDWdBjg9d4XPHVb4XBSsamSnkOPVqbcv0G6ReHWlUaGxxVDxt4bM5kBaYxJ8B0CzhmUpgFvFf2vFl+B8SPinawxzOFRuKjmDaPYPuI2vvyKqXz48v0cPRrUIJBVUuByiGXH2uxyqhTiYvJ7rrmGVMJhHRLZm69eGIy2on2aGq4UceIrjdttQn+KlIuOS5/+c3qQoLe7oqPR59AWv/6sgHkDbdcWIQjqa/GokYqc8vYI5Y7L+Ag5z1bjhpJ0xITB43XnsH+8xnLYUFZxASWVxjI7fYHzTnrbUXAwOqAjoeRE49awMdzIF76+V5WNci7MYe0Z3g7A/qIfFSO52jW8J5OzTBhwNM/aP4ngDEpCnJcnzayfmB7uKYJH84TxRElAPutJa3hfzIyVT4k1c7CAwqa4MRycRXgewIndSFLkqcWzR9f5X8lqnk+KwxOAsIlElaxTloe3iKabSj110QUpqBaG8c0EaubtapOyzNdGx6R/snM0+/lexh5yK7tDdFUJjk3yha8j/t8pxYMkgA6cPMWg+zdqiCg9S97ohGgF7TwVKp/M35Ik9o33IloxX7yJPO95n5ZN0sPbJOr7v6LFE/T2m9ETfkIJKWs/iTtYOLjAEKWqHdJQso2E4tNHvFpKsJVevFFr+vSy4TOi5lvN+xcznU8Zn/RMYX2LNfhBfJHGh9o3yAEkfgPNPi9oJJW8DtsLmTir3ITVcHKKjRDe3o6iRA2SGCxaYQ07naE49OGAqx9CvCgjKvdgwFm6LzPOMznO24DgTFOQOPD0cj3kMCTN3TJ6T9eJLFt1WPCZyfL3aE3R7xXc+pToTZbYu90WQf6jf5GTgNmY8DQfFPXQ5Xr8vUCv6lRURz6CHwXmuTi7nhy/+gdEZNHvbzYjCUpXrpgHknCaiA0hJFyH30TDq/x31npxrcaNg5Q6eH8LP3CUHpeakf4J09OBqS67ttZR5zirZOZvtKddVDuUlA6E3HHrnihvhPh0Gu+LtmxbMpAVqOtHluhwApXJeTynB8v5d/vFOTB4f9dUUks/qtueD9zMojnaa/m14cGFDun6wDwOVjL3/abJD5Ky2fBL1GowNEotf0Cv52U3zzHf4/oXcVPMRIMopKjoKOfjyUYVaoyJ+L86xA+5xewb9WSuXVuECpjqFF7zFicv2Qcn7qniu+70broFPWKrJImXjT/vEwRAQynGBfgE9eukFm+Oar+n5l3gPfgmQvNRCvtyGptAOgTwbfnbBr+TTlARrbDXHq1kniH5FE9KsxVJQLfz8U7m1RsU4KkELBtdNcK8ArpQYk6immpt1AxyEY/JntvtKD6xhAQwOjlRal7HNnESqNaPCuo/CBMvjG5FnRSvhMFqGpoDnkb4I5g7JnOXb2AYwk3oVFtgDImYeRAJqUuajwuk1OuKktZoknAI8HAJZeHg/Es/XfV8o4GWHRzWGjKpF4gr0GMK1T1V6dHahRjX7pPyanpyD2ut4MP/BwMrn8vsr5RWMLcBB+vxecLZ+INj6dk94ZQeWOA7DeIu/6jJsVhfffDAmOo1pqbDjUjOPtIbC1hAqEoyoGZMjri0hI0porjl3H2nWz7EwVTkXpIhB7DrIdib3bBUF0jzDfX+Db3v5He7KfqZ0cyUK4/rIruNt8ceZyL8KrzR77HIguCNRvlIWG/gEsuHZ95pqDmYuIBqzknO8gLDBCNAjutQ7auWda99pXf+KRbTX/nTb9Qo+wt7YbvsfuwKkr7WG0sAfBrrLD49EqEKx4ZWUZREwom1lraf0gAUxMZJKBhW77i9RzlNzeOurzDtQYcL+ssor5FqMSuokARrFGjDPIZpoq/90W20yeHSgA3AyUn5Sww6TNnai/9cEszO/oYTHK5jRGIQ+aH/m05o75oXNAyUGiOYkt4tbPxN7mqSHl5g6cormlIWRbUEIjWYltcPoVXyuqHsP3/ATMvgyd9WQQaTGD7+xLf0jrSGJRn0Lc+FD5A0sSfXiK7q0UMX67dOarsYD6bBZgqEdiyRsPTf3EGOVXhtD1J5yLFDZGkk5BGEDZzXi1DakBEo7uBjVU+/Gs+n7c9ftm7UwV+Af44y4zRch9fyqPYRKyVamS2+0uBqOCcWg54/CEfDNdA+p/YBUX7KzWzWOCPm12DPYJuVF4VEdRJ68OZjlo4Ckd3P0B2eU+b8QcZHn6EpmLdL4HG/hmvFuCAg8jo/aVOE9Af7S5aveE0mqfOoCqvSaqxcXgX0Kq5oRf1CyfDLbE8LZJ88L0lq1NE8xQeocWLMLWKJRHYnAlDxGSYKxHBmsF6PE4juthaE8i5ZvkdEIZYxLnxaTARCUTYVgM6D61WeEhZOD+oTO8hc4k/xvGmL9E8qTfTfDnzj2GmvX/R7Geq2ebWQZhOasGzn6TkyKtAWiA6B9UR50FxlPqyc60Y2o84voRBaJibW4QYDtnd6Uiltte4YmfMCeas8lFlBgFZYvD/AxwehzJskl7AYmW1rFGH0f+fHn+OLsCr2cMnTL6iGBs0dVbBBGSqI4rg+PLnbf78HgCt5fiv0vzBRaR9guzL2YxIp44A39/z2Ddey5zFPY5bbpkcjNhl7Pf9fKfz457vzP8rH1yapVgRhNEHSTgNL/A2l/QxxPUySJXY/14Xq5q8EeegmrOSnRLptvTx/fUgpWy8oQEAw/dzmlHIQw740Bqp2pqjzgvF1kNBEROH3COh1KqrsvDpL1IpjrRDg0g3tlqRxz+G9nX4ET+BL6EFmb1qvSJC6rZH9E4cGnVfPjLbkp9TyAfrxnA0TWYql5aBnGmB+aloqz/wZ/IhpgYZP356PPX7+0eLTCle8lReyAca4PkYabz5rcm8D4PPeJsvM47fFeHjyBAPe8/3u+5U+VJaRsbdgCRVsQYP0fd8VgDy40cceXBYmglGiR1o5x8vYdQMENF00kGpmCnpZj3HREnRin4zL2P635oWHLr1QA+UuQ66/4kJJI+8DX981qTvVXxQZNQJ0n7UFEFnIyQfoB12dWsPWwLa+v9osnqB/s0RQnMOSWwb6RpxN89axWwz7WVMJWvP91yDQZnLJeqKG4fVzoCJVz5yKIY+MNCL6GcF8M3qo+nPp0sZtpE2WuG21K5zJPbdGEstf0+4S+9s5wgRPPAD9HcVzK4wlygbxxLp/ena4ip3yxO7TQqa1l3DDreApaK/qdR496tfXYejH50qZqy7i8DsBdk8w+hVoVSyk3u21ZaEqccuT2BDD63Zw0/YOClalheORElNwYT9+IzSAffAuYkXzzieT8Cc0f6gP8nTJ8pq4OXDfrDx8irFATjfaUt2S8YGsdfq5I+QCkpKXbUt5X65uwdk/qNiT9xiAtJmM9YhhJ1A2xFxMgf5huTx7ZKSqTNtJtcT64OYqswNjz2vlsihGtPY4oPjNrxxBMf7LoqGgaGoGnN0A994ytrBWTv8Y/EY/poo1QemOxzNPBMcXBooqNM1Ydggn82mBQR8myC4dlwmxrGJ4JqtEBHzlIGicFhXEFezWKjyKlzEwvuG+2pQiADBptPdnWwu9i7EM6k3I193Xxoy4bDfVVopGk7zB0zGN7sp/rT+rOOMN29TT9xFUh46T6Sj37FT8lsd+EsWc04AiEX9NTmfK/G0NEkBP1UWaE8QSqBLCdoqzGW9cwNufi1KHJ+GLs24RKC30mVhymtUGpnlXyhZv0gDyyAPTeWlN9hdtshtm+ZGwAlK3DXV24vc1DsVKHuK3KCNQeeIeR3hp0GYdE+mYLBbQFaPJ7TunS/YWiCLzU8UrwEai+27QaGXVfIr/JX+h/QxQGzZErrCg84VGMzn07IlsXd3qZbIjyE77q/o78fNWQ7yXE67J4cWPrYUzu4y8nhtQFFMdungIoX/yHEQMYRMPyGvyLK6o5NCaP09eoUMPTT9ajMrfQ38zkdFBCDn+N8HoWXqomBBTHXZWtY+2/s9y8biFM3y6hMt8fMRD1r92Tq8KFKQYRTEw0+ecuKES9GfdHNxkkohshY+qqoGpXUlceiPHmaTqZ4XXm82HgEeg8zGIdr/87U4IFA5bHEe7yFDR9AAsWR+3qRrgV8Fx1fGLHweA3kRje374uLebaw2wDKNrL5DiODLLOtBvHnydP8C72HqMDY6A9jTaTl1lPFQBUEkDrKMa1NzRzYEaBT9r2DryNx+i80BYXoBc5SqkuNlLiwNk7Jhs2sc7KEIACrofvgZ4vEJ6cjPSZFFVNvjPFnrsxVQ8IbdHCbCa2SvQs8iAInYk4i+07NuBi3u5UldTkVzUItzVIJKQNgNHJuQdzm6WUE7xABdtXxUsS/9P07uhxlH8U5C9zQzvcUJDAsg04HL4jEl+8S4q3XVXhgnMNz2a/vwxMPOmC/z0PyK00VIN5FPZ4eeucmDOZ8apeVYFJHPY4abyGUp4bgYA9PZ/Ibv394mCdy/s0TePQkb5XCHeMn65QSt+7hu5J+g67YBVPtG+E6bVu5qn5XIsw7aLtugSnt+13qNwbOoYnNCQMK/fcp/eoO7ezGt4J+EnWmiw1FG+7PnLbAQM7AmPZz9/Sy/JAneoQwYsrLfcKKpuf83rrghbBp1Mw3xWEKMVNfmE1C/vBXGC9z/frcCc1d6FBik2Il3RpEQd2ErUo7HcCj43bi70gKiBoXyo7KRj47zvDT+E+/gZ/3WQ+qJsWHG5F5cixwi7piQkjkDOzbfP/IKaTLlUzc6FA8EwVmKr2sEhikzAR77Sxkb0b1hv79NWPrTZNftImETcmtUsZrzne7JwB1E453oEmG8Y4mKPhS6DauQEWN9aMOEYa9KUzSAlZzkO4CboRZT4aEk4+NhXI+hO+LepySg8Bndbbs1SCmOuatd5qupzsF5vw98KBP4X6OGafcNEGbH+ZhfY/uPBT47FoL/GZGfB0TpyuhrhKkb0ZWwghhirBLhbg1qBLoU/JCJKLjc3jeB3UH90WJpWph3kxWpThoLBSTxdY49k7f0f1Hos4a33rK027mcY8k5KKrJs0he8J/LqzFe/ysw+Mk2ISdr62QnRXjJQImIIls7fU1Ou3JbZzPyWUSFoBKJAEZGsjf3OlW2tZKF60TM/PhGpbc6imaWS9kkV6DIf12VdRF1KbMJqW6iUjbNaS9BVjwxkUhrn0+ksWcVeHfo9b1pQ06mf5GYgqHTpO+ImUDsbf0xL7f0Cj8dR3+RMBQHTTboabYaI0rCsdFvJ1n8VDjrf/JuxgMMQo2oYcVp9OxNNSq5+AxN/SYqRiO49oCQJYMrniYeuksDlml0iwi5+SQQVEgx2XtQsOwQoGeuMWBfPxryOjTO4Te0gLmqx8Se6t7Jfog0++jQx98f/++FCLhufp4T3CFMUd+FXASUO7lVHRFnvW+QyFKAASs6ig/kzY4TFMNRgVuyDAfbKVlcUaYCUnqUHfxC5xDN0Z6Phia7+RFrdtxC4leyDwQbaBbhs6+afeSI93PHMtMuSdLii5GAfop4Uh/RtKNsKk855g0DeZ0H+wexHUh4sNRVlcbAolnKf0w4axSXQPJVWbzgxiqWmjjvkqa5kPV/2vDoyRSxfNfUO2M9mbA+CoBBLsPfe+iEXYP6Zv/nSChOunMEmU3Jd+Utxa9YZkhWeWF6BmK4jFMUukXEDNRokzvB+a+ogSk23Y+9Rm4SX6MKVgF4MLeaatpFt71msLp1OxvstcRpQqWT9RphrHYmHUiw0IbbuHNChyJA0XNLb6KTi6y0UWL3eZp9k8x/KC5oKDeqZRpZDWZBpgQi5FEi5rYVvYrE9ViA+havTNlgG+v2qdkaJTFMBh8A/D5CULskmywCmNhElttvcfmh/vF1hjEnJhVEt0DgrnTTiq35lV1osc79hSLjIN9JSz40CWxHRk5t/r0XIHDUYXwvWHXv6+IimS4VOfV939+/BauWslHxWEmpSSJaZuTH04qaIdG8H6MgNaTJ4ejsSsCXcFZIjDnNp/EiyqjbQqbPdFVfop8PnAqkLB/WnxA6dMs7z51idZClQ05x/6ugClYH+bEJwQxpMTpfYWU8pGA24+VTtP54ovonS59MWfT+b89jhd7dBKchjJmyXZJbe8qp5ma7c8ckKjpKJI0xuIAvUkAXiMFIprYjp6xVBZgh1tOmfP7L3PjUgdXkRjDKMmXINz4vPuJ1/3uGRYnan6AoASXkAtU2IlsKyaQPZ2LzrIK/PmTuYb4LS6XrusBT3ZFahXqDeCTH3wm1qlOy8VnF4YstkyRvVwHo6lkXxlIJPDkne4wobvd9cBB4+lNULZ79qdoZPdrNyDYhP8qRxMVf1Og1+GYD3nb9pJLQtWpiJkiF1WNkney+Xu1u3vmoo3dYn3lF3CUNoOPyR4EgIYoE14yf8YeMSYa/GqFGueQLVcW+XBwgaGRLr1GHQFx32PvMvbift7aVEpXmQstLvedxRP9KLubs9OpYq++v9/hj6BvlBjVS+TR3mbX6gZ0HQAEtodMaYUAwlqonA/uoI/6Q3fF861mBiYXIAJ3bOwRWLihvd3YhHUyFHrtxSD6LX1R0fhJiRnGGFRtNpP3b2OWFJHHvTAphe4S9poNUwNih6iN6Kq5Kb73nS5wHZQpWBCuWwqDy3Qk4fUmePMdqdNx3TCBDKZ+aNoZC7CUyGq9Qevu8YzFEt+NY9JLo1xKW2cpFY7guqnQDj/Xif5CW/2OOg4TenXgRYES+kClTFYBxgLn5cwQ46kShARZgDUAao5rN96XuTO7AODsi3ER3gKN9JpKcPqTBAoKZL6cWwuQkMfrG3+zLwqUE5lJXHGY5+9f79lmFYwbJYZEwIdJzvZS3nIBgXHDT2/ZHYPbASxE18mrXgipP4CXEJcDuiiGjbXo2SH8SJls9ZlRpCboP3kdpUnDeA6YWqaNk/NPhvKb1ossYXfm4TbtdesTfAD1dXCqESy6JjVhfXzA8Ng58vn9yTQ/9XNhTqKeHISK0ICj3yuGme66htOTK4ahGs3Lna3mc/8JieSsmNle2+y1kD5+OJjbd4tjy7lRFUFjg7AWtNkeOa7TJmM9KHD1ltZrG9h5mrlIPVQyB16V2hVknzHvr2WlEfwEKpr/RhtduSGIO70gkk1IPa2xapxio3KryWRNdTI4FJfBdUgZCd65FfznXiCPaRq4NgYUCl/CfJ9gmomVTwlPtQa6sU4UINCAg1hI55/b3jIk2T4OmOs5bflP5T2JuBHh2K+WrruiOW8O/bnxAIzyfih8j/0LeDCbxGZa2APSceNIMklK+RKx65XiY4Y54ekGD58d8DwlyCAnGt+r2Gl07rvJGfhpeapTXX0YM0xxj8UbP41A2wEFdl0xWbEusatl9fq2dLQ2xpAsA+qn5mdxiC8XH/oUKbVNqXqcarHtC3g55EeHeJqhMFHPm0ggftYM8U2RdfhL5AXM+pChWKqY/b/U9jg9SQif9p4L1lRIrVemAhU9fs7Awv8/TaVbXbMpgEPAwvbJPuWEirb83XUZZ0br5bU/e34PJuLOFFG9zRSjHz98eLWfrJJ0m4YLAaQfhljFwpRA6bHFFUI4mJf39cDc++bDbHWGEKPlto3U8HgfANrNXM+fLJOiY1WvOHD5KcsaRvuwXftto76RPrpvYDJWdoIJcwwu//xnTxzdIEfKZK9qngr6XPFqeu0Ckt/wU1j+SYMcj1dOzlyw/2w1C9/Nis0ynBrR7gSuBBnNHCH2Bb1RbLnOnUdv5YXG498vgUXkaa+qeWPEavwVBrpjVOVCF8QAmOOCpKhJopD87btOaKQ2xEBT20NXCkpiGZ+2E5bChXnCgow8zvopO74CkKS3iZEW24D06TR+NjZC3nkDjG4sUMX4mNb2gcHXt/EbhKY/kgpgqFttG5fR9zq0yxtt8X+tVMJcQH9D3JFebh6t7wvX4fXOqpnNzIrfhnCB6/IW6caRJ+zvK3WPpf/PuWpjNA8lZ2AfpzLDtHGyY4yVToywNtDktl8OqIjx9002R3gFpU2DXQ2HnLxJd6w8UHubgqlHAgP7Y1pRqPrl0QeYIi+lSsD25UKgqJC0IakUTGVBINq1DxLZ3iK6mixRNo5PRUgmTe58cM9bq6cTF0E9ouxTjtUh5F/l50/WuKapyXm8fXryEHUOuMAcpXbjYw63FkqFvo4MxYYBvu/b0nD9PfoNDxs5/SEzPRFNWzDw5IDfRnS1sGA5X3mhQfUd/pTwZVRKcpnOykSzLyYAKQvgJLxvLSTNuPk474a2r7ZSJReIpm5Bnqrfv2MnxvqQjGFn5o/gyVEWdOqfM7dAlbcedchwBRnOoFVS2VXeGy5HYIt+vzC6m4mP/B7bTjSOeGmikfr7J47pRwkbr4erWu5JCrWhIFspRei9G2M6bi+LvkmmuGi2ikm7WbpSA6bsrLRlgtP7Q++TUGIETDFtm3m2J0Z554A4K/ZGYBWElo2xNqysR9+7xd8FNSkaSJAUoE10q6fornnoz3x2jXcjV0OyMGzzY1uzInwYV0pjZF4CSJzeWcJDj2jFbuO9EnXJLF44gve1QFV7DEvphsu/IroUXs3019IT8sM++pW+qPATydJXIfz3gco5hgI5Avxy+OxhuiaZ7XqBXynVZM2rfeUb6pSoYSiUAu8li1d/0jQra5p0xNEwPq/loogVmCxdXRXdkxuwMWCo2QYVztpM6M778A7GhIQrdVtbvN0BczlhOTpeowwgTJdid/b1wFg/e/U10Y3wZRoTWAPm4J8IsYwqDtqpS1wnS02xv2Oa28iO8G1lEPmfWJlNaMJirUgDiUiQryvVXkJZXGIcqZ9auDKsIPiKNQoLw6HPs6qmWSt8ucVkxZCC+gFVqXFn8HF6FDpfQDi1qtoGPFV8Vq+k3ZFTbXKEwFDq78RDIkeXv/XUbi2cFloos2uerSjhZriYWSeBHUBXVcp1iLchqM8O+7unD2+IajqIkHfeExtPgvK8kx8pRkK0d/+6gk/q/zVTcXXplOWHSoGFd7Myd1g8OAQyBh9KWzxYQKZxiZTYEOm7rNdF4wnZ8Xxd3ysmAeX/epIAnUrgQhUE968VgmoC/WoJ5qgmfy0UPxZAg4L6n5BcC3bKqqlgm01w6c14OVSN2eYo05rHUkBYYBaGORq+5uADYvrB+YX4AjpUP6/ly0WVo5XCN5PWSccfcRHVQVb+/K5Z2R3+OV6wil7r+dUi9qnrUdamB3GdQaQ3CiA+Rs39Fs7NvflyVkR8L+P0aK+olDCE97Vq/Yd7MznbI4OHsEjUtKWcLzmmtHbAatk0aFAT2zpbT5Y0WTuQWPugGeDxHE0eUce7OzzI5phjoBSOKm68HeBwN6c/tZD5aqcXCfT8N5b5/YiUEdu/ejWbU1oL2fud/jUQev+dKHV379VxTOmTRqifoEi7uS2oQG+T3MfbvSHNSuz7hsKpS8ygQiiQustRm5Gr6ZRE2r4XvoYly8bXLMrwkA1h9HNgfDDBr+FlofozUVp2574Avt7LR/H2vB4LrUrIWv7WXqYmUeGoGFNecNlQWq67ggHJmADfI7Hq0Q4FYKL7YpYue4HqoJKWZQI8YXhIAX75bXaNU8i3EPs9/JooHx5arIyvMwpEwbC1TSid+43SVmCP/pelfdUpCY33OvWheWRQf2YlfeW4+5qAI8wAbwo7vqXxB9AEegjZc2M6CGEW/+SViV1Q88J9P6fYOQ5V1p2gSpJlVep87Fp9acEi5O9QIzZKrSgZ3Uwfs+aWgIImfNDi4PGcav3CK5q3+dIBKiJFJU529OWzCeqlHrF53KWXfi3+VoNpYumzLR7YrvXwuxsFUnajfURS0JfxeIbt1yedE5E3qWL39QXxPIeDJcKlaNwweJvTOl8oqxs+sHoMGPShsSR704FIQKVN+rl/VkV8BBSQ2bDnyKOFIE4bKu2mXq2l/hQ3gf53kvoRo+Bu/YFrwHi7blI4zWm7Ajjq3MYM4mbO+Bez5/9MJiZbtqT5uGFN3sDIi4N5OMImA0Rmp6hKSVpZZsTAkOih1ZvNB5mSCOP2GNyUxYFWBClTI1UJ40wARbmMbuQgD5TVo12FafnSkeqXtchhtvJwm/Sk6e3BUJCLOQg9IR/o8vBSkJg3BYrK+fKhwV8qISUWHbNoJpHJXX8Fy8NgmU/QqdJRdko+93J+0FDSZspS0gF1LL3rGihU1iZTuR8vRuIuHX9wLAhvOGaJ05YJLDwyDUxzZuDV+QbUnkJPvvztiVtaHc3mE0YrsZkgl5sDbeQqYwUEcSK6nsG6XJ3eVQJwOYDKdiUJAhPYgJTZmb3HPhG1S0bYCMU+Hx2mTVC7zmDsu+MZ2W/fEUt0VvgU4OudBjcOIsN2P72qbYb/xxk/45wfYGApvdfuGmzdASQnMPUkSL4q/t1GIOGgIzmb3Wd2kq7OEBh0398kNM1MRuWTbB/MfNTM4OF5kDowGrylvSob95qFG/3mmH7aVR4WMjY7uHQA0DZ3Ayqz9y63rXE5nGN6xb5lIUgUI75FzZ8eK05wT1IRtEWQ+AoS04k0vcFGxlWNhe0C5Q03zC+aJQckz0RPwE0NcrBqSWlLlTzQPDMmq3niLw2CVh7EuGOjGp3wq2J2drMeZUwPChJuqI/RohNURRpBBlTn3vv5Kr3VyB5A5xzWX7OH+KaPH0AGibVFN5NVbJ+S4c1eTZ2THQIOBeOla9mhs/xLMUmM4e6sW77RIaEMu5jWtfbxjpYwJwUfv+DmfalhvDhPPb6lX2I070YI42Rae5bIQaLQBqGkBXAh66OSAfSLVHjrwISk9FsOe2VqyuJnxM9Ax0/oG/Qx/69CFJggEMmC9z3qrcwA87bqrAMwvsfAReETjEG3FBdTsg+799L2hUfzuf/+QJTC8vJeyqTUBxA4M/I46p8aMFpn4D8hpH1VLgvxXRiQ4idahm1vS18BHzdyE1DFJH4QY/CDTlsOT4i8MeYbq0Gte1h1OHrUePZOn1KsgnO8RpsARgqmfgW28Pf+Rp4h77sr1X1PNyGSj7IUmjHgPCcQTjYwtNjv93GBGBCXc0700f+sgGfZlMpecCMXv3vGtIVSO3PUf8A+GQW1bD53ySXGM+5BnZpNuxu4hLxgVSm8zEFMdWicdNNSoVRAzJ048UL0FOalzSNgIarTNhtvkDVw/waWAmo5TZamW1SfBARxqecRA4eqIe3q3fTWzTdEQufSLiJ1GhIma9W2Z0CN3Hw04IrHovgXFpUDTKaIsBj/yFh8i0n06I8rLSvabMHGUcefauso78Yexx0xP+ZWpUlLdeq9OTI3mOegxuhDD7gJedFiPw1bAbbxUSvRl8O/j7ZeyBHSdyGzFZAx60c1GlG4bcqyIKgkJnxRUIosTeLp1yUBwWVfSxIo1m0coe7W0mFpIAcbT+aKcfmkO6olzQP+yVMmiWXp5ocnK2PM3j4R0dIxZCpkoNhX+GytoFWxPBTktDUkysm+H8nqrMrH8AtNrQJlqItHLSTC+a3QUO/3fDAuLHQIRMjp2LvCNFhE2D5b7FJ+mkfbEt6tb2SRU0Jc+CZH1Fdg3ztL+gXxzgYTuisBWqB5s5F9ANIOu6QHm2hGcE0XL0Ah6rZ23wzPjfWk/uRnxvA5qI/TbrCD/ttRMgCNtY2veuX6gCLRuu/V4RJkso2IFys4wA7cW2ygaWc6xfF9y9gltjqA0M5w+TFtqgS3oW62fTI5ydvlwjwYzwwp0poAeGFyooVJiTGI5oGIL+82OK/3266ep+6+aH7RMOKbAK8L4/2xhdd+o2fuKhgjTPENkgACdr5gieg0MOLpF5EFeIvDbaCHj/keDIpg59CUm/Ch67nJO3OoeC+gRE5sHHuEpyV5uhs0USJGn1OnhFEGaCkwIhaSaJu6xY+l5vizTg7KPX2nPmRUW3J/UO7zz3W5DsX3arPh/YjASj2lfSie1dnNUVNiP8CwTzGv8PqePOE+td00XsdbTEGmv9ZjYw4v3FcgyBL6o03qvja4EZSCpYP61LC0PpDx+JNhTI+dpDZQHwIWfB2uAdfU1O6ddx7YjLCPui8wlcGDWrd22AF6gadH4ZqFqbASbXklmtbispBxiF9rIbU7vZktjunM0BD3jMSEcNJFGYgQLTAbigJlDiTF+C1QbQtYH8lGerfXZp7ARxDleyk9SpdpNM2a8XrWSEp+iLy0HtXfKoyuaEWSyeV0zn55vkfxLzk7ToN/0yqw2k6tD27CNYT91wqgYHRRIV1tC5/Xgo2WSH5WvoN+UDhB6bskWuRxI9qdj5ccT2+a8jW7YHxCut4Y+K9aV64+qAQrYMR5tdtkxzHeCBvWA3C0+cWnJxR01uVIfm+ob89jUFNFhhcPdbKCfKVei1z7enyBX1rQlDTt7l5ZvPBkwAIoVPjf/6gX7GLE54eConF9TT0lusDj+8mHndh+EhlSZElmzRPtUyMFfD+7GScPgcbT4/GiKROMtRtxwWaxIXFNMSNeen/a5LLuCp5+sc5rcCziIa4Y3yqzKZgPzq2mq7rZeZ5lob2rni4WaOxVLdtcHPqF0ufTFf62aBcrcPn11lOcbvwkbxF+NoY4n430UfJPlVHbo4Qch/QPuUkS8lO0cE6KYlxgnAxOwI/nym4Q+nBwCbqn7IVgMljlD5PsUZOIwwcYaAEYZUpqdMnEAinWmAZBKoxJMMRLJEvx2OSd6Fz1Gs0LG8aMRHqxLhBD/PRqoaAn+tpc035lRQ6/M3mZT1pJ9U15bMZ5YfRjt2V1MLeNBVtUdZRrRncN/yvyFHJ6DjLucxA57uu4RGjcQ7k+7ZrEVtt5UmQkJVleQM5gwnURaxkketeL4VeVcBIhYP2zOzIOIpIE/QGQGigaCgOtuRd472crc3sbWkU1jTprI06/kM0SayzN1mJTri9aqPoQ750Cpz9zcae0mtVoawLh8oSuyZQHOXtxPdBvdEamlRvr4KPbusB7AF+hrOlxW7zWE6EHaiTRZJxvt/5D+NNWeyU5hY5yMJrbe8F9y8TAAOqJO8ySA5+nl/AUhCw+0c0RwgjRKTdfzp5WXNAK+BPSuPMaw9RhN53oESxM3E+2nvvyXFtRuH/hpmDa0ygeQdfJHt1xx5G5YjEohiIO7Tas50RlfWNFvB7G70JHpg9+nvgdHviPDlBHLesfJbc31GuFSMjie1y9gLAn+tYMlv9VX8ubMOOlNXSquEtYuKL1r+CQpRfyxos1CgcPgeCJ4SNW/5XJknXsUWR+FRJI4A3hrLGypMv8wECFAVLp+YJ3FjO0D+ROYYOC2cDqmwv3unz+lSZ/Kl94ojj9AIM7knW+3lfU74YGmNMTg5jSr+LYBcJKvglXouHpJb8W208zspOnR8oLWQvRv/2k1yCo98gMVeG1E3kG1eAMP4zKxUO067fEyXj8L1mi/rrApBcVHdWXSMIQHQa14dnxeEXZfUV3uG2zysEx3aJ++49H78lOIUhjckninfoioRko9uOaFqnMifIa4xt+tDeOSAnzZwVoc9FEPj2+TEtxe++5x7SZJRYipEJA0bca5QEW6y+6g0K0Nq3EdeugYyloLUxb3wca2hsyMDdgEo0BkBjb92SBsX0kiYNMrH92ohklaJcbcO/IWlC67wM/D6MCxnh4Bxoyuk7UqLwTaZgmZ7+qMYDom7IvzI5zPMunRNcehZCD1peWs2IdTlHQNsHk3peGeTQj1v+wFcfFgUwdTcwF8kiMSUe5GOH9k1Rl/UgEi/S5oz2DbEOTVYWTPnMw9pg9A16RKAadbo6WApCm6j9EVpeHm6ToT2RyV119KEHJhM5Q4+YjSZQEQFkHRCZOapX57oNL7wMU/6B5B4HqfQt+qx1V3/hM88XGqDdMPl04wFkqNedBBVmjmT7aXH4Av69uwQGeiHxyQwvudH9Bn93SeS0Ggh998P+CrXMCsNjaW5qL++tsAufu+wckSR/CnncMr5MCRU87Q6EwE3M+iukY851Y9C8Y/DJblCYi2sYUM3PnvzDwoT3nwmM8LG0VQeV31p2yWUwxz4OPe7fASAWC9l75FXUWepC0RDgFpmvHjB1xQT3ib4XNDldMRPvszkFEVcjCTBaUz1paVkPsAccVBPVpPDzDoBFj/JW1p0g08V2PB5Sf5MyLAaNXGbK+fQLeWWWq4OwJ33co0GZ260+famradpzjCD4l9tHlny1MkmJRVOAy1PS6wY25najyL0qZyGh6RMaBNGPmbOrO3r61HTcAlTraCt9RXIrUaY/Sf4zv3EYhyiIJMpawUOl9zGS5ENJ57OcJtfnSxkn9BazUPYn0wEOtq+ESPpXRbk9RUHisHsl0l9/T9q/JTUsqvPCQEH1/kF76dzfroDyhcF+86fIWj7AC340ioERWXpTB/1ogZQPQuUZe9Erl0x+6nW9VeAyd6KOr7+kgEUy7YxM4hHHXySJyD+X3LWnOMqmVZIU943aC2aprc+DzBgU2nOYykw8ec8/+v9X/GNEsqRaHcXcPdV9EZpevJdpqtDXkJpg7Ya9FMbeoRGjRU0stHzNzP6OZ8G1vFyGStJ42prNnu3LchIULCUFUENgxxerourVVX6WfE+fsQ7Rz2hBuvci0ErTCcq7jhbtAjWcJu0nNCD+oZ8vR+2nBjbgn0RNP+p3uusMV10TBXauR2s9hz0hOJUuVdq8fgP8jbohwnqeRFbw16/6sNeqXI0a7Tw9oTCZOYbV/Pt7JoG1t5/HegqE9dwKIqMscOjIKr0Vep0TgpDjjpzRGEdjoGt7iJ8RxLNd8rD01Uk2CmqwV6HqF4APZq8Lsxxisc+ENU5maz9z2K8P7uT8IQDh7JRwYK5qvYJOKFmSqHUOwWT9Vy46FN3GHheEG0duzi3xZT1rATsGYTH+25B9BL9Q2LpbvKkQlsALu84WW3pVxuSeNeQFCkA4cOXEo1Tk68ld2Bhf22N+QWN7GlP94vqn6f4x5Ln+k7ZpkfP2FSgB9aZTuNC6kPrSofYBBYWhkJSFKmFPZ4d1nOVWjNUS/kJnCcJ9N+ntFOXlYlScxA8Ash9neXH43osLCt4ABvSnZ8EVc1IQYvYTmi3j0IhP/oKMWVbJHSy39Gnw9iRVWoAiAcs49kQayPtjtJE2BMC1ae64OwQrVfFNrmpUbMfQRajhF4vznwQbYnagGfN6gddKnP2TMj2lxwCJPg4KiJIRPl1ki775dMZxevEza/ECC1abYn1BlEzvVRMxial/1IyhFkwfQMkvEhkeUKOCP4KtH5kC1425GU8MpG2w6w9FprnRULPkBkDtH/ZJ5WOcx5SCDbfWtXzwEOadj+3xMEkqRcypUTLcR88NBxwYNftrM5UF/IfMqPJtkq7bKqIEVVQIm6Gu/BWZKKIycsiX+v6/OOX2wiNYoeDMXJk6pNQLapwm1fH9jEKrRRsJ4eC8yRLFRaSO3Midk8/OVHL61TesHtXL9RAQXkB7znCLp9aCY2yVs0NUGz6hlCVWY9tioA4x3MTpOZ8of28dFep2APOklt0kStT66Zl/QytlegK3GyY74b0GdCm54YzymkLh+tkM+ysDcY5XgPa5U1Nz3oIl12/ELiG9/NyJXzv9YIh9Qj1tzYI9aaat9vYl+c3aF6KSZiSkI0FpsDSoxvUV60JSt4yq3O17OMTAMvyekY9EyJnBOuwrir9De+yx/DoKEz77ZvMWFcEHxSq+XfR9mD98J/CRx9+4w1GZDItO2MHUo+jMlvRHW79jR25wEqjMs06KwBZxmC9f7HcLqUts3X+g7QUY9xBZEmrdfq5mIyq+XrV9s9nlTz0277CJtBcmC3m4bau8qPggw1vMznIIYFJqBm9FhLdgCQh+b/Togrq13IK/TTXYWImo4kebaZmakZMFcEojEnjXCAsD7G6NF4OYOLf0KAbF4HbmNwD5zknGmnNoz0wrJKHhRsW7L80CcYi2QB7qUeFwo8za4ZpIAiJ2YehvKLtXc6936ym7eBOD1oWcnDqc0dZ209bgB0T/K8ZEf2SchRDcCj9dz9N+5vsJAv0B7jNZpJf6L9i3XS6HFkMdkjyHLN7FQMfwTG5Vo4IJeT4mJRkNR+cDDQDM0UswPRQlycK4X239Q2l27D3jluDag4v0EAohWfwN9PYi9hrh5GlMN63YZR6tdm1ya3vAJCeb2b1nsSH3nRZElA/WnJhpTIt6GCP+wPFNEMh6R1/9k3AicBMD6KICd6Dghr2RSydeD5RkIAC4PM03C4Egv1ZGWmKqwMEsMq8i8qij9ajNYCwZ2/q+bhjtytQILO/j25pqlXxwage3GtFZefg7+1/2DhXO3b2bbOUteQpOhC8vSyuU0T5GxPhDdcv4hADi5r3di50bkEx2TlGOoFfWwQ08AVZJsTqgigRZHZwkOr9AqzbHeowz+lfXMatez7PYQQlMPgRhyMubIfPC+8pyb4/Wpf1F6cbKqS9pzDlKO21GlU/WpYZDuLYzin6b9gTkQKZoBt+DPsNKHdLS1IijaCDnLo3F6nNTHrKrl9QlD3EKosiGCN+y06LcDXCA1m1mOOTd9z8uqetH0yJq+VvtrNi9cimf8j1ly3+BvSlzx2VYLCA1kf/Ib8vu5++rfRsvUQDIcdtirCrxEWZHiw+JATHcw0xWrm0hCMl4k6m3QWs6iyqzWnzIhcabbVZyDlNug4LjEPl+dJbNhdEHfXE5cxMJ0Bm5SSP7DmQoKfzcSFkNK8t3XHhe/sgvtLOLpHEN220gRYXV2DNZv/YPPGiQQFrLYq6eTbHehrlA4qwvQLA065QqUM+KvHNECsc6OHolDYyxNxqfKmI0gBHxTdQlLs5gNKJ7rXl/54559x+lRs6htNGc1ClZcaLPyA2e7mTxmvyeUlmBWopx3zjzSp+qQkIERf0gKYENZadoN+jZ/PVXItTCHlknLvKDPry9HoINQow8dIRKjFlSDX58xtyEoYmofvAOSrepR5vP/zBfFHJOm8J/nP7k/bDeWFKfK2Qu9roBYMyWsK01xXzE3x8hrLNywy1s3Vr0YGK5jldlDahyqC+yHTS3w5Lfr3sxYXxOku72SEff5FL0+QFMhGOHez7QPFlIXC51UCKBBOJH5sF0nig0jC4RTRhPUeo3hhXhmbkcGH/TDHgtbFTGx70rLF0fUy7AcyAcGMO/jRuQmen3xyw6eUGm1ne87vVyMt9aN8CI8dLVFGXOug3CojuVXVDvLM33FJFCNM6rUMRtvL6hrlanS96V7vVBIfxPc4C7rxiM8CMa46qwbMrHI3YaeIPgxUxAON5ly5fstxDb1BAWWfZ0/kuz7HG95buKUKc3HrPqfEs9pgN6CAvemlojEci/z90i7Zke/cXyo9hRafvFtOYvuAcz57175WV8W96E0zfP1L46HAf6E+L2s2CQxWHeZ0y5rYX4NnxCE4+pTJr/f1IfTOp0DoBBjsHrj0ycPfv60BLunHDH3eSvGdynSHcOrXdElck2NCCKscBSvXAiKVSXKLZDcuuW9rcver+O7dO/wzGP2R0dO6izTzWsSrD/zaGl2DR2IGqfBZT1BtcE5d+KVGsScsi/gp/xYK21iZlAidwGDwX75jFL2Cr08NqUi58X3ewWW8hvOa6ViLyud3k2qOj/AgECGNfW1A1bhvWAWiFpHx3N+w9OMYJsn316AZDR+9di/n12Xl8MJW1EXyKRe+YS7noEYCxTkrCSZNY3LcXyBmh24qYbL5wXkH1B9yt4zxdP9y3WLK7E/FJ+UoRhzt2EmXRNY++JG0hZNw07Wf4yQAAIi+2lDv8HKISSX1ZFYWnxRkY6LWYvTr/lJ5AVtBKg4tb1QVAGbcODwtA6NCqufAnoONWPV1TcovHYPcTZ33cBFshuelhfESAs+b5XyUpu5MdIRMFc4dUrDr/Nz7nOOI1GC1bSoKbTrr43rPbLlNmASqASWol9MrG5SnvoUQLImqcxpKevIS4oZKlGcGJgJswVhqUR5it/k2o5aXjZxv9YyJYuBRAeW131U8UWjCfdDG9J7LTzyk7mvCW8OhEok7cRjypUgl+/tgGLqP6TvnfklSvoznUGTpPzNlUWYRhPkIod5iRp1D/ZDSnLybwdtyqNmJqRxU8onx0RgyCngp04u1aQ30tT2Czd2IuhEMioAwL1nGm7CvYFhFUsko6pZ9P6p/TS5S1O1HS3aiIXmPQvVaHPqRl+70qGjwQc4by+qu5yXhUX5VBUlog3zZuQT4OD4Gxi6hlpV9rjMB1iIKCWaWueke/4knhQQe3ok66nuEoYRkOBOHmYiGgz4BfnBX8qIvMyUKuCgeJEuhGpB/ZpLCceimNS7ugwaU6BAoyyM2dLJolSjigrrir6gY9qT1wRH3x8acwtz0+5b38hktXveUacOrTMjzQ8T3HUfzkidrXumllCvA8LaITdKqhcFI/gTCWils/5skkSo0ENbR0C//Z//Ddc+P3MJmw0ORa2fazJT+ySdkBMtt3MCwpfyPfnbqMNuqUckKtQ2dbbpSJOUbKgQJHXOoXmGjZjP/aJRUhsOc1f/knSnz2T9s9EcsGaI/9Jv7P3obHb+rEoA0vE8sLiOFdJE+iL5fMwbY+tU+dPtLl29SoH+VvYuh10PsjxZERqXxPMtKrsMo4a0JSZviZXVTkfgInEwhu+kgL5CdNF/QRTfP9UPHhWlTNN8VyjqPMhVMFC9jpzxTBtfY4DmhngkTcn+ciIfi6RzqbQORyjZzzXrTnDKT0nZKMKJpq1ftH0SBZVok7P3YbttEWc5xPXiChSrbBBgYwyMEM7b2wIKkDDAvGTAkLZ7rhb7utuDdbV7mpyBoZuEftoQccO4mj6J2hnwmW9NQaBvSZoDPDnNjDOoSRe+UAoVBGGHcaqtF5cUtIg6/nhEexSBLdm556nofS1/gXDSevN7d4kfdFGjqfUWHUxE+iaIGFfz1G7Wfd7Wu27WbfwzxAT5odw1JM+VE3Wdl0Xj3VjDSOGQ+yUAdXMfVQk1AnE6AHnYZBeYs0UxySHCcCQsKoGmhPfTLxXO23JsYbzlWwGJND8UfbWyFIkp5HDlHx752cY1LaLfbyIiG/Fqx8P9zb3FAN4jEFd51Viy0+FTpgpVdR5ZOlbvFmBwogSTN3JfTgb77IE8Fe1C+SqxJmIkD1+yVPicWLfe7GpSkce3ntM+ReUGMIoJ9DRxL+YfS8JtyPg5gRqy7hHjif37Bi1rmKrVpphoH6gTqycrEUGSBJBllevzHpO9At/wmiG+f3NeDmGvx9hxHZDIbxHN1ugktVi9+lBMpa/qLsQPVaZybOq8qgX2jsIyAeIsgGBEIohbLxRmZCkiy3dOrOJ78IglTAKP/e3/S8X3E3dyvLFI337TKDNi0HsIBCbFzLnZoOyhsTF2tJ5ga1eqgmgLuZ8jlB8s20lVM8Ib9jNv+hmm08CLqUSAssJ7CYWkM/Ahsm9pxcdXLkata23rNVu5LXk0ofNYfxsLH4OwD1XFIXw+lMNQC5RjBeWLeNZFsEdZYIle9mALDnvqNCqxfcDakttKdahHJXS/fUegs+73PQ2yFdJf99cZTC7se7SdMma6Zg+TdxqU3AnvpF59xIY9Jl8v5pcqta7QygQSbXd9hCDWBfllxFCWs+vbBqKC9XpLRs1bKyUenjWzeJeKtGSY1JqK07G2bkOSBSYUvZ/U9qFM0aN51JDfZhb/DWFSuotsxejH/4YML12b8wzW8M8JnnzknIEnWeUy28OKqQkBkxYKcwMxtjtKyuCKp1nNl87xW7KvvPNGFzmVi81RIi1b0K46gZivrQvDCo3uUd/s67nZtO0rZGD3HRJFjZ25/PcB5tl5XR/XlV0QUhptxM1mDYBC/SXeInmrHDMcKMp+NOT7yBZHw2bHcdopNEcByQZFxQTJccnCH9ve1e/uEjoSCbv01oUfyJ7PYXpf4f4MLznsYLwmtbN1RRzFtpnr3idkUb7cG1i/iqGnE+n67bK7NC97xNgpnRW4suanrsd/8dQkLGqEpX/7KKGYRw2MOBwp1Lie4adt/FPPydvZdCv8NQJ05cA8hufVZ4su/mOEaJxuHFnfieGqbiHJSrMn/1NMwxCrx85tQYgf3fVZmEP41EVWlVlpmHvEiEJp88q6dWFQa4lNkxwWSBBdRWDrChIOpNVmyQX59WsPlpTX8wxesrTxQZBDLATqb8uJbRT2cpgLUQ9D2G9gXHJckdErkTMRMvCXZ0Mbvj2862KXMDMi+k/X7UQtrXzM/oAeJON8Snfqavw+MxgSeRO6MjuUPoo3X8ruAfYKyorolrAw/KEdVN0M7oA4m6p34q/D5bZeW4t+L9RLEW/0dNYEmaTenIVorkb8ox6USsQBm38GqtJUkns+za5Z7NHY5T5oTR7yq8hgwCZWjfCTi+RUvpZk/iD9ZAs3iqJB4IXGYejPiIJkPmtS+MqdZR0zS83jNWITWwRPfKC6ptiJhOhD5W11z5N0qzKwKblc1ExJ+YIFPs5sZWFcDGm5fiHb0Q09reOhvE/1Gcf0lvxH081Ma6KUtcaAhOJ9S3JX/vAjK+GDoppf+zlimJPgZ4GQHDpL0g5F7SH2egGAsI9H9UsMNxWtvwXuKf9in1vbZdZfnYWqS17XQed11f7y12y8/DzxGbsYMARr9VASleFzjuxZR3D/JkTMATjbLQr+EIlrNkEJ9qzk8Ubr4knUDcbQZDW4N/65Yr+EuEDcG+Oc3yOd4SRIWth2PwhOkVKJY14XgD/89+cpK0IawhCE8xcWCgc5vKft5xGEcgObO9e9NvVYCFuKJzhwnmVZY4yOxBK05HGHwoff7zZevqCs3DR+own852Pfn2qtnhcsoVa+hASrMbT536QzPLCSk4njoBulF01zvonjd2hSoPRHaU4ueKUMO8Gya63rTjaVJWXW9ks23fwojMKWH4THo3Fhwdw0SDN5MGELjYrKPFL/B848xQKlzONFUIe5hoE1eE15q8bXbcSIlmqWUSfybO7mZ0MeYVsUWm1JHQEU1pr3yNZK0Y6KQ4hhA3yr/KwgOBzKOvPY4RoBW95YEKB9957eemfGT+KcYlvzwyinQdenqtT5NQn63Jr3Tt2NO9l5ZG7qDPGbr3v4yv5fCK2iYkMJUhHKE8v5FUt7O/MBLAVtAo7PSjoE0EMhyb9MCHI5ZTT0k6QIY0uOa0c8aL6vGYCZDBjF9Zu+gl+q4J06XS95SKlTAJXe8WVTPM7NfOYy4mhZbVqWYFgA+K8mMx6HXkWwWcYZa7wYTElNbAddXnRZt2L/mulVRI62VKnM9+/mZJdIC713MlUudpnTGaZwIC20b8CZEOSvHDxO/reRNeaJ8GKmSWlNH9f5EsUONBe+ZADKDvRxPqjKoG3SMfX5KQ4AOMbK298WaueEaK6oFKI/ZqR/XACwimMXeR73rSI8u90P3IYGJgjVVNS5G2dODwkg0jDz3niQkEk1Fo0OdKF586c778/fvOp1KVyW25kR3xT6SRfZx5br2QldNgHigwq8Ztpm9ovzH5JDg8VdYGer6NVwW/lu79bhQNxyl+tgwPjHjNob7arxo/mhdxgfOpmvavcMDY3tlKDTLOga0lalsTkF4I2RHnQSaD534oE+GneLqXBSnD9JVpzcdAao5SBnBN2/HZ2r0FHAcLH9FzyqHK2FzLESRc3IdAQFp+8he4VN2cL4+hqJ4Gmj/rgHjHWU8ypt0O/vk+4lOvBAH3HvAFkqL3yy5uaxvYTkU7l9Yez2+pAmQnfB+3ojIzSbX7H7Rq8r0JcXyQKWTYRlYYj2wUHMO+zyTSrDpVjkVBsmq/pmwJBY62UgKZ1wTPTdDGUKs0rZjjgN0td76b7ryQZaEdZSGziQ52NasHelSBu73pJg7CXXh0/eb8KztTWUthw3jHNT5KyUvyn/pPa5a3CXBWF4s/JONT9I+NEotAPo/BDio3hayysnA6DTRsRedzCf+p9cY7Du684/H550Jx4x5iNWbF5yUYVMkjxcaOGGzxMnYt7V/E2pbJR8k5ehJzJ+Zk2ouxajZc22AQoCtfOjGlaJgcfQFIrS2p1yFZQgkf3W/pguBkOq17MnwaW7ppQDStlMGRYP6tpwWr4btRZLs9iEcl6zKlBJFqHZjtzYG+izcNQRYoLF2l+PU+ukpesNxIK2pBmrhOs73X/ovMIFHvBELV5w6ej8HIlBRbN7ULdPxCkNvNPRWczSlxdUFkL3d/Qcp8DbHS+vLw92k+LgUOmyzS+cwGlV+o5/HbUTSfnrr/R5E/LW00NjodZ2ugQyLyNL3BXCmNUAfPlWsFs2m2EhfY731lmYVJBVgFxPfEeV6o57EPFyju/Co1/Vou68X23phINv/9KjvoX29IXw5BOcOsKVCKY8YWeR2r/bAgQFiOun/GFlyROKT6XlnAf/xYSrRxf2A3HT2/lrlB8LInzxoecQqAiA1M9jlxLWoVScORj+lujzx0eqqhCpNJ1ZIZzZdKnQYEFk/Ic/Z4nov2zlijsviTcCnt2s4p7gHTaEAdNF+W/8Zp1/bOvCls/xeNMrFGRxXF5vkQGhTef54ArHQvSv/mCeRseojhFqxyvOwwmsrTeBcDkqVa8r4LE334VLYgBJQ39qVYR/+sZ09YCzU9iXF8woPRPtGmMvxY+rqRFzr7O/Y8qDShIFP6uzTvBGohOapANapHjdWFgphFZNfOgcUjFZRkHS2WGcy2FvpqA+vTox33aDO12zluFGpxdmOKKA6+Otis8ir3+ZDMbewIqFFGBTetqM9es1yMLUR1gpHVNtVTqPkGn6C/DWO4TeWLMsTZ8JfIcm7V6pR+gJPHh7QybIWSWc5glAAj+gxQWRrwiMgiD8n8LhlUTXx0H312ieFRBNpYDyLbQLRFV1RULECUuYKa3MEn8TwP9+AgWx33Wk1ku/AJSKuZ1F9COd9sZQoy2cXjTFd/HacMNBOSYpFkPcF2zXDUXXaptS50HHvkXtLPvHKzcqg+k05rBi1Mzuh91hMN0GK93oluUvEG3sbIGr120MWp3vrGHXyIvVSeSITr5tCtVQF7P7km9J2n36kYOCSjZzeyH5Ptn1fnIc56eAYNc6rx9uhRf4Aizj1OzIYgK08UbEvXHojEpDBnLeJ7BV96T0Y3lf5A+8p9nY3jlOWi2OUoiPiO53dtdqx3ofpHvP2roXjdXbCFHDsZFFLj6Lta9DCrwWf6NlKbofMGP8E0GmNe8YncyHPuAaOdH5WmetgpZnbpXCPkAePbnjKc56a6UvWFeAEVFnygSuL1Bdsct8SLaUZZrwanZSXGoX0DDHRhD9zpRZHzCMmAIfq1rO9OhjpjWWEUbR25C353C4sKNzWT4zlDPEBKjyjeZhfgY0ehaB5ySQa2TMl/dBN4jV9mGEsSROTus+546mzNpuAyt7XHBnhGfEYSfeDtSEDrAL/TYf1IM0DQm56I9+uoGgM413ICKvoTvvC0Lh50kt6X0Zbtw4/oTfe7Ebc1L9zH132R5goTbQ78KKYN5CnMDFc0/G9ya5y6rSwfhZxZWn7UDJ5duLXu+O0H3MgP9oCWyt0G5sPZZwmRQQwkkl+tLhXGzOn+5PlL/G74epqVWZZwv1BtVheq86VnzZ7fwOlzvWn7gSd8OBhZaH5Vy4964sFBpf9Or3lajezuIYsskgvp+XOc0j1WPzP6Im8YWUpRQXF6My9zh+E9h4Ln7xqYovVcuaLBwN15BNdRhQ2/pJWpDG2DLk1LDrMK/gdgSjcsi9SfZmPRLiSOOfcdFm7mWTAIaZemdFsUwvfSPWeeG5z7uarlpphX3sSO01lJhoWkt4cK9X/hFvWuyzZ1a18d2DYXsNSd4w9P8/r79P0gQLVSccy/X9AHnOsVRmTuKHwe//3dS/ikTfypl/fXa9VeBbnk9VCkv/t93xiIwb8JqRT1OL4HUdJooYnHr3/vIQNKDvsEEtQahN1d7c4xKw0YZq/k9CNVJ4duZoufp1palBgCMYa8A3SaGK788bEJQnmCVg4Q7+ELn6r/lr41sIZAlBMxkciw1Uwe16rx/eo/ttyvCjuzwtfkA0OzHIStmj1w8RiLcVeq8YIDEwuPRFtd/hEaecBTdXibJ796xbd+6ObrTWmLU0Gvf4n6iozHa/nO94fdHnXZEPJNKvjvIS3VMwUA7QBLSTWK7WGeDG/2Gr50fytxO84Qd0uIbDKntXHNfulKtZcfl0JLh2ko3dBkfZfy0FxoAKyRy9lvldiWwUgTTU60pylCSlh0MYa8OhiLPpkbxoAz94fbQi6lwyEaQt9ddkqMLh2dOkaWOnl/gXBSaLfPLIPMME3478EcW0ejW2xiJ5cUj7mlsGgrCahz5SplDwbKksCdQi3E1bhLkrkhE1OscoE+34kxOsVFEWCyzWGUUQqATkB3xgp+z6X0RyL+Z8RSzG9uAXDwQFHb6+q1yhqLf42Zu/ckqw69e1iXqFxBPwul4Tr9f4vQfiKiD/09G+rZ82P6suaqlZpprQY0qdShXVPz84TkkQ61SagfRCntJUdNNQuWHW5N7pa9iOWvRm1cR3l36hIqDeWQ6pDRyqPZffyKTho8iHEbWnEmDdBMliCYIpFR/S3nnMD3BUYxdoB+xu0Db/1utD67L+kXTt27WqsdLEDvJGdeu9Awz5v09bF9IU3HUZKzhNkH6bmADffjh8eppoAbzznFCYAssaR6W4dbDAnib/gGjzK/0CNuHXGF8lAGW6m3GEdYnCmCNTAmrxf4QPWCLkKFDn+Ex4nhlxHwWMsgIdL2lgkMsAJK4s4zeBYb1otH0w9QXTE/Poc30woko1i+VXkyCZTZPKdPSKqgb5BkYYWvaJf+/5DqRvdmmFXC3ZkSaos62pcpIzSBpZIwWBdbm++opjvzO26NTXj1NeLDbDVPZr/lY+3WdjU9pWLJztXzx59XiMEUgxlChy9SAzY64SvuCCqhVc4NPbZnEZaUGp1f1truukkVT9GFgsKGEessyFeV5WUZouCf+4dSkXWtP3c5vb5AbPQwoG9bXqd1ebknWS2/2kYEn9srfm9uMvpO3GTs/gL3EGjTVCimuSsS1ScOLu4UHYrLoEQk683ArgQ7TsyO/GjN/Otuj55C4shF0ZJVGmCMsTaoX++louTOob/XVCnxFm2xXO7ow/Ieip8BnINeXKzhTgtXW+YqeI34AMUjZrE9CIiZtYl0gYJe1j030jUyMCo43Hh9b35gvRH0/bUuLwc+YYxto4/B1wi0NE6eoT2Gby0Q4Ro9gIL4jQSrRQbh9x70uWOSmZhaS08PlAd3788UebkoDcTZ9Jox1qMo0I/U2BDP96EI44rCGVyu4dlG/kw+eIybF65xefFpsj0zHml1qhGip6Sk5mWyIJga7soqQ8/VRnq3TMWWnK+5uuEbTBU9dXySYRdXEVKbbUOrFUV8Vurp2b+EQRI3nppMoGLHX55F+oLRUb42JsonYmXTffYN6Rn7N/WWHX9j9QvCJJDH/u2BQ83yCsbG760XDTtBdn2BxiT0QVA5lgGmN2/jpzKPm2mFsckhQDo2Cxv/eUn0Fs+qroQYXCBGhiBtSZEM0+jr9JtY5thG7lj5xai9f10ltD2+rC1Ggkvmgs+HNOoTihHMRHTPbQH9WYajKVGIMc3Jec/ldl8UqxRzng3ojG2+BQDabD7t8Wv1NtWXJuq/HzQSRIhE+THU/Y5ii5HSAManjgA288sJN9bXSpuPokj2IXxeLn9fe05ROYZUYnoPsUU/ltnzxdAY/rixRyA7KxchFtaa14x/3lJ3mVcpoZdReCYvX717s85pVGx1VTmRjO6YMWQJrFioXN9eVGzUEWr0JfU5hKr0UQfRbMOLQKzhzbHaKSvQY3GYOo9iXTbe45JsSFm4KpZ8CDZyiKhlVh+6dhvStq92PgXLbDCaC4zdPyqWM9v6lG0PaghmdIGxyezEKriLdlm25FDUOQhiQ1EpH+GNiFyOEZlFr79TudAc3YNzOxpKKrU9J/lN+O9ISxqkUFwlO6YlTTzN+DT0BcOmPLw3oOSriq8iA+9AoNsuhZ48iVmftPSCH7VHSdMVAcoBcIXc9FKF2W0P8navZm+5ZSJLGdBBBsfvJcpwHabvvVv0jewPjMCKU/te5JVzcjOEGhGZxsfnBWizgx8Srp73R9qjQ5XH6cE3MpBGPlhh9plla4Z6r5rmpKfPwNkm5boMxzTP6yuZGfWELN3CyV3YKHkFaXKuESWh9rZhU8mXJMA/xunPVsMvEv3NfAqLxS9bcD+3D41zvHEzGYQRQRYlIFMAluQVv1wueBGEgt4YDXRg5e3ccbr4ZhJ0/DnT67VUzrJiq33/5ncQj4TV0HkSYEMuFfoiaPQgslDoplmRGKrcdu3bR5g/M6xnPE+3A3LvQ0SYugvpQ4PsPbJFnkRcNYTtxjc+qVNEgUPi1JtAzTY4CFECDUMJkgoCoe/qKDRo55bblP7t0z8lWTbEhSW5bLe8qAIBuTZpwdTGTjMUPSkelPWOnNpbKIOmD/wtPi5zEaIK9D2XDN0wRkLO58G16CgGRgDtLkdQ+lTTdc6OwtqCL7v11Z+kUoF7FPbgtjGfYU5mAaTsMKRQtlchS2Q624E0uedeIj9m5GD7NFUxNS6Q2nkf0mvsNR6D8+DJJIsUNj2VdX5ddZfU35uoyxQpdz8vYIllq8BZqR8zpMtQRNrgSPJ2FnuQ+v6nGxRLaVyeru/LTsT24Fd+0YieAgwpd595q2I4OFu8ozjFbzVCWTP88AfzOLLLIjGYrjAkBo2IMwjyzKcMV/Pi7xOuLQ2vcGXHPIr9Z5hjC2NpDVL/vrpFGFeCa/TMwAmvqPtnJM2oclen+Qymrx+hY5oZNZz2gncEwUbuB29FEW9Zr+4jFpVpVwPYfpIaDHgcsm/yI7St24PIVKYGRPxWbKxA+1ZQEc1nbZeY4Rmt9Z5RaPAfIdiwgGT3kWx9xbN4YG9/LyaCC89PCK+SBl3WhyA90F3PxXYjHeDYIWn3L+dHvALrnWOv+xkPcjvzk1DSRzTRfa+WCxybRZoK66lvehZpRPaaq8B3EzBWTTeCRt/yw2aLkPKfeyquRXaBexwjlGxRRiFuaGSYJKNHx8K5eo8F2dAvPox8AcQrNLf848ACbRzrSUia9+1om3Oq8j/xN4NV2E4vSnewmKtkYDDrRFyLoehp7rNEcTm3axhLs/ErL2ZaYElU0mEyDsnDXB1b0Hyr6ag/Hvf0FooXcsND7A+vV0zhYomyIiy6eIAbXGvDz0WbqItHXYMPv8sjhUU1VLW8GUnqc4l/I8pPF8vQOhQm1wIE/QEYxJuYfLd1wmIaIPhk5lUJolYygR95y5nCPvTqNOWg6G+SVuR1gb0iPIkHyOQGcY3ZPLXNn2HYbG9fGnIExh7eYi8tmTVX5R0Zy5L6kEZQysBOe1oqGmN1K1RIMM4anU3eePaIeHTK450oA3SQOpYLHGrFiMkITbE6KIrDrbt6xUkJYqdDgDhllGEpM1+smBDFUcaBX8aF6uVKgq3cFsKT+fsZdYz1KcVXJEvEaJnyhqXUyQ+4mDUvjDQ4N817qwY89OEdCXMWhvE0HWrfvu7H0n5GHDiQMRtZxRLlo4NmulwIZKStfYSpWe2oOwcM6AHsMPI9OErZ6sExZr/iTVwCh9224Dxj8tvUhjQLPrS+BeklbhqW/uQoqNbnfl5WQqdEOnFD599UOMPexaWim/DmJUxUiEQ3jTZEo1D1XwrqUblhxPrbrcvCnw+h0hmChqZkORp7xIx1YWrGbsyDoO4FXyw7wax/7FTfMbzQZOXaNRYDxlnKcuzkK1zWn/E662UopMStq3qpnBbw3HE0v+AtuYwyURlsPREc6lJX8w6e02pSUsuJ0r3bSSISSpdPdT5c2xs6WsGBovw4e/LCctgJ1DMBj4PiMfzFdZOxMvymEaA6Sdi5oDO47aYuXukxbdLKifuVueIFVboZPODh+3f95uIZArtla+sFJqScznLGToJyofmD79LPYXZ/WTIpg/GDb8N1BSnz83PQSGsdr9Cws/8YDgD3cPu2oN6UFIJ/NrOITkCIX/iNBQLF1wLg30eLTOpvd1MdjZloSYMhtVqr0Dp5YkCOSY9ie0A69wS1v6IjpJy5whzsT9hR2NVruykCPjO6CSTnzzCJxZhK6KTrg4sqUPtY1lZoMQldNirYErkpyaPTyIsrBKB3rc6U/KQUYa9I0wYD3Of8XM2MdDknz6aAtTeZxl8II7YdDhR7t/ydxoEilV5CStbflXddDLUFT726b2+l7bM0QSYJ9QY11M6BfCIHNhoQvbtr5XIKMse3lMOoGMyqQ5Ab/uaUtsPfWiA2hCWNAcg1DBtrBcpeuhs3HwmSVd+00PKa7ktXJDmGM4ex5S6vnSGD4JdbKPu+EsVv1LAKWpqkUdGvN0qbEL/sb78dyJwpQD2rUOoGWB82/z2KRjkQAlL4CMMFByvvgqPkOGH0BdscClCxUj513Nv36lXTVwktB/q3E5HQ76mFdphm12xilJndGuhyr5uBsSxtumiAqkL8T3OcSR6rl0DqUsOEjndxFSYLW3NyPZwVhg4xtI9tel3ZUoCrv/memTVRVi3lbqSnYKA6NdYcoxwPbGZ3YN/Qq/YgBGu0eNX9QP4kIW68BIXhpyAZ4VlTKd/Hvg/LOmHOGiNM4BOTcjUWHobe3SrhcmMXhk+EFZG4c/wNdlWXZyd+ioIJgGX6tDdrXvkbOeuio9q2X3eHI1LWOgEgIeAtOL5es+8TZmKqyyuFdO9NtA4u02/sIwzSIBhSoQuK48naYwQABsiktUYm/if6RtaLX3lUS2YjgmLOjIVKd7AKPey1CswUWIT+WcXjlwsToKfxAy0FDy4mm0M/+48+uCt0twSevX9gpuAInXkm9LSC5jzH2OpO1PyevBftVEZH584KdofCLtmXsk9hvhtMDgqDesX/zzcs+YjCu4PV2c1wFu5H+F4RZFDwY+H1me3v6PRvCIOsCn2h2ZLLYHSYowastEQjxdKkyOUWtquQeqSBjGAGCjxcFylOhCanbAsilwJQ2z7ngA2f814EQXBJITnXOb2iJRDwC0caFBs1z9jBGWcjASZgdmyU1UjiRhSznYby/oK+HLjwYiCtpZ9YjF1x/PxLLpzL+fa5uA4HWnMliQn2uaolpaFLs8+BnwvVn9srv935kHsaG4y78LKnOBQD7IJYDKIp2Jg5se3OyN6AiGaj/l1W+ciSrkK3T7Fgh2KH9mCg896CQrRB0zTEvOq2XinJg/nc+1EPDKbfaCzhtJAoTRTXJWIYEa9Zwie+SfOsVEmL+P3EoB574rLmluzC9MVWKxKsA5RLN4HQQ6UHX6Ox2QZNLCzCRCVuFUE4jW+dWhG+HVtUX7UOnqmWA5jh+uflk6TkLGA4+VIOSMQaPZiTpsBcpI5f9rgW3RARgnc3v7xlfu+R+d7RTpdkVSbXQ8kEYy8NuO6qQwRJepPIN1Jz8ECWXsDra4FZU6rOnPrn7q8yoSswxNY2KepFsgQCrZzgEJKMuIv/uRhXofxaZCzBA4rDaukd1dN0aXlwK9Yndv8fvM8N5WQQs8OGe50H7wPyD14GuX1G62QnFeLKlXSgJfG83w8PTpdpPB9jSxUN7yzvHd/Gq3vmHuT62WuGlWylaUVaMc6qUVz3cMkZLl/17ydHv7JuFQS6ugjodQ3wchTHHEeCkQuQRH5TmS207vvOzeQTGlR2CEdfbAJk9Hm8o9Y5u7y75Tuqo68j3maPNdtr3qM0dkNmPmlJ+8Bh9MhMW4hOX89rcppYGrzW1pmgQ+HSkzesuo+LNEM69xCC3o2/MBGm+xYX1fQSKbHZ4fSm7D9GdSM0Sv381ON1jyN8aPCVcLxvPxUY/tg/GwS1WtXUCqZJDeTotxQm8kLnOCH11uddl7qiCjeLHH0jMQc0AJ7EPW7q3Wly40YQXAQGASip8iRWHfEOHO9TSFwgYBSBrJWIxSrzEI49SXeL+J0EvJoGiZK5hYjfRCmLrFARGk7FK7Vz61IuENnDvSYLZw/AVGij/47mgZVfifzVTzKl6zzDTogwoT3PnQ7MfmcFUcOu+c8AYXbdWrob5r+aIBbwYEzD7I8J2dhCkPIsHXQaXbFrr7UJdQTllqF1Fv+blkRYoyURWg0hkgi/Pq9ranqM6L+7/zMwYtwf9NFcx581OZ4S+v4um5v3rJTITS82B6+o13tE0kGVI1Piu/wHcMpU5+44UFdOpoXIS9LTubZEfjjQJ6xNPfOXvZdBasHso1//oOasUH5jf2fokkOolRK7Xp2U0RIWy++devb6Xs653D0ZMnJecuB3dxFMEcYoJrsCuoAQKyonkJR4t9z4e6LsA4Oufh0cUHjlLtROaJaLjBothxwAyM8CwkM/81Ikf2hw9T/inXvodUFMh9tB/aSyHazF5bwEVfs1LRCrCNmL4rII8yNepOwLmM6xnqCX0NJYv4A5Aag2Q7klLA0PQG61Y7yG8ohjEk9qBbssqq3dLX6+Ch5DPy5XiZoIBasA3ZsXVZsskOxj9UWiJ5OYCJ5oqSyM/GJCfQtMkIfL/3sC7SPIPvL4ON9CzBAVz932smtTGDarLrkV0qK7Olu9mI8lJTx8Asa9e4w8wwY7d+cv9VO+KdN8IsVoPsE5Ym9tFv/HmmLOKIbs5GfPT02QWdSKxc8AYLIbiaRL6diB+jBsA6YJMK7H5nXSLjkWM2UwRfpWqcXkBy/rBJ0omNVgk10SNuwW8wM8SMsHD1kcEdG/QxqQ8zzP0pd06nYepmfdydDzMHQCXm1Acn0BoOhVPU/avwqNXmFgdL/jO8i1Eaz20vKLX9XNDXcKo985HTE8AeB/FBKyqgyYtGc+UIgPvIn5rJ+AzNpq9PofZO58igzA4DmX2HguyhhoK+ffSqBbOtmqWbv4IJAdfE9lGRbn8nKV3/q017X0zh1oRZSmoU30K8WjymSsHp4bz1C1CqZlfNRFFqaehoKe5yITFREXzhzh+IWwx8UifG1+SVlQgzsU95NBpiircCR8Uj+OkVcTJY748gWzZjbroup56KH4a3j4OndKUNBaii/83LeSUq7DGi+Zr1zeljz313mOFvWgJk7fbM/aU0GqFFzPqcB8EtMhuTHLXC1XT5E8jhMEWXh1d4ttBcKZwZduIF4NiWYjIG7SQeBI0zyq7Xt3k1whzr4peq8Bb8w6G1NW2564FOjpZiIGTnjaSSAUSHo2Fj+KZxkqsyMD+MbCZS8r8zELzZkl4kFVbHhnMhSfpcU7gAcULUxNjyGdeVwz91KRo/xS1SwuPvbcOmEsj2hdBicHmtVb0Fp/VXZNnGhzaCQn0hhU42D9FoN3LGH6lmgoEYRgo4qW5lg0Y6IQU0i3Oz+54RHjRfBEHqPsrSVIK3C3ntvypI3zOV6F+8yxjlXuHJpxZUgd8oazKdvyojKUVDqqOnn/Q/57KXuHyQK9f+ychJRqALd+TTNqRvU39Cq5ADiiaof1NsLPQj1PyNtwQKMwQhcqGGzsoj+ZHfREuCP5VshlxqBFb/hxhPpr+XRbXkW5jF36dqsIZdS5gNkiOTBO++kHKeoOBGo/S1+1/j2MxoGtJyW53QT8wPKh5OjqZVew/DjzjvWdps80v72sfIlw98OBhgStDijDNg2YEJR0dmEn2D4exVLhNjbPKOzp4oCNm/xRJ3AhSsinxC4UQcKK49y6oZBi/icZzHvkRmJc/NBiplnXmZZ/y2vW/J8V3bwG1gw5RGy//NjORM+BCwh19ch6wqQdk3UsG3wAvyax0dyKcH/MkPLz0Cv/J7KoQB1VPlXrck3gUeeO2aKUb+d+NHZZq4NtzdPqo9GDLYBKSs69ypgdbIc0XfD6qq0LLi7JtP3giwi61O9DE5eqyT2vlnw25o4UB69iZS2jPqE136A3Skf03wVEVQjSdx6jqpVlN2r4M+Zjj35/GpSVcNuPnVjvf+bNwjHJcs3gdyXkLdM+7fNc8xIML05KrjwWnt73UYOiGei97ywavQrBcViNDzd/SxZqlkMTCODjLJuXGCgYoF+IuzEekmvX2LczXoACuIZQZWsK2Yclm2cmaiyB922Hl32xZQJQnkCPyrCg28TCGV+lKM1imYzDVSG95Qs+UBu/xwYFesQn389Z6p2+Ag+e52FIpVjmQiAWkoKSeRQgUftjZJf5IzhxkVTNGv6bQakzlGXMNQXe4lTpHwGc8+wZj30KL/YuS98ygF30uLf49241T+ElNITvw1A1+DsfGR1UyDSfW78Ez+LxlZIuBmP1PT51PCFmKhsTqQsOUSCvDBEl8G0cmjY6llltCXcwZExvtjLGoFfVDJSXVXla7/TRxwMiGrTdCwz54hp60XsPNXtDgxqGq4ZKxrorWdXjbFAAdWocrgHgbvQKHGBBe4aqWCwHZf0Bvsm5LldDGOg+kbAutbRZmWbW93ELlrM1xxRhYsBqaWbUWDffwM55x+MblN9XtoqReEdsW6O+nPiofK2ysAJ8ca/riY0orObqJp1qo6LKIdaL2AGWdzDU96N9BjmsmioiXeAQm50DQ6p6Kk8/cPpqgHVKHcNL37q4wR/M2oKu1OEXwYVLT2uf4LwlBGNaX0umB5zEoicj3YqP6mbLBm6Sf/eVqzfgqFS2WU7TiwBYWNKKCCFehrbjM+2e5KG3VRlFO95u+jW8Bl6a0ksWg9fBAhog4SSbpbnfK5pjuVHlOPpJpLwkRaz96zNg43vwbA5pEsGkpvvCci2+rwcPSQM9KgnNDYW0oXk9Gpe2Z6VHFiwZc1XyiSqkAvIcKYJ8SCAAhyxP3cRqXriBJao3ikFNIiGKhz/wJg9YODOTzEggA1ghQxcLl3ubY2fW0mpS0n6Io3AQTb4lS43yVVkp1e2J24wE0V7DfRhQA7q13V+xEnPEFE7AZrytp7q6XmyTr2AcsICpEOATklEKcPGALt8O6/hn1jUVmB7C+j5F1DezBj2NeFEWsV6zB5tcD0I56m9Jdj8lzn3jhjQAJinX9puMeragILn+hJ5Al4u1R7gpj8riCpqewGnTn8xndnV6WIJ4vuSTqs7O4uRniYnZQToIHRlEro3mtgnZl0IXMTHjxxBCVR/t6fwp5uQw3HtmezerzURdkhXSR4r/Co4ALHaw6+x3XtWdOQsOVbDQKUxmbgzIBmKlpwqiA8Gtg8iRVgrYmA34gW6MJRk1W00iHIZIBCPbDCag3y4K8k1QktlfMFACyPXArztyuIDVsuaHHx4d2DmVlseETctoQ6FoxDumpzDSF6b+s6utd13Osr6M3alDvce6E5IH38q26CklIq7s+3ZhHOXJLDwg9k+jKg9GZ8fukU1nzwid8+KiPeVwHaAtLXbmVzRJF61Z2tu6jCk6Sb1fWrw9BAlUJGs1pTLQsspRNXD2XwtT4hoqg5Wsumk0on/0jrYDEcfbTcaK/khc5wUVwbHaq+K2uXf3P/EBagy3rwnw5U0DgaPKUNmCrfjhR+xDBLWE/lQaosJusoRdjUGca5I9Myhipli09FfnCC5eJZFTqHhAxlCSlY0M8prqrsxBg3W6HlWsSKNX3a4QSLf1IBcrEw/epL70BYKxBdsnUf1UZYgGTOVnx+CkEaeVk1Hx3ztTo9YCZc2mxXsjjU0HP3eqscJZ5awLJnwehfpJR5bKULbk4C1PtfmMp2lDbf1k2acjKlTxyzCj1zziTQwqiIv1zKWe5zy/kLTAOTUeIMSjCiyCiTEqZVzR0keKhE5juLZzuxLQ/yQLWdqp8r3Tt5Ssod+BOY0EDMmEG6cRppGIk7UQe5EVdHdNhkZY8ntDUaV3FztrDQ9vfmO+VPKht29TIagLhKZ3OguutzJLlNChcHug01uVoWfQEH6A8IKueQEcyyqvGTmB30mcGw8rc3UXzpVIerr3Gf0YfykQGLDL3uVkeXOheEL7KzSrkbUVxBvft5ogC/bSWNzjvjgwxIU2L7gpUm694Vc2jlhzr1rPyFbpUfssGpjZ5fqrnvc71nR7gZOLUahZijd+X2Vs2MV4ppxY58iYGquW2/rMcHGUGeiE3EMpeXTJdUszCtkTRlycI59I8+4gDk79hudrAenvbp6bCFFMB9bH4oPLBmDWqxW4h4Df2ApnASHqEJyr6N5aChjHgD1X+HZvTSEXRLks6X30ScMDA/m8v/klfIYtRZUVDPYv4joGDNOvZOTVC89emcdoDbSESjcv02ofNFZ9STRC7xvleThyeekdfnCeyT+eixFUgujBNGLBJJ3G0zLYL3wlEdf0LbP2Atapdf5Fj/CD6/HSuIlE31NlyPrhTpUxwaOpBrH3z7ZQEPlQDECD+KfeQXj9kHpV5mHh7B0SSBcek4ERzvixbZNn1vnpCJZqmWI+loMcYyFq8dzZMwOKKwS7Qkgq9/TgtnlBBnYm3UiMua7Oxiqt2zeouMRw4Yb9IDfkWzKSc1m7BhTa69ErCHzYQpJYdZS8w2fjYzboJmypYb6Sdfej2lxrtcclXH0ve3AfkaekMABhx5TfzCfW+NhW4CnCQmPOZzSKPIaF17WEA2KSju4s9lrJqmT4g3woyLVuB1LPW9TsvxUmJk9xacRqZPJwJ/i9y3P4bXufc8eINzC1IiUPKp02/aRFUOiQeIsBfVaxffiqRXQOgKj82MCJDBQHAZSVAWqBicozE6XMxgrLVI+g4l6R3zUVrVSYWs930XnvzAw+cYAi458EAQgsc/yT5MHz6XNXdGMj9fErOiFxXAegutJm2D51QylxDVXHjZbd3SeZkdhU0xbOTKBNAqdAzv99L8qex1Pks8p3QEwOU55zvAb0aQVdwJAxvl6VAxRp2oeP/xjUYJpyaByHA5jYxsSL/GKc+JMTnXsMDoUS4BBnrFAWzY/sgnlK1fpbNwmZ8dFzefYPmk6ymp9aT35HG/isu2YKhrGxsdhVDPJiTq6FS1umw4AULk1Ivo8Y7uLmxIfeftqOn7IE7gqf21aYQK8XR7vfmVQc1NiNKWZv/tqxHV8/VIeLUBIY7dsNYCr9ECnjHXfy2kmZgDF9CWB5u1o4NBnW6QVmX6yerpCkfGkjlMECJtCBQl1DXQYbjYIdFGOIj7YBVg05j+LdIzJMEYQbI9ze0xjabzTZq/yAHbRlXU8g4Yv3g/x4BhIsRvoaNA5S9b4Cz+zlHfXga9WBls/RISwoz2PWBrg2omhEWGPpw5yxtXB/0iCw7sfqVloHxIeBODIdhNVy2V1LdXET6cgWPMZ64PfHVfRWga4YLQgax1a6v0ybsZKSXja33W+Pg8iG6C2l9xhAcVwa8sL8rBNOO2Rb5IGtMjYqNwcqkOofy5Cye4ZWlJJ58docZOOG2lZKk9GpP3vgzSON0tDV70aC5zUs/cr6azTBPW9ry4RpYX1io0J9s/jxul1i0w7orTj7CXH/jzpiKINNwM/g+JNRVJfcv6X40ezBazPXl/csZD+677jX6pVKyLye0ybwrVDi2lMF6oIGITbLBpRMZ3eMW4Cv8jWWPr+LWOjvBRqayM0ifPx8gA3mhjtsZW51CoQvn1zBgBs5zgrfanFu8AX5Bl/8A3I3kL1B4Qn4c3MrrGQpar45aAK7Qp89Ho8Piu1dF4Ab39Pam6yYnIW/Tsp0Fo8Kl/Rs8CHpC4zC2voM8o5xHTwCvNBPjQXEoqaL8kYEFBdA/XOo5+e+CINyd9XrSDbwYl8GKfrsUcU6gRw8soOLpUQf3ElgyNjoWfJEhbVhfK2IcJM1XcdW/b5yDVA8N9CDM34iwRP8JjgBoI0PIstp1BO3nNdGoYbTVccHWk2qld627XqB3Z37L/+VZrHzosxDJOvvLbBL217TXnJ3ERNuOIQUSt3DGRt7hiVJe8vd7wC9yTl7hdC0OtfhDW2Pc0qjjherDkfAI5i3JpjFoZ89+4fRZXZZdm4i9L81sloXcMEQak5BF0E0d4QIe2qjSxk9lt2NlugRtqct00tWxsREjvB9xp87FoTp1DfGvhfIrsOqmV/3b8yMazSPrWw8qAJNuFuO/TfpxlsKvNP0papB1E0oppi8/pHcuZ/D/Lq6gCY18/u+sftWS7O0un4m5stSaeySDmaBimBSOgvX6KohYsnItLPK/y4B7pF2XyX4PfjQ+Ch9+jt/lXGfhNIWtVbc8MB5hAfCyoWMgjjHZhf+eCxikWol9o46kugWUorrabDAKVkEukj/baXkCjtrvdwyUU/XgVXCbs2ko9rj4r5EG5gO/YImef0SOjfwx74xbV/UN1KsNY5swAZLDNJqAZyVhVRcSflxh7PRCKLxjMHgwHDRB2crVNEKCn2y3ABeK7piAtrnROihl165Oyzg3P7qSm046C/fbeONvtoGN0qC4ofJnEGe8+HL92CWH4OQ2MZqz4+j+MPIS77nFo3HMprIAF7Hk4uo8rNYk+e5zxOkGaVnyXN+7tItdYg3q6gLDqjPX5/NcM9dXb1pTtfA2nC95sraWu/3t/LvK2dPrVigON34jAKKlCjpi6jIjARFGu0sWzpxfG9fg7fm4Cl7kMYYFoYmBpmEG+SjZXiaTqcZhp6uAVLBCgpa6fuzfHJKIvMbw5uHEYMz5uyfFw1oGb78sqoGnID7FGLhkx58LWYi4w4Mm5S6D+A+spKdqMvWf8tMQ2I2keeKEAsjH0ZnpCvjOiKlxDdM25cFG9QK9qxJvV0QAq6U9rO6K21aVLgfP+LorHXwkb+antI58G8T0/JoncYsIySzSjoTRjmyVPWg2LzhsvDWiNhXTk7IC3zX4w65Ko3N7CD02MoTLHSHywu2dP/sb/+xeMq5YARfVoUP5Qrbt0di7fb6Hkd1mgcvSIUlNG+a4ny248XYioxdgMJL3W3EF35yFnmzX1/d6NaMbEM3lYXETNnqBfD5EMm8TG5552rUxr6GH1PauqVELw0Rl8vCAF/g8ImXJAWs1iIlGdadjsKaaAcHRRVKyhk/n4cmDG+MDB2LHOftvbUk4vwGCEMpbh378n3Oz1pM9LHUADZ8F3ZhICXH7sjM3+4U0Gjr+WHOsW1H6P0oTMH7+n6n8nd41XXzgy5YCAQFjCxfao/9Dt1VAkXxzIjXjJwiiGgOx/SEt92/0qyYIFeGa7a/TkrRcuttUxVw/YZ6u2WUTxjNX6vSZ1QguCfKGFPT+gcplQmxIdWjqSv3YkEsMXwwjZCgYeIug6vUK8sIZc+j4wG9Y5zBAPcd2mq9BjGg8z+Kgb8/Zvo3aUZQzI6NUqOWCqGBzoZkoiuB3Sh2554+TSgW3Leuq8HqdNWp2FrhEJq5Q3NBpTLc4laBIUDQyavC7LA1440Iqr+q796mznur2nqoF8z+AgZaXOPaR6TL7czPBWdfGIkTlXkpJ3VWEmQHBgEmzi+jjsYKZu6t5z0VsOT4ScIvOWtTNBqiBwV41o0kHIUrxITVBhPOY2EVALbLuhKQpXWnN+up+6lEWGG2f2uoRXaBbS4VxUaEY9jTwF3kb/czjbvJZeaQSh4ZC4zdBva/wYjJOrr7wAQkbthBtR0u2FqepDJn9fq9AODPjX/ctTg/b0CsymMPQe0GNL0tF3jGahmFJep4torE/dPnN4jB3xEaRf3ewklZNUg/hlEBAxv8pevm7xghrdI9GX5f1Dy1Rvo/RX2bMaST6ue7jJJ0FtcTsAiMuSPpHFLA7Vj1EOJS9N8e9HKwNCNXWJBUmpatpM8hHLz98MWWCHUQrnmGlGzhntev9DNZ0NicFnJ09vcNRKvE6nh02RQpVKi/GXtEzssw+Uz97t0YhDPtXdCtgie2Rc+jk3nfzhb8IX0a/5muSLleJAtMEd+vA4cS1AR065xUyjDKIYVfNLmZHJLrIgzhEM861/sM391y7QJSOK3N0AcfrLpD1+gig1321TkZdhfa8TeeChrMzj6wpXge5eQgj0b0jGnBdhg3/9lXydwjL4dwjX2woNy/Ps31ruYjEfYrQwPPDG4UUbOzBXNm5+EhLVlQY9PRha5f0s8vMAiEqovOdmecTqDeMNSKYuawLrvHt0ad/Yd53BkszWNFnDp27ek+YxCIP1qXa7pKQmDXb8fVnv5XcoGC1mKVgr8O8mraR8fbvnnr7IghVCGAmmfU79gBF0X3avJg1naiKofxGcKlreERMNuaX5zxzzbV9Va3Fx5AtNa3hgCMDasdZwP9X7PRfclW8sl7AOnFUSfau7lez8VTnkPdZElPLsqOqZ+gZVw/dgWeGxoNwFbtKt7dE3vS51/TJ8jl0RS7XDjiM5pKTuONObTo4DzOqsniuO8UmuX4AeiFacOCCH5tndioqn243rXtoEBcCwDxV5O68MpxR/uMyenadr9eMKkW/MLDhWfxtRbOkbb40k2i/SwvaPoKC92IkRcOEusQxhwF6MTRst6r6jUZzuTFYSu6pCtUQhymZhq0NF9cubwEsaGaxHAcNCgO+tGJUFNy1QezvZljvLCHO10pKUQjJaTYWhb0ygsFUIU6JTAz0B1nKXsx3irQ9NjRoPGHohuofYAZ5GrZXaeY7mYnKa3V6wt2A4OQmgsBxfI1PlbgO6rJWEl6LZTwejAYqw4TMn3U7HHcao1l3wDg+n3O/tUEFkrPOBIqbIz/rfMSwQKPqUPVOigkpD/OLuXTy+jwYR0yC+D43i0dstj5hnj7YFI6GLsfHA1HhgRqMHQxQgKQXwipI6WaEmdhAiEP435kfZDvQ0TDCJ4tYrl/bscRNe3PCNJH592CxF/RP+ALWboeQSwXjPtJ2ulEFpP82NCQGvvxm/RUY9sM+74cRLSUtuPNoDOQ/19Fc0B+yAWvL/+Hkh6GfeCpb0gcxsE19iUg8ofOu61NyIIidhdxpj6dEjAFasM54Yq+ye4DEIt4OuQttDHdvrElnA/w7NwripKWhWGFXDZikDlzSqfqFnfAEyhaVZUF4hgNKyRCIoJPfLCLBDfLdIO4US/XzqNcpahpCwpupmL7qQCKNvTQOr/gXMowDj/iq1o3NZ5AD8lE+AmPT4+6Eojzq3gwxOFOrDLkjZK2qXyf9/TIZKZI9uwm0SFqfpUw9N4Rxph0r6+MmzW0T8YBvlfRwLwJsuTJzQnUsuvgkFR4VvUnT6RYI64OqnjoGARn0SvEFCM64zoxx9ZE7xliQSCLlifq2B9x07jq7mBPfmd4T//r7GBxSzUQa8XBB+pkx+Mx1dtm0dqh/Fc7HGIcXhr4B2JZSnKzEOnD4kMMXZtV9kkNxmEMY5/8RWTct5LFad9Z8iVs4y3QXpSj60WbqtZtxey46GXj+Z6V+qgCy4/70KqEZWcUmbu3WrxtpFgYANal52a1GND0muWd33ytRpGMU2e4g1srty3qtWMBfQYEXAaJ40723dU6WV9WlkHmPsuMhjdb5RLXbF3+oGeawa6XPQn3capJmdYG2D3sDLASxaqTGeOLUtlgFpbWS/3df0/gk+aR7x49x9L6i5T/lpqsHcKhv/rlfefvWVHdfRfXxbcqIsh75xcD64wL0qJjn6bx8dhI6RIXfGgJIILdTqQ8EZrEuEv1Nvq6E4q7K5fZ1c64I6cHv8XQBbQiVQ1QnA0SBRws+tbXxbBVSeIGWCEvraKiDRiHx86pKXF/kGtK63ahJmdKZuPl9CfgY2NhwfBAfRcQ/xKWK/vPUDG77U0n/q+iJ7umzilFNjIR5vwL4/u8WO+g3m6Zwpu0Q23x6HEdirxyaju0ABgnH41g8+9aeq2a7MNcqTtigRGmSYbpV1DO1FyuoDhzIxR/2SAv6kf9TopqbtmcUIhFefbPZ2W7f6vEZyQtXFLjvqk0WTs0utEjj1wwAwq33glfKmNCjWFLEeuZLT6IYwmEDOpPi5SUaX5G7eWcQm7dQYjYt1cTzouSQ/NAwXmWK48RBsBAj6At6KQK02SKkTcK6qsrUK3Ae0BdzWF3LTELmElK8C/ojmlKvyRvZZPhWfMnZv+48qIzrUyziCKvaZDAK2VAipqQ3eT4TlaIb8g59UepGxLEQnZq1c1uMpL8x5qZiPj+LPLBE3bGxy77zlg9HLpEiOkbLn9Fobmxg31UB4pLipTIHEyDna/nuuCYztpCmJUaQacODUactcEEImYypmqnP7HAwKnWNi5T8awSNygkTPLLUeP+4aFCg8xXngsuPdSfSDjY1K2uTtAHSbE+qqa9J7Q8pFCFI+3UAtwyPfmjcRAtubDmShLz1+gQLXcgzwUtAbJLzjO/ChHrMs76ueZnQgJaEnWHWOet/fLVQhp890asKYscJ+VPvCk82ZkdssMMMz4QLLZpAggm60/ClXnoL0H4FJm5EMULQkY/2E/3XAsCkJGn4koHJCJvc6dMcmfj0MjPLx9suTvCGg7UiBs0mOLPuRi327+VUiK5aY9wFP91V8mohvovO3/2VLkCY5HvnqGf5vHEh7hU9LOGzuBVIEpvN3TyVPNKuVjJrkoqSosnI3kFM44VPwfqMl367WUKQ2xuGClAK7BkyhCv1fzBstJ3ip14Zmo91qFcusM7jpPkU3bu6ccHXPzrnfZwpI8xfLc+6wQ14eqMdaSPHlloMo52dWejodgxCr/Wu/QhQiJ+dHt53Eb/JS6kSiQNGwuVoOXVob61m9FOe6bGysUd+UHI3r/jguRzoMIbTuZrb0b2HeyF4bNUlRKkXG0rvFoc+LwrtlamhO9GO7KLbOCH21yWfgMoyIfB66KZjEXkyyw47rZX9uo0pCcvcyemzDVw3AQNk+4qljIs2C03UOQTxuagNBGcghETik+bDgIbKN7NkB6ylcMjqGn2lmnri5igKYB6vktxX1JGASwJxf3VC0lYfghZAskXdF/GjiCU8yIObedPLmUH0aDKUPlzqRlDl2BmH5Repjhx/SB7S+CL2ow6AatXhtC6z6p84XtfkmKvLRxL9pvLZDt3tF3b+b+lZMon7UWc+H8yz1sCdmm2EYxuz6TIBZvx1qHTMEa4+t47Trl1u0c/RYMOqkr0/uFV3uBzJNarN/vqMlE59xG3X07SBWlFEVzjNUgLHprXgrJwTOZmd+ZOBt2cRs17tuRZk8jZN1uoQTnzsplytL53Ygd6bcNQlLFlv21vB36TwxdjI9sh3lFSTWrt+CEC4+ugM0lzzf9gtTsKkWDe4b6gs2CNJY8fRGbRaVam8GdxaCiAGtLyIhFc8ETLiY3KnZ1GfYpXh72S/CLRStLk2cc7MPSKIT+H/GVYt4J3wBWZX5q3/NckB2ZoKVQko+J0hqmJEOW1iEl9Tx7bgIhZqQAn8V4FBFLsuDhNXOFIGC/K81gcMm9BO0l/Ag2Jg/wU3bMUBtxNxagldYrXfmVW1tup4/dtnFbNqmFV6YolwX73s928yOqcytO6mLv+1yW0GhlAQbp+nX+lQC+S7Y1vJbzoN7yWQhbOoi+OgQU04e3diCIQpS1D4/1XHXjorHOjY1bUp1aJANfZa5k8RhhnAsCdTN9skpm9k8xYPIDrcyqeeHpaLjDNetgTUXaOOJ8crwfxHncXn+8RULyB1yMdZ3I0Q3oetlooKRPdC7rZL/CYGr/2VUg9rq6uCEJC4tqa58Qai6aycLi8MZQvOaDiQyDetnkJrrbM2FAMZvdOueVxdNUveSBQ5lWNkAhm5GBjDi3dzt0R3qI192tlyg1jhG8qYLNcyysb1ZghsgxFOqNfDdGeIXVNqexZ/+31UCFFHUWcjH8Y7g+pO8eXMCIDV02rOAbm6Uzh2ZFDfaLWYQMQgph4MTP10cxwJuEWQrWF+0ywghtbxWOm4x8pv7cdcujWB9I4pkrUz8j95Ys495Ll6n6jSs3QL8dDzstUnaVjGSYkpALSY89mXzvcJCWmKJtS4AD51tE0Jw2GGj3fC8P4pZ7pD+Rw+8FsYT2sWecY/vNz9/dbPSLPjEMV7crXt7RajS13cVEzWyfUEtI37jl6dtWjLpvID/CZorC2nl5OzsVPDzZCu6iFJ7ksoH5q6bK3RKxAOG5toPr46aOIRc4H3duBhpZncc9iNwpIMMzzKO+wohylcHwTJZB09gqVngPJcBncVYWc15GwVjM+qTEF2nhNOJHLOCxVD/tFGV49W0nFIT7NOzTxGeiiDbJkIRrcbzEMBGEvhuw6UDSKctaqXP1EpC5luC+LIAKDt3MMyjE6T1pVVCIZORJUDvxqEAILp8cmB5LQJDYgac/FQPAFk+klZRqf17rYyko7745EcEnynRIE/nAzfG4qyxtLdIaTWymhoBSZICJ4YpDHxbQBytruTChbMXpMojeM7rWENJbGohoDzylNg+qwDOti4nWPCzXIq6mlo7GMQPh2D/TdwuCC4fqVhcurLWXuSrS8WoK65t6CTUxB4f0bxSMEwTE00Y1Q3w6dY0uAgMhji9gAv7ohHVj9cE/cmjNU3FraKgSUgd66w85Xir0ebdKNOvgFyy1Q2GsDl2FZnwCsTDyQppdP2Hg0P1teAMhx9wjB3zn979FiueNg8PvUsMV03yrV2jz3fJod9Ve1465FG/wyJ5KMVoeGGIrdAXt57V65zKQsUSMziQC7yZJM0D3jjt9aD+Tjs/FeedWJl4MFlP3TLDGrCK9Sw7L/jqWklLRwfAZUWZXZCbaYy4S0HNbNZetzbwlDBrCTg3nF1xfi+/2Y0cuKN0PtPvl133Ruj5aLnQSIj+tdd0wnzV2kAKqqVVVzSvpoiFmREvrAzcKKAn/MJbEAr8K5ycLGwEJMub76/QXrnX7ZEeOWwZFWd1WD9hicQT31HxKVxKCcAizZQLvLKEyWYcddKKmLtY+Q8KQ9o3LTZ9M1pYzAvhebZuxGB8zKhQejnO+MOgFPk/oUhTjOXJTvAuL1HocyH3ywJdpiIT9wRV7IAIKgYNP8jcxE9jEEbEoULF7rXCkEzDlPhCjNJ11tBA7v/rYZ5umsX8wBDhKxCepUVs+aekJVjStoPe7Zso+R7IeJyD94O4B14M2C2BPkgB5fSyhSf8GnHSYePfUF+LwXLtf16c4+2Xnbf3KUQ1jJU7sZNl2edE44S8A/YllsCasomlmPTjMIIFZd0qj3jOmVTmDwk8Yp1+y17xDD62r7uQ/RLMgUXJMKYdrR4k9TFGk+ZkY88yeURwYydkv8+pQOrw6Z4d11wKcbvDd/HRUmyvsZkG0TKEDaVXfwBMet4piOdBUWbgu1MhU2Qwbid7WifIE8ATCL4ILheN+Gru/Q3HMymGBUzhYLAdw4k4pgl2j8fvJybCWEKNn8NvtavSSPJJaosxHS+KkZJ5Pb1VOyla25oeOrJQ2dXE+6l9nqI9kmss1KIDxRO/cosabcuzukXJZGTf4vjGWXVzN7lThu3+8brYMMBbSFyzQjeTZ9zHsxJlP3UQ2uw/M9jCfE4gF+oO14nODUy/vw3qoozpYUwOiJZjU2hoiWLbrDvWeXdZ2d36klBjq9hXWIo5IU6Ex74VncvvM5zH9wB+j8GWAO1x14NETFAjJqmWh0SE8A4LIw+iGCZfADLmXtj/TBeqiqoz2ouCJ+W0XlpL3IqCiHjjJy6uPsry99lowNc2FuELmkqCJ4CWTuzxCMGBKAoSPIMr7UaaQ+zl6Z+31YGdQEB0C3eAx19VMFNNo/A+3fXyeMZdhBztEkqcFZV2RJs579gMfz7Od7G2hoNjKgS+UX949FLQqqBwB2lE8/6QISQlDkBxaLJ1YFMUy39dXsFDDOeuebROxr5qZCua5TmTyJ3InQ+a0NXpnR1JJb9hYZG6ckp2SJeriI3znCRnAYV2HyLX0GfrhraazMNG8YoiV5Zbj+fHova1yeJkp2EbR+IySXrK2l/N8EOVZXPC0B1Vaw2AfcteB8xJ/8BWQpeSXbXb0PPEVHwx3R4f+D8Hcs+0jUxmG1QPuu7SsTgRQOWhTKe/Jw+LAVHZ4AqdXgyouB3HOEvI6eqvbx8nzzp8frrCcbC8+PcPjv8GH9pQphUZH9MnF31085iwTTf9ztNZriP3iBZDRZFNOfOL1W5Ygr5HPWFmv0srKEzjYnqorU1/h0fNX0IMZDysfhW4OJMwZ/dieRuHB/eIQdhcgubgN93T9VHlVskZ3b5RpkWNsPbp2PeciD3zvWsKj6Wc4N86+Atwz2N5NXO+mlomHHoYvOm4CxZ8yJK95PzFAvA2IoOL61EfXLvJzRa/audrMzEvVIUOXfZ5Kih5BtWd2fGPscre3yihXWY5myR+hRpQZl1C5EfNZhnkrKJsUdZzBk9YW9UfyDEFBujjrSefY4qEyPVpzlhX0YprtidCs5b5KZaN3fpsl8OAaUMcNthNeVHMyFMufnqtKaRyOU9MLm7oS0UTfNHg8Y/PMlzAM1NAyjoNjlJPjvS19TjiVuhKgGtBMxwLMa1v3NRmeW4OBd7Ko/ul/BgtQYAcqo1HItmshaZi+H4W27xrEXGc33QAlgq6LwWA2gqCorWjBtdcFkN3F2tcI2lz+QKe6pX6GQHJfPQw7VGwi/lJVopJ6v3SRbLE8cHR1CB1br/ixWpldN+5ZQkMYFLotfcrARAtQkUhMfOz5buQVcjOi8EBYW4pgRVXNmJWvayGo7AZ9qN7NPlVEF5PAhUh8GKtL6RTs9H55GqA2UrHEeJ/PqZhLd+66mDp7ASivqIyQAs7Bm23xDVfLs8hFbhJtQyNELY4CTbby2R/sN3d6fR99HdJzYPDdZhATx8hyEmHbZ0psLoOb/yIZcBETEilomcwf7FCQWMzrJ03690VNzsOZ5Xs2gyvG/LbkCOiYbl68hj/NefyC32YkxQ4Pcv0fIkW5NTLG8Ypi4ryi45Aiy9IUjACcE+NRxnzStekwhZDOwOUXe2xach/2pAnCIlpxYZrUoedkrYW4n4CUvMkXRsOMd+zgBPGI0jlO9bRpp1FJs7KvdGKhSPs1oGqwyzvey11lQ+RCnH7pwD3LzXLIx7AzcgwFWCSY+CLpcktIgV3YtVHlMki6BaZX4jxfSxpqUYk43u8zY4QD6hHRlaejYWfjPEDTaTW8gyhs5bwrU+hgJIgQJbDaBHRb24VPAskU37/IT6wp1LoudCOXj8S3hEAVOrUxTrwbFPl5urf5WgaJIoYbCQVCaEcr0kTW8CxJDE6ZgcM2yvmPUSNwG+ZAXq/YZSu76UqizwTM2G7nWtA8jw108X1Dl8TQkof8Igte9p6gLAtVNwUnOV4cIdnpKSv5pEblI3RlpoEoLBHSgWJGy5NViRZ5tSjbWeNP3bJ9pugyUrZr9Z4ZUpa10UviW3ZyfgJhrwdO6Wh4ZKyDpzhVZxEP4yykFi+A3BHHgDR1ayBndvP6Wst9xntkQpt41XXD8balwQ1SywYw9nHqpmJVO1fh/x0Tm6VNBekANvIvsfTGUwXOVgPrD+NTeGCew5zV4v6iAli3G6xoQSGbiKP8GaGiLINeoCfUL97uYZXHLMDts3K5J8tH5VyPbq0vrKmRpqKJ5n3PAIEwIXh/Zx+n+P3BtRmCbL/YsXYwn29tsDtU/VxNjL5zEYs4qn6UFp6sEA3rP4otgEO+mkCARyX0Y1I+NBz+2CPjhm4azXucmPVgPDh1iEu0ywe7VN0jg5mjm03BHvYbaVDEbyWyRPeJvKBq8IUvkBXVs3A7r95hWNU08vTStEdmSvLXtYmoZtRPdhCy/N9YaACGmsDLxMC3aLpzo5yxAf2a/+8dL5EDSMsecPHa0RuBa18ypuN8FkYVZ8+eVm+PGqbUT7hx1C686oQB1gP/u7qEXuYCYT7j1i+IUwZkpqTlxID42a60LDm8xkOzGjAzsRYpSikszMcSy5paMgBP6dbvEWkSmongnT6i9trxoF0qExuynDFdtbvBX6Hr4vZgIk8ssK1fzodwcHKaHR5OVhW6PyvaRmCgY82IMsx5n2TyDLFlmC2itZ/yfu3BKBtL7Wk7k1B4bo73FmWiIVqAam+PNSTbQozTakn4EA+CDZUdLtAJwxnbETLyALADhvSuOaD7HuZaurHqAJ28IBNHnAqX36HRSJEVD7FhwnNHnAhWLPNIZA+qjdtI+vfqP7BDV3km9Ryr9oWAm59trLYS737D7fR9/mhZSBNrwt11X0NVwhhVjJ3yWwMx9CgsqAWtmUAswpQUhNEZ2YbnsIJtl4VJKGhk/cvsWItLjC/MSup6evsTTTyCl6BjvwHrf/++EWPn+qgGjDCF0Ny8Fo1/O9bCgleAeEb5YFav/iiU6J0gGIL7Tla1KFIbFTJi7KOadQd8tpz4Hq8go1wQ3aNpadeQYPCZb0Ibv8BE4//9PFiXfmiD9WMFb9cRt2uz4PiFeR1+CIVqChNLh/GxkoCbOWnp+4Vj00qd4zTMxyLuwJI8W+MSIeKIQ+e5gggBRneVZx/OBJLlN72fuc2A2JOmQvnaaXGNN3llpR9+TYoWL+XcIT4+r5dqMYqid+rGKcQAme00keS/0rwuVZJUZakEx8FKLgYxj31gHdLiFeKgnfnFNboMRiB0s66qWvAkNox29+tQADq8JxI92D8q3Sos1mM7jIcJPGh2ZMeQiie0HO4KQdZ8b7Lx1h+XROatMMB2WzGhyN0KBTdsLG9QbYzfj+on/g62qLAd0Io+9+U/OT3f379Y58PhC2iHWcCRmE36QyNFaNgMYa8FSuUv7oy8jGIaeJ2v4J3W7d3H0mRkc76E7HHGbHBWcoczCkwwtWbE0KeazcajwsG4I1JucLN0jkTI7ScBJEg+WIGKSZmuJUg44/+GmXDJACw4p8iMEsTQXKHnrS9MNSKKX/fe/KTPPqIP1A3S+9TwZWSMsFXWjACOXhXc2Z59XSbtV8mjL/A3Qpeih7zDCB6keUMbAhF/0/nb30XtcD3Jcj5VgGmg29Jy50E98ASIzfhCoNOzHQGkPmdAVo0IzvjZBzQF59lvgOzQUMLo3Q+ctmjZf6nfT5gJvXi7xQ/4hkm/qlw4BUytzJuPAg8lVynWChIIG3rUIRpipd/Wi+G8BaR6tzSKqicRkIdXhsTTxUWNq+Bk8AOX4e+EIlxhYyPowNqjFISGrzk4wne/uPxegHWfKj1/KNP8NjzbDMAfMxQVIjtpttFSG+mAdD2Dx2kBtzKkcBtIL/iPmPb5rMbFdqKoBvsxcHihyyrI54RqlA/oattqqYIo6d/1N0HnSNsY1Zj+4H3Hndt2+DW8A403W1blXHwBSSSxcI3s8SXqcEvrVac0T5P26gtQfHK84sqFFfmN1pY4oCZRucNzVhRbw5KKG66DwvW7Nj9XBHfJG7ePwjbWtjmnLaoxWr1ClsrpPDlQXfWiLGqGz+4PVBJ7PKCehM/29TU7QYOKAGCN8BXy6Yn+s3h2/w5ZpaAnsoJ3CqZb3dgqek+DiEbg7JB54DboE6uv1nMq5P3TyW26PqG2Rf3/PDQwfGwXzK0vuw9YO6IEEjuvg0xzHDPrFcPJpRTvxgN9Bs4xIEOjVDrw3BSp3qM1hy8uP65pPeOkfQEJJ5FCSGOssAPDbrs3ZW/MNUpS3wqx5FT2l/KXvjUmZeHRaua5fFpRHf0HOJwLDqmJusJxhIDYXXemBmT/LUDJB9z8EJIKtuzArufo/75uIcePZ6RwpioRyobO43yJltv/NrkiuaIdLdBW5BghHP+SFZrGt2XMMo9SKSy5JNROw0X5jmMVONcItdXS3zlLyjxE3zRRva+e4Cl1TMd5a4hBjPLOmZqdtO8pbrtjeh2rBBTObdvYQejFYft7Yu2JQdU1ztEV8WuXmYGUwTl+HTDPj4UvJbmfzDE5W4W0z3m6Fn8hgnMj3Zq0zqm9t5AgraEoqTwOEn49NveyWRNq9R1duRMfPbV8ppr6kSpHWUFaOXtYGvzbm4DrN2ZVnkyT3zbIQ7wMOzhlVvBiJ9YMShU1hB2V7sV/vDYijX8it8F1AL9QT77tQ3X4GjmloLibaBo9UURiEgYDXsicSX59IZcJgaxhAQmMWxwuoKfe0fTn6fcRj2CWbuC1EVUoz0ijNqBqNqeXhGQJbDBTBLolzNsyFEgSMXNN+V1FbfMCBgjEHEg4uERgITPekhS1UYwuGshVkxkf0+wl6GEbwTU8zw7TbAJ4PlwUbVWAkbx2pGP7FN57o5nY7hzYdfN3HEfr2uJYFqoejpHjIVteClIf++ontgw5PVgB2cGbVawxteS7Ts9XoNMulKF2Ae2nagMXVLaDwnCoHCIBPdqJVBWPNl4vaRaAYCsYv5z+ajfMQGgT/Rlp7ETBqeqXkvQVewMkp+12ua3PD/baqjmyrdLZ5WxrW7lnCF8MBZ3kHL6DXovbhyS1jV+87IsyO354SJCS+4VdCTKcbd6rH9KzAZzFV7WQJOecAgTIh3JynzJj94ij8i5XCGmw5xhoyM/pN83utnOR9JJ9hGHbRH9+5xaqlgRJm7xLHntQzx4gYraS1b4xKk4cPGSWeiM0Flm0prpD6twnh+ey0KbhS2yIMQZhJ6iBKoQ8bAK/rOC34xupekVP1mZypEmdavULWjR750Oii/IT0JtHYOBCIWoZGuL3RMXa3gswG/YZ58fr54VX76oz83ZZXWXWWEYYn4h1Z++qCdgYXxJdXhJ+m1Tb6VLLp9vuf1zyEfBkaQc7qcjYQCWKXDRWE0wyqOfV4rBma6kQMwGZ/oUS+6W2wS/BMPoW2f+UiyRQPQxnuCXqtoRa8haCl9xlhU8kiWNQpIfJ3we4ij3Ph5PmZz6LTPj6zA2By2fW8vrNXoxfLRV0E16u3XILuRydZp2wOIN97S7KJHQ8IhJ2PwhJ4Mo0JMl/eda1Aar7o9TGvI0KZXVqLUC1X3ovSv7xwEmQuMwAkgs85uFVrHGe06YxV/av06OI3GrlFHx68gefHaEIWKPuxg+1IiS2dGXMqycz9uNsizSSuGl9D0O/JVSFlblZEbJz6Hdw/abB5tTS9ngbMWELhJVyGF6gkMXKoJJzipn+6ZvXyYLCzbodufxT9QzlXj18QdmeIft/4CW9nX0Bz0JeHotz0S1xbNhCysKQ5nBjT/rS3FutWEKu8CJ3c+SUTP3I97CVU8puh9P/KX4qooow2Z7vWzK8I4c7ff2ifwn/2s9D2CszEBeVgomAhPipSeVpW1/Imuv6nmvuHbcnNVsn7dDBUh240ZlKiOXyFcpreZ7++rkvPSUPvDTkssD6vhlcIxdF4GqslUDQtJcl8/Y6PfUR4UCqabsRyP8RSFv3NiEG2zqds7+4a/+7VlWm/9g7ultvZgE7Gb3TzgwhOIo/pd5mQmWXZnJ6/+4zAcCJk2xcBoBMvCN5GZakFDzT/PiQuiCDUo1cOLnBfJEwCcT7kdWjXCYU6v1JvKVVpPLPSEvU7wJC/p2MLes3jaNWfde+hpaQQCObxOt2akrBlkIqeNags3qwkJ97D/Z0Sf6ShjEgVXRfRnRLVjebRkj4wJ4IPAznYonJwRPYCyxoBZjRoZ/f33lvh6LhX5Khe9+BWl/nIA5j/m0zym9lZP7VndgWok0sg9aPF0UJFnN57o+Ejh2FjHf4BnAx2DcUnYUXscqJdEofMEI+w4M0TWbDg06RYUX9TUQGyucJwllxoGZEZBqaB1MYa/1LwGyUvUtb9BL7TwtaBcASsttr/RhdrRAcElA4aUJWc20+kWRNzlOLvmz0vm676m9jvVrtkTyKDnlH2zStZEIgAAVMFzsBdKDAPF25EmQs/nWxXv5AUWqmyBg7SPe9iRXXh3ytXg4pHmQeTESDQF3tzLaQY5u/+hrMiPX1NvGBCoTLRtfLjOt7p4O225eV5DLOOhxrvC3U9vfvltL58Z+1OKtwIcb2SzNv5SPlLquO2zVny18hFglybYqXkTp6vQ/ILMjJYXDH9hpwjpOzmc2y7EhL5iw/7KxzECStwr1Kk/9T+pXifEHuzY40iUheuxAMUQGZ7PWSAa0CiU1us9nLK/nfYGJyuhUXKCNEEV0WPC/8vhFRjVIfYHZD68t7OlAAdsVyCB2iWjlaFLwZfmwUeEu4XVWbhBxT2ghw6Qo9ONqphPSFSB2CeXLmmU21obUKMBNZohFi6/17OwpZkkdrvHRffRK0PSJz9MasBuIzvQfQ4K6vSXb1AK20J7S0+l8bvDIj7RQYWF/nhsXSEdclicTiB8Wn/OtV3UyDVtOAQYRi7KUdzO6jwlr4bLDMUstRBBsAKp72U67ieWvd2TYemdYit8fVYOnXh60BnJnnguORg8UXSZr8z3Zsf1T2JqLiFHJ63jHXD1x8o9AG1LhKbqfZhemGrbLqPIl2fu2iCfVaMCRZ7/+bYNRnk5xZsDhZljNFJJjxAiFqOxUmTEAYNk+MN8wEyQ4E/JVBSd/KvEnoGXN+HNkdJ6ra0hNs7932BLsBJsfsX5SUaoOKtcHlMCCmWNOKhYSfNrU4v93rVW9ofDxR4JinyA0xSHCCoJiRYrOatuBh/4gS3UksFzwr+ic7jE/lTpOqEV4wfye9TABunfhqYtKSa+LAICTxozKMUhGXtVRqUkwYAcfDJlHp3jCc/16FjK7u/mjWk17C60Ewgv6Yd3TZk12mB0zZiP3bnMRnbvWzsh8Id5dNHzkZflP28lOjLXiyjZdIQAOiPcxRrs8pcRBqkAu3QVKUZRjrdMTAV++qR5kWMB2y9yuasSIIe6fLVFVRTRTIpDvoVhxyZqWOovQBEUuXMMo+ZEIJ86xGEeIM0nunxGBipS7OXMYU3cIDQDbLlc5VLMrFH8mkSjTHbogc6J/HH47bnOMMf+q3L3pmwMGRFg1jDeJWdEsIq47rHSv8YeTfPhbvXMAN6Xyg8368SJQNCD/PmIR3wLuV+ajxVyd9nUw3kowC0Yx2rHf64fgfFnPLjVY4ojUlDAY7QAfE09MQI4R0IKR3qhbjw3119d9sWsM1zWbFMNq42AqN7kvC2nuV96Snydg/7u2d4HbiCguAO6GNLRSY2EyH/GRfqVdO6UmGfFjmBYV0Bg+i5vi04GXg0eCrCRLr9hwCoGvnqe8EuM26KoJmgPbDLbbQxKbXKvzxD9AcT60tkdtgPXnmYDo6dK9xJ9u8wKHhA7auPMju2mRsDvzOfToC2C+4LIgbz4pmL1FcnguiH5tT9RbUw4f69HvKQcjsfcE0943Rz6StKihqSfz8f+ysdfin5gVrHrZHc74RTJ0Ryql+wPc3cOPeN19mrQ9O06brCiADIpOSrA6NbW+7EszhXi3qGRHLErp6AW5Y/EhE8zOCits5VERMIGPvesR99X2Yz6RbufA4UnxRKBPsg37u+/oo1vV+2czxAdGoDLCQJQOzhDIeqgTX4ycXXzt2vW0i4nk2wF6KkOT6EZsDxdqGnMA0G9wDog2C0diPDkmjBa8HLiyCJBYvDoyQjkAkR3BcFmMoOK/X2LB6LCVjrWQQZnjRyU2lDynIqcHr2v0KWpG4i2VTKdizUbU8zelCNECq0TyJsbkBYPhgEu4+ggSGZg4Lg3szJdolMLTcJpm9d6WMlZglhbUco8ekUwmtLgr22CkPCCGaW5Qi1qRClytzEaoOkeepOf528BthKJadg63x7fEl0ZCRq/jFOKsgBxnhZwcxdUCe2dWL+s6STq//0uSbx+NHCyfk3JgYdQnxFqaOGXxBoskhHMwYCeryDD7YnRRAP4GpLKUKbs8y8QGuzpxLzKGJD7IsPiUI+1OsyySqVogA0q6DBakhqo1wJFtPiny95gGFnHWRf2+cffdA1Rrquh/EuiPdAQN/hltFH2lGQTUWIzgqnbfq2eUSPJ7xmRayqxYkmYfG0ez6UXAIimLO+X30LccmiyZucZNL1+heCthBy0XczQcVJHnQrJ4CDWfLdua8t7cVldYKCLqkn2SXW9cojeG8g04yC9hmaXQl027GhB9ARPF12Hx6IA7JWfYIfaADDCadbOkS18iF5rSYWjuZNzz2TW/GXWU3Vsb26KDa98nX7QwoHXx6uNbcoAOHFIPgxodx3JKEIML0cXArkP42nlU5/qZlA51B/zd1qNwisKDTpXHPbwz183mDrVlp9LhKvJDn2/Zi15HEynhKuc6qEHHJkMn+2G+kP8D2R/9eyflmGSjNCguGfur+ML1y3E9JAZKNX76Cxm05kLYeXcsQwlVSVlaZcrv+9o3k9ZxoD580NxxMhViTihTKeipKBNcLNm5QTPOv/QdLd8r7AVn9p/7gq2SENMKER2ZGzkYhKN1wSnosim1+pOCi60/BclPtLaKXtfoA7dRd1bNeq0J3BPBmjY3W4IV8oAdkMGpggG+83Db/dFcTID2qXWa9cLAkwHf5r2QJxqw/iplb5H8nfj4H3l74Iri6DWxd1/NwV8DewaH8JIhYCdQpIuVqbyLpQ4hOUctZocbc9EZedwEVmwMgZOcz4UPtLtyp3mQUJ5bRvdWP4QM+vhnJ8wzux3q0tewllJ4rYB1xBRwo/OLq7tP5KEqWz5cYO4SuZf3JoqRzhM9t6wtt+mc9p5WGmBFs5mngFHXnoWRrt2sVl6ivSeSTh09XGoauz7ZR4aJl8l6RuUZ23wp5iu6xgkTs/n/ikjN//pRu5bWhsCPqAulJiyIMucWv81gYX7U6nF0RKdRSTemHevIiMxkzs7dRCaY0BEzs/Jot343TtlGM+zfRYoDX60cuEi1Zeh4ciHSCLpf/cxMgO+v+EoZm4WgOXW3Q9347fAPR0W63LbKQNW6LPkZhdSyCsBnYV/bL57PuSBmo2KnoM4cjSPZ6DEIxfeSPIIJUWq6jptrL9XTjfh0Yuu6eqhjpdcOsx+5UjKGyGMp043VQsoYA2nGWjBUPdlgG5qTKhsiqzZRs7XP9MenPs3UtVlrOlZ8pEGhvh0g9ArreKovuDBy8M5j7kxIEs/RtCu80beeE6h21LQWK3exUOlReUdsV6DcTC0MISzdyKkYa5fZ6eUM50jyIGKtz3f3evpMCJez8VUxxcCPLV+oiXcTS8wspot99/q0cRJlf6bOqFL+pJDtBLsjWr2+qhOJorYjVkCTFM6+qwBhoUo5yMAzDZ9NJLEFbCGjcLXjxv4Izh9utcHZMSFelxVrKAd9RWf+ArpiZm7BJSE4DHJoNLFNYxmBL/putk3STw68HdQXPsBmsyj7Z1auOBvohx1nOxA/NRCe81MhtBWeL8qIBepDTAtBTXmINPXMPznxbhSf2j5q8d70QdqDRlC+SQdM2ibAF9LZKKlAB77ADTn+O4dklpqCzzatbHuGJdvpOWnl70jW6wMEe2POO9ItPbKtnfW1HLj8ZVSktShQ1rebRPkd2sjTa/KhjCvoiGtUMWoSo2WL9OQ8hvLiM+8/hPqbC9WCXjh4fkGELAi+FOH4bt6vfEnSRzsm8wtmnUxDC4eXdoBz3ISNNBJB93b3rYSzT8D56N+AGt6JZcvljXFuUt6g4WudLYuuf5JI/L9PK6svmzlrwevGGGLEBTh3RfnK8IaS+SPpGbUT/38tV+tPClYOZgrsFJJfuhXaP7maBBKWet6VN9ArCTt6U7pR1jXnhVKJpr68QIcqURonKl8FzhSm5Gc02tv6z74GWnup/rcygdPJYTpSJbgELvEPLRSzqQ7vrUfd/EFVhEBezFVshJDhY4lpBbbYH4HtBeaIf7dbDN00NLeR1wXaiQ5+wCtvFLw/BOI6Lpexct3qf+T2foj3v9Q2Rc5rqincZpKiOkfqmR27HIl094bKIwvSaNGkaTLu2SWF3B9KbOidMx5V8dgx2tKHmb2pO3Iwte7cW+GzCguF8enlouWYHEObk4Xj6tQ7wWeGHZ/19JIMZfvvHYmTnALCHxgDh9AO1egv3QH27GKrbKSs1wJRM589Zxm7H5c6J2aa+7S1jj0UTzKlGDhuYMwIjriLOED7Y0sLyMXjZn+TVU9wCe5NEJ5jm5T5EGaSruHmmc2MeIcK5WHgAf5DZ41KjRGM09J2ZmhrbkE3Zs6iyYcBZnWt5BR7LPcz3WFrM4NQtXkDaJK7iyvU4/RywcBEQD0HUom+VSffbZHQePUJjxCEePZ8GJiScxfmnA6ffqqHHuC2/K8AL/Hc689xmrbu7i0Iu0SEX5qFOPd/ssqyRt8syY6Gj21MaUkuhSHPykLqjhLPu+heNI0oLl87/cb2Y+D6luifNlQErqKsAx+im1w0Gm8a9vXLnKnnJsRBF0TQQ/yX+X+5Gv7j/msl3faZ4USlpaf4YgoApAfwZoZF862fYj3cpMoPkPPBLVytvDb+N7ON0tm43sW9bc+k/hqLyFIVjB8029i02L/Zaif1pWMtZbVWt4JDa1jzQC9GouY0tY5eHfmQU+p1dGR4sPmj5MdQy1gl5pHSgIWnG7Nro8ZCO7q5/xpyX3yqtLNOAH85sAUDuQlypbkNgkZ/z7eqGtPHR72EIur6Gtx7M0Yd7Vq8yYgf8R2ygf6S3mR6bVFWIVRN4UXGnYjmCr8jKMqLlbBo0TlBVbek7L2tpVxW2dw+DnT7XUVtGtVNw4mc9bu/YXwqt96aT9gB9q/Qz9llWAZh+YBcfomD06Clpc0iY8cN76Xl01ehjSlXMEuDB0mrazbLWdYaXpvtbVhT2FkXjJy/Dvw1pS2nC2ErrGv9qtrEzbT2zzgg7kzzRKwqcooRkHDKMLRIaq2dX5/HqU073OiwjZLmI4l2xH6g3Reoso0iSnX26flBKft/1C2qosQ+AX1ns8qUkq8dWhY6MJljlDmh/75ubwvZVFnpfthITZVyUwcTrOguhpvYnNKE0JTWOgRyBwjQjhgDhT4jrv57Lx16XFEXSMSfHQuvw3lxrxeKUrFUOEH7ECNlZBP5iTdVHOQbVpZpBVpmkm14yTpHqL905hoJKL508fAjWmD3WxLgB+J6Hy7ZwFslNveadP6+95nK6ANgfz36AYLzv6KFZh0Z9uEElpu033sN13Z96XCng18qjNNGM0CmPU5/lKZ9C/8Q0sQHHDmmPvyuF/x3SXamovru2hSEQNfFBcVJBy1O4+BnITXpK1gaWWlZ6fynbKl/aCL4UN0+5icawE4UJ54QUPDtKkfXNTtOzgaSW3POX67CakGR6DvSm0X/Jev0SrtUYJINwyQT/jT4WC7B6Zwqod5QcOgoazsOV1iz3SrNR8pQ8doHY+EsrcKu8WZRMZ2f6flZgihuv8GJzRiyqwhheGC2vmxnXzO/2g1yPyxMLcUzxO/wuBZjIiB8Y8or95KZZkMZvcZvZUkllmC3j2roB2jzh/2uKqRTI3+d53xlA0IsiNyHazGCNcmTZjVp9/YeP5u1SyG77CrhKFg8RKgcTacmQ2BCzpfgax9CPyyxceaRKb3X2X7UB5Wz3IzgNndup8RUw/vdbGFHIm9wRYlLpBOCJKv5CaYwCGHJUlx52WztutpLLr6+BiW7Xy+pIvBPkoZXqT1KH1n3g23hQMAMhaemUfMW3qcAzMqgWtYaWZfdfrDSCJmAE9/Og2jg1AVpBKbn1XUUNjAm/A1qa006SHuyXzN30IPhMPCKb8eLHJbNHov605wR0t+as3SJyWgwZu8O+xONgSs0H0FLEtBJwE3sWxHWJv8RTR9zqh0N+KutbmRfLX6c5Np6bjXj46uHHNGg3tRq0lvLu3SDjeInVYcofaApaazCemR4vL4y2SASioH6hGwlLStUB0ECcS9F+c5t4+/1J+oLLYtAEQrTijIPTvBmdWG+Dk5nQBfjU5kwTs0/wvhiUH+/XJDi1pfPsxsnzJk3gM0UN4eMQJuwnKvv7h1aNUlViopp5hC7jJmjUTMJyYSrEgczp8ZAPB8z21Dp1oIdi/Gm8IRlEefscERBVxdMvZERLxKwcY97Iy3yfPPbx1ZySra56QIuBzxZSOb5QB8NfaxLwEiXheFRSPE/anqPteMQq9ipG/ydpBIo0qm3LnPTpLPuXcDBMrN8v7XfxcJmrT8sOU7y1AszMJD7Hdfuxpp609/sVVV38FrsU1hAa4hK35aSgm78DmF74uoYh1Hk9Xzee5lHwTyJ1IRpjkHZygppKdiTOkqEp9ujC3wcMUpctykAbrdWy9M4O6HZTOJqRxWJBWbllIA4uPpmz2fJbnvBBaQO8LSkZhmxJqtZhZkFMwCtPpzTW80L8nAfq0ZKX0bOTdlyKzVTHG5HUdUyNUcHolS4NPAFsuMbq5I5HC2ueR3QNYFuXeQ1bHb+wEQPtBLK5e7Ke2UrpxoDgQxl55ghNemDWyBIj8DTv1cVAxO5Ak+cu4ntrk9Vij4j5AuSXvM/Sxzs71sDCknaxYnmgIkVuFNWs9dy2Iu+rWm43gez3qMQ68Vbh7VHOmvfiuvT0y4sRy/NDKnr4SgcmbyZnZgPW3eSwrAZVU4Kqcsr6aRTAjmAkYIiqtu9fgNez8CMhCbjgVm/qMjZL2JfAnJL+NMvFtDgygCtO2qB1XoGcpzVSAYXe/nJqCaVpv5TKS2bO7MRNjRlV9q1ADiPBdPSJO8BGz+yhxQ0d2y6vioYjpnMKeoozbaUuJtuAuSf3hWuTexeaUNkkCobuwuRXALISCHi37rdXiJoJeShTCp1Tp3mmkFszbL20agV1eMc+n2JZn+3h5zw/MMr+qyrRUX9GQ3FXnr9v/Ta/NX79jNeSeSsWpQm3+zg0Knlt0XoC5nW2CLBTuGKwY4LnCyQ5vBUsMCnPQXxABZvZzK88PjRw4pryLk76RNjghVcaxlZB+raEmcjioVW8/c7Xc7Hdwxqr0J8nd1LPmKsvsXWCkaqWpjvgkG4u40p+1rs4v5+9P6wiuFE+1ACdIs7YQGkpdZ6sINWEScqNzxo7YrDHLyMU9yMHC5RjO6HwbkLI8BmI8OVlwrts0BmkjDTOrWsA6w1oc5j0RO8YkcNEXXGyv5boUrSpQPTeTotkGnKY2mVBoP3XKrfitxkI1GVJNsFstqxr5DFduV+PNQfF3tj+knw1P8X4MKHe0EglqHYJMQuOBfC3rfOJu1y9y8PJWVU2Hi5SXI+C2rRwTU7czjtelfHENHy4qaxzyqF1J433Ya9lSFrICRP0/oSzXmtD6EWEk7W1T/xtYsDHUSEDOtnzSbQzDBHaAJqqkRFtapGCc6a2GVppsyCKT2Y1ZMh7gRW8l2MApRRsmO3pp7NEErPWNrHQcgXDXEHch72Vgu06BYSAEy3ia0aqFNWm1PISrpbLCgLiW6mp6kGkAK5hD1fBBiqX+V3tG4SOh/EerIkPgrGLFDQ5nH5POx52QbrDr+fYVzulRvZ3c1zPd62MgxSGBIlbVzBFbbzHlkJ76SJkIplwwTynqL+Z+6Xqi3eKPIWw8PVjPsQ1oLiKkyyKhvlrna89gIrmwLnNLU2cr6A1ZgqX0VZWRb8A6qaaz1VOZYWHPzCJNaxoJR1s5//6tby2sW4rNmOTjAftJj7Tx5RjhSFtKd0X6ugSypGtmU/9hQXxYVkmrJjEfyNZ2Ixg0W/cdM9HnXQ9SlcsDdYKeX0G8g0rLSJbuNPxvm3y+foK4sFtKlzjO+DOZGmFsxtP8T0/w2xHR/dvLi9xMWTePekzOTQUgOyRCf71PHx0XpYAAPtT//Ur2QgXaT5ZgCELvJrnLZPWFzeLBFYpS6EYo0y3Wr/WxC9650v3qAi3Pa53gcKNxvzRjciQrJM2+8Yz9LKILRnvc71q+OeMnu+KFL0Li/JRLMstc29q06XljdNkeOx7ObfegYurEjydnaTbwpd5X2f5mQ1bpszZGJ/Xgt3mKR73CWmzH6QZZZIH6dYCzsrT4hGWGEicc8/XEuEV2bu0OQ+MKf+N/tjk+9KfSzJbIXZjbn51G1W0T+9GBwvYVJN1nxJEzFs8D5YDxvKAQUUoi3R8ILszZHyMtU3ycnBLNlbpqDZddt+SBjicOG49ixULd+0Y8FykzlLcZdc832dIMmGvvwjcUebCC7HWKA4QUnCHnr8MtcyAqalATTeI7jiGcM/fja2urmX8YepDXhovaYkZMn7cADPU6S8aON+DLzTep2AP/0KjCv9ZLptuwtdXPk/en7RF1rLEjHFaLA41vcIjyOEEqQTnrQkjMfg55OD1jd27NnI/qDR89i1+5P/T7NqY/Ggey3J8RiLf44imXz42RBP9MY31j/flMDoWD4kwiYgqjEfcV1Uu5+vWPF5k8l1DQ3Ea9vPBQA83o367pz9zSN+mfIpvk2QH0CIo2FGanM253UGGROWeRDxAnKY/FEVLYrB9ssb7dH3/1ATeBFthuOFLOzczx5130Oy9hdWpKq1JSfKh75Qs6mb8LKtlZmZaYdrTZloIWMQ8kPivTPY+w3tOqDjeJQaZo26LW9qQrNbmk8oDn3UCZb99gr33YYMc8Lo+TeqtlIOISxJ5/azgupgGOxvndOr4jjOnvG/AlkS4TaGWm1wkKVovJPnG595ma/yHKSwwNu3QQ27DIT6W74//g+p0fZ1N7pxCHkfvJLORvneb8HUF8pY74H8IqBZRRlfRKSe9OKGt4BugkOx7RBzLfN5B/WicAue3AQpCbLfkwRNcME07ov7kzhz0f1eJfY4GXy2CnhglgZXLbPIhcZryy9rOUMlUrs9sxAoRyGcUucKyyW0J3jnQ0U8rTgLBdPajaY1DHihI/NMLFedMs9svULtV9Ro18tHDdk30Y7C9Zg5Q26LTsnao/tpaALDdDNZyPHAoAH9VHIHCX0XqFK4LuR+z/bFg/BdzsCJuSuxgXMzrfdDwQsIBkr5rCfcbnCzSxkqt8czW+b3TmSkb77sUVj9bobZsEoulCPGw8ViGGHOLErWM3Bm7JC1bXV1QN0p2ICt71SxLEMmp7mh1Pzj62jCYtrCK+7WvrtncTmqYorGUej1vxb+97fV+PkP8/qCKDa//nib0BGujU924+HzZMC6AzkPd/X2bZVcWF5MDp4jGx9G1b753MRe4z8jTfV8LxWF6oBjXBgOiRC3+GCQFKlqxNJsBw9Mu4nOWp8fS97Lv8uOd428alGjSncqd9IVRwnfgGugLAiSX5letjZ+cwQAVosUA/o56RT5pfykRbMkH4RyNiloqqiiK8QgAbR1N3Nf2y0GNKmCDL5kIVSUB0/6GufY02TZa072QyHZWk8dD6u37xiyX+h4dnNKHR7esovCU8DLmOPgWjhZcHbfCCJ0ZVFdzn17Q6BtV7NOI0xVRVl/MeQdqUxIVrMpWV1dwMFP/kj+lnJy0IZFvACBOypU0FZLoQASn+0WqhmlAxwtLL/aJ8QqX6FvE/ySq88IRMcHG5nh9Uz2wMGP2BD86Yb2hBO+ddDAM8A55f/Eef7qZdY2ehWM3XQrKXPnJA8J9oqNgTRyyOQWZz+h0gJwU7QhwbgIhC6FNP5mRVfjc4jqpX8Pq93QN097JOvX5bAipssJtzdvULV20cQAOg29sxvUzhOpU6GymOmF6v5eOgtKfZGozhf02lWu88a8kHdOZklweDttQ8rdoEIcK1YDRHV/njTQDCPmyaJ1flfqOebh0DBarYamKO4plEpD/GHe+RfpNJHM26pU27D1gKD8sQbN5wL3bw6btsH0gy0XUzh8MoPOBzup6Ld1V4gZN2S3cIh0E0amz1qu6s362upw5AlEq84KQjTv2jr4NvQ2A4QLkLNJ2+uGlc6ZxdfZ+UBspdGWd2NHJGxXLHQ4UvD87dkf1XJvLU7Swawi3JvLRvdzM7JiJAtpoH6456MITJjFOway0ptd/43NtXVZ74OCpK78gCATpHWmYBVqZSiM7Y0wVm1EasazA7Y1pfNpN9C4ZYaC3Y/7HUsKKvBK2In2g5Iyb8yCnpEmwzGE03ha8h+DnK4Q6xq8q8jOj7GMUNP/jCIp5IJy7NJInzU5+12IQAvz682HMITNuTINTV/ZvIojwSMyScvMEEMEWIX0iZzXgTMXWkiD5aeHM4ca5LZVYz7ljykxYmOBjTsHVB6r+oDA296hh5pBCrDd1j/5dixDIX3E1KDYyYrmmoxoaTvLmb2d67ts4AoQl7V37HfZsFO2eqiiBVGbPfdHIuzZhyykSgdlbAiOb1DkskBbO7+tGSpm/ZmPKyQbFcIB7LWHaAqMfAh3gdB9gnwBOtNjJeDRpHPWvsG9I5X9Qsvrewj+8dvZoBM13CvRjaArTjXEs2Z0eXzMXjzVO9+QR8WNWuUXmKcIxTWUFGukcBPnkfI2uD4xtDqpf7yFwsd9OWP//6U0Ix6H06sv/NC99iUtq8ysxaINC42HOWvpaWn65g0Fm3VqNE6gvGGE7GB+nly7Ype0iIB/X7UAos7SPXZgwM5ETv2uxGz8vFOnzZbGTSYUBnrq54U479F7WRKdmpEYNmI7chqFZt8TdowBYyiAgsaLDurQovAe4OQS4MoAv8ia4/G/WgqIk2DqIk8kxgnzuBMH3eJh3IEpm4qMEsmNSJRB8Br9tM2afVdqnqTZhnn8IzgtjfMgli+MqVLJ+sALFTl/1eFsZwVoS1qaSJWDOLmwdKtfiQypZoOZcz7iuOGI+VoBpURSeosi+zQ/UD2Eglw1sMtFZ1f4Mx8dimYLdjeRoCnVl7SnPWwqlvASkrnmt2nfgCdIjNTmfbwdTOhDiSffw/p/IDneuxbTZvyn6XajJ9PqkKtcJH9MEZQfbGOzFYYYsHMOeLEtOs4qPH++V4zzxBczSX03gvtXwLd1mDtCjSTrdS3wdOBfjw8X+ORHbRxjpU+kSYt+VzVlsIVmPTYo6fpSYPsJSDODNZnULxeV3uzV1t0MVBI4su/xXpZ2eiQnOaXskODRWRzQkDVh31VRQwl34ROAkJ/xoLDvjgfzouQ78hDtJNNWLwxLP2MwBtfAE8FHCLbE5hjSFvuGXADI2MR+Arpj6hnmbKujZBn4zah5DtIGJk5y/WqzdODbIuL96tqGwlcxaYjVAntuQxd1CnEPLHflrSxYHreDONXF08PSyYrGfde1zHOt3q0uVv3Tt6cDR83G+1WyVYlmdk9Qsz0YPn7/ZJvpW4BxXnDd7y79QXt+NvNGbrcK8gHKx073sOAA+V3tL+2mHsAvG8huLbdfIahVgc9HJyLe93UuA/DSTaRGCTijdEySITThZ49C+WQKXD8qhjydcGsxXPp4cT8E1cY6Ub6kYQvycvk6YGdpLApAdgQtWVACHk5ss+wLaUzh4xM10KzZ0GkDLuVgIwReAS4VbZIvCMbZ+St8its2U3I7cHTc+EIupJERdrFyMd0CcHkmUXWVcsg82UV0J9plFZ0p2v9ZoK2uFZAH1d6hdNvNDeGhaLZpgwB+1ZI+mV1EOkqH/OyDpydZDDjvJDI1UOvxXL0h/jA7cyAwDNqX4uhZToKP2wJ/4UOnSht96AxrvdItr0jMbBCtzZb06SQ5AHNWWzf0chLKnVa80WTtaHtWfw5jhzKBeSsro10o8Ve3E54Zo646nJdK2DxcfLVr7tanqFOrXM8WGC7ax7EpeliFNi/4dMlqKPOjAhrLcNFXhr4h+dfP1obHu4LbluTHVxAq72/g5Im3Ud0srJ0OZV09WE3fQ8Rcf2gTsUKjS15ESUvJfmOWMg7quOQ5HAxCJe7l7SErp7cVTG/tbwmoPT3+AKtG4tE4urpPLLc7ZY8m2OpNhPC85URKeGqY6AhyHf7eRrxNxby49ZZuiK0FEuwNolmqbNGj+HsvRmsStGnWcG6/qU5zCYWKWRhWj5FefR+EkdrJw9VakRHNuQrrc8EImBU8zKCeUATEkKKsz7llZzyAe2JKetR+URO8SwtVxW7ttCsyh1PBQEUjx6ntmDTciEpGFSlnheOPR0F7TNQFHzAzi/WxJOOzQ2DOC6J4NyaMMwndsoTk2AfmZvYvs0jUiGbSPSwGCtd6t953LYbAlqCcFUprcRb/THQFBfXd/7+1K3UcHLfIE7iujY23sg2AHb/pgIB2XZeoLx4OYuDOmoA/6obeM4l6Bq20jiwFHs0b5z3U2s6MZfAHh3DPphb4GxMzp5l9wk00rP8LBbCXOrzLfTWnwWz5gh6RQkpFciWEsielpMcO0oQlIrEN5f96W9LtbMbPL755Dxjv+wlmfkA4n77ME1ZBrfqZ+dio3782UA6anKK3cAiVKH4wDtpKfzBvcUkqla48Fl7UtK1h6+DM3Uw2elLU0sILtEn0H2IVBL0P/CQTy+8t9N3kHTeq/TioWpcIpVthdkyPsVjLPbnHJJxEJwvZ++PkcHI93tZE1Jh4j1UK6oaI7HEFVGApUCInQrMzsbt8w/MNOdDGI1icGQHUMjycUiLZnRCeyWuLOKAOwxNWoaSm5xwuObU7iNQmWYJTkIs8d6WHvJp5g7JzhGBNa/u37HI9z4hHFXxPvXL86UZZUhuX6CQezvIBR7K9bLDi7njzfevj0+guc9ApD9z6y41i7IUEwWShI+qcu4LMFXKC1wbGl6I3QeOmBo6QHJo7OfFMTSdbSEExk7W4SQfhEwitClxeSWEthOhnweyK0cOZgFjsNUYGcjhxz6Aq+9fnCfzxL8PUXZDC62ZN3Y4O81tScUFr0vUQpR2JUjJNUMKW+YfghP5qtvYr5etj2lUkh/Swp/GEHDoXcbX1MoK8UE45RimlYw2KQAvD5ZOJbXEmqC97QEBjF6HAjzrGnCB0+v8HLH1zD9iBQMOUb0P14l8ueg9wJ2Qtf+xExN1b1KA0Y1488YmenSo3TQ6poEPCAbkijUz9MH1iPnH5YtZwkM7igauvnUHoT8QizOHCzGcaRKP9zOP8OJL1mYWXyvx9mYag0witqLvwJSDO7X3yKJFrdAC56Z8mWfLp/8Wl1eacTS/mlbBAnQiDA1tel9elfNEgkNwcQHCpyuOQN4859o5jdwr0M4XynE82iiB7sHsxWlEx7w491P+PBXmsOoE2PYwxtpQDglq7/nK+8quVbIssy5c/ZM5u4H8eJ4mjwERP5CEKtHShBMZ1JoPnH36Q3BV54Bj5Jie5MfAZTwawPDIRPiTRd5Ht8hoYaKmYwn5YQm1kULg2IP1l12ZBn+vABXzS2KJ1T+sMAu4NY+P03yO7sqR9azCfdnafkoJEitd1pK0DbngVxhwFZbfmDssWKx6JeVrxs0SUvYrByButenYtNQy1mtlEADnbNbHXnQznDqX79Mx/fivxBT1Nrn7bUZOhrS+U2WsZaMUDca1AHiVP4ah4uB4auLpKjhogq5RcVg6SfI3T9c1j4b/yy4nkqLEs76sD8l4LK2yIn6pg3rjttklwPf7KxxQ+6ydV/eBLGmnP9PCfbagQv2Bqc7QRkyB5Gs7B791OZvoLn2o6TXNn2FFmqeNYiXU0PL/Y7R695JwA9qxcEbZuKmrepD9PbLC1DrTvmBn9Eoij7pAP4V2mYkYLsUKbvMV7EKjfTaVC6sgH4TJiz/2/9djiNQDd3iJYHyEUsUG6oHll/+yyAY8dK6UtyL7xZMscu2fbFjer35vUJsfO7uqkbkzci1xdfVAwdES9nLj4iWK9PwGay2z2vXWbuy8QDaM5VITJGqX9hw9uBjBz9fyMlikHB/X7SnPUanvaoL0ID96BdgTTBYI/tNqB/yRBlRlNEcD1V+7oycDBTM8yeg1Gv1ZWTxq4AENfXZu9qmFSbKN+n9M4h9Z/DG/8UPYubQdNUW11B1OngOiYCjFLScd1yYFDMaIZYvPhKdcmqlfLz/vx+wQpTLadVnuTYiHL1QS40UlPEoxQ1ykSE0lR/d1gl8c+i4NghgAh90f11+r2dbtwV54uIfPVUIYJ437PPuVx9yxvFxVUu53BHLW7YThDXO0DIPt2/gA0vBPqVjukanWIuDD0dIdC104rcZrMVrSEwIiYNBFDP7m9WsP73AV6+vWHLp8WsgQVIzk00E/4UN/Fjv8+2CaHzLfZRB8NvvwKUdx4vlAdJk6biRr8Nuooh9CJciEElVDMmPzz20ne3DPVHMJz7Cy0gWNYs5dyzSj6HL60sI0iqDffCfNibMgaZ2Bh5b+TH8iBRKhwXCrYyYk3a2cIbwRLMHs0jq3uu0R2Y7151JTxrXEUacWsB0S9Dp7pMyXQlWJTB9LGSPbJuRL7MA7t5zGOSOm+3as8qNcoR0Z1JMjRDiOE5W2VkvTGHfBHYws/VbttzCW4suz6l4mSsvo4qTfUzNj6xCr5/y20EukncZOtPXgEhSdFJKVX4xRXb0Rk9gHLvp5awbZkSMuEqyAS/ufSwTXKDmG4ASxcV5pq/BePF4NqX6cssuPPOElxQVPIhGHBpoVFUfjUix7vuinZ/xkNv+lhXtAXMEjwKlXU3+T6/8O7AUSF6lzx94cgfzMX7ZR9uzqami9uNbyUXihgjSiGNfSsLNX9NT1cLrpIanfNuqX2LhbpGz5H6T51clxa865Qh3F9ZcNUwMEYmSryJ68gnprm+gEMVVC3MjF+NzbePoY9xjsSZofUl6kSxjatclngEwIOjiWCIuw6TMbDAeVi7xSYIMxnWFKAmBUiY9lkDdaNueeSFm5UTdWdy75FL+moswPBDT5+sFSH+L5JldNP2BbSr6gRcMeiCSa/WdJN1KtmjOhJZfAtQ6sVbzloy13NiB8vlCggtDLtieuU8/ryUr8nDE7m2BkIjocOeIn+qcX/1QJVOcxG769qx/tw8JSpMzVgQEgSliWlnHLKteA7Ni7FOVtIxRzZslVQoibS7iutHYyTfbn6/ECyuJsN9xnR8GWb436IpvhaL9nni6FLs/Cwj7CGjIsR5Ej0yDi5fmz1If1jOJGvLroBR4b281vf9EmsvyaS9iqWzCgue5fN6qK7Kf6DZJjhSDOR0JYtJQaftBnHbiKKsiCwUQaMD/FVPbK/07kAcJC2ApbW1IkkRClXGO6d8xPF3ydEEeReC00QEs3TIrcaNfZ1lzm1CoVPxhdcytb6kmMEIFk4BQW1KkH9ePimKdM2r8Z0Iwr0CNRnvsmtfT/DlgPv2cxjE55PjoekHLoQXV9oglZU/aDVp58pR7YMs6u1YFOrj/bBgeGX92DKC9qY6lfxGni+At6Dtg4C+u4sJae6MtnMY70r1p4gi9EG4ihc4fe5AIKnv8XKtiBfaSMSEuuMw6VXpOYueeAXlogHsP96opPyU/JKdTnhmbqD2hjIYRmgT7AOL2rKCFIXxTsd/D5n/HcVtYwWw4NeD2EWmnYV/tbmkOvLwaqyE2YGR2DK38bOmdAiRGp/4icIaa90HWcm+BS5SFFgi0/b5sUm+jvsXRAW0i0Y+NcSGqeLYdHgxoUdtx/oNGTA/FfFKzAVA4maYgtkHlSAbK4RXeJ3z0YF3UEbHrxWXRgoAt3ElQKDO1tl6po2ewbXqQ7Lwm44rzDgIRDHwq+ePFbBfmlf2HS5iYV7+kbk4LnDqedx1VL/tWFGUw8zriDqWGml2ce8mgq6QODSvS0W5/8ViUrqfPgk6qYFRsMqWr/nXpVoYq/SC3SJw1cVLm9Z5Rzb997kRHAMs4WE/d277JdVL1WvEvEvXix7sVC6z8/5vxduCwST/jEVED4OdbLgfykMQtBgLyqwsViV5LPvGYYP4A+bIY6rKBt0iLtWYvJKgEgFRWvP3YyUeRUH1JVtzfQOHqmOKpsrpi91yr29ffo7HUZG/yhVEk2wrdA/mi2sM0h5Wr1TwFX+ZSmx67Rg6VBktyopPcbPdyGIER9kxeONT7fn2j2ux8TfpTsp0cgn1y+5SNWdEPzS81D762d/UuYbW2tc2jyJUMsPr4EMA5lZhAPLd9xOwbU3Lhfra+x5WiSGM4ODG/EKSPRh+FcKUyYnqhbeiI5zjRe6O+fTh7H+gEJiIQ+jqKJfjIxuDyl2VO1D6b2ZPcSFyJiZ5jIYM8LnbiQGNg0StqqYOeB/OwQD1ebgCyBgj1PV3gTMvS7PISjC06dTxUwq4MJ16btiyID5i/sTeilfjYAwDeeBhXZXUG/9JQpFVK5/r0j38dgRGPY5qETKx/byd88kGx1eAGYITx+Xv1G14e4pECs/qVkiRm0skbIG76WgTeebi44nhCJ/GbOAZFqJr9S4aRUvjbNh0hMccrwMHn+GFU0JoNOINTizNAuyAv2C1rm2UXR7yHhcslpJh1WKxmX3oJmSTY7E654uqgDKrrqt38rsHsr0ZEYbZF6zst8GhGQ8t6L38RIprmta1d/If0XqOlG9DnHhb/8cTVMnXUtioFDDz1I4UupdGZUIRHqQ3LpQZEj+i8IArhVkWoj0ZYYjIJKqqjWWB274cQmNnooQqz0/Pk0xFlD1Q9d3onakTqIDERYCJtwNt5mNbpiPfkGIyhcsPChZCRky8FrJRQ6LHCx2RyLwluwi0eAno52RO2RKZP78v6tYiH2kbjb0TmCDTdXls7nfx7dXZJ0msVpMKXHw1oKr8IqlorAk9VH0/6YULcBZMOxG6u+z6BdpnoAD7O+TvyEDhkSC65ra/zwT6/FogghgI0+Cjqhv3vOL8r+JFTqHM0Q42uIuITRSX6dpSscjBUniQVJS+uvXuVQ6N+fBEl1QRt7Wr8pxZ8dgRmS5deeiTU5XA9mp76yE9Le0FvaFNaKl6ckDClE2wqyoRiOZ9uTWVfCIyHC5lIX5zIdRL1Xhb1XGbaqILJm9SKyAUU5FL3rTtasKnB7xbNBcdR31t8xZrabITcM8CDhwTjOIa1Xg8TNP324/Mi+z0WnY3n/M4MPWWb4yWSBmmG8VeEZfhn3yx9xMH2GmqkHyK/wkUEY5Qo6xCTBX1JUW0/zSQkk7p3XHFyfjQajcreb7CyNqemmsKEqNTZi65TKZG1Ax7KhDLrKOnDSfB8gtkh+s+I6/pBDpqGK7KbGWlziU7hWDn/vxin6yVceCyei3U9jQVbOSf4khovs2aT8YHUFu5mxV5mCrhLKQTlKyB2GyXm/0mHp5JgNnSRc/+LTEN+Y4iubGF71SGuOGbDeUxy09sSD8CcByZfBcyHnckR/POe15JpZ00WxQCHeFAMqzs+KelYwVj0XYFcT1kqviSJgcdmTKoFhZityRcoxIrmESrT3CUBqp8+8UwZ8nk8qs4B215lo2YGYW/VjMFeHiJ0uAg7AqJ739ZrOObaY5Fwztsp49I8e7JPjj3zJZmn3zWKSOA2QIlk5RewuMfxwb9xhmzgaIWmShzGYW3JY2z6LLsCrbWQkQnE9RYcNE5PZ5r19w972vfocCGjtQrOfjHPTtAhHTFUZz9pgOaA++//7ls3V0wRZHkmKzlBkzAy86Y/yDGZIwirKxLGXOzuYvpCx23M+YytB54dYC1wsfFZeKtDm+7J8mLmcGBZjUGWPYt00dT4Mphg/+iZLxpyQKqVERS+BjQlj+ii3dTxd/pq9/QHhxR7JvcQ3c7x0C1t4NEalwa0xEEmZrQsXzXPD9LLO2W5KxozUcK+GLMkI4suzamWikZIu67sWVSRmXbU2nWrxanRFDgERqGXaPc0ugRnWZg3Ij7mPZu0R2U1uqJXuG2Cj4kuTqN55GuwidrDHKvzbP965onT2zQn8ShnT3YRng7dZUwPdRYXJtkS8//4VF6Vpuz1e5lZSsqdzNQ45uqTLWUCsK2A1vcJfOHW65EJiI6UxU7Lg3Uc8LwW2r3oc+pJtaFet6rcdihsm6IjGS3t+F2f+YnX79c3oBnFXgc/WSqjWow43HRqEB8tCB27IKk5ewZehSItdv/yumhobS+PoK0bPvpxkA3nw2PgxN8ISrlvliykfu6aMJHn0gq9jqTP0sOaX06qKw6z3urjpJudf71dNbqy382biGQdGr95ZY2elifUPlO+Vy860BebjRmrOVB9bDv3vFq5cpHZNgtgE+DaevdzIuM4xXRlXIuPVkiHrLY8E+iK8Jo1Y70RVRitMZ5/f+dh6l8uoAXoI/xuu5O2b4skGEVRV01u93tLitEVgnBMCyd8K/7h9tWVgz8e0xgS+5Y30kBaWFzj/MSlMCiqC3m/XB8oeJYqL9uirfqi64gXI8i+Bf2e7d/CNnDK7mizneOFDj8wzUS4BpG5kwiKwkXSwT4WJTmjgBtpncyd/z2rHmDhZJ4Q4RigCdMf7LaXC3k90eadKfVGg8u5sSm+mlAE26xRXvxFM+MSip/iW9pSbz4zv4CMLEn5RoIXjFpdrrg0CrezsaJDYnXRwhNIahKYXm81XCmqxHUL1Ke+zVXIRirF+ClSSnwimYZnlC41uKUZmdJfG61OugWU+9gTIdXZvfrPRGnQuWnzU3FnqfsYZyROdSP5/Ni7cD6b0yXMxPbZMJqWLhOxe5/mIEY8hoyhue8H9ArG2lIZ8yD96XQXcZSvkgV6AvY/d8zMj5jtjnrY0SZZe2+cZVki3i7BF5AUdtgtsxKne83l0tPqZ7Tytb3Feu3zod5n1Odf3qtuXod5FwZ75RNA1ONd3ipEq3LmQvzoSBZElcAlJgHq7diO/epF5wuVMIG8uZp9p0ya65Jyx2fNkhiQwIjCYT6HaPesY6bxvJ/vJE0IMPKmWkVCV/nYJvwhyBCxfdn7NGqAaGHE4Oi7m/FhEQ3Wn9RARLS0dXsynzQYyMklPRcjrSJiKTo7l0OAY3/8x3dwkoAeLdyScaT+QwsbbAwJKr+XqMLpIhZpxt7dDi4iFF3Q45qPUvqGq1ElRBPn8Ca77g3s+nBTntSu/NZQBxqPeuk/imTL5YlwnjvmaBbj4x1clyk9Go4VOcLuEOGsmHRvIDgDr1bKaupeKdNx8/KV8QI/9YWJ4ULvKnNazO5MPGf+8B1zcrZwGOkKbWSTxCWy3MWDkF7o3Be/zWRWR/iWD/NuCAoaPbWF/JI64E88XwgZnz8FzoQaZSqPcE+v1df8xm/rDIdec+PPUVMeQ3FGcEDLhOJnVlbMh7R7Y4WAfse6naZ1YqlVA6QzdltYqYX5HZ8LTHmpRCYCHOlrC70Vp7X9MOrtwWJFITf3BaDxFyEq6XvFxKHvaWSe+o9zDPFgMvAyYrtbeRxT6QDtKu21pRO/5dIRXwYO/kESTGLYWJzwuwvKpch+Cjva+9l3rI7n95M/t3p81uoepxFwDppmhk+qkPLGMxbpwZ255VffycThdp1yIVwOi51FmbOmOgxhwrUiSZN7+YANYYCFLsnbkuTo/+hdjrYt5TmRRTufr7ett74m4tTYJIoUexfHwVvHUsuQtTr15Nc1Mdvg9vhRKqU5AaihyoA5d5RH0RHTIGv6GJL7fpPtA8zFsdCovzMcoC5GNgTuf52HVlnETd3aBoIKH/tBu998qtOCNn+nT7dXoc64Wu9AMizJ/K5oC18YxtQUMthnri8M8Q/uX+EQ9w/dzRn9mFapdGgsq5c01x6jXWJ9TV+/GDaDv4RymJR++epazTSvOvSZFBnNmiewz/oOAbyeEAK1qPFq4SCRQlKFOfeGL91nosuKeN9z4NJ6JgtbjyXhdvsqcB5Oqn5URYmB72+bFWDzSVxzGERPYqoiAw9oCd4Q1CcuzPlhvYpoY5+fEaacESemQOe3G3s4mflLZk3e1kcRSthI/Yai4ygNOL63IdfH80p52bU3lpgyU7ucuki8PbuQVN8l9GVishNTyizryD7sUTggj1pI3IIl+RGFP1uB/XrHBvJmasXcM1iCsC7f9uBvV9dZEbWNqxKT9AxScEGMrbH8kaGrwXs+TC9Rbio1WezuK2C3rkLW4YOOIGHGoDDeupPRjoFRtwMMd1l7VDbniF9z30kWUUQVqypLOf6sWeB8cX3ZEhncXas70t2K1S6zCToOK/3bah8p4sUaFAbZiRZVuALaqxbCSm6amkYUQFk5FyJnjy3OChReNXmucdZJv59Ef/VJrivVPPID0Y10M03/FWTljgkvQhRsTxQvNaXKXyrDJUPYdKJsGHoofirFeAuS9WvoqjlDUIbbmK+5utEQIi+Py/js5ENA4iOvIi4mZCU6VsOnLyjjJtsJ7kkw/FY6mjlWd34Zi9dcaD/ZP+hgTcsEyqd0YRdz3Tvxyp/lziMwxwZUH2UvazXdWsPpduqClKeDtpNzAIgdJRWEM2B+Hvx/uPWvZCoIHm2GMlHEuU47PPm6xHvhT8iqrOODZskGR5rxeWqepaimo4H2pae7sgA2WTOUE5AJ5mt2Mgf5kqAHHMdKz7ZB42Amfr39+PXWlWaiGYoN0nPA8XJ6te/SXt1UBKAHJhip9OD5PhWrZxbkoe/kW9g5c60dhGUyVKW6r65NOeYBYVEeX8NgUrDd1Z/fxuy0QCeY10tgY2i5fAjSKHCU5wTm4obseZUG1PR7UlTcLbFV6DSZ519LOvIXBngshme0ZAeyRrComGwqBBkxi4RE5lSap7pdfVJjXnPUk6sim4FlRTq6P5fSZLphBmtFF5wBKdy+aYRDlfOwsWIuj+HJzO26fzxJHckFvgpNxr3LG4kZ53B1zBQedurwzF7MPHt5/SwD7Zsb4O0FGyj51+b6D37fw+YnUfclRitVuuL1zq+2iNG6zBJrOMv+adIA67v5zhlRPku7iekFQa2s1AtI8r/3KBrO875HTO63Zs+tVFEnMSUo3JFgbyZPssVHU3UmsoYfMvWQeHwyV9HlW3Kwj9CAzPoNivm5tvMsO7FjM9fh+34Pwa7/BnOya+BHcdx/BzX7ZPcScSEblyz1xD7TPT3YruL23Qj5/bSA96rFvlXCdtfx00DBTGxsJIKgt4hThKJnlx7HY+Qqvu6uxLrarWGz13EzuWOH40sD1TLNk0s6DlsSsgxrZKSxOaYwt1rnCGJKbt4yo8ObDMDnvc4QtXPamXWcMYqvIXBQ+cze5UNacYAImDSxcZz1SZnqxM/LU262IY3qxA65JoVWbH5qdJ0AXjFvs9n+XYYbq9R1e1ZMsz8U26ieDTXy8H0sfoGoATDUZmU4dBV2i59tXEqEf/mlFnNxzNhzq6eu9wicKge1aRv3BRxlWZuhnEOL8RftI1HAOTHm9ltKe4vlJL58TYllscCAg/ttO4GneR3XQYSD/KfxwsIcBHet8IALcBF7nF57xmbFsYXrVpEztWezTLSed85CKRbB2hNGxdzHuAV4VPC0nSpWRQ02rVgjt8JI62F7HlA5i5lr4qVMYF3T3x34Cb7spFokB5Nc5O6CTCNXjNnMeVypLOfLKxc8f1KkoUAtlV4S9ZaHsLhh6ipUMx/fA6KruY6MzTs3HJxUx8bLzC+bbBs+60oOSSmpfgH3ZMw41Ovy35Z/8wG655ji0+hMJISm/aJR75wfabddN8f74l44Z2cZWXn1ywrUeeIe+n7OWmMyQPcf2R5jT1tygqW4qnaAkaE0bQIbPU5ZxVn0hWXh2UcvjSIM8WtdNPkNga80Dfmt9jBZ2izBbi9k7S0aI6HWi5A+D8alFy5ewjlI45X4Ipq0FP3GKTqYdqREbLYC19fJ0kDkNzqKKXdrIhcfNjV9xoSwh80XaHSZENOuHF8xXQO5k+G5FcJkLF3fup8OckIwR5mnrd2nnToplzeeMpa3HVogYxr6toYqR7MzYFvkonyqTSzb+aFmRDDZ742fX4rxn64RS3vUJZjzY0lsm39iB4pWdMhsNWQKRQ/YDuw7cC3GKqiZ066A+YY69UGgO/hG9qUATKBJ1p+A5cWUVwCgDUItXHvjUhgpkAFsjXuD4/dEJL+sMlsEvBLOnCd3S1B2dPd79f1V00bMKVGsrgZTXzRuX8KHL2aJK5iseIFh1uj43ikGuHUu/0oStBVOT3JG9DRldzR0IV1vTjCy/es9qNSf+Q2mGbeVduEvmBBj0wmD88gut6Cga25f/hFPel8eK6y/M671VYkf61UhJwETXQnlAg6Dm+bbiJytNBh5D7mz/KR1o1FELQGIchyGTAchAGiy9VFSTLo5qc22uqwXufmu2Iksq6kQi9IQQ/h40SsYugj7UcNaSRL3/7phLZ0kt1edRcM74LfPeXqbRZnDf7PdfZ00GMpR26gjoU2aZGq+W0A7x/hqXU74C4YizNmMaUbqBEhKapto7zgEaKu7dxNMw5lRg0bYqaJKL4YIqM5RO4DzGhRoSi2jsaUNcnj8QbQgD2qed75F/8HxABLQH7o0WEBZ5/YCjEvXSlvIvWk04Ww00R4ZvHybSKpNA0Xy0tEwOtSdvXIbJMrtrDlP+mr9O8erVItH9IhhJS5A33Y5nslAULOu5YDzYD7OjzS6JWcEvsz0tXmhpBmglOy4tmy1ILBPq6PphlsMr9vPQqpOUhWOhdBEGqnY/Aop8IUYrwffLHsZToYPCBLiquEUQZt9p4nJgUoEoA2OQ3nMVwqeVsdzOqSNAPHNWPEGMKvh524KbwQ+zn9NCLybHQNiHPS/rvkLH0KfvMR6lU7vaSvJfrF3C5w2NI9uX60eY+UKjdXSVKGgdxgN4e7WdQYUl7BrSmjOQZF3vGruhmpgybb2Mf8mCBr/LFli74a2rqIMcZ0iIkzHfwd5pXRHLZZ0qj63ASat93JGbTHs/o2CSh0uKaMXnS9FMPrZqc2Nqtit3NcWzc4CV3VdTHSmaLB0f9gO/xlrDdszFLtI3Wa/wekTJL9w89y1miEYy1pSyc9WIGvqvNtqQ4gxCAOqU4a8Rb+G3fYehj3GqZT//688ZG24e+oafwxT6RplY6JVG6RnLsLWVmot6Bc5VTtDlF/0ymSMwepW8YPctCSewND8HVm19MdsaysPgr3jIanKryDl8jUxqJLzdXqmCsrZYPWxcCvd8KpjlfTLdg3YzxYl2tUys43RHroINk6Kk43HJdwJy8LGKgfZx+rPW40rUyXi0EQDiIveQ6kBScT62Sfc4xFP7ugj59KxQf7KICxF+t/E1rstyEGWeAMPLANRaW8URWrF4Qg8COcDcTdzj09Kv1pbSOwpH5/ha2mKCevGW901ZuO2YTS5v0dDIND3w2F8yxBjtUGpFXoARCOT3Eb0KTUCG95vm0e6Zw7IT5hszSf+1NQDyTcH/L5PIl9soHpVzSTVp6wl2YjSWcSH+eDljY4E1AYb4fJiFgB9KahZ+P/mIfcW9vPA3rIIPt2EthzkERMZG9HFqniSFNSxkSsrDKCaFmoGvSGBtpqYNDC3LOdH/4qYSx9e+Kn+JvOkTFpC5wA1ETBBSCDL6MPvrUb+NfuIwuRD6sehClGc1O5X2Hel9iE94kf1WzPCB4JPiWWrbX1rvdB+K6mWJkBZIGBsnV8/CoYDcLvKRQZ86CSgzfTxupRjBylKo7b2jfQo2NEyv2ZfQITwLKOM8WFdSKNupSeKWoFCzfVt4LG9OdJ8kBszmUmRSO9NBOXD93CuMq6L3vncI6LukJNe7r14kwY1Cxdm97WF2huZOnIUHQg2LaULqNpbzWxuZJetY2XcD83ksLTeSjCUXnxdOFkIHCkhuQydgjs1yJj/XPKCdW//o+/3r4KMA0KHcvbcV/+BlsDc9tuvF37gH9s8TDVrZYe/HFiQLBQH5Ew1wd/CN7Y2BVVF7YqY6NOOjQ567A26uqrisQ+BwxT5bhV8dlQ2aTpUPD32SGLKb/KsHcDiDLON3tJAzSYks+1qZ7C0nQU1i1/JmcRemZa7y+K9lwId4J0m1PztKvkFFjV62wtbyKKARhT6ITLb/BWTRhEgMOqiAR4i0JjeFX05u+IcqZYIqD1hXahAHUVM8pve4SiFe/G8bvPtxCxZssKSMuvMnleybMjcF7be1Yv2kJebDA/cSGqGFUHT6zsD9EHLRyidkTId1OB/dGevEk2JDwFWguLmZ2pF6KF7QXrJ+t81OCoU1RbKZSkvfIFXYegMqgsjSTjzEJ603xzgdKj+wpHZEuJQwZz/vofhcQLUj/EnzpM8fNkBi6dPD5ImXMoyVPGkFjjijByiArU9HWC75Y7cdNgC9SsbQuPjqJi7ErY5j+uY00M+gi5QsIcKud6/bJPDTOBIpR+C1Yseyv6JIIUxoF5u2WacA0ygTDaxjOlVzp1yzxHpg7gPKrTe7qCKJmJJdam6ILHoW4TwTNMW0eld98zHiUDRFW6GcIs9unGlZJSCzohIf50MDLKQb+4LTvO8NHKaFUvdaDFc9x2Nd8nuH0CjsKFqJHKS17vmyTEAYHElNyPFXpbANJsYZPH+lLLaJkLyzAB6EGo1ICg+1GlZZatEAemGlyu9l66dyGKDUgcZpfc6rwZ/GqxjsfbUWTPfMJZSFKjVIC1piKA2mzFOHRWVP8ytE5J5Pd7kySmwNjRYi4KUn7VJ35UZx3AOM/7GEu6jqBQcDYQ5vPMGe0YgYN5QDtuZRpF7c1OT2H/xBOjusJQIuquqkBthukGDf/hf632jgbZnAyzTEN0hmjC30MO4kZUcTRITgcVv7pBeCdFPsh8bnDzntu1MdZqFxuxd6THYB/Dx3S/pSkm1C8aqS/yYqzAPVocUejOwLMcvA7elUW0b+SmT80RwzN3wesLC8OYnv6+IWgG9V7uEQWyMuF4MmpdQ1U3sQ6zyX5lJVFZrWj2s9DGTFhzzfou/rAscC4PumjZgXHxLigG17fkjEFq032fjMFYgT+PO6jFXPmhmm1z/mFCKJqtOK7ZfO+Gd9lMa5ahHkmKFy8xCEeRC/qERbPEM0FhwR1PaTR+mQJ00bpV7dSSB/sJjZjwOV6KXzg0Er7FpLmim3z9+Qpnrzj99k52YDkvJ7RFDB18tMnMpHy2FFC7x+m4O9NRD92BxBO+uF9H1mwX3ILYXlIQl4te1HnPHIyx7GjYaLj3iqUuT/GU7Pl+aViQJumiGNlApKRjVxROMqXIlm4ZSK0Vw2OKawFSQCOjJfg83xh2SCraWUC0JrRWEG90Ztxa95eD+lFM18TWOU4DEdCJQMQ5m85bN7oWef1pJX+fhpbGSVEzrr+FZfhVXcnYg+jeGR76HbGvTTH0ngFgB4e48B4wLddKLztL0qSwrmMY183zLcINEZAKogygTRAN7/l8HJwVUQi9Tqc1PodPJ9M6Y4k6tuiXtw9HzlY301xUykEldtPYWfFZ38CZG3KkLbFEAsbV0GVw1TrDZsoWqGQC4OL6lQuHvXRRroLpwBOb2LZGccsnMvsrEdXTlieNFpwNPaFL+xas+O7owCz+dVjWBDtCqzzaOS8NY4haIjTpKPZ0v//YedUpGH3yJ6MwrRq7FYTykleSVK3EGqVfcz9u6XfCdXeKiF4UfVBquaP6Y4NgQDkRkf1scUtZVft4wbUpMgcMjXL/YvNiQ5XKQgomTuwnbUbvBRS5ZAQPNP+Fx1z7DtXIr24zdLUO3aDt0agI6mLuAI8qaqcWPJyjM020hMCaE1yXAxBd3a7wV6CEJz3QtjizuxPH8lUaee1P4qk1iRzxeJ9KtV/i4I9kw/fHLV0n40UsxoBDimAkr1shiVMH3BphgVLPFM2bohmKs0JUQzjHGZ+moUH8A4efzRFjjEG2TNpOFPYS47ZDPcS9QQNm5WaUA2JhqKgufZFDvArq76AN3kUnlmjDUGUBv8icKCKgyUrYu1tukR+szyciDMtgIBSAetez5JqjLxCagsHaH+WvLJ+Ch/7l3ZKmGgLfKb8Of1aMdiWuvVe9ejDxyZBk2yxD54IH67gwy6WvfajArsaahAsqxGWapMQTh/zqr/Nom9LLOU/0nZJYyIkTKiZjXICm8F/NiVZhr3vjHyz0XNhplgezwsvRp7tIGnYfQB128FUNx6QcWnmhx+CnvO1kisgJkv1QOXSamS0tGSdNA7htU+6fAlchAwlTrG1FXFhNheyjjbRh+kJ0GZ1/9OmWetHWA5uYRAAB/nzAZgVyw+9xXl9dhXZRYZpN2c+anaz30oHMRwKdxhj1mPRbfhQfWzo/BEgB3GQBADPsDAbD+7zquuhjlJtYlS5cvZ8Bkw3UevKBqqgCroMLrm/p6e5ZIbizHWpc6LWV30dkXVG/Pb1ufQZ16nZHn5eAwWrY9QXtHkKK5HU532oxVejNlKZHLa9xE1dGWWAWFZHfiS4xMicgwcXO4RsqbJtOG3oJgw1dApzfgy+8l/kB8BQVWrSiDrB7z9G8g6ClZ93Qr64PPLGJwjaXP0hrXviMZjlJ8oBzjZ0wHjvLInMBONgnGqcgWAoImDHs67TTt14SFXmnhs5bljG5I9Ij18WiKs1Nll32yAC1B0FKD9vBhb6hPP92tBFubydTWkiCeT05cLxwjsD2bjZu8UUuh86XNOP4rjiQJyBr3uMjTNnuxUS+Z6lcqNa1jHLKJSLfeHgw7ENkvsYwD/EP+tOPinhQwR73Mi2g/o9BK1Fr4zH/am/3qKtwqFtFFlUIkyu9iiiKAeGht8vdgAmSFfUOWqczwF7TvEpNvSfoCbV1/t77FQtr5vxcO2Q/+d3l225AWVARjbnI6HrcOkTl72jsdAeBx3CMxU6b2S5GZt9JL/pdeYW70ktl5KVx2X4mcZNAiRb1w2R75SIvcGUxzkdf7Z/pBqJkSkTlJ8hAySyisWt3UmfcrwmuPPZjoGvrsyz9ECBBmfYjat3tKff/lTi+cPX26L6/tuZVEgrG0GQ/eXty8BE9cb+igvHGItFM8N0CKp5bzrMR5Ge+iaGpBPDHaj5AXY48lwo6/VHb88MDRCdB5D1Bp94pYsySGyNgkJlBwcdvYa+H4ifRDdZUjKUE0gYslp0JCLWsxrDRBA3yjKSFXO1Xetm1R6tWAnu2o8p9kSxOfABrvWeGLOLX6jsIIZGhsccNOAKkdVN4YLvFiwrwkmDPEohcRhYH9zrSISTDop1U0f2NJcp37cJ0YF/owQcBrenrXizTUFeWZWZCT1hR3chnlICve4qXqpC+6V/DRHrs7ji6Xm5hr0LAt3rSXz8P1P4ffNFu+9rCQirYLegxWZiNch8o9lVoeQjCQxqymRVjZGKIqgFu2MKdnsgZkWcHaQll5eY7lQO7xFx3aqZniE1clXVblG+mx1v8MrKhwJxElxSuQCswjGHmeiwV4IqzOBW/Q90m4n/Dk/p+ipGFhrkeb551YVdH8gc5Vg4oF7iUewJByLetaUWb26vrMui4cnEn2JHG1wrRFX/vur6lY607LmEsNaMu8NXmcQ3/7bzZsqxpn4GOGZSHCIsEC2cU3bGcd2niuxQercOhZnJIVgNBxbpeo/dWaKxsE6aMBqYG0vwNGpEudz9pO12dXMOdYUjzZmV79MFPBAhqL0qKmIHol+wPAar06m7Jdc45JPdhyAGvOfSo808g+jn9LMZE749xz9A1eSt/M5EDi/bvv2GpBcU5+NHF8rU1t4RQ9sD0SIiOQVpLwEtzXptwxuWUs5V0mgzg7TBO4Y2hMlP0u+xdckxkvHNNqWfHFcP1B9JBPaFad5JsUrSDQpiggPQ0IQPQ4CWYluwPR5LsU68NlTLe60M7aBeLsN5TQmnXQUTz4A0PTKl0H3qm7GPScE9IkHtfqUHG+3u2tIG5oCqQ8nxgNUnyRpoDA0ShIE7gYGsp9iwRJUw0kv8LffZSQze3lC7WFxjdJiLHa+zb/MIPxPcN8otOB11vyORSqXYjslz1G9rO7H19HgSihh8ppNMJwfhVkhvEDtSDIlbcXjZLcKEoCpB3zKj2zmJdLeg/f1MEifzUF6bHzLjeuPv/KOr4irsUXtHVl/J7rQnGp/qeoutjW6O7+vRPhuUTNZVgf1HPswzGqqIxgtb54OsdXrRnYnIX4TFFPWYaHyrj4Q2xnRpJAzS7BeFs+aGpQmMlQrV7ipXFdaOudxr74V8WkwNNwQKLTpmStsCpRl0GDXhTuNzIZUHKaP+mxBQkc+QC8Elw68/jLDrMCzeOoqvdo2TPUEikss22moYS/y0T9qIAn5uU869pfdcLaJKsjJx6bQ1/sv0ul7JuP5LFItRB/e8jAAOISjy7dmgPsTKkF4BOmPdKY5Luu32f+fdZWfRtRJjjjDmeZOg6EM5t3uTsz+wWXLiS39DPvV2zQf9/5xx6On3Wv4VgxPwfdsfOCKZmefGePsh7qFD0dskg91G9btxcc6/aHEvpJrFPrlCwdkMCktY3W+3oAtOE/CXN5TKQ62DUT2RSMwCRBjOemMlxf/aisHxiZvFwPdl+B1Ty0h+ukVhzpHDVS8lsE0AC9fINCVkqtZcUaNQ7KRy/yvwqpfz6z5kcrNOQZtyxJRKWN5kd6tOTZHIIwDD4PCM37OYsTf6/KpZh1CAn+cfEymUebs5xi7T1HOI7M7Qx/KQd0jkM68uurpSwSVSPIaUbaYOAaKRJ5k5O0+e2OKvm5Nt680Rgk1CPzERDkIK0T0DZgkDD+9G5WCI9w6xLkltn+fQEzJ4jDM08SXbDzq9nb5UIwxlL5x4mv6zA7hTauaLAr53xk6yX0YlcKCyj5eYvV7y75X6ZoHATPlOn3ljAGhhdrFpjB2vj287NJ5krkX7y+lXvxcWtB6YbHg2jj0P1DhHFW/FiuSxrTxZpokDWy1jPaLGT06XVPNyWYgG1XaiN+wJm3Cygoifs9Te9CRZNv4V3NVSCfaVFL6LqaIsrHYpLJENR10TOEHhrlC2F9pgxlOc8PBSR6P81w2GHaec78+3sk1rFnYuKT8wRLWA7+4PuV057ooMq8KKYjuOG6Xc4fFVs34GSV4PpiOl3u0GiECnuMGE4o2hcyH0KcXdH+pDVpSXqwbcbPm2aLxQd/Bw0zVs23jPRVJMmvLks1a+T1T8p8ngEqqnXh4nOhl0X2po1ffFBplyxsXBkILCOMPkvtgfCYzLJBBmZrdM3skvd0j1b81orEQZnAnw7C1B/iHaOXRLQWJGGbDn739dDaRMXTq3PEtrvndlckdZUbaHtDpg6UbBBBB5oYTN3w4tx3hMsWb3k5S12nA8LZsuRSi4oDE//qmP/0Noti+hgFrIVoGxuaLf3oe4rOU3aMG/bD+cGnwKaKdFmpIDzv2Arv01EjaNlHHtyAF/PfSv2TPCJXujw+Tkc+i+oJNvDL8ol6cOn9kDc8UnLHBh0VTph7ye5lJRaWTjvaZtHB+OIbVI3Ar7B+VQftJbfjPoGJZu+JrzHudptpZ6P+rpKefks8bHM6jjn1HBYRlROEmwiSXfbPbzYaWAy+4uiXI5DAvan0z1LjEDZe2gAaGLnxjpEAqa0ePKrM7biBonLvVOYKtNNF0qnQmexIrL0XtfMtcV10D+IE9A0ef3PfSOSCzQBg1ZnUmSmgf6AZAX4dhi2QR/GvMa2jxheYh0kbFPpuguqcNbCLvdB6p20PsRKjy/yxjwrtwc5MazK863+fdbIMChbUhHzxPbM+/rcxaOdB2H0WRHdwx5VdU/moE+1+4Xymr7yi+mu5CSePHuUZQyXFgboO25fsNfVIJWL3aeApqmvmy8Iz72fV+Ziv6dRd8Q3bZynk4vgg76uof4W6OW5T+jPA1Sa7F2tmzzUkBr/kYqttapfCsz1BcDX+lPWZXab/NEARtdlDf9CPGmEWU64t8j3N1p6rfbEXa7lNBaaOk5Tobty4lQMwvc1/+PKfYsoMnsm16c4+oy5mgWYW3Bh3xRst2PSJEy4d7D7sTQj8ZCMEBLpu7u3Qt+uXp1cKbZlMd8JYfYbBAeC5tta8yiBCl6OzajXYsuTgq+Ie9cfN/FVlZFl5Q/9oqo0i1hXKYn4kB1FVsaaM01XnImIHku+CC8Jjd+6WLfMBmJEM6Kcy5bxV/4xwDJGpeOtyGZEMm5TgkdLZPSvAt32oQPp9M6dg8GLdMBPmILHKiiaW4SCHWTrC19D9WWuPHYZ+3cL9geOdpRTtxxrzDecElFBab5JgjWEcTAdW8g8kbC+CvvWkOA/RIG2zmTxuvYm3dB2Cx0FUgnBldxY5q7So5+ekO5tiQmvkHtBqQMk8zP2Aoyz6Bfe9LqcRuISN5yhOeaI2FWVc7zcQqkyg3sW0Gegcz8OmOQ2yaS6sXiKDCLJkDrRTff7F2ZFNnTMrhc9pX7ttbhnc816EYur0AbxyKMFBlyqnmilHMPPuJRa4Lrb54fivu9vTl0RX+Ld8wgCk+ah/rQeQdgErgA3YGeQLygcFlOSXzFIrhVv1reYRKUQrPjkgP7fGMI0ODk97NeKgg70L0D/SA4DaWUsGvX47jyiDlA+9nb9irF/ht6M28skRIm+eIdYTyUyMppUZw8+n4MpgxngGwVEeza8U38HA4Nd9HoaYXFlF58ly7TOjVrc54vAhj+zdr+g3v4StJZeks6vH5lupvANQCmMHHYyKA2M6Pi09VqKwdw61+jVnVv+h+M5g8PSyve8IZhMUlaYz2QrAPA+WzDhxYZka1IGNWts0Vf4lZV/ff5yXr0TeDBQkaAfDtNv6JgCaHD4MjCttVa39/C2yHrFB0iNBSSbB2193NQNBOuXcROJfGmYiZdi8bhvj2Y0VbgWaQOFkp/lrFyp4KVJrFA4sNU5Ec0w8kn+iEgQOwVQKcHt2yRx4TyvPEfgHT/MrDRQXBvGrxc6VxHxQ2ZLHUVOq7D59TP8/+l8iKoYHxNLGVIQiCEluTlyKhz1dcTbjjepUIIDYJxA/7lyhxISS+PN7NNYGRh9r20T5pJGefAOLu7/1rlzP9Gikm46S6F7ioM1sK6f1WlyQYfW2tbu5lxascyVQStwqU6MwFIVzwOc4lqHrV9//Ob6npI18nvHfcnfa+bmj41sMAeTC3cO/L2/p+tayrn1D6ZjJvlthM5DADegsocMaCJRbnaqud5v5h05kpZQr7HafEHGLvqNXHzVFij20MwLPKhNCqc4IbNpc3KFO0l2ttvYeWZpY02WDkm3rit7Se59UuIDiKyEjUE00kwjbaG/13oKYfW1LjV/rGgdSEer27PemBJmdQlDAtTyT2eZ1zjc6DP+m6zbjIxfJiAuEDHil+PSZVDxjcYsC1h4I81WNDTxzBKl6io+U6QsntDC0lcgL7dASvPG7i5nu1wiHIatzCe9tqbGddaWS3iK5FI2u2ap1Ev0poU7Jpqwpo7+z3j8qAtLsqqYjmnDTz7ygJnvnfq8X2v4Kfu7d1jzXBe9ZkxJ6h5GMLkoSuvx5b7GaCIZfE94UtIVkoqEtwoCn0F/s792xkPxnc0dbPwVeYyC40lLaF/nfA1G4XQbOc5UzjUoHHJoMgS+V6vcpEMvRZZLr7r//R8Exu2Iq+OyDK3AJx6mzO/Jx3vNVXhdY8e/sgR4xzQklSRKKlnzyGALOziPv9n6kgupAm4emNhgqpxaygT4/lIJgv41xQ0EkyrEpgG+2XWUt3npYiWlzfwK8DIv8G3pX2+N62htlSdYAgwEqVLakM2ggEguWFD+qcVVdhWvJWCqST7ZlPaadZHD1GsEfRiRnkLMDU8ZeGfBA4sCN3biQRRLriGbtxZXAefII8t+CS3nAxXsezDjwWN+PZ/9fhB/19IQeDtlyD3Q+TAa3L2c+/38vEigL6FkaEf6LMUTLhA6ySOTmhQQzpwu6wLAJSiKvg1SqBFuM2txUhmOx9cQLS2Ry6MMnM4ZL5gC1xPLUgawshqTrnq0vF3jZdMpNwLImPNPpQyj32kxLg4QOZUs37dyL+tI/NJ2JunFsfFrn/qk3FCcs4RlOr19UBawM+5hxphJUYohWWaWRPIK3teijSXNntyxG3RhffzO9dK+XSKJ6a/GQeORLTjMuF5TL0NaPmH7v120GCtAMeqZJm4rcg+cyBR+G1o65quR/qM/F4lVi5ZVOzXya0c6UAMu6e/cp9gOQ2tupt4RCEllhuj5yIX05FlVPC7Milxa1pnbplnZzeiIAFdmoBf/AyXssgs1ULW2zB/zdqvM5d77XYrY09+fqKUO6YIgYIQvD556sQMqTXD5FI9UXcHXQviE/aK6bcl/QvR3+FyYrd0vHYQMSFYa5AVophM0ZBt8NIoN17BMeXlw89GZpSXVmJlpOVPKgr9ITB1Aubz5hpqh0ELwHeWFES3DsN3RowR8EyjR65/RWucBf11b0ZriclThEAklNBJqO+6m+zsxyP/bj0x7LqF7VE7VmCVl37/Ws7MdYGhhWReKQB9/IMsxhQawA+zVoNep4wHFUtW44p7nGvb652GQJarVJpBPWi/95/6GvRXJ97qcT2wkdrkuEO2RD7vD/MopxLUjU4KmZgk+SHu098+fZfqop3JkB2Cba9m3KixNHs/EcYx+TC3Zv1a+GOsx+Dc6427OV+FvzTiHBX0EouJB4sRNcjV5QA0FDaLHybhp9dSjPe3xGax7stXSrV44t3sKFogPIZ8CtVGn1PdOe7lKAK0ZUuAxmB81ebsVv3jiCHpXiGpXeqD/WeFjj/6OVNPMgLtRbdNCiauBgnTHm3suCqSyHHRWuspUsUSUNINUzZrkxxYb9cVFkFPpkNjzp8FUcwOtM2aiAY48s6MwWM1ROnQti3D0yadczDS88xW6+KJxtUrj3OuBz8tpmNC5j2m8XcAjnzighWRhew2w5YctXpQlD5KIjyr8boSZkuwZzvlv5VIEhEnwBdvGJWExckjjIXvqHCns36WNljr7XJ7audJ5Vz6VOTKBKWni2BPuM2xE7VHgSC1eXntuXF/oANbs2m9tImfZ+5b707QCwyHI8hv1kJwGq6NKmeUvwNT5B69WLISHR2v4SO4jThe59f+ZJgIONbpurpRtG7o329lpH2obMdh2cn4BFobRjCMytxTAhGMqc4LZY2nU0ZvF5Ktky/uHTzKSnEwdEqqo9eaGHCu31VOXjC+SriayVkyqXh9O3vUKOgp+mM8t+l4KKUbFpwGSGZ5aIGO77OOcnhsI9w7u5RU+KQNWKpHX1LrCcbbm8Mw3UQAcjW/IcouPd5hZQ8iE9ukc6Pxz8/ZqMoH1mMnX0B0alaKvsPVLE+Nm965bT0J6TBr2Tep+66hnKVHeCNCYpZi+gRhbYc95kt4WyODrxwS5nBiBZnaitGEG354JuA3aZeEJqyuMR0UsYa2xKaSXzeYOWXx8FJJl33aIGuveqz568dQ2JNiD8o5dP9ipz19MMt9r0EvTG4jxSmNwzRAp4gd4ZdgNU9fYMo3uM1aciLHtpa6fESc/Px+vkxlJNtUTTiHXAwHP+2mlKtBUThbkOkWqSf2xXaYgu00x7MdcnuWsqUl2EwaeZz+AhFlKnOEg2t2yLQ9HyQZtyprdJlFlfK91nxbUZcibhjq+grbOJE5BAU9sXH4lWfokudLaM64f/IIjyrL9j7YfCAi2rfi+FlUqa45gB6ovB5MSHKgwQhV9sXWBoF16JvpOgCqqK/mO+1Ug5oJpJ6I1X71jRL36UsgZOwp4TZ80/irBdQLX2HRLey8MRCUV7Y0RIuqM9+Dgo6ng4xltrEWAw6qSXmSFXtBe/mnRCnK0BiLltZ8WnIeheqRlfoeZEOS+wokGvUogCKSUZPzRKWtHuKJ3RrIkeSPCr1iHpG43V0JGKo9PamRYWV15CHG99SY9pMFfe4ue/+Ne6Ry4VIWwmo20EMy1IHBb9j+bqub5F5QhB1cC35St21kCfFIbogFGQUc7g/Y9U45LeQf8kjPXnqLZOYWxB3OQUzii0JvMgbYbdBIdetjTvOs7lKN/hbaQFHx3s05SBSfMCpOg2G1jOt4vgRIlskfmXEWLnBOaRpDMA4hLWOXFNK5i8S5XbDTgGiSLiYtT/JRfIN/4WUoo3Ff2annI4oDGFjNgabFvFnjppI7yCWHwLorg0nc5wojVNByM0VoEER9EuIKLgg+UTFDh21AxfvnJo+U2rV+Yer4h5cEfqN3qlkMtQdPXtjUFxAP/YwXs/4xK6gzicS78gJnkvu5zDkFT1iks43W8JFmtGGBqLuNotlY7vWJG/Lx0crybDhEWbRGRFxOIRt5nHfSoW6OOGVk2nOyFsK8tZrgCYWYCTHbiZ76xSa69q/eHrnvBFzqIBxVw9Ibk4ZsplbZXdUSshFMLkDebBNl05XOUexZvgSJ79GG+yoP6WxhDN/Dqur5nyUnGSTY29FN4bUfWSg2ApwN17QL6XOa64x1Nvuoejj+MbOtPdLHHZQtoxvF0Omqp2sRNakwoNauneQx/0laClQD0PP0nxvlQBMOKXNvn5DzUTLs5bm81A4iZazR6lIcyJ0keSOxdAbhKbSuFdCgqTzWBgLCE/loTSxE3C5x0ovkJqYhBvJyRGcmbO93cvcGaLmB8dtudionppOioFk1AIlRCGyVCLtzvzUU9GaDPG3f6ekWyhVqX+LIXWV2bGhGyR64DhR9qc4kk8kfqRPxJf735snCl1RVQaGRS+mSNybZt0cjV9qe/ZMFAWpcqhYLySxBm+qzSYHujOq+tonaZ7g3uYN1we4cX0Vgv65om4I3rsxSuy5Zc5J852gxZAOmtt/AS3NoVBc2t0p0L4maA3LNeiOgwWjGVV3R+QugYOYJvxOuK5deiTcLg4u8uWRv5q9wC8L2aIb+5B5MYkBax6LofGy5eWXfa+LKmOxczC2CvRIw2n+tnEvLwGUqs+thH6pZAz9J7RSyTB/9cVjL8+xsFUrVR+2OydpSIKZpiq0CsBHrYjToqLZnvs3JzR7QQ75A8/phTXHKNFmgicj+jwvn+4uwyT+uycHnsYI4FtqKGPPEOzcH3w5UHmoks5q4V0i0djkTIti0NAoERycNgwP61Ro4jjI2RHxXbX12yQgK67GfH+uUj4KgmQ9pTeaQg4x1F4B8gh+TBNZt/Y5Vf+SzFm+NqFl8eeRdsCXncWX+Agu0+FgIyWIDmaWwRUxHgtPUAMzyz8BsAJQucuR88qjOoTCWRgcv0coiPYged1rMkv9GQKEg8Gy2eIgvT9KQfs93qgt9g4+rEzW9anfdmOvQDDrvVP2FY1WVnSF23Rma9IIcKNa5WevUCwqvOUgJKMAbZumCq+UPPE+vMNtiYKjpW7koJQN4is7oYAULGP1zDqdH/Am0ESHZlrjIM09Et9EGaMEW1rfBgTZU9QI1mUa1xvVCjKMO/Q3aB3tStL+JrhdVlNJRFSl2Fcbb4Ql6OFpcrddwzpBbftJ8/vQnIQOICr+wsDjKpks0CoaO7DFM31611JmXhJQ0BMwm0iU5Nt23luTcXoBoLJoQtQdsCgLLRvTqEphVO2j1oFE4Q0cvI1fR7MsR3vNrmig8oz/xLZlEMIDc1gesW/25zJ9KKGqMm15gJ3qZf7lH57GMCWHH+8LDIXuBB3Gu5+Xb2+vwqFMl3m+/Bh4Q33RiuiCnNLe7LNj53dQ79fxLDfM/uFua08PtxKk9rO5bvH+6yeMBTyL0poCH6gDViMSO3hZGYP255DpRuU+zSdtuvV4Ie+1CyK8E7wowQMbPzIvT1+2voB2m9vaUAml2YBNar77DD1Bhkc0Tw0zvoi47BeWBy2WhdxTSWivbFbomjdmGYOfFdK0b0MIEK4/BAML1xW0UFhtGPtNgeT10g8wkgCmiMQ2jZayBOCTIcDZbaUpf90a9RNnME0BPYb0x/2AZjCKJTsEAE9t40/2JChHABMwR/hP67qO7VWzs+uReZt0EiiATcSyvAanx6SExsA6hRjan8w3j1Ewn2NnqsL6zamMMUv9UEn8qBMkIVknqVlUFgoJk7DBQ7MDmXuTe7zlW+Wg5of/CJsOpT0Y+96+ibqqSqsOqW1Mk29+m74XX/phrO29PSmtBMXwfkQ28dDb0KUe50w9XTcoExuwpXGDrUOquJTIeqHgDxQGEYPNLVlGs+pQxyrvvloXkhyi1JVbYi4C/zyoTyT2lZPnv9Q8uQR+ghcl6NAVOZlAqhuxr/6w83ccZueEdOUAVSv0K8/5xZEIb0/YKAiMb760w7hHXK/0GrP2LDlgDnuyC5ivJjyAj4KKr2w9b8OWZ4/dr/5H4/ABxmXz4UHXjCPQpi3bMZRwf6c7KcZ/3vSCbljmrV4Wuzb194Paq3f0rMqOjt4HH7SlOGlxRiZzIwDcX9n1xQ/45XngewnI+PoWyo9l1bwkoREOg6J0Mmn9hErElC1MUzaem7NU7ZYa/Hmd1vldbp8AVX+/JHMqBzWNtT8JZ+lRvortuOrbxJCbtaO/meMwU2g93GDuLSh6PZ6idkk5u3bEhrvk2AiyCMFn65+CyocV1m+hH91F4J3mTQmjhnH8L8Xays9zWpyVp81uZtI4kAKZx9CkX2J2s6ibst1HYuyCHXbpSA0+YR/LLHKW5zFicvsYeD8OugbLzkzfdgPAAuDlbuyr+RMWB3TXy6Q9O7zE0BMIBo30a3etpJvZm28f7SwSZXSHapVD29DVqZwUuV08iSaIR5DGCUBSy5l5okGVlFhCgRoAv0K6CtgPuBCKG9AI3XwEB6JzC2Hb2Dn6mHGwditkhFN4ClGhrS/dKZGEGF6cr5NOAMm+iG4nMbBAMGxy1x8eNJn2YXIcqfJzMx6L2HG6uxEtd0uFHbqs3Bl7ZYU3qsBYsQkN6Pv7l7ZfdZjjokZDXzHVhGUCicH6yv1kuEcHqsuUZQTw+vsKbH+Ag2/+eD85JYt5mMtEOvorzuUxf+3QqU3x9XL2rDAtMROsJjCm+7gQWz9nA1Lwz1DKCXa/USSse9cg3q0r4Mbpb18YmLCvc/bJcgFQW36O3Fr9IN/TFnGZlGI9VMwWnMECIm7Jqoq1Lt8nRDEGKcQchfBscptm+U20WmMifS8jdwcO2MUeGlZkxUX7XT/KhViXQ5LadK5KKKq0U+FYc2C8k1n4YVkZohVzLn88W8o9Y0cqjgswMIGkONczH7Z5yXxZciTeDMBU1K3Rt5dthFWnv0UjmpBc8YCyLbuNEkwqM5mmJ5ac0YZfkdQDbGPiOVUZAdDdrMbBT8NqjhoB8RVNgaGaz2rulHYBtSmZ9z/TQjTPpUh5r6gNumpaEwY6bz9q4fvmBTKIIl4ue8c13OYzhPYGsee29MHIBJpIYPB3FbgF7fudiOX6sAGeMfloQn4ToK+5mRuvCxQl7dPgeXE/tuHiIbLCO1hs/geohAvkVKLMoxJwwMKdqFSTXWxsSX9NrYgk05zhGpNWx2fJAwnFgL/kOJTc74Bi6tC1eg7TXk46PkhsVMDaH5YF6MSry5N4prp5AdZgDjUKwfnz0UBGZCklwUrHJ7Wl3H2PxZFaqUcuSjJDKLIX/NGU539Cc3FKJj6dPbgCwTmD4dynGsE3Ykiexhkr8kdHWYQeeoSNorgGP7ckgk79UWsNLMLwJTSjx+Zz7n2MD9/4BFRaacOXuMyzY7jASNcm4/f89wQi6UyC7SjUPGnOFDP8McSCG/tPSt/o7pVXqMNXFPW6/9bmuoaU2Ag2/xbOF8Uy2ojfduNjp59L7dSqod+4oLprN+3xHVll+RdXPYWqmIaZA8lqtj7TBtvJivchHZdmnUr1gWdOCU4Q78TWn770kbXjyEbOTs/cL26dMQqnjlU87D4NJlc1Tj1bjfAzCCV4GadGVFkzxzDtfFw+XO7SWrfQVD7ooXDGyOJ+K7MjlOlSg1z1TPYEtxYYZkG3n89UyfV5rqUZb7Tz+4jj8Ir0NW4+mAv32IYwRJ2EqeKpSdceggKNdYF/YzGrB5pxCx9xxvebzGtM3C4wDFFxVznOP7oYgfr78meEvx3jaLuIIlY6ePeg/htCBOeshlDuCyK5MUpQHrrUg4JedKTQsoCQeZR88e5CSHyUD22CDqlt2MFhaEogAhkAgZDVA4IIesefvXLSnllX49RBgTJwfSg52X4/6qevYHDIBYyCHj9bXHSzJHduY4TU/LwgDbt7aRwNBtDJkhvxD+vT8qwNk+hIzMpg8fMth5efOQtJ32TfhaOE4PR96psqzS5hgrH5pAM2MfRZP37SyNO/3hshrXvuL1kRtqLo50nZ65nesOlkFTyC5SqNY1eBEim9luWBbP7FVFogCFbIHGLOrM+OCIs6kvGOm3tC12soS1LZ6i6VlXgc9WNjJw0dzNAPcVikq4jNb7GOPMvERDbPOAxV2kUO0Sj7zHsYyE4GIO26+Abr5ippB6d8jbPdiCmidOXnE0SAFCIUvfNI3oDng89Usgaz33geeFCKdTEQfQxn/HQmqHR1nFiStILvouNSIP7bVCQM0wquBsHqCe8HjmPJ249bszFU1iqyjewOMe3N5e9snDo4aQIB3GjPBgnTwQ/wd8Lhte44hq652D+Nq4Lts0sYzeVncSx0XpUW7ORpEjmVFva0ZYuY8jtINRhV0qXzRlAAhSrfWF46BFzqjJLerT4b3IKfBJcvkVKSeHKzUmSDc4oDNxWuvJKSTS/He2wi48Mt46scYpFyfAkWx+F2zizRXLoM49SdZTJbhQfF+fe+lgVoHOGlgsJGrSqcpsnAvAk2ccnwN2nipqVip6wm5+oB2hOS5N3OIGROZdvY4lSsJMScE3J7NIzIM0i7as+fKsNtaF2JIJ7krTEfCG5ZzLrpYNVyA/vRI5l0mw+58MqUhsypEDxollUn1t7uXXwbnF+35XGR93DM0Gy+QXk4zJKhcFNbHoAgkUihXw6eT5LYfLoKtLKIlHdET1RyMhanyaTfQMfGVHAxwARL4GjJeD/HqeDAdZcF4qJt42LGogc/2KBMPo9SbU/RnByqHf5qUqzdbkKpPUklgBWApXQU/xUhD9GFDywmgF8fnfB1qp3fY6SQdMNdtiKubrG65+GrQ3rWWGc+Hj8qPDy1xtXcGUOLr3MT44vBuSqdqAXTR2d8Ibyd7H2V91E0xGjKfJsHB5uYPZU8M+foe0SFbQ6Q5g4XfFO5aWAKlU8TxlbkgoMFbKQIcZF+B4TG4xEXWtTT7orBix8Kfjcn5UfqXA24arCZIrAPJaJX2YOKTmOObpl6/tOOnnidDubvcKYHe6/uUOQm3LLmNo2mbdBAb783S/o1PoeTdwZQQCltRxytbs1BCru7hCwRMyKRfzjSjlCXYR8GIc8Snb28ZksFO8i6UoCoQYmVIO8iHCQdJ1eF9KjSPJLyz4fQbRg2AlA5ZkNLLP6C4kNl0lS8x5OKOT0ns1wliABCohps9MtDHIwmfULCac4uI9z+J1X/7Ft/KJgKb0kCV8eRRLlrMaE/mS93RmfBpaB+yWoTk45US9a2v2Rq5FC8O0TKbm8NGE6dytO0fLtMUrP2LXZm3ACdEu6ZgCMsX7/rYQQCGyV6xmnjfnqCC63rGelSkQlZyZSLXxbTdSkd4FJrrsmdMtp/Ue4y6J6IyPfibh4gDHxU1o/UA+Po6PIuz4EXvRzcI3yqB50P1k3vJE7AdgL6hpc6weMp/pDnyc2l5oSNbmMYV77MZVSsDn0Bogk1oEfh+Mos72VoRnfrVq24XtO/AFQR0h/GgBNu/+vOp51YO/ysnumVMxOB9wFfdnWv5B052ztD0R0CdQiX7wHGV3hoGfZCnIOvhm3dsuoY9OkpfSGwZHLchlLLjOTtwnJ3KC1XUlMzG3pc5TI4FDrU2TCNZzSTOpphxbbsxzVkaGEZShGNquxKqBpRmllEhOJ+Yo+zWUbqNGDC4ctvDNDy6TS7oStd9qHRzAZ5lur6YbfFlR/1U4HhDfuHFNjKcS/J6QN3tIw5NbDYGPAYlBtBUGwp/XGj3G0Z3wS70iRu6AafTC7wcZEJMb1CwP8wme4Jw8eR9ttaei8x+KTArU5Nbi1x8WVw7h+Kln5wQyc+pgLtQ0Ml/0dDbJhaSyGqH5YJX583B08p1JfFpPGVh+Sda9yiw2kyostzGjQ7xp7uL6Cr6Fu35gtUUOTEoDbH7uBGbnuel1qzlnxzxloiI+dMSNsPZvoqPN/bT5XhXoYZ/gCRQtYuDLx8VBlxoH/FULsVTznKIzmyJg3xomsQApDYZ4zaCD7aaX3hCKVx7ft+MiQlooT+S6tOFSXd43dDQ0pYIb0EzduWoeyC7DtGIwb4RgKDq9ggXSmUgipbi0Zsk0WCZrwVItD+3oYax+GqmhnIQVl0k/yZSUGxUrIZgR71K2l7lxZYmbI+M1ouk0qpY9n5dQsNaSWjFdOBNgXt5pTH39cMTvArORgUhzh+4d27k7HNuD6A/32coT2C0jLUelRYO98mHGgfnRPX436jbJ7/GKQZjVgVl2Ck4Nw+K/jAPLndh5exSWJdNhsddjzP/iCy/yer2jxBTvntssbuIiHJG4JXo37mKFc04zt2NpY/qSa/ELmE6kMMBC13ZbVPqfVLm45loMBT8cw31mGoqVBRx6BarIxfA2rEFu1I02QNma7HNX4gXuGhtBZmUjO2OhcAIkdDQB0Wqr+Gvq/aovnfgi1/QxM891+lA8bO9OhL6QPGWJSRb1BVr9WSrRdsEQ0CgH8D6qbWkKvVTrnmk5ZuMco1TSOO3w2R5vMreVPeskMqiTXu444e+mo6poDzS2jXcFZ96M0H+AotAqh8UImpmzg+W2K0K+sVaTFpeMPiIsXw0Q0W9f2uigAeaKiZsM0Mw2pfN8mi1zORtI53s0GJQRN0HIA/634ZidVAxvIGKXd9Te5uZ5VWeP0z6nmmadFOD8wsLt4FFcHU+cUQx30t1j70P/0rvkStDABxbGdh8xCP9YBNAlwz6FT4sDumNT0Gir1hleosraa+N1eJHF55deXqAS1aR0BiIpERHimem0EyVMzBDNS0eI9jlrCG1mKc6YH5fu8LNx1EhKQvdeCQ8iH/y4iF5E2Z5CP2FWhjHfQqON8J9KnNOIJ8oMazq6rqh5g651mG7603nx0E3LbFgfqXvMV8ETUm8zVewkcRZ4nq33xVzctERGvzzpFSblsZ5/TXWtRWsTm+/duHjVbzDKLLMevvfnP5r+u/aGRap35Aj1ckTIH9XfJ6+fo5CGxOEv9MzvdLntwfOPFIiKyIY9f4l+CoAVokcrifZ7TBuFIECRYgd2PGND7PnJjLDkQByTK1r1JUEQT6HLOkVuBro3T9A2RVk1aQ3Vht91OGlH8yrD9QWd8UbFuznsMWB57+RRYyNGu/4kKlMeKpwzy//eijuXRpHFyaDrCkDOCFW4FIwco4/EQ/easJFGn5qSaAFT6aq+bhM/cJ6BshkkdUo0R9s3SqvUoeD+S9N8oCoUlsNzPCDG1/8rnwIJIshTVhZd0Qm4StSf+vVXrQNbsk/BnlVr1kTTgJczvngdxCHYJJkOmgdBHy94ZD7xdkLHYnHoBjyIBCsroqS2Vh8VzjgfLU655v0P2jkGrh28wOVcHL2IcWURwo7WUaN49oZoZwbbeWTAO803pndt+wbBKZFpIJ9eI8yCz+hSiUBqiJkB/DAVExZsceipEPHxSRLr9QE57QdHJXNJ8gX/uICkBQx7bNV6s7KvhEqiT61CHtKeM8C9TUq1aF+NKVyntdVzk9cDe8zl6cDUQGisr3Bakq50bBCZcnd9bMVS1UKnjlOMyN/MTntDLK2ASWY5q61uNBC9ESsTc+uemEx129B2zH3pMLO8d9FRprJJFc6Y7THi3qIJvxZGjyC4LQ4MzO49t/8ljBmSV2ZgHJkULYLFf7RFdxuKmo2Dd2JkTS988Aj7mRwc9E65V/0cBjqjlRHwyNxytvq8qBqfbbH3KGKgbiUe9ma7DiW5uN9rkxbhIBMpk6MVYcmG53M0tiUBEvpc9dSGs7+dNudaLn/zJdzcOAugEzjEBGOjw+fgvjhm9Dnn9m7nsaiFdvTPWnJ8GbcypLVPJFv5xkG6WUsy4f5N+goJq5z3vGRcWHkvfw8VwW3Xvk2Toe7C+AFeG00ZbVAisBC1dJLpdWYHUEbR47U5xgdZxQ0zyRGmerfcFXrClh4LvpEAXGxx1KrNc8uEpWjI5yCDqzSnb3BUi97Ffa1VTBAozX2UM1gstXU0nt3VjIAMzsER4JVwT1p0RuNkDAsNyHLoQzLBbxLktLakAKCYZHyED3gODw4ZqLJrQ6029Eci9LgGorkZKQMDtr01JEnKpKq1PUzk1jaSnQoyWDRluPrWu+eXl04AgSSmSMzZBvFwgppFtoiqeC9C2BTCOOMo9MK7oAoUhDjTZ+3zLyomOjnt8cFWu095uliM3DbXAWaKG4+qQYLHnHeBmZgsUBmtjDSFYtw2a35s0UQefQM04PubodRXiAtf2MpOWvfcOENMhTTHpf9MeHXp6se49I8rFzdsU8HMCHm2Mvlqk35O0oc/whBhm1IAGo9LmH4Swj3xi6cawqBRmrAqqAlCfSE/mFjvCPYnumLbbkPqJ57cQ9u0xqaEgQp7IKvO9Y2CDP4SSPGArLH1PPg+kP35zE9UJ2kBbDjtSCHaTyRG6bgMz2oaCSMxHpamX0ynZNbA1dbD47ClG5ZcKu92hNS28JKY66/nSrGHR658l1fFq3iH6wJi1K+dA2pt3ROW+NAYqqEsX3qzPIrKMc2m/BqhU3fJt1ZBpF2ZmeNdq0DadXauhoD2X/fUM7P4O9p7W2a/zYCqTkb34W4pf2MOOXhICOyrgo/L47VVl/hKRp9ApAWRhxUUYPgtXu/DXBrz3/lUTaOwNfdImtsPL7hkb6xy/GA4mhj/utW/+ETydQMrq9uUXVikmm4FKMUID+hsU5usFN+w045IVwAvRSjT5uZbTK3x5op0JInd4/aT1n7hOsJVy47kteaSZiQvXjT1dkmKNiy/ygC4KG3DVBoxJmTUb6Ku7Lb8ioWvKqzyej9jJgbxSQKU8HyjjFbHLC99S5am4SfxmvSy6aGVsZ13Zl/NAek8jlGDPNiNmMn1YabFJQWxHgIqscPf+NHlUaVN+95/F0FNOReOuwjlkGjrTS7EQDWNBcBf/IEoRxAvjrjILqHg1I7ca6NE6bxTFj+PmNWkPzCbRH9SjJPBB9rCaLq5vROfPep43e+tpmPvuj9+KDd7NR4lezuvDJhe2rPT0qyPFvCDVLrEHAmnwj5xDw2FqRQOiZuOWB0zTrqKY6Ck/fkqWu2dBlgBSL7CxOSHxtM6QFSH5uY+5BDG+oNVBXvXm8vIGdg4Z6Ff1ugeSPN2LxP3NP2t6nJDghrj0vm/hKURTzeS4mBZFP6xEDRM98pjm4RvLVMP/d4QGCOVLSWz/t+OLZMM9n8G61J40XSEnWtGy3JMGAZFKIpnui6WginpDTzgWpxVoah4oXNiI1KoywSWTamtZ8F8MgSjp8rkRL0LhFoXOm2Bq74UO4Y0EbAnl8XAgIRuQjS88tHR2wDC+s/NBdGikTdEtsusjbx7SInXSpZ8kBNcMzNnAyWdWnMPKmB/t7hZfkQVPcJglrdIrX4tfp0qEVitXeS3fVWlfDQizc+eldyK6P/6vMzkRgMusqndktdU88C7zWW9R3ZBiwdvO4yzKvTHnR4BDjqq7tZaQCxpuvoGXU5VSerZ7shJqeS75C5kMTSIxExoKd12ulHY4/+TwKjWnnoxDNdEDZlAbz37ItBzUATuigDZi879kuVF662MoeXByu/9xKwQDKh4T4Lj942vMDDTED5AbwDS8rGKiP80+cT0iaFWRmSP3l9vbF7OdBJRxUQNHnvt49cKIZd3ZjJo9s55UCwg8YC8rUntpWO9z8fdJ5MLUDQvy0W78OqQWCsdEMXfoLH6JwaDJ1MgWKc1alyoZUTchzDyOmsyoOc8kC2CglCjH7vmmiug10ahoQPDf/NPfc0Ua38AqyJ/oDRzM3O4+4GaDR0tDBPIoOTLTaVOkhvqztnD1z+qBwjKMo9OPHODj0QLD788WdQKwz2mKRJ0i6F3212yiZvVPdNK506BSLt1uCKBVKjAMBjdLH6REwCbJhOz0Uy/DKQ9dLy2mnYNuyuFjLmgmZq5NGdqHUBpFNvWEUJr1bHXcHzvsbwMdMg1b35INnUBMz7Ome5LiqzWT37672qI+z6GRD4BruryavrErsVhfirRsYP2SCnqEf01CIOtiSthlpZdXjbqCFtir1hZbCvoUKMJZnvqsTOg3ub3NkhW9datmN9IgQrheJnIICj6ZU1IEoNwQP+/aGU0Pe4RlEHU2dRiqBAuPuUP1DK/nJu2JPIdLtn7JMj/iB6WVVf4l58+jAp0l4IF9vyL8i4kpSO7pFWi/j1z0pxmysAc3ahKjsAJjruCbobfTKcpwLnW5KfMy36VTCdOcK5a+vb7j362j6Dkrcs/iJ2hJ3olD42PcTKg4zvYr9dDE0wGMcXMeI+FdFwxbX68nSuUCIkeBfw6Drx0YPFpXBx6GiaaDjDmuAJyBa+35PVInZCYDwOuXT2Aq6yfmS6shGLxu4ZqR8FCvzciG8vEeIo9WMifercbC8EbEaywBM0G4v6iZmsHsdiJcAMSbZR8sTN7DeXOjtYVLAnsL6htBoIS+hEb+CnlPTCZ59H39YcF5ngOk6Ku1+/w92yq9UWL+TouBqCgFL8CzKveeqElvjmLJ7051oujEGEkO9wx3CnkHXCGr2aOwmxmhM14YubW0ZYUQnLG83LO6Wrnoe28Sq9MB+fUU6b1qBbnTqQnjgsxuONm1xrwgSuYDXuL/znd2cQjFuATErf2qys9QsqQyInCAcvdTmmLSTRY+qjA9YE071NVyizaSx509GZUEHGB9MWxcVIHftZA1dA6WWEYGOsRMCSetY7FslD4lNT26mTzM2llE8fQqcDRGJ93dAHMyxMR9S4rUsCeiuvoYCARBTwock8OE+BwlGt4tYG07GDA8ZIDHG1i4TY72D6PRq9j0e+kQ2BD4tJhYoTHqyc/ZoNLuupSA8//NNa6lVePjt5AoUIEukYubTZ2nDUKKM2x1ihBkU51QTyLag/fdFgM+fXH6L49A+iBgpkVKsG/AoLM+wQNEAbAAQXPmEzXjucMubZtk1Vu63qn2TkKaqezYQ+lRyitdmLkAlPp0pH9r/luFb9dKWp2bExwa5RFfm2IJf90B/ntXdw/4G3pndMWWlKCWllQwtboL9LQNLR2TdlD0pUd9vi3+n/fvTdn5I4gtnwyUWRHgU5dLq0/1wp4Njz2JsIYWkveyNtybEFTlPa3ielXuleyNhMwqG/g3nPW3yAAPFI/xpEK/ZG9KkQLbEj9DDa99LmX7XKUroBsQLiYmSYW50hddcb3bjoAS2p3UJsP+5qK4VNdCgkOALu9rqKmY76jHoqn5XVevch8qyFsCKwIxW1eAvwHIU/tE8NF7h2D2pd50QTgQy0U54LdalySeYl7SrLi57x+EFK6ek5RWh26LvS4nLx/GdAT1oAGIIvCUMF9/1PFbvPPxIQEfS2eX7Hmo4dR1P+7yLaKefnHUnWDcUoHnV84SNX8+0Uj4JNlARM30CzFhM+lsleQ5tj8DdstHieBQ+/TO6j29Zi9H36eJYMDgaI3Hol1yfP0O46zS6LdImhJj7Ni7ygdouMtmtu66sYOm1wXYtNPFCJbErRvjd30iutUlAzwAkeidxFz3C1oNvI18+RbBy74JyxZFQxlqVcotBIKAWQ3LzB+vIdoMOXGaydCxgWmu8vS9t6rhiVohHqH+AFtp6OjH8C7vZPWgdyMQdmJyw1YX7ubL8L30SjdwgvtSaKzjuDlRccEqZRpAkyN+V5tO2Niwa5frz7rlClivhxPSmxycKFdeTZkd8cOA171550S2h+kw2e4PzjFG0KTO4ebrphbP8knYAWK3EFGqlqS2wJIK7dxf096E8xgBF+VcGlbEAWSJbSa427yM3KwJu4/dD3/u3FRMw/pnGTMZSJ+YovONe8CFnqUi+5Cz52kVjIIHETEEYoB7/1uSUZ0tSN6N0zTT3beRKxzveZxoSuRQdOgBHRPvd7LqoUUE6PjQlNErMZsvWdj6u5IaVOwu6aCP0QXmRXKsWEXTVn/hwT3QwdV07bNWLExVGCPyD8hR9qAX+JoYL6giCR2lWEPEW8bSreX7CrNJgLxaRfTO6GZxAFR95ENZqzn6M/HR9dlWejCO5/9imxQjaUbnaLCPaAgQNn3j5dkzlh/HABqpOw+ZjnvL6I7TzrhGT4a3COzuv39BPv+GNFzxaDO4rkWXBrVtHTWEgjNAoRJTcA/T8GNgle0eMSqzEsU1r6hqRx02v79QrvDGRbmdv1z4TNqmMoGn3qU9BltKDPbZFvfIo5SOjs7TsFfKR9INWGt0iioj7RQvp8/Ljol1/tcukRvlO6sLL+5VeLsV0hc2/DxX/X1E6mveSOQTWQMg/Te8XDLg0GpUn9mn0vKjgXAUtnZMq5nUGCrN97OUW9uo2eg8Uoj+0OEe4fqjrRRiKDoyke11aBKZj8bU8HNhAwlLggdhtSlM72CrJwOQQuvnTsbNy5JvohwQM/lEFU8l0TPNT0jd6oQQzUJS45iPrp2CjNOh3as8qPJBjXA0Upd63rUePkLnkBldfKjcMssgxGNYtpseo4n5uNhhZiRoluFNFmp47EyNeWQUtMPeLLOVKt9uaGrXQ13mkosdWSxq16p4rEsjKEukRB9G/Z5t1DaCUrcBEVuoVrwIMtJ3rrsO5C5Qmd4DKOSx5O0CiFli3U0CNAMF9BwDamVE+LeW8jv3CZnpUb2BtdzibzVlv0FPgbKYtNKkFJMMR6W8l/FwTzukKZHfUi2xEJVSByqNufdcXf6WscGE9CRCtHfktmMKISQ29x/Q466vMU5rzN9Ghk2dfmg5U2hugfth4KGeSk4EsYnWRmdAHRlCXuXzh3PQGEuSOOCg9X3e4fuqHSdPB5/Yx+UbUGomXFH0v6mLkDbDOHJZxKH3At6rDhcuh7wXyc9nboYVS/TyBklBTX6B+00yTtXf62Yk6xJnfVPyiD9XkA7uhCjhwN3g6DA1we1xq+ZUpeId1Ld7p/f6pYzN3mU5/gwFA7tDnp793FdqWk6GUiqa0JAQYLLvbVhJNi9exUjC5jcwyo2qQsf2lzsFJO5FRte7OzgWiVmOtzqYgxrSs/Ndc/9yKxyb/iUwJGweXLvQGxdUFPjLdaz+oklrPWiZYPRndkwxHroMMivm/SgEbWLncr/EZI5c4VmdKa+tr4Lgil39vADwpKBnGZpCRIpWe50bOFrI0pggluhWxS5x4xH/NCAb4FV+cBa81JTVc5Kryc1hGR3bK23IDNhKGWUcmLYt05iJ7xrmXPVITcUZWmAdlz/E//jnLfI5CTy/ZcD2yY9Zb+Pr1x+7mHewPDyFOgoS9bQb6JP9eVd5m1Z29kosPoej/HKG8Tjn/EQ9mpKqOkZbjnusThYXHGH1DWjRyaW15mccZqgesOO85BIN3flHxWuXE9mPqRqT6rRuHv+Nbo3gotY3aV3sHU58R4Qr5u5tDFFN9EN8pGqYMWNM4qn1KZReWEzXGtgNCM7mKRC3uUSAjWd74BDXCgGIX3vVOX4BeAp1H3GEh9i1KkD8gjY6QTVuXS22/VFAKFBvjlt2I2hsfPQ9vGwoAMGmcASF5sJZit6noHTI2nE8jlMDvhkim93Lc6KFr7EbKAZTH8C76fUL+/9nzMkRgcqNnlzP7c7kZGgpR19i9pb5Yz205uoVT13Ff+kJ5vuWSyel6tI/uwNYBuI3lIJ/Y1cTxXILdNwT3jcNsp26Bsl0mFQO3inF61iBoVNvdCLu9nPXZ//wIlbxMURc7iR18LIURf0i5trGStH/yhl7hYPO5gGhlS+yQpek3z0T2s6B/bXnyTlSZsepaMrbPbKm/YMDnduRmCzVPAnTFWQ/O7yEWPWk09reb9uDVGPKV0dMHmFw9c3w8ldSpFsy40Uj+HL5p6jtK5N4VHzPPbMs2GhUDlhlmEYWrMVOxw673xQig0Wc2z9Gor2Qnv5/KPfBXzaFSEO9uXRUwIa+D5PnMPwovsc4Vz21/OaCuoaI02nDobSWsGMFfevy/tu70cr4UpzYWPFXwXLttsOer83VTFaiRJv5XxXZMWPLaODBJ6dNApc7Q1UnKMkFn5h5r1nBbLGfAMQ2Mv7yzvSeBTN/q7r3bBuFhU0FV03VH6Xx2AD/EnzM/NWxSts1/HRwzlRodv5eM/8Fr5JXkKAjBeMCZDHnRrP9K33FSM/Pclw5a1IRBl0pEeTG1igU/FxJmPsGnO8tqTdbAx9SMAqiO1+rWH6BXeiYtelM9E+XfnGRkwWPL+WCQ/VtzUx5vjOvy5GmQD0uy0uFwDJlnzTcgfPE+SDUVlDShN/rmHDNiun+QBzWhYk4nPTZX7jbl0ltqU21zwbul9fREDXk2o7d5HUSXkUYwIOcqXLknR2wFC1D3v+guv3CULtps2j24x+fgU+mxmCfWbIpv9L+31mUhOe0UeyXyZNVUkEEy1oeOBQyzxqk/Z55ZI7wA5d1i33b4abdecRfOMvpVwpY5s3SekofEXepcINZyp4IpSbzv7ySKWWtcnfFK98hPP7ToX0uAS7phOo9wdd8hQ3TSqGkH6UrKmwr3Xjb0RuH8QukP4hUAmMArCqTTOvqpg5GC2QlsX3IDIdgpVVVIemi1FpoTL0W3XlrBhZcMZ8BLcEAEASUTDsjFuGKiLmUPK8D8A3jmFypxfNds2A9iMAOgfC8DPPAIHmH2cQ1SNiZE05B/BqapQMcZnyMobQyT9ECKc0Zk44yoVcOfkp+/18r0yvJAYaYjJWqIlv/ygPbT8PygxPCuAudxtQRgvmviEsWP2OKhwpRuvk/VQ67EPcUco+BmUHM3VgVvMFgVdE5VPwfyD2XixPD5IZaEHcShTymRa5cxImosGKM36b0OGXCMbQL4eqHfmfxa1l0fKGqXxFy4qf3a++vmPhB2XfEcpztVLSLbMlJMCTxd6WnIGJ8Eqc8IpbunU3nv5bJsFE6VkdHV3IVmZK8NYxjwlQ8QzCsJRGmlwfHFixH8nnvRdAp5ifYHDHieg9DFxM9gdheL6N0C1wh7h3OYgfgv1CsaO/ExkP/MCi+YFofaIj+d5p8T0EoSv8xEl/bpSHPSJlet7wrCUJl+tRlFj3fpAceK7KZH/VGf3M/aC3JU3LJPos1myhmMTQhvFYAaZ7wijRSlPdCmLNMsnx2TGh1+ze6gXS9VUz4kPH7bfu/TAUWfmif7iAT3wV6cbC1/Cifj8XCOzFtnwQYMrjSh+BzMOwz5q9qTIb8nwM/laiZ6QVWCcy1jmhxzrOu4xW/wfEsd9SH96gZ4ky1lkhC2IchRXYKAACbYIWy3yGBqCIfarcQVQvFSPBWpvd+yBN4Z5j9Kq/+cZrSKPZ3PB2A4DTHfxSSa7eqHj0qP95JmTgZROqfkCjb9HLBkabm67cbTg8ArtHMuSR5LGNvfzxKx1TCV4fCbV8mOGGOpSMQ5BQ2z4BNvnBYsFDDcIRIgFd1SagxqyBrG41mzmFTfSImKucWUIP5pMHBVQyB12+8lVZN8T55KXUm+sfyAKfUS71tSRpbDmyuOSS6rRLjBJemRW9Q0tTGfNLIz31eWKZrwXf+Q6fF85ZdHoXQA/OqzQKnXb5jiqwN09YkdPssyV1iBrl/K+QqvQmC7D/muV3EYNzLkit4W5jDOJzaelf2esAfvbmf23In597KIu5Ja0BO1/VnYBHSbhm5VSEQ75ggVBX09+rJZfrfHK9t4j5L3KdYizJD5YNHrD+ZLYgyh43RTaZpiHo5j7+szdjbCOhfXY3twVtOatnNauTjKhWfB694t6OLHgmGKOAwQ5z9PQPRiuuAGR7KOTsQbgfBOOaTJ9O0lKVFqhH0wo0Do5pqaDt6WwQXuStIEO8LwgvIt4dvoQy0TF9dFfbM7J56QmXRKQBmjhw69lp6M4YFiT0RePdvutKIqtyAmCevTGOhsgksYtBpn0qnpk2MCe7QIkP3R1dWooVRrJwRA2zfwqwx2mF6n+ylv2gCMv2gsuVz11Ti/5XmL+4C5yB1RxKgsHcmJAT70IZ8JqfyiJe+Cs8hN+WuuC5R7ZafsAUJtysh7nKgv/JWXTbN9Z8G+g9mvLDKOZb08dxAFbgiYLmpDN23igLsN8mlyR/N8ajFkYN0ZIqBixseQOqEfgrEnswoe7YA9QtpkYAn3olV2oA2c9zocSXm+F9cgKgomsHol6W4kV/z6KAdnX8tviASQVqoqOpgVLos4qK7dhs80r8I6nWXOKLFl2EqSBuvmufUZv7WbYWW3JvGH7MA77qXg3ZAVldkCXaNG/J8wuGJ06PGhhmOxLmTT3zDmalPwXrdKDoZ8yqzm3IirVeZUxmWfqyPZkSCx5G2oT6YfyDqq1aV+8/KqDNaExDg4UlGFZm4Lpf0Y2xVEVBYIJBPw02DLECxDuAoWWMouxsFKPzHQ5em8vPpL71KxDwBm+bi0v/6UlQtXBtcdTSQuIZ/nryChZ3jX8K5l8WDmVtuO4QI55q8szwuAQLZmcBW1cLgagM7YDbVyJCjstkv1YVeZSFKtkhojhLeDhDM8N7EEbKBXskZmLvT4AZeuMmJSYm8GDnJFv0N9E/W2Z33QxLdhTtmSGaFk1sTaQV0mPFpz+RWPO5W0J+pfBCwJuRdLjXwnswrgnYy2Lu9aSGiazZIo20ZGSucucwTS2D45vNl06TZgcfRRu2MqswTuuQwVstnFGzrerAsVTuPnFbDYAWbrCnPhD39pQCO6tTt5sdxtfoa4qriitp2BjfDp98oup/Y5MZg/AuT7ti7PGoSOkdzt8sg/LeOrC644atKEtNxAgD/9OaVpN6Ox1g9u9JtyPZCaghXQxEFe72CEHxtcBq/NjRaVETQQFYXIHJBmO+IOBgpQas6pKq4BPE56bC0GHRWMV47aF3TSr49k7jkK7/rtPPfYBc62Vpb9mcQZq2Jj2kmKy0uh5I3JBpOk/rHiwXjSKepO1+b1ud23s06zafK1us06uqT6QYk4UCwBmddj6CJvOwlADXvZYtVzibLquacYgZozXkPgYcoUI/HyOUAV1QXDw+l3kyHFNbONyZzmShJbJ5AmllGJXidjhi0ZjZOT787T0pfW8UaUUeRX2y5M28cgiJvCwEqpYplf1LTJUsRi8bSbqe3JXrU+YglMofYqAuL4EqiCwq/bKoVDkeYuVja5baZ1Leu16VE2R8vc3g5oOAhBuxAC765MhcEWSYfDQWKMXr+cgUliSAdD9QZeZmUDPXreaea4aGKLDEtWBSR1e1nVhsooMWV3LAm3AaNY/n00A562fqzDr+IuNGfULzawZ3fKnyVh3AFRZoj28OvZSlvCx3YgzU1e6Hf7zYhTtSWyiPKx/jtYtLf01MvJiD/OFKboIqikSaBskNrTUh8eCPwQbOXweWYzTeIVDkhcDzZdcx+1Usp6mcK0zyXrAAao2QaH1z+3TCy+6ftyLRmUgbOrJd6Muhqf+lU41JKwN4XX8oXSWI7podeOf82v4IX8zn+40qyG+DzXU9OUcpt2fQDff0oWZVBOxnlOjqdDBtm8BquxqE1cR2GLu/gC1XYMIjkETr2syD2lDudWEbS/QxU+VthDHikuS8+dlk669by1WdNNvym4b+lYN/ioH4OaupPjL4XDfeA/t4qYurwAj4RLzVKVHnlka57h7R6xVad/jhBdyZm/mjrnMKZ2dZVsvYoJlOVB3qEVuis4qqdHBQNWaqFGQIVpCxpfnf5Q2YaKfPAFqxAqcTCObnWAPbfqROELMqhhsa9Z2UshqsBzYZeAqnt+5kv97EG8HeT0zLIW85kduhb6rG24F9aBTYnN8taxsJrZV+ddX1LYlZ5Wn3v0QsXpIyVoxsIq0hs4LJxlRPT55M72X0M5/5DIGaFQ8EwjvtpMJ8+uOFl+lOVo+3AVtRwAsRfhZV1I4oPOJeBRWdbzRzyI0FZoTBzlP5PtDUb4rxk3JUPXsPdXDZkJpAIn4yt8zpRF4hlkYZZI1ne/FbNrblXvTeY6oPvkuQRTAXuYzH4zvt7NMkz41G/Jj9Gnd09Ho5DlMAJKo1whAOXcB52pX4hvG1A6qyBtyr5gpOYiEA3DkWxNsf/6xxfRKVc6fjBKFhLiM2aDG6tCEjOSl5SjM3jfFauAyxmY4npTQskhH44LUkHwV4rWTSsxRAlLVU3Q849vYS1Z+JSVl9Oe2hdDkGKYDzYKp0x/MklK2xynSHtZ2NYNqOdR3IBIso6G6PkwLV2OXfEcdTwvbVPMLqgUrPx88TWsn9bPOlzCMwxCPNqwRuxtRgKJMNSb9+roneH4raLiS1UtF072IBpVkRiX3aHhE/liPWXh6tn2yonwDWnjbqomnlXk6z/wJ5LCSMPlIz5QJiEKwh8h6pzGYNBxktgY4NXB2GX0DJoXa8CqEQsrCBD0fisBFls/W1QfjM8sNTYJduclmSYONm+XMdNkDBRdswY8Qnm689P+Bfu1XSBvOPde+0Mnse0dpQ0lLAUCX5tezT5nUDgr+auGQeyYun5ILg4iO7Piz5NsB24H2zLOL3d8auqE+YJVt2lROOKBW8EX7mvn1He/GGxvNMNGTjpd++0zehZ7wLIRmUIdT4RGwfPuLw/cac3RgIHxV4sYjR+EXoJwNPWb2cT7G3YPiOv1qR/AqDqjvhCwpYtl/F6LvSFb8q1YH0B07G93g2/VtEE/uzFxjo8xpaSqctsOJmUYCTv+XY5YFtA1T5sqz9tkxE3h68LgT03DLpzZHp0xKgh/sk67L2bKEPD3tuGT7P3Sev0WjiJmvlC7WmFyp8J/B+j9hgZZMlnrsv5ScnPEuHzlMBaWYM5xIGkINg3GaFvBfJb/+4IuW5UnBLkMQ23O9MeES8XQKNLvkkGGY3yF+XFvMqyMeo/A7WcygvmEPIWw1lJfCcBeDitwnnyEsSLJXl0U/Mf8TXIKE+fCXeYCQH3G+tgc68jxKiDl5bj3UgZ1kBok4y66oATEVX5I2PC85D8WRWBZVZAPHMA9CI/nPBQqch9bM67mqARYPvO5EZuThGdO7IBvNOuLzAfblKJJBUsWjnJrzupFj2676UzwUsx6kW/oAocj1Wd1wjj1RFppNJooDkKUI2auGb2fuvSD0cpedzJ7irx4VUYB5zIaogu9ZFnRfqdWA6MuMj4FP6lUNzDPHKzYhz0pBGvSHVkes3nEhhi1attR51ZYCXNPsMcERoo8WgejJose2u5AtdViOojM1JXP/Csg4q7fFHTBL8LTdQBPAW/4W8czaturowqhqSrNYE8AiLi8wMBdL5in2oInJ+vY+bZAa9oQ0M3ltv6myxLxH9nBeqnl4qnNV3RLpd3vqU7hsGL5y0mxAtjQrmKTMfqCdaUW2oG3uJJ0TtmfYjR63voYdtZuIAxB0+nBdiHwIyVSQUY8quKl33IA9SSBM10ej07FOI9nLhjAingo7nqqUhvILXS9Y4QsHbn8SERuj1W4oN8SEV/833NOHVBUKLoFPNhMnCOCrZPOQroLtva+0oFGW1ywW8lCf3o3eI6XbYB2JtODL6cP9/ZPvEUfBtJLFiJKPRQGJ0smYB4XqsjpU6sgaDZgFPhOpxM6xVGQD4ILNpjO0g/4V11Y1tluQ75FWNOMbj+UAr7zYWikllyvoj/xerkYyKGyhJ8k3Bwrsf6iWirWE4RjShXumFAvNUOkPT1p861aaqkrb7OKPrTsx07n8KTPsWKLFJrg+27aXx4Te624zvU1PWKztXvjSiMyFsfNivKhQHj/rRhH9OWIJFqocV2OOdc1KfLMH40ZiBDHlQ3hU0bWq4521C9twG1oBHcAfoOPq+YGXrzx/HUaagqh1GHiuTkcoFtd/1E6Xep5Mtt8H6+9RMsF33ewgG6megcffL3rUCSTWLRiiVa01eUtnCSUZ32LqnvheJ1cwnutZh7zBK8uCS6sk/qf7Sai7Eyx8O6+aGDIj7BNi70qzebykftlToTrOhaaz16j4UB2zaQtubJ2QdgzmZJqDYvXj+7xejClAO6rnB2yVDDBvhcdjk8VvHW4rGNGwxHOimsFOKW4Ylk614PEpStXXnCk1eh8UcB5YJi6wtHP/XdB1/qazS57dhjP1Bh3ANzahvlXc7ubSiQmTrZTRA3ApfDlFGRE9av5YkozvUYc8Ztuke5bUcdLiBWVuD3InCj4DSkIIApMhoMirZ8MUiMAC8s5cM4MRPBTBV7yvuAtU1kKjrzcSGeo+TzJ6eTsgQ7/Xmo5Ce2Qrvas79ba+zdQfPdEWWQ3UBq3PMw9h1UK05Mlf8USJ7GJJhJkeg1WqX0+dKcqvSuBIK3hAHOnPZnXp0rnZEHQKtwbnG9QKF7PQdcxK5VnJMgFyc+Sj8y5IaaLI1vy6EcbAJnRpAA35nqgQrYyx0J3N5hSH7oVDHsNqKg5QEfI8z+kEwL55hl6yozEP/ajecsOnyecHAlOC84ZArTZ0zHM3DCySPL/B0aTtqT4U6nsyKahuP+crLL0DJTsFpTrtbCgQ1Rtl12ueKSTZ2IZjjubHydQK/EKiaEWsEasrNLaH0TgkifX4EcCxCzDMHEgXhKIo+7r9FErm/Ito/mg33pCWrcrwv+KrR+NNLutvRjdv7uXu1OJQ1sfkYDTpACKx7OKrkDR9c2OVsQg45ERT1EQ4Mmx1jzDvszlmjZbHRKViGvZ+kH9/mfMlil1cdYpiA4fEG0VrY7grUJKNLNJWwsPKBU5ZW9471IsD/rVQnNgYjyioPdFhDRoJoQwRjAngeEb4NsHV6G7mNhia4hqkvTs56FlVENWj8J6jFT5nDOoKW5PY5DyXEj7uo8qvOO4it5Jo+N5YMfpVdbRaWe5TLyL1gC2OfOpYHIS5x4PRZzC/Y4ctSIOckF1kTt6Zr66lzqq+gXqPDBBaBeqnagrwaO0cjzWdQAjcH9kgpakNt80Rfvj6M4ZpWc+su0FmfKvNk+/pJUrcfSUIWVd2NmhNilp3B+svWyML4ChcS2bWWnex7w2fQAYwLV0BLcSsktbxl42DkzGST2Pqvej2Yq6xgAv1qvnsXWmWCmuDvkJAGbWD4fuwXUm8vpTxLLpxdCalIVRtOwwChpy/f3ddnDNvR3s6HOwe1EX0mA4H3GwYG3f1t1ap2zFBJVi+xKZn+ZnsEc42v/12N6iDqUHDW78hVytRkbLe++NhCMCtooLrAANNk65JKXhuZw7C0d4m8qw9JEZ8X4ezeWSPlcIjCTV7jiIe8GlIewM/n/CYKHZ+2XbRBAKxwCaQaw6YywsOHPS6fGVPmAwaEM3QhplredKhJYkF1D0lHK2XPJ04DEY7NCjYIiIMlCHTyn0tWd+mDw4rDLs2eNoaDGTweRzx/aYZUSrXLg24OX4Ti9z0nJQ83nT/cufGHCBOfNHQ9xJTWZUtuhdKzL1evrC66/DZS45XBq+X0U84PAW/Mily/sZgQXKFwt1ibrffcKPKugnu17pucY/gV18eH7F+FTUROKufOoCchaUA81+Ft7NhyCfaCGWK6bFF7qT4XunyJbhvuZvf4IR+nHlaHIazO7ymWYw+MZnf/dj/BurxHyFv6QrQb1UyOnR8L/r8fQv2f+rf5q9AZSslimh3PX0R1iePEtGK/jBlYHYJC5kBECngTIW+9tUkgkJdptkC4XdlFYX08LiW3WTg1PKLalo3QNsuUOAoynjFkoYJJBS0kLcbQwYmSe8gJIQWM4j/lB1IPOu0+wC1UY0YT+9Rj/6EZgzJxuqcfs80Izc+ACUeAZ7bPImOWw++e6yLmGsdJhkJhamSYvbiIapnz7lwGN5O3hZKGAt7IoCjo4iE3tvyWylGbEC7OS3VATE149utjIb2T7EbgjSQowOE89R17mxc5yT8EbU5lGrkKPL28Y8s4ocRjgEve73i6SWsCjcHdgA8AHGdG4kxJuNInu7p0CRevSD8IeoBDBSti5np/gLIItKoDPiY4atxgFW8Am7zBpuqKU5ng7YOhfNye8sFBt55qqJn3ig2UhgMDzl4UEbB1WehjYmLIxI2zvKf9XPNakz53owxUZg7bjm6fQhNdpV41doKrURA4kWzVqBzxLcWh7459jEfFkCkCyg3hzhMlo7OTdWEPwAj06z6tHL7yXbT1fwreHdspLkye/C9dguLlPqAPqvsaqOlIZfJqKTaFUevOhaET0NHh5OAuyZOW2lpLALtScm7PRfE1hu9yeAA4jmC289Ivg/xW4gPDsHIuu271PDnbYjCg9fZSg5pKDMPcw9EBgXvvPmgJjP/fJJOV2jc0qngBQmTEjqnc4pK+hGUhzgFYvnpByDk2nCJJsJwbdp0ADrktKLRR3ay0DOUC83R+ecxoF2lNLG8EaBBbdfv8PLrZ3mS123CaKH+93By9QDDgX7Oboh1e+px+0qo5tgGcLn66i6mkePyT9rgAkR8ADgMqyfXPqDFHGsSXzAigUY6XUnctefDz96tb4yXfsEfBBHZ3IYPB1Cs2Qwd38E36un5296rwFVqIzoPQ8xUh5YtRzRKwVFABDtsHIg/IKvU2f1mFcQZqkUvGv/AYV1DQwNdg0B8PYAh26khXd/76h7Y/kiHZTK7Tb00Xvi3BB+7XP5Bw14vNThef3WqiCW0d24adjxP4sup9BF89Saf6HNIXNjSf8/R2qPorvexD2PDED2Axs4VtBGEjsOcQec7UPUu+Fe5+Iinw1bahumWL2AIquWpAdhT95XWwTZzCs+Ucg4xs72Vnm/Vxu98oMXdKouQktyDeeJa+w49yLn3CIPYe0eQMs/1m5evPHi+WfWYYfaTYkeiz9fPlwBxQffD+ZugY5CUm9Q5qCzIWMgq9XFDKi1VZcLpBjGaMl2L+Dnci+yGLNXXmxnXKN8AGCZe4LnjF2SjccO4QkjUtTBbhkdAmQ1lUQBGVH7ZIpl+Cbstxq0tFI2H4hdehZwDqgoERgQHEgHvmrby+2sfthOGYUobrHHQedpr0v3UpSamZk0AhmMPOYiLfX76k4qgJenDesJ9wfXKPj4r/O+g2BBk3xZ5L2dQdzMc5zHKz6P9I1/dkgJpvaU5q8/kcNdjrqJzL7mKsU7nbNojarUM82gPlNz/5TSw0TziMjehY93aFM+rE/FaUD3SnTfw73FeCpwZUgH/BTbNrmIqKfD+RxI8+4uv+jfEU9BKQ9NUCLFfiTi2QtH9VpEXOcPUXmCM2QEgObv/C0b/SIw7pWXNFSLFcvNgeZfq6K37aHahKLwqwc6sLKHJV+YXX6w4UZxC6Z3TK7PTrqXB/FHEHCKUGwUptKmpJDNX9kZUK1XNwGVTqZSKvxHT8CIuaEftBJ5Ckb1b+uIzkPAae6ZiadJOmRGk30CdzpfipQ3Talft5SIKZU+HuCCn3Yj/K3/tPVe/Y1YcXunYNhbICPHko/jXul1cECiLgAMTwWY4Y7+x/KiYdP5tJ2hRZWvD7f1rzlY5YG2kFT3/8/Yibdo3jhw/smMe0ur8Ps+EDu0Z4zClVcRCsSp5OQVx44JyWlmHdK7vyVWAzFZg8Tt4n1xwxzeFkv5yA2tdAGzPSaO9EmBR4POEbYldzGUujm+rqlbiO5rogLdaJT5ZhWbwSc8dnH79o7ZKHBknw871SbHv+blvWT7G5MYpNXtExuDUr86eBh4j/p2CQSxfwyKRvQZqC/2TS53p10aBdrS2mvke2Po0VADi8IBDP2x0LFpvvzZFE2lc3M46C+DaHPs49XTnyLG3RsGjXqMi0fiDrz0vxZ4KiFGO8q3JJkohbTw1PkljdjanHhKzlUWLQn0E0fDFAJWjxzAgVLDa4LxeCYyBaHTbjaecI8xKPdxPrr5tgtLHI5bS6C3J3ATPwQcI00wnTY+5nvnBWAUb3aVVCDakuGwe9LUrvXrzSoQ9EC8LGr0EytiKLrlgSicS+KvHmIlo2rAfwbIfzQ98W4FvBLFzKbD7xQk9XOQgTBkzMZKPckvn74H+OuiJeTs6oSwrP6u55ERwhsiCj+8tCTziMOx4oSFO9X1vXbiI+XrTtyXcHizbfwD/xiUQDOEkeix5Sdk0ZyKY+0ebHOzpLHdaYLWwv2mIWxfIAOSp7G8OZ8lf1cqwPsbSMxjTT05tjKsc35YPQJA1dwuyENXp+ewrDKFqqLSgq66odsW2y6KJDVtZ7SgA0P91HS/TBDTPduWzi6PZkn7yfAXpoyOH4ZEL0qEZzx5XdHlGCxwyyV8VGho3MyUafjZUr1vAmWFEXMbiVpJiEkksXGCb5o+UqL5O/5E6CcuuNEhEUFEoUzugJdk7ZkHxlPJ/+jZU2W5wN6DsT92nEHoQ6j/pfWHBMYzKbZVvN6JMeN/68YAtxrfwz3deHnsAAStoRicFdFrEnID4FiEiAPBbJU+TaU0BTZNyLTNsd4oiCGLfDZvXd7NKQCXiPzyXl0aD/bxafRtOLPiHiMublDRDxfbczvD5Z3iIGIOxfhPsYvaDuq8dKhyvay2eR5nmXjju84U2qx7Zni7sq0sLXYoAsmILNBw+EjAQIOfLLYxFceylYUuKQDm+Wt0vJTLsvPDhOSvP3gi1PnCPzlr/7KS+xuyCfPvN4W/A/ZpS7sOgy5PBgQS4DWFjkbqVQ50CF51dEePFI035tU2Sh19zhZnqCY6hL9j1rCyr7NY5whGY3a8KkItPvh4RkqmX3gcoYOFTijEilt3H73PDF30uBltIA5F5i8trqzDTUkxrVKG8sq9MHIDV0WzDaf3tsr60F3T6/ef/wXbZJOpOLxQBIoci/m4RWdJkZUb7jUQGgc4x1+9Lag2PQMWXPIENREo+3OnMj8l2BMEeWTd2yclZn7N70lgSZGZ/vcgBKiX8tQdScrOrpS7cbB9wvpvw9LU+GztcL1Yc7KCdh+ZF866FAH+sJIF2ZA5zbS7q1WivSTfj9cQD2rMX2qwCjr2EXkbb7TmT3PKm2c9EAhbyEkswu4D9eV05Mh/pxfzJoF+UGLRMdlnwV4ZP9bPLMyYw1bJVuzL4wczpsopFLKKMh287BYOmggM1O3pK7oxs4mCPKl/4ec+ZOEhE/7xOa3dZUYxDKyhNDCyjMQCm77Ic+3xzzR12T3bHai+kZVLarPjXbjZmi6416HoKn4pvtd+wxEuu6QxsA3HHib0A9yDyghg69T3YZLmge4AUt8Vhcd5wz9kDfN8Ge+9zDw57pwmlF11P9ma6TlyBQqXGWCAC4X6M84Ab5B3J8LoAACm/beDKoSI72qOmbfW64wrGnJP80/zRQnb8mdRjE9nJ93rILlIYSVJ0ZUs3aDRuT6S0a4aWjAPZJ+ZTA86Uth61Li6cO/P5jny5oe8ISeAMfBhiK04m0f6L9EpBnmZ0FOu3w/kGVlBpfH4ikHngLDDOTIz/E2LkXH0PN3S+cE75BykMjthVV8iuo42ohneKZLogC8hrrFSqX0hSm4KJlME1kN1WnQTcu9X2AQEGF2JS8OloRIeM1Cka2f2HN6ppYOGAgbqt934NS6XOlJ6HhoRtWhiOzb+S0aUUIMt9Oeb018mP7BSvmqc7PMQhUAMXjQOAR4Ez+NJGlFCHtNz2Ufb6FsZqe0yiCczas5/DrEd3hYJ8vjdjOQLpeUpd6wWMDMQ6tJuc2iognXx8aSbTXQoXtRkooTffhDTAb3RSV4fJdndLG54lN5FILT+53MFepmdw5cVFxpy+d5SunfnHhsYwMZCw23r8DQje5RksKDL0hE7peMa6hF1xEuIMMIDlnMEdiRinFf+aW/vBquQox4vIE7FjHIyWeKWHhsR3z1AutSb5Iet0tl7ydykOaMd+Xa+cwOekJKkW6mpJy58eglzTzYsgAcKXUDJpMTWY1hhXFEKFkm3ts3OenHWgoyGKQrHEdjwLU6Jmwf1jByYbFEKmTfgQ/sCWc0HkvCFPULEj4dyNJhK5kXZfQg/mf4us8B5X/cnKFEGddKSfW00nc4CUR/KNuo+8y0y7RFx5D9XIOna7yBPL/65Pa08yl97K+jKaCiHWhZwhiCd6lBDFDreECYghEOgBlvvNaFNzr8hFpyB+4nhvrZUEto9TftNg7Q3jDmZ1qF/y7qqzZ2St2/DsClQNbBxIZjC4G9D5xQBans4povsuTVCV2aovU55Rje7qx2AQsRCM+In7xkOtQkBeOLwCsp985765BwvKExZjXXw8GCtYYzIMWo9uF6A7lfkGB7gSe0t/AHjYT7CbcLt+wAf3muJbggnLtYhUvC7Zdw2Amoe0QKsBE2vTDxEED9MBlRVzYtU9svpjvzye/xN0vN7N/sJyqpiaHXbV6g+WXWXZdHKKvz/x2bPGUkP5TtaSnbY2KktP/ATk30GqnJEWmOqOqWZBh94U3sintXkwWYxCHAYfwHHfSIZdL7Yqyk7BtH7eESJ9JyrIS0p1U0v1w8B4k5u1zoYFyiOagFLm/6VeekUp6cSqspEhvp/MnAtsPUVikbfVMTq7C3gaMzUuGJK1EgJQL8kF4Fh+ePCJdobwujSUuvLOswRkzwNJpnwQKXidYxoGfa2MYkAKYIWUiD9nTdAMOkPJkoDpIu+bCVs1fOFrgdz8VGKM5irod1MPHqMoGqtYKj+QegkVtWPvXUepu5wZzaQLStOQZrEIG3Mlx/I/BPG3l91CzBSPPsIQCF+Wb2f2XVvvX9/KF8+PdDMjXU+Io547hpmHqVIYqxN4A/ZtCrFbA3Glz5nYnRatH907vH481opNBv1L/3fPszG25p9nfjzryEvkVpFVjnwoQ+zeRgas4XTnZPPQYklem+p9sItHx1il8QqNhZ9Q19tx8BifGO4D0arVmhElpiw+1zZA+hZozUfSudC+hDZ3D8bf1cqbar35mKHsJJPKp3rOrcVUeBPD0kCAZGj9UOZYeIfahpzpaDe51NLKs5yHSeHnuwDYYns2tw5aGFd+9Gbak5AKCN9pb/bBTriAidcnBXeh7MOTDykQWyEMcqe6m7Jwh69x9V1HHGztGi9/Dy7SBtgRviGYy5NKZv1lwgvJa8ul8KVwnzMD4LSv91XxBDNgC96z/+UFoJqux9TO4fxHK1raL28QBM7VfpOpiZsaBoVjjJ0JWy2Flc78elFLw0E8XebfmQCVVWVw0pd5FEI82tSGRl/Dwe75tGuZKueq397pmdiSks/jeOWB3cUZJCTwDEDPzFCHsnPzDNxxCVuuGuj8RNvIOHfcRYnqTIsUQ2KoyOJaOIrAKdJhKu9Shz9S+oov0w8ZxjOCDKVqHt1nX+iR0WYl39xrp5EjlzJNLe1nIFdY+Qj2oem/PFkFL4tomU4f2f09l411xJ7Ij+AUV5OgIsLkLeXJSYEE0OgMzUCeIu/oUx1j8olVuaw7m+c92RRz1G1o04+hVacOUb/peVWmByU0MWpYKT0eMqLWrLs+eLoOEBmVyKrSwz+r0AAglwzpz35ecweBZpNYIS1vkd15oLCsVo8zUbWGVTZyY6UZxzU4BeCUgtkK+4BQIW3D5avENJQDN++MkjmPVEDZXZqwjesm64aqrl6ax640zSv2mU8yMJFC7mjJe7anoDiHttBZfK7UIYFW5aWEeYwF9nBsxkaeYiewMSobK/ZXAEVmmbgN2mCzOUwpLqqcLzDkg1xVpi/Acl+NHAsVHO+NBsK/6Xb7qJiQgPmipszVtMkZi8z/iDSvLbPy3jd7OKjdwv0KBfEYFQFlAboMdWOGqcrs3deB9oj4MaWb237vsLNjNG87TLyycVW+DGwopILYjpFCtTlGBvB9nUZZ4ATRjE+Y6x+Wv4ZbWCSOUlNVMeQocKx7u0UUgYekWWHl56b6Ha/1hVU+F+Ef9/7XOhmCdxYQrNxzrQGCy3buDaDtjO1tUvY/rCC/b0al+XXkHXDwZUt1zlBrUTV0Rs5+dZywuRe2cc5Rq1ggVapKlheJAagunheCbynHnx6O4rCW1citMRqFnkKfcaOK86qvdmGQ/YpMbBfiuDQCOVNLgbv8zLjxcVksTucZsKeSpPT2+yD4MIgFhC53pB2NGS/Jm/8F3KROZP6eKYm+eHaMzUbs6F7sWLl1V9TnJQXPWJhoF2zAeXcUP9wz5qxL4NpsRd6en8Xh1xTtz4TPAQn5SlS8AAoeohS4pKYcxzWNLGN91WILk7tLGiDm/qKx1d4r9GzqCkI80uSDHw39+W/5gTGiXYPLngYgO2sfItUfHChWJPNhbkFKRJ27rOh8r4qyY+aiTpXzf6q6TjeSOFtQA+a3IdCw6RtcNjztGB7xhug/NRbaYqwjg+eD4+gNrxh0GDmIwUwGGKULotCH8n+NmCqH30JrxicWvaS2b3eBcxaZ1z/3ysIkHFf+JiNIKshcT0F/1HLN0+CZcPin9IRzA+KjZhsGen8m5fzrRHYhlUHixXvSplKkMxjHntrmEbyYJ1q9AjYSGelxYzHkvg6j3EWJNISM5j13XJH9nHya+GfeW8tolDREC6ADhHrcIUsbaa+FmHdbfzHU+iJOC4tn4Y8DjVGh2VvxxEppdYiirc1a1cwXMZrzVLhg0txQakohF6rM5jHt+g2fkmxtNsIYsmodoq6vDzEzOGz1IPQKkodgCa9k3jgj13xaN5FIlWPhjWDYyFRy95q4yeOe5peBv0Bgfko2J4371PvONvlJhQUfZ8Id39S2gJBO3kzOrMv1SAtNT3N9wlvmya7/rKSVTvVqMc5LtNCM/RNNMG37/p5PswBGUizlU9Cqs0UKI7Hne143riGg6gkrajGSmI1hl9KVgItuZVzpIzKWxt8fL6Ep9A9XA+7szgLFSwArXWMuXmNOk60koQQSXOyyJ4Closs5VK1zmEFqHDQT3JCgZ1VE1JZgMq4omerC5g9HqTdPoaXx43AKLz2HGnovtjrnvz+7Epc/UwLvvIiC4SFEFT71kUrfZI0Gv3z92zcIEAJKBbiUtnvbA1xaVYjNXz2BJIPndchJVUDUqTQ/5zmcJ8jxwoNNW5fnSEyPCm9pSXY+XY5UQRU6sDUHWvZaOm7GMdvuMV6JwSDj04m7m46+bWpSUS+um1spHQdEX7Cf474ouveOYWWiIQ3mwcqo8o8KF0vxfpwPi3oUq3aY+lQY8nOW5F/G3vr/cIPWJiL7XyZGZ7gqkIL563jFwPP2uk4dnDkLUe3Zwz6L/JzNOqdGbKFGESu6+mZXypsiDXex73PC7OylEEoBiFLquH8Z8TrAoirSSSd1tz4Py2OJowfhWE5cKny2N9lLZJw4MPjFPGIzwBeQHUw6SFa/yqXsr6De7WQTgpUrUCfwss2Q+fo5wb1TLW8XaUhcZTVdBHpVpW8foT9O9Z9NSbbB2MmhctjoHwMm13bTY7nAXKX+AfNpL5Dl8b/Fyg0rv+CICQJsziJA/fEJKz6z5Lnd+F7HCYuCOAKcaYIk4XpKUNDV6BeDITsfrXOHEoB8sHiM5qxZOOowxPwA+1UpvSyGQfczvyYAN8NrNO5PdnYm95/SHh+pWeZDfgCJ2dBvmrBXHoDnz0Q57pCX1EjsxVs7l7OBO8OBNspq7fk9k0K+D34QhvFDihGXtvVMXoztA8gj33stUv0MvifH9SP50PFv/VphKbmiaMvcKcMaP9rSoU7erPZTGMT0xsBTUO3EL/UukpePXY7bJQt0okXtivZgUKIHTxhijEFH9h9l63vUIEGR7DFKbMxvCKddc5hWj3QUYrdWZPetCpLYUi8gRg/OADZS5Gzd7BrMlgT/QKZUYg1fctwZujAIHpgWIerdQMZ324sQZglsPFgjdaM4UL0bm6q6wHKe6lrP4SMHQTY1S6GTikqIP3mwTLKaMjfpwsaA8TNXBl7K/6M5OfBGzLLyOtU6XjemYYgt+/KOjuhxITIwUoYROW7yUvAV2Mq/1lCc5NNuM4Y5Hd16nF3ZpjFspnAjgFi2fRsf7yFudCv2Dsmx99dLwlb1fQIv5+Ttj2Zt/SxhN+gbi6KJ1Z8Gm/ZOXYHPUZ/UC959XHMog8DdEJ++rwKJ/lW3JAtKaKBxodlUUjf/bmN8LPno4Tz5u7XPaud00GazDrTNOXddf0PYKbrHv/VH/meHxWzyBQlpur+NAXJrIr4w+/jGnqXyPItnREWji8GK/IxpLCY6rSz4ZdRzlD6kQVQTckadM2SP//0DTwE7TSNJWl0caMCBFpGRCe/Eo653SZDzQoPHMajH+wJlp6LYgElPNx9HZrfkOGwIGvPjr2IP8/bXyh1CbgfjOJb5IleltH76TmU+6Aay0MVot88LE8hf1CBMVyBelIghide7CYI1hmX4WL+L9zXMMNR7IZcdmcNqzfsMamTfCGmLO7Az7vAe0AEdusKY8v3eD7+W1czmV0SQs3oN/ByuGDDaHJOc1ytVIhXzuKEREig+AlCsNxxFAariWNR33X6PFdS30PdvlwpomaHqKZM4sLSqQK5QTzTEQ/N316GfnH4MwlTl1YuSQ4k1cMRhhBeEDRJH8CYrZ4pTSWOq8K8YCbyFdOPd9Hh/8l/DtVnKG7RJ8PINCJGQbiFE03zTUYHnwPReBJBtEdjO8ZVqrDGLRE/RL2dczFyZ0pXPNDlR9bgXnc9NZ1AjChSmea0dhbP4+nFpXrZ1MbC35vxwKrO97RfpcaUY4UYG+ObnOo9tzMAG0jlrxd6Iqft8axA+VJ1UBCFwh480n6jeNxm5vNmwv+hioRhNMtyZUmyWsIKi/oUAicT1nmVpqtFoMDU1qV6Wd9b9qoo2qqXuQaU3LomEg+JSaZx2n3cf/pTQsW1RSXhdGo9e2e3wdd1+KnVy5zF6gGkjZuNSgWs0YK7+jPzFUHcWMYCMDS/8gPAn1dCa75Mj4c25gI9Y0OlUwhTO3CvxmuIGpQDqZ1s+FF7C4eD9YqzHVrS2Yqk/TamjxabEbtI0Y+0kIx5hS/Tad/udke0WRhKuZp/M/v9MZXKoVp4EUBiDgWxJhrzO3iuT/ZsQgVYVPzF3sboQzpgyuSDUz6XMtJ/0JpcC7RtabC5fz3Q76onnmfXgZILADCXKZxV2I6NW8f3rzLhxjpeep+VdyxMBH2JHfkj7pYRgZh6X8uQKdFj5NFj5Hi8QgUYhb9JZ0fPYziZrsfhrbRGs1dUKdqOBHdHUmCBTzOSy6hoFInCkbJvB1KoSiGX1JiwCHlL6xC93vz3GhfAf/JXqJ0BHpp5Ngh9ftizJKSuQYQCyMbi1+Tm80UHOPm1EUVh0NdUdKsEIcMXL0rIbRZIYcTSLE1tJbcolvkhzWv163L7k5ydB3dvABAosUuSWqmvUF2nmQP0IYjEizO8CfQlItllcW32HGCOSxSK2ITZyXCPAxM0FXs5i1wiUV6EtRk2Kn5o8AOvZ9f02PKv8l31/WjStHodDV5SapUqFYWm+xFlFdHWvUPm1tMp6R+6ac++H6+/g2QP+Z7dyG8UL5xixErQx61XEZ2z9SPATIR0jECaZDswcSEYrBKZw2E09irk51sibWVMj7WIF2y8cjGtEsKUw6hFX7wWl+f9xa9ayxZnZ41Gs5DqkS3j3Cl/d6sYLF3Z9AN1Ums9rqr/eq8gb4q9sJmFv1vlKBH531bBnQuhHHTCiFc6wfED0/xGQfhcueFVcmps27cPfFJgTD0z88a1G6m43hnlkQCF5IQ2FEAGu0/r9jZW8XyJFwgtxOOK4A6TrSozekaBVkHgl4ArU2821UgPu+La22kHBa+XhDJqU3snyWkyW8tak4nZuFeC86VqcIYNAz/ATOi7d9DHk907vQW0NbmwYnZ94NMpIii1WoxSXBbNB4djRDiUqQxX2VagZB8lO8C3mlyevG6tEkRczQpTa5NpVnweefbJ2plBFsdF9kb6NuzQhVp7vOykWjIZeiwHH+UWpC/QGwWzu5Y6TDrNbdCcQtL1dSIn3HHlHj8NClfcFxRht2PzuYqQd5lbs/0t9s9wZwTvcdKMyWmbETz2FevZIo7F8h7N89k2+BkBlx2QEl4X8ldLm3Wu3BlViIGSyi8FsBHlKSJ0QGYwfGlKiSP2dTXvp8iWOf48pcw0UA/4x6ZIOI90PVnuwGIxO2alg3JKPNC4i35cvWR0z5QF/Z8yUEg6qAuj/lEr5G1n1FZLaq5+C1/8SrdqVgkYstt3RwEwPUZ/bb/M7KhdkwWaieoWRJEAbxzX0pT+kaiIYolRUj3n0mgP6HvU4h21DLX4IXf+i8dkJ6rXJJhJuK4JJQ/IOM04cB41pzU1WX+4aTasDBoug4AzJI6tHRdl3TMX2i543iN5nOY4JnQ6TxKX1iEDa0hJyirIyjr7UK7cv+WeSCUz2Q1qkDA0rf1XGPlxE/mp/+uTuUIZ+ew6fvFUnIHGCo3fU2Mb6HoRqJahU66QEKflBkSW920Z+R+fPBGVBXYBUbk3DMh9Y0gNw3ASsmynvd42kDiPSM6yXT+SfRJnn/AXX6e/hEaFLijGTQzcoMHS+CSZwqtVkpK9wdVW/2/gq19a9yqv0e1cowkh8QdHcLuF+VvOrI+OnsxIqpm5b+X00THfnMp4VJiQ0fC223kPcv2fxPwwmkZqsKtHWGyj6CzRgf7odyFL2t1ONngp+v662Qc//ToWJDvxPXWUJQn9onbPBmYgVOMwzAljnR7FT5B1gU+hn7caVcBPwEu5NxkPkm3cV/elcqvr8ZNejwD5QtGvaFUXbMmuP834bbqNeKccshpL3YCedaFn0BS2kDN3jYivBkVPsQLyOW0oNLFZnERcCAAD59OHOKKOHTPg4zk5yeoDc+68+2ngZ5O8ln43YV9AkiMhKw8iulFrJZ732ej2XI6IUE+7W0vlS9wuZxLCp4sSa75kaXR2SiJwfBheH5xvbl4d6z/dbsdf0hyadSecDiwPFTKNt6dgYI5jbGyuvlON/A8dy4Tlf4KqqS9ivXghnuWzG8WMOohrC62z9WMJOLqoviWcJ5a8Y2+pEoWe50pm+Yt5eLB8o176Y6w7zwWjAAcR58nyy1zQNxhv7/Nhvdzh7PH1dzwPHErkH65BZINW+udeqzQKfaw4y0XXCObGO1N5rE4WD1J+0kcGLpu75SdK289+zhK3oDPyxtV0okcCUoKmthFko6GZrPi08IxAsdmeungrLdfCP9I/uUJaqzsHYa70wwR7yITw3S0sFr4HwAhpu5+C3K0EmCIaN15PCENLLqUz1YOZH8ZoKsG/ZHdCrPINgMulYKOI8favGP9Uj9S5zg+cZKSznFQHTsoqzXfSxb9WaYK7ydFQ5BhpYeWb04IiIcJO4rh+ZBZnV/tcNOeijeYGyld6rXjuVH8k1XstV47YwHtWAA7oMXUNe+seM/Y/OtbGaQeEF4jaOSe6OFGgUq/UsH4yO8w2f87suLZ42h2oe0b9mgx02PSXwDMnk5brR3jAl5kRVlUwdOGSpg8X+xzpvVcmeJ17A8mMUGhBcvHmAJnF3bDhxPyUxXLOTHWHoUE0p4dO14BQWITMnaZ1hKBKwN6tp9Lmaciu6DVtDnOIK3kADsvmu0NKAEnr5qtnUYwuC6vx1D31kW+FsUAlZd+TwjLvq1yP9420NEQdnNnp0WrBNycaZP+4jHtoUc9Y2qytm/8RdfU2HxTU47buDz3SAb+a99yHDh4GMh+kMjvxQ88lTMQSm2QIylEu9oNCuOFafbjo/NoXj54Ii0JUhsYKD353ecJdlxrNl/Iy9dNjl34VYT/UezIKjdU0pVPqCuhGem1dMPVsk4MNSZnULjNOUf/Ye0M9XoP0ktQw7ZFCFTd01ZMHhBk35BHVGZKseAYWc9iYmP50j6SBWN0Dx4ex+MYREnr0ss5vMuwcPIWig1qIb9gtOruXv9OxaEQlYPc1DcQ7/fVyayWL6EmmgUhw7n4bVkPzLAoXpg09ckJoPDSW75AVKjWEwX6NHABrR0AB/uiIKYweHEp9yw2+CzsuDwNqqgc6Hn2mAjATUykbIJ6xWyxDp4kYxdJdh0HZ+uq1N8c/WckhcsrRrL+QQ1kclN34WlcEAcOVkTWIwG0VUziHvATz1vdE5gBsSeMn/wMoAyjixnJJfWVyBc9ag0hvWHaoUwJ/QHaJJsubevjobp+Svqd4ACtq9NugRCDEnMZQGzAX1O2mknu7AjL3qerAldg4kyVXefyAsdI1KrOwM9k6nbEC4gl9O3iF3F/n9+r2b+xo3dSyiUadvT34BSj0lCqvbHczM6aauggdZJQrddd+Re7cLn4ZReVmResCUJFaNdPmKJImy1B+xd/1jOxkIa2XPwa+StIEOAA+LbktAOyudagT3aJLv0uyWysrtYHCHKPIWdADLsETcigGqvWedz9djqu/PUIlQWUdeMiKQ4dMZsvAVqv/g5I3qwaS4k2u86DrDqw3N6YkRfjvciQH3YmTSt/j/BaQ9v3+WhxPwuAhTwbvH+gg3Y295BdBcllM2I6rqv7g+/aJ09lXrwHpVtEw+JOWO54l5n2vsi/gxKIjPK95BKvnLGlCA67SSV9cidY4pIOI9uQRKwbfqZb7DSRJPn7QGUeMhrLx7RiNjvJVNLUg1Wn1IoqBR09iyAdWLqYH/NHOhFFrQVveS+LuScUPtKKGLKCj9snfe0K8H339JsSDJK73ARi5ntAWYbtwb9Wso+2U6RIZumLvsxiI2WvMVdUZbMF81cFnvWd+2G3g3aB0tyK3VsVEGQCYHmD8iFF6ouKhDe9WHW6WZMJVcF6GAknjDDTnDj0enIat8IlTOvqxn9X3FM6KWchFRSKg3iGGoxVrFu6pW9iM7qO49XYRAetHXJyeSKFKYvYt+LicMyLtTfzNxULUohPoWsjpFJYZ6mHTpzY095YlUNE70JijU2uFHa95COkD7MljFOlEqhgArZLkce1Oa9YTU/XGh/QMK3IxovM+ycR8fuWMvloA/go0/WGY1ybomydGu2JvD7VMrAW6sVGsdwS7pBwzphXe9Ecbdj+8k3285r+/P2eFQ0i1KFDbrgynaGmdKSRKwBe6BAAH9r7OUUgxjIE6Q1Zpz2xwYjeVQ73Rd35nu1JjxDOAXG61Z7ID16ZgftvfIYw+sNxQfKFaTtXyks2qqlO2WIPEjvmhiGYFGl535gRX04UkXNzqIl6tzG0IRtGQLaf2hZAOp3bhyZeBs/BCboh4WKwDA/rFA8n3seSyxv9HM5d0QrfP4EIjHeeGspz7qQe8JG7CLr3IPShsJUtlsbEG/mINRf8edoy6X0acO1XKKG2GUZcGIsIN0QH0V3Q4xYgjpWmjlhqpJgPCKLCd9l75qfIO9iNL2mLJvzDqBgyK7R/4zpVN1bAi6I6nOol0tuxsiHrlObGO6vDTa5EN6KT/yzxPlUw73I3rGGEU4TSCBH4zg2NnH7ekaD61RS6Uocjl6VEppi5q/BATCd72L+UKkdI2jlkESYw2OXO5qOIfLBqaPRXks9q45SdriQAT0P64T8ms9mEpc99/zP/VvzP2Hd3wk4dnXjhXK2FwF43gAjGdltf9r2TngfJhZs0UlT8icTj25n/j+1KSUvrRVKcnUve6VwOo6fvQNCVCngFdhR2F9QNJKgPvRtvI2vx4Wa+LPR8oe+ASgESkvDQWEMeymdIvzmtml0eyUu8hGZctC82PyjdhRMBdSUKqjGjy7rH2tnpfWqmKTA1SJdMG3o7iOIgDEJ4gV3IxIU1KxXDGhJdEsjsc+0ccGSql331VHL1oSnA4q+TcnSuJk1FAVB7/RmFEkassJhcr11jGf9pTnBLW16Zgnq8yqUtMbBSLiS75BEa4YTkfyFsgkEGHSvDgv/XtIf2RFEtD3RGuaY8dZGqRUI6lb/g7mTtlgEimqM2upLupEIe9SifxfMySY2YqKTWMJvhf1p81EM140zJe6P0o//+opXAc6G9L2lKsEidpQFFamqvaUfgXRguDkXi+4SMQxxxwVvR4YtRfUDFmhMuy91axYWLZCVQZJjsPzyJnG7egcAQ27mTAbIF/Yzygz8vdANN8v+5N7j3A/pZ4Sm1DUAbKX19E5+BxLuJ4aoERG4iKnWQ8bvczI4DvEwujSKnFakiOOoSsBlILBFBQnV7hG7Oe5KkFmSsWSmEnB7iCMW36y2rB7UYryM35kLIezMr6nsrHnRr72scXb7Rg7cDqTDCQRTPIYvvpB/TWp4aKwVNi+rqKfEp0zYih/4k76Z5cxSEoAD/RkFOBCKDMqX0G4dR1ayH5OScIMKHI+EITfODycV6mdpW9/304ut8TLt+6fY2SxROstKhfgM6lq/C1C6fk7dRE1UiF4HZvxUS2HGasUDa0BHj85ENT270ZvPFwCL9+3GmoyEe0kUWNaWPOyL01k1Nz59Ak+/FpL8y2a3hO31Y3970C0idOjvwV5TgZ4Z11o7d4Z+v1FqJvnXsfUHLZBK0GmDPyV+69NNSIt1DL1duPWNo4phY6I8tBm+BF7p4YFaW/mmruBgVcs+lCzRRVqC1z3DZGQkmne98BS5s/0FnsWUsS/Hq7+yQtvS6T7BLqRjuraQHXbRVa8ytWrRPCzXaPN1/mk6O5PPPHoP7cvQK8inQWRRRhapb4Evq01W+2Q3PQCesc7ZHO1QPxoQl4tFB662qAL1K94YocUEKMO7OqO7x460GqTMo9exQAq0hADQ98ezlzkbeft7UaKitzmb9hSG8RdO7PJpPhiYsbluYHlmwEudoDdbjtdn0roWFAjVHB8+8f9RExk2NlOkl4ciPKE+s2yHN0J/tqMORKdJwXzRFtjFyKY6PghIuy/294OapBZp5a6zNp7DP9Soy/Ia1J12kCWE9N3gA7WlHQ8HjtsOMEKDs2uGv6yGNjXseVR7bRaeuMh0ndGTgb/lYD7B4LVLQOIennl1miWkvLt8JSb+oDd4ILC6YOx8F1EXlQAaBFYcNTJIbvfHRBwbeO36aG668Zjdv8AOPipGX+TdKlWLumq+DcPBU3stjraFb4HeGkO4u6YLF0vM+2RRTx7Ux/7gFWY8dzLVOh1woAYfYX+n1TMs9Nr90WoXaI7ErUTA+38emY3JKwWkldAuLo8M2Z2h6AJ+WlJJKGkV4PRgQQjaolre02+p/zLjEEkxirXDk3IuSVgwzMfAyDM51Xi554V1tcVZTbhhc34cjoQKhZDkMRdhN9HH3/T1G5I0Ud61tnK/ik3J7/Rtact2s8y1pJvxYul93Gv8Id8Y521rAbOVX9xeD7VWYlXDHTkCDxzbZcL/1pWwb0Xgm0GxWf2nhvvem9/tEraHTQ3AHQp78vgbFitYX0nlvrMWYB4i6eJv6FsOKyuhUa2z2cItDfMW9V2KtACYuTHz9qeHiSiHYREnPrjR1QjxutRuiRtM3U/NHiEbp0/Jq8t0gUbEUEDTZFZlaijFzCoQO2xqoac/CKNJHhxMP/3HMLjFTVohbU8GgEe86Y1YxLIqD7nWR5f+Bh9VYC4mDn5OrHJfawCJXc3p8IeRtAqcYtgjh0253TBfubutl0FqIOV9/g4cRAhlP7vCtJXeASXgwfvi4Kznwd6fkidbGkVvdBN3XmC7W6rgwrl2xQ+bVhJJIYtYGUpiw8/vbPICXfZ4py3msA8z3gDMr/aQCf+1Cp/a+Hizl7/ahCjLUBykPIa/DUx3FaalaENOhN7bmhcWD0hqKojGnFW7BmFbXjfS9rXtGlryG2zhXUed+gFOXKxHELjfEUl9lmSFbkZnmCjhpDMEEmi9AdVZX4RU9QJhKFnY/qGDkP8K3cOicigkLARfm6BvYrHJ+SSnrzRuSFh7L4nTwtJuXg4sveyL7cA7I54/INGljElh9TgBAut/0lbvMBlzyVzG3pE3SdqmqzPRWY2ko80LZySv803Vy03TLNuKsxWRDvO4knnMcVB3fhk6NREfAgDt1uQ3PuWWY95Zk0YyH8LvGvASOlDAg4e/m1mLBheHz8c9K3TUAcPJewxCPIAnLzmwtA8EXPIYNKBO51oMMS5SgYLCNKbtQZv207JjMH7BibXnLNp/xBE1z7EGU+eiRX+guPZBBVYzW5MV4TD7KWEplriRafoxEYt7nlncz6I/invlbwRj6eQXkZ8MFlAzGV/IyhKbEc1vlnYKyzqDJG7c5mNU0V2P2Rt1pYHmijQowDNQSfJWyPFf8tjUPkEtwRq0I9qUryi6Etu5d5r7E2MsfABWvZVD+B0kHcBl6gRY+qRJVv7IX3dOX9zQvQw0AdfP5bndjaS1tV/JRJ+zRLC4ZX/2ii6m8IPWtBPtgDHzWZMsNHD0oYp5zZJmCP0la7BclFoZNDC5LU71NP4w8FU8FSn5E3iA3zg2NTGnKC5umv9clz6T+z6nKi/Fxm8nVkD5lwkOdpVJa1aeZBFv4BRZP6wosakMN/NQbeQQrc1KAXyQP8RLxs9tUdQOh9fEj1Uqj6gzCYG8YkioYYt7XAO53iwKVZ+5KE0GQJYW9TcEBgjySiZ/qZ37DuZTlZiaDcIkcG08unRnVxsqmXwo/hKeDLV9yAaz+nDWGjv+aB/G3Le3xQaVrauHyfpCXyY36m35O7xTWUSYX3tGs9TBqJXJQ4W+52DthTyWmTZTybt9ZN4sorMrVjKDKzJBGFl4mitKmU48BKMjbUK4Jqc9RgfGTLBDgtQRgazEo381g+wmg00oI2x+2My0Xzxig7vWzXQ0grL9bFpU58bzXvdKNkxVaizimlBLvQKW+p7MLLvLTPX68OEXOJYkXfrazsYvN0cCOHMFQHJXCw/j3VyZiDYIkUbHVaXcC44F4jsAJb+CnpV8AqZWaRLk/aAncjttOQLxt0dwxYhSxS3v7isV84Y+lfY8zeV6beweDS+ozxvJtI5foU2aeu9ywlYIbDf7yEaZr5mWmVETqcJgy0yvyQhcb5tZ7sQzDcA1o+P3DXsegDim1nvGcE0HBRn/a8sUi+am7e4GlWVkCoPdcCCloui2RxZqiWFO+burSFS9nbTBVgFmBde7TJiVjdyEBdlqO5m9cL5tEV8W/ED/CDSY86cMZXMjycNCpnIeTwOqrvxsZNwEwapBeoaPy/mFWiryOLDg0Y+BWKUWqE2E1udjzrxzF/e0YnXQ2a76J6ZQDwk8nsYOVX+F1pqd7+tC0NIehW9pPehjAx00pgBLmaHmQQrB7nRYe3maNP1IUSqLc1erKlH0HcBD5W90DvfFAa06VgsX12XZx28dg4ee1TOQI4F4tv9ZTrnVgW9M0n31y2fHXVDQGEPsmGF77zfkzyCALEzOqBoNFJz7C6ZM7ZRTD17W+FuaI98yfGFuGuf+oXuXdWswjnDRs9upEwhsHkD+iHG69stI/Di3NDpBjCqifHM8ROpfzvS+zCuYzZdX3Z1m4EFT70HVPb7UazjakzJnQ7LKMH71cmxQFvQpVrZSOld92iV4vZGBuI5F3n2DPeSzPCSNiHAB+6+GdWxfmXkwkEQzRu8JanP4gY7Hn7L1R/AOnGPZDYiN6UddWXJRSeV0K38CVmYHJ4Yh1hNeu/k0al70PqvAHOpWYbYgP2WFS8v1oO4spUW0Lwsw8g2sqyTtkFzbdGOZ7ox/mjrnk/Vv72P4KWVSPkTM5GPhX92zGINxsk2iuI3yPpPH0L8skCxSZ8jc+ekiLRC5wcOULkpQPZ8ID3gctpCSNP8Ny4yd890iFfh9s4E1Mv8JegbB6CbXMjEKxuNbTy4nZiCo+CAfxHPoP8Qk/miGsROez2lvZi7AhzFhHUs5z3EobvR2DkMabQ9c78cFkuu9ZKna9E8n9CGChoD4cfGPljN5qsW21mR2rBc3rNJ3Kj5XZMTfWxZsiiay2yxIB9Kmq5aKxgQc33/nqe5n2s5RwWZ5SlP2EU+2Xl5XYCeE3bx6qxyN0gYYoD+W/ZnUqnztNQBKb/gyFmGPHSpjuM2CERVXS3I0XwQ99q6xGyQ9mD41nwp3s2OPKOFXvdMawlGS210WmCI3nOONmkd7r8wwo3+UrnYq4mfqzNyAxnbXduAlb59gkjh/JUyBnYIENn7zK3cN8HBsT2Xwlpd7IgJ5STsirK0L1wPq2vMjEJsSQPhQl2ZgERXc3LOppqH0QGxwVXbKBJo3iHUx4XAqF7VhxkUdqO1yqGUfb5VkQ4hV47EBUOu0iQD3ibq5rvaD05rNxxWShf4BVm5Hx/tqsVxc8ic25kxypSMNkpTeF4G3EYlBqAY6Wg2itBhwo4GKuiu5x+OeDzM3LqhW5cQlcI6MJty1JfzZcJJwdWp6VY1Y5Dws6FXfcFnyKUiN6o1EwtFpsfEeOSqz3FNo+vP1kAhgtb0ugCsVwUiwW8061IwrtXjYADsbzLTdUjly4sj8gQL9DaMHsPGXRyNQqXPu50Px94wpTfYGy+XOHI1UHmIWMQH4qQgKv+1tkQrb0FXt8+BTfd9BkrndR8hIGLFZwIFmczPOVOzqRsL7SOfxBCKomEYhKnXvTRFSnkEiwBlkbu23gpKu7DklvBIRqB7JMowtSYt1ZsSHYXftAmZqTKqRtPJTjLnVDgIzwnjxkx0tyonMqp/ySLT5yekKRvgZ2VlUR1BbG4mDPMu8stkB683CbBmrix9N8/mKn8syrmXvdpceOBvFxYRHGGJooUzBRWR3Hlt+J7ovAfyQySCICBg7ioJme1WqJml1fiuyVBN3Fi/zJybOwzIGJ5CP/ts6+WOtC5QOX1gUe29Lnj64JcQjjJEAsiA9h5byZTLx1zhMXwISnVCFXKIQMR8DogCvdmekLRsbrBU3y8mHcb+8lo18sCRF3L1x8wH4aJfzx7zDhWLPGyEACDqIqs0WWDMtWU6piZQ+tqmgwryhhjIihWOI3kHtex/uVxP82d2R5iA+we7h/pIGa5kvIKOfe66ABF4yfCnlPo0wIyrBV3dvOXcx7gFFFAi66spvB7x6o6vRweewCoyAFDLMcLnq9wKjvSb1nXjMGrnlcnP/RtXjsx1pmjGac07NEyOe/8VLZMH1n5LnPUy9+Wy8a27+4XXcnenWd9no9SMPXdI+okQluUBUATfavxgF4MJEa3hJSj0VCKS5WA/iUH9rE2UuMiTK2yHWe6FB/hQYKdqIuQBrRk4r6f7hsOg2sdU9Xgi/o0dqb+v8QMRKulrEZmpS7wBX5D5OHQR4fKU97DS8ieCNw915M4MckcyrG9biQ9/k1f/q/IfFMcit9WEvr9zC9kjIdCL0JKyUPmM+YE9XZyEAWIRG7K3z+YbIYiR6KEigF4MUqtJxWdiwocgNrZ7FbRu4ZdXO0onxwNUI8QwOLy1yHI3NR7FmSPof5HTDuWqpr/Y9nmqctKwn+TJmLfNYy+FrAuRCWrAoYAEBG3Jm/UIoIUjQqY1iquURWMF77KT+dx2XQAOHEvOIdq1JG9yJCTNOiOP0maRPBtf45jpdqsVmpedxVvnk2FQVAZAyQb6Kw3anO/Uj8ajTXB4kZ02757JUlBOuFVVQ995ba3NC3UBCUJlet5s9W9uSucRZfRYQY1BfpIH9IaFuGyurVEZZeBZgldgCHMGkiMRhXVs56O5S14YBP5C4xU1zaYCALgSaCX5aP+pIoOSe0a/ijNnELsqsRkv/QJNFkbL1gB7+hn0X3olVihxzjITSX6/nM250F1pfih4h/NylevarkpaO/knxAZrxxI6xxZG/Six/nsGUHDZW3JsO8y0RJDQ8gg0T7C5iE2cIGITiXFA4BJ3G6fqndRrlxK1bK6WY0FKb0TBFYIX/j2rwFFZTY3EWtugwV5++83G27wMjfmdjMzMshRsMc+DTxkzcWl4DJzhslWlgm+NQi3YrlYdy3ZX7qN7sJq3qxo0v8e3Vu1yl/lX4AqSbt0mkRWixQRjJN/4nnb4Z5bab0sCOScXRZyKAYIuSzia1Pbo9O466wNaW4FKNC41w3N9lj5lIgDCZSnhiE32OF7UCk7ulf6rHhx7FggGHXE6gBoYbmBZqC5zez3hblapdPw2TYy/hK+jdVW2r7fxMsqRlHX7qyuHXOaNlnkG2JAaqQoJHNMzYBtdwzJVHwsYJ1x82SIuEY/Q5ItaZVELcY2GiQg45edw0vFiys9VPaKLCHAE/VIV5jLWZiKYZKEJKQoW5Epl+sD7PjAWsGjvwiVvs0H+Kz2CHDOEfkhFMuHh7UOglfyNv7q19k4TRTtJ3X6+zv/BNkvXuMZgb1+nikz5VTPRJwMYMqDqHm3t6TuSed5rJ+KPd0MpOjW6rGvYBSjfje206lXni0hkAh/yAfjU/QawdGU6Q/qVHRxnlk++WyRWsO+cgcvH9tiFjA3bSnU/1Jwf5qvm0ynuLHf+KX3tyww0L7cZO7guMRe7+t/ImSsWyCM7rKKa/kHFRstn+hmbpu3PNIceWne2hK8OKs5hO/F4qbAz2VCE8ZLlDpgssGUUfPIcujU5ngtC4qUSLF5eO4SwSNOZxzXfEEIdLPY3szkjB7imkZyA3Mo2qD36FZmogE7MC5i8uU6wUII/Wy4Yfsa1p7MGMF+LmN+b0+MCia3+wsS/fLP00T2yyO+0CcYqcBNj+IDX9l03JCE0kiXIEj4sSPWlZqkhqiIdE6w/JqfY6wZntZoXINfnhQHteDC84AOvqjhqQQ/zY0UhlYUKcimzydiWOzmeboUGI5XdMSkwpGn+UUgwBvIVqUDkQpbyT+N3aywnAtdgS6EBSiTo6c8WTgXF+EDg8avOMeNG2K/J1tziKg89nrutawV+XPJREAP24ndcQu69LnOq+q0u5m/g8liP2uRra6K+rL+emF8VQo7IL1o7+5atx3wCwTUjxdBe4f0rIUTOt3XCc4HL2BeN7k/5iBvRYtYffc+chKzxaHV/plgW6goJQ8dQNdc9InpFCyQs1XAMKzqA6+s1TPHTscBMzK/SRcT0pz1bVON1T1z1p5duR63kV7U4Q7MNcR7z99hG+qM/f0yReQdPCWLVyMOD5wqj0+nwvVsXIg69UA2La6CEcyPywaqO3QcYl4cHqxmgzTzau2NVSQTLvHLIkKLf4IWc7BRchajkyfQrmDSR7D+N6zohdNmlsqgBV8Uk4Em8M4RdyMKebjelpNRw3MtJqHZ7J9XKqtmjpDq4hBbL5ShHB88g2TodF+8RAzefWULHavYEWiD4569ZYHvd6EdZoPAxlB/uzK42XauRngiBBML0ZrffPksU8XpwvJa1cSFdaryS/D+6x/xt7vF0cpxUnow8NAEEXYPyEegvpJ5g32LKIuJhlSrjQhQVMMsA+qgeNYCVUgHWPT2AeB5vBkh1c5Z0fhPoXAj6nFNz9n8mrmWSN+ZHA+f1SoLTMLNVsNy+w4mJcIFY6R8mIoeq1oYb486Akt06m7WXkZ7+ec6mBihEjM1HumyeFIfyXswI1IEwoi8aaKJG37Ab4IDwCvNNPCQU2c4QQ+eEybeZs8bYosjV/eGiVZUN3uywn/j7gpfpW20gNLQEPSnhXOMA8njWHMHxCbSv/dfJ6JKK0Zlw8cVLHaCE57rUElI3AOWEktPozVRLBgeDj8mbbQ8OqTrws+Yg++7Nb7nKg7DA5zGghylVkxjlhl7fOzzaL7Q+YapCg9kJ6chuDcjcNo8f1OzsTE4Emp+5dHObS+v7vHLuzh+B5UDThMvlF5bYynIfAAMo1IizHz2QkllTG9UqaKsmwPOVtu2iLt/4Fea1JJCJRf8flJDhgZS2d0GpEN84DJBehijXnIVa4RzgucsvXpxoP43KhxEUKcd+ApINz/drKeOYHlwZJQirWTZRrJKcuHaopt65ZMUdIPL0meBkO9VLmbT2I95GbNFKWduhjaVyUc7t2khGwr25Ad0bVKBo0MH+C/tP+1o3RZRMMbEJSXlMDnYnz7IPfmEClsN4Af6PXtwEFKcIfiyhBj1YbP46aLEpZ4KKcoxu5oD5Zltwb2TT2WiSZe7S/VoGG8xcRHt63AaQAcASkdmlaR0HFSZ1u8XdtngHVNCC8anDN2J6BP43vJkOh46edfKNb7aaUNLUGHOKOwzBjP2AD2/KRZwy/o0wKlVIG3vjabZWLGaQjiEX4pmeEeznohT8b5Raqx0/Zf4N/uNSIK+8cAHSDCwfgz/vgv/r6iO0OoA2564T+jihP797JPmBVa3MCGL09XohtnxscEyNthkUAOnQUPWalGSlevAQeTMABhM4U+etuIK48+kwf07IgNKh5h1AWhknvg3wrI64YmQvM2L2yKVVXPk8kMXC5H5FoC0r8Rtr6bDvb3PNGB7cONfWKvE5xgZRj+S3lQBxLu3rnBLMDTfgZ8o2vTHLFV0BPO5gqO+rwGCkMunvTbmA5is3PSkuSgBSLkXXFCZVAHZ8OyKdjiaywGt5HlaPP270U0RM36Awx3jn5g1sjJpWveU9mbMjsmJkm07xqilgmR2fWpx4FpiGhdyPWltulrEu1aIaoDKU16lAOVH0YsdrCW0LZQdUborpcEujY663EhS+NHWJV3D+tAurPEqdkhPYi/sfo2c1sIb+6W26SYB5pXA6VKOImHg5UG6KD0lhiFEcfhhGcBTFD7CRLYSYW7XUXntKqRugEFvkwmV+CMYM2BqJbZLSrfN/qDToQobEQKhJ0LKxqN+I/G85XsuAKuBOrRBnl5cVQRlYtZB5nzsEecO8kiCouWV6Oa0nvCBWV2tYGMqeJgOT2Lg2IIbh2r5NLNfgeLmQB3UwkDhsAgDz5kpiO0+C62vXLO40X04jSjye0dX+qqOL8h4YkZWn83XdggH/dfYp4cI4aXgQFTeqZVSjQvq0e3HBiy+CvhCZKa2xqVK0lxvG4ZB4LHAv4/yxPx4yWGYZN9T/On2/XBWvUSIyWxXrfQhbudhb7YiRg1YIIkg2rNA1yu5p4DRfCPAplm39krCA4tcZ65zeaO7lrkTktksIqFSMHgDYb532nPAK1nwoF5EUa4orawTcu4sQ3nsIJDb7jRjvpL99iwk3MWS0pBrVT5k8+t7eZQMMJM3EnhSlHt1UJ3Cx2hWuzonzI63kKE9cggMPs7PCqtI2Jf6YDEdPu0V7Ccl1DnQxdIrIeSX9rEjSzuEudOYK8vleU2BwmpsbCP2TxrJmEoodRphKRCr4a+ZNZfT6yEcLpKGjnPwu4cuHMbp27GDV6gp3WBIKM+Aa7wBBAYeCLgMxJ/x9LNh3OcJZ1P0+dbz8vh0KbeN/NeecXrSKGSpuJwJNknnuOc74ZaXpaaMJ1NFMGEukxML54JPCpyAzql2rHnA3Qu/lAH1CY2ldNCPk4dpxtOdzrzkjHDxJK61V6JrN/hCtd4HJKGcXeqlDcNsFcGMQiWrmR0GM3jwQefLm0HXkhYnuJq0Yri2Ou3ySbi+um1l2ILuHCBkJ3q24BW00zecs8NLkMDI0qFThvROidLSiNUvskChsONhIhO0nYaKqsBzm8rgTit8JM/we7f0RP89c+DlxFQapS9UDXyEnmrBsTcULvfpLdo4GYh6ZyBPvfmLLnLko2ZHkHQmku1j+Byi9MVz1U4ntvYGcPVUTpu27R0NN3SGlDsBO+ZoLwiMG+Y3UGwORc1vH9nfc+Ka1A5HVoyP8FBnNvFWwZIkumujJJ+m0g/qKcH/hhEHgt2/PBfEephNpe0aU9li3xP4d9DxXqc4wMEWqz+N5hnTmq6bPw3f1cklchd2R6x45lSsld46SzfZmWUAmnuqvhUyg7nSVerOZyjkOA8YOUdD2FT0nL63jY5+p7gmPaD5eCrjN1FZWsuVqaG6iFIg4xYbIdCHX4mHyizm4eOCnMM1A6DEgFKt7rN/dGhFUXijHSxIgT5cFmhUb0iaU3AMtGyDJ0toGMUhOebal1QkRzh9914hlNMfAuruFHngoQzE5AK3Q9+G2vXAtPEg0FudoTZiI9vSIP5hSAot/seP4wIgXoW3rCL8zxWh6+q6JyDxmrpbbj1KAdaL3KJnIyma7oNfKdVJEm6gzrMN4vUE3K2HQUAz/cBNKq6JqIMZfI9DChnT4MDkzm6ttuimapLA2s8R+TjyxlRwm9lsKCCPVyV+TJGoGvyS2S6v30/V0EArKSki+N9/C6Wtz+ht5ln2Tae5K8P2rwMjMNifVP33p2yeXkCJMGzJuom0SndJRCLnONIvdsnBgsVkp/9A7ifTlvcdLTbxZdp6hbUM9+E5Rd/uUnUMqQImlbZYp6SomQfS9vJwvd/LIyyeNjINpgEV+rdX6BlegMcxO/UUdLbJdTvlEppqF7zf6h+edboKA1wiG1ahchr/z3frntgX8GQ/xpxgL+gWc4fz3AwwNMvwORvyDvbHKNE/oL1jYDDAI8u75GBve7FEW+OthFctCtzpG8GAjyjw20MOW3+5mxdz6nO1NZSSUtcsEq27gY5bL5qQhEqMqxYe807dc/4tb0WkFqv4sTa5dU8Ubj9RS0hQzXo25d6Z90eGU2IIXeFH/ccsAsHLIcHrlHOacnqaP7n6chDiNzLnIimrONlWjSVhyrVx+fcjWuyhLjJv81fcRwoFSmI3suDTSQVHD8uE1X2PgrfNchc35wuq4GGskX+hQ50rujSzb8JjCQ81IUu3hGC1u7U1XHIileZMXD34QJOFzO502u+MncQiwmroTDtzSiK23d4orrkNPKWbgUqNJyfRSnuQyG0sgg1+FIVKu7VkepjYusuuHx6QU7td13+36zmLpm6Shz+tdCytd8FZAiXzBmOB9G/ve+Z6y6m+HZmKPb/1qXL9DxP5fo7sUEqXyQMj7T4vDm8fxBNNowOVgd5PMID8c2RUJ3qFv74mSyJj8VLWCN5ROs9cULT+zaWzvqkWBQwozT+YOoPvP0Eg5Np+Oi79FmI6xJSLNYi/MbAYcq6vuf+877wVgfS6byPPBl/x7EVVXF+WObfGeX2IFKFY9JR2UH36y9+n6zD09YrAKiLhH9sI4wDPZFOJn/7wm2CJ+HF+VxgMYzlc7Y7/jgJVqMPkPT2D6OSNkpJrh1p1o0akTK1U3vekJ6jv3YWT3sVvMlC0PG7EDjOdmAzqdil2soFjWrxMmPk/7LwNRWFUBsKaUVm3blRuWDUiCTailXpqat6G8oj64bIhN1n1n/dR1LpEVMv7XvX5eZ9Qlb4y/YPSsmyrLvpzxVLA+Yg0uwScZURlF8XIO356PnHu/HQUBF87m0kUsy88XVRzbq/pK/ZRF1Ue/8DojbFYY+9Yh23ypgZBmc/7/IA6HaxmxIgF9sH1xd/PbROpYSTYNnr5BS0aNrBLFsTUdHkrar8uqQC0/mWW5lln0B6ls7RARHaR6IVRxYNSrA+D86L9b15SK3qsiAqKf5lbg5yOt+76QUz3Xg8hszpCSGGBrWfa3EaxWGFzC0ZyLC/XlI12ZmL0f16GJaEFnlMvWCPVEKvmLIZmjq3MCw9HpvxDeIFTu9SGWTs7iObf8/+n12fwUlA5OL9JxS5xLE8Fsx52QbVaUNQHCgxraZ0Rp4Sg0H2ubfWuh1AoTqXfS0SK4sw6qjb1lLUxwLzHsfCmu8dIS97s0pjp+i6rA58Be+uFB6KhOVyPICMsipey15U9XL79y3+dZTDLshdU7Fuwjq+7r58wfO5YWEZtKgmO3635FxP3ai5CNfcde5wlAptIX4DjCl0GTWrwXYzpmOPtfUx3NOoTNKYPaLk+jVccbMC1LXiiZSbo20+swVShHxgQZDeIsnnQSjeDWsiRd+XQedt7CHRHzBWzjzZAX2Ml0Q4D6ZKyupRrOmbn9OBgzyt7O4LiwqtQ1wPiKecob2lwY7+scvpjs4fqquw3DAf9MQIb/EM7hUyB4XJmauY5d5MZ8vN6bOUw8Z5WzyWKezE1OkEOaK1btvKU6j8LTnYA2XXZQx+ffvx50/GscuoCUV3Rfb+BIhgpNZq253hB/T2pnvTGY07PUtTWIxjS9T3FG4TGcejgebKk1/J6QAouz2qO0J/lFX9BRWZtUPXAJfhrIWCN0UTlNtp52DKn96KYysY+6e5fddlrpM7eS1M6F69UtHYuDu7UtT8vQnuWlBlxjY3TV8c7S3/4y6cQHR9Ymp5aIXkE58jlCCaxweS4ZwD1XMCVXkKHIo1O4m54xeYtUj0Xw247/GDCuabC99EkLj06aH67e5XkKomC5wNrukctj0+/u1qxUGtYFHbF1Zt3FjFofksFxTr+or4JJzBIJ0sV6CgPthAqhEbBTc+Za4/X8IvWLIXDkRO0CTIvcpluDD3IMW4C79l/ocKr4RNTjtqT+Zza356cajRhGES/4/liqDEVrVH4IAnS9u66aoNigtf9EK6M6E8RZXUZ/Lu0AeVw0tD1qzaXYwjz4kIL6TrBNjkjUOVnrh+CRo8Se4KBepB1KI5PSkRQOlZg0970hB0v41p2YVkmFih/C7uHhvPxjIpnTTaLmFOwlWIysm/m2m+C689ZKjjl9UzsHTqr/T8HC5qTFGAaqQ0ehUhoZcnfwlZkxK//hhop7s1u5DGwcBRWPCTIxj+QB7Rt2ASu5LuVhOL4fMOBgld3WUixi0QnAPjMA9XI8wjX3mD/BAhLbvtX3Jy2znDF3PT7IX93bFttd1RTcpdcFKOxEyvmz4JkeXQaLTbpQ1GubjBOOxAv8LH2eZfFzLXRG+gOseMkEm3ViUEhNTsGVz3LKviIHNnowJPkmTVxCrDOpwIEb2E2t9k+xPP6IweSDng6uolEwe2bT74WFIuEWkgiEbFKBAMy4bqZUzolbh4jbS/+U8Px4ky78OO1DqBc6IPj0khUkcKRqXqSmTjYVa1yAhX7AOjMQdKkcfd5fXYJvGQBAPI6+gnVYZzViKMJLQnvdp6YrG6IRqhmvjwiLD2yCJORf+7SwV2qnrUihMHQMRji+5rKw4AP4jvRfMF5LK6o+i9Wm5aQYbBK4ZJfx71gIxnhIf/ltHFleYbSsU9HtPoDeSBeD4mQdxPi1gDbVZnYJYPcJmjnQBBAGwuPSAZhv6RPobT9g5dGeseQ4aOaJ/dJZfh0jyGqUMtAMh3Zct5jnpVHQhUb53mXfuB9TidWw2D/vbmGwo2c5BojLWH4waaYtT4gt12+DPipskKrE5jYWy7k/q5kM8BlPJZOtdVtM3h+VOPLlZmZa7ESR/+q0UX9BnTqJdoazui6joZSeQf09I0XAmjPx/D3e+5wdhaI6R43ejtViYJvKQmKBL57EO8uBQy4RC9VuRIOsGEWcC7PRAUt8RFtfB0sRUh7ns1+5BmDJEdQWR5ytWSIqzkVlOG1MDDIddpYTUiAb7fnCUcIMQiVkUgSvsAx2EkhJ+tif6sI4igClY9uOgh845LJlZ1cehK2MKrL1L1ZhuvWxhd+oJFgps7y2iUBGgitxnnPrGf0U1vYvrpChMCXGYhCXHm6Qw/qS7DOVkkOFkKIuQELz/bwWJoXe7Gz4hTsrAeUpjHK43zVhJL+bQYJWcy1IdyCkQp86OFyKx364OpKCQPEvCN8pWCOjNNyPDUmpEU8iSrM3TIGZXjk9z4xSpeghxNkoqdg5jzaux3sbg11m3WXH8rHCRomYCDrh8mgHNGfibVfqbRRnq2+7Z3H7vM23EXNg1Jvtk6ZOrnUbKNtbNCxdhjAK+p5mJOJSZ0gLsKCO2JSc260QPxPr+Ouxdsr+UMsTZE/+tpZ/3O5DVZeftAmgsxH9TFEtskwx5/fXy4S1S9Veunp+R8qZHcBotR4ADW2YnfB4NF7PDMR3H1vsYqiXPHCS4GOUHuuATUN8RDCXoI5aCGI7pB7lTi5ptfwMf7BKD8lBuKj5h7bJhJ6sM/qjd62+Leg1OvNhh/uKoLJbTckfjqhTOweAtf3DvB6pwnFHhOWzJ5tgrtEcD6mrUHCzIff+FQ3Hh67ORqvCV7j9mYjboqc5/y1mNBy3U7Pxi53Jmxcrkj+ZzRlUtj8K51lpfQDmtT8ynFtxNhsQZ1d0vr8+PKmD4PCSCjEhbPDxGFZk6nOplGLf7hgZXPs3ZU5vBFXVcjd/NNm4XiF5UgjH+8aWj7z44GNHaB2NQAdGV5/zsoAg5s7BBYRrN4gfkOT3eP2YMo/MMCc8d7OrR1z+icevI/xDIt2hqL1yFC2ode+I5NDe7c7f4OZaoDEhqlzqIJw8pXD/ABcGjidL7XTtu2/YQU1fJSDXiDbCw3b+rJ74UcFMWGWDpJek1xUCKHxliPe6pY+q1K+iYPmCj9KUVeeKkP0ZQHOsemlm6RU01LjQG8+1fi9JU9rb6fRPANpS/2Zz/U4iR+p/hXx/WdTy7N2slR9gqg6PBi2wHNjpuGKZH358UFJnGQ5tQar5VQcoNgK371s+O626mEHuY5EvSHmAzwE9T9EMO6B+S5/jFIqdyA0oe7orHnzTSAI7GSFSMSj47x5ukRqrKhEdJcZMnN4yd7dYzTZXaIEpFd8qNJBjyxtxdrQ+Jx4pAmOaiHGVtgX7NbIGvHYMiM9LegXycAwQ24BLH9bZJ/bubTkXvAnaGhlnbwvZZ4CcS7/klj7dFggwzmnpH8mXnTzFseAj5hViTYZTJyPX3ojegL7d4Xq/BWsEvn0iZbQDXr38j+zWrKz3RPLoejAWZnM5Ds66f9YJ3jmOJA+E4OQK+FR33DI+8LgNfJ5Olm/U+b40qkk/CMfpVqruI9AnRhJeIDqTt0uIbHET8yverEKQasDFb/AHFCMiO5CKLgwJ6L+JQUzQZwoOfe7aQL24LD/Xc3gVbjnqNT0bRK9R5a1KzyRrtNInyRKomAdFHS4ktnRKqHTTBbo7Et2Ju3txwDOdNHRFWQMiKFR1LQpM/QSFgbTsuDnWT540CNtXpmO4zmkPo3nmwg8XiMPSHy0+VSA+TaA3YOeCY6IveCnxNkybabnwksKsk/ztriHcfcYbP7NiGzhIxyoVLovfRTW67KgLOt71JSHEIFj2muYtQMd2JCVcWm6lwMJbBNjHlix+i4OuOydlOcmSPBDdtlmjlw62StsEda6pNZAYFC9BPxL8lbYmzdxWMKyE8NOUYZtTv+SNY2/QiE/xlammrUobZIa98N/4jSTNWZ4B/6kxcT5LpiKuyBmPMgYQTNvZq++Vd/shayjmgm60BpUyLAE6e+4hvujza8nmSSDt3lk1WYxaXKszO7yjC5cTM8sMJcerPjIcceERs/umXOdaQNhf9i5Pu83mq8uZfx0zd8c2OQOPD+2gPS1natTqZI0Tffyb+ubnEoZPJetZVSuEc6gj+I4ekEz+qCtVMyAaOGUewBUs65SY86ZP752NTj4gS8Ua8eksLjxrsfQXqzN9zgm0IDBrloal6tPZYLLoIKPmxsuCWWSP16uncCktfmmRDIdOJg8UIK31ERmLwGICIS/KA/gZIHXaPi5JpQUU6CgvIm7HUHIKm2drw0jQU6Py0y4088V8pD4hyMwoFc8t5UIVodFcv0YN7TwAL7iq5cW9sMgQXz9BkNC7miqPWZn6zkQfZteHi7zUuFSHRklvHJdO20c1rRdDGxU/IBpUy/xFCiuFBsTB/k82slzLBE5N/TOfWr5upSvj8S1R+pQwNEWX5IUQctvfsno8FJzyuWAEPsq2q4I1RKRKNWeYHXkvN1gZlSYzXhPPNN/eyB8fsrvvVx91e8iQR6RUiX/lNw2UqigyXLML3RSfXQ9XwUMKiVVDTVnnkOaZLJOys7ttvgJmQ72eZy89Xn6/YwlN/QUQrFo+nWZ2a/eFK9b1z3UHhexd16Y7K4WCV2IAFV+55buQ50zRk2cjTx6TGdN5Z1GX0GcOBidPmTSYFZL1EHF8GoYhu574O0Rg8ckys5iJF9EFYhpZYcVIaNoO5rETbn4jc9cri7AqfCouW5p5+XNzAURGzDJ6HCuF43mY7uL3H0c/Ep171Is0S113rlbteRjUM7oHhKA6riF40LYjTvzf73dak6Ag+jMlfImrQodI428ByzBGPXfLMNRb2wIChuPxnGCqo8YlPjbOQao8nMV78/zd0TGBLqnvnfI23Q0uckoYJbtIW6s/KzHMCJc47sa7RqUqvVIIv+U+gKEpSz9Tixtb73MyrcnrO8YW+QFlZmDnEPDCx2JHNvKypLfp93AWWeQYfX6HC3i0zgput4rv5c+wXKS8qFXMxReCJgJL78y9ZRbKYpvr31IpuXufJx5b0BX3nO6F5u42w5qnDk5CKfwclIr6E/8UU8qdrRoTlmiys+ybfubxgQM2MCaKOVbJfPc/aYKlK2UwUQsKlSRXKSr8mxMFanJzLzqagD/fxQBfu+Go9h7CHSojALoXTE7yu2i2DmOuk5cRkbxO858QHXqou0sBXzfeikpmdRziIENL7aI6Ynq4lFEF06m11d3FrBnTz0FwOjqyS5NcL5mm16goWEJPuO8ayKY57DWbJjH6XavNge7vMHnC+sa5LfMpWsW2+vylgkU1S0m09o9IJrl/MQ+USHKsBiuhEbW0eq4zCahiNLsbmwlYKIZU/+pQ9B1531wtE5k4dUjaEJe84DAPaNX3T7vjqpC13I0Lkw3R+ktioG1+0U93q2hN7NL8uUpm0Q4TYRyg76Pr492CyM2eMA3GjttKeGyuefElecx0LUdXGaNtA86ouR/hat8goEw54s5cmPp1nOZZQlM7s+jSP0CGsILw/0XIHR83N5LO0jG9//HipzEPhhF0m9kMBANTwVFBIGRItm/OrThl6unLodAmUxVqR/8VvDtCVakiM3pXSPs0Zv8ZiV7Dnjf8SeaUARnQ0A4utaVC7L96v1xeQqD9qU5Wxo0mN52iqtBrua80O5Xlw4I93UACM3clzu9LNV0BzsiH0lR39aQ1nme1JV8zeB7JpmGwtkZUepx/b+t2CbQqcPFvRMvUU+xfoGsFdn85WTyytkkItFvtd/75Ab11TR6sryhIQbGF78BvUkG7Oq3Z0SO46y/X50oW96ZkheYgA749/mGLpVYlIrvhx6z+IoRUxbSdx3El/GNXzR1WOvoCjm+bdmvmrfe8g1GLDit86n7LbPnJbP/5MwUFDQqhLws7tnkV4kzW7G6RUa/9NSjJlLfNhWvjKChlow54O9n9vTF7oqLdre4aDjfZh5NdeThiFBoLydcJLdXmK/7kd1JMESiCyZ6HyeE38DuM9cN2hUSxCjysK2ek8dd/q91FAlSnEZ+Tn4T08HeZDJZUnojabagLBt1cWtk8+0deih3IB62rNbE40kgVLttHrB8KicVBPF2dXLBN+uuSlxkU12sjm5jdwhEtv2llYPaTo3YvMJvJFMNH6uzh9IwrsUeoHcC8ugsI+2LowYmrgrRuFkToV75yy+s/Phr6+r2XDEb9bhoh8rorBxcoRNCAswv1IdBcNZqnK6vAnF5cwBt5SjoSIBlc6yzh0er3swHBl5cM0zkXs7sSeLykHMy1vC+a+mfNxtuQrH5w86LtKE1jr5Vc8nsNpNw44fomD/ot7Z0GDMbHgX2SoM1rj/Ay7BFX9DwwU6GPrrbHxgpvivHmQPgJx2qCfRiSzjc/GNiVffL8rfutdtvCAjUULka5aZ/1NzJYlDoKfJIN6UVbMaHFpA/hW0+67O6Skg3LltZ0lGCgB9MVgAu8riheMxGqKCTim9GU8CnQVcyvBFAyRUoqHXbklRf7UtZRbNd5/CkiBhLuz6hk1/MfSJbTtPGjFAJnRu7Og0i6AKzagqm+EisSJFYSXAHviITI0x6qFduDXyK6uVg7LiyUiSbIFZqHjNd322lfiCzIRaWpVUI26lF7IcVGEVdfh3Cjn00lyyvn88EQxWRTgMw2WfT/jKgrA4AYwyoN2LCNSuSmHMUmERRCFpJj23Y23x0nTj9cWTIPkFZii6X5PbjARa5IN+WneUUoGDot8SidF/sRPmezIjo7Y2yZn+GkiZvurE27GTMQQPXrR9h19vf+4NBQgX6xTM0Mw97atCu56N1YQn1zeIUl7TgC8pT99LK7/5gGs1sUCa2NLa3HIjHKerOFLOJnYMLjXeZrug4S3gnlGbaRLxKQ9FP67KS6xMQpWEUNLtjQW1nPaXkp6gnMcv5KmbMCTPrj3RjNQJcL6+K6S3/OTwBJI8KPH3Yls1Jq/hNkdzwIC7cK055zh7pUfV2lrCkVd3/pVvuw2dbP752CKqB2+A5pK0joIBwAFgJ7CjaqZMt/KA3aSA/bqGfQEU5sNZTJNDy+pPSIqRh3zF9SmliaGdfw05Lj+d2YowNCpsJQqVKBionmjQNMIDFIdKq9j/6wU7ZKvL3pCmhCMwe+037O1TzXB9k/Rw+nPhpvN/Jcm7AM4F7A8Mqv8qRXMcuyNDCHjbRc4kiff7MnwfiStlV/kZqGAYFDWbc1dY/oIDlggUxzpIvYmd5eI7nyAxU9aaWdNsAyoSN9uD9GQckXEk9YzmDjKf2BVwiUhId6ZOB9bzsG0bh0oJnvnpSYU+hc5VyGPyLZNrKNpHBm09Wqd/y862uUpFyXC9nqt/BoMV4omiRy647S9SqPZ+dc6t8G9KnPcP8p9sYNaC3Mq5E87KMTV6wwmszdm34W22KGCfGp+Gw/xS+pvDcibBp1GIupS1lPNCkYgr1dC8SOmEZdEMwkH5nxTNtiR+pKFZnIYD7dzTkUjP4EonxdIChRKAox638wq5Q2+ou0T5TNXCSulEueHUNe6Vd3Q8qV8KgyMdms5TlykEkzgnRzyOr+W/y/frVMWPZ+r0GmRzd2dK5q5kBY8wWW/1BgTLTda0QIOpEV3fYG9ig9PZE36G+za5RDk0sIogc9vdMEytL1njMo06i92yAbJompE0oHqz4qyrCHoCu8JO4sAYBYGJI36ke0ckHDmxN9oqPygxlN4WDR75kyLtENzD5JBKbIIuElZRQIA9DR55AfgRwsuU4kGYzzrPBz3D0mTXZQZwDhrXIYyqlU1qFRKFh8QDEf2mWkXSZ9dS+WHwBEgZYpY1JSspyH4XaFYklygWc9XUSOA9z7TjpPsGME0agEgNk8DhvnOXxI4cTg3epEy07o7frSfofW42fK2RwVYhxybiEzlS2xtnRVBDmJFPtcL1Mw6ke9V3DIeHpptS3ld0xiU6x+pEhzvg5fidfNlZsju7LpnMni4J9Fjso6E3u52ejEkQYgAO8Ca8kqxk1ikfN6uR0HDhygFzqdVyVRAqmhZ+7DND1OWPSV0/D9ujT2RSLblgRpMRW513Vro5oMsvF7b+yq/8THpO6T08IQ3znquV2l7x1oUcTqmWJ2NXhNA/QhnSDsnONKarC/iHR2ahy6SXPIVoEwF87oPTqcxZhtqtZPp0xXkKJbSvojWqyYVoCX0DIGgbnMeIpatOtCRXXPY6ZBdVkm2DifdxkW3rsmFnL+OsQd7XP3kNaUpHRhP5o0NdrVfCaOW6bjNArE7k7/Cb+V/HwhsQn1ATqCzmAcfXSOclrm15sbCrYTBAL9r1RmNuiHBpCjkP5VAIDKY/e9sVRRxInLkSe6JXIbrw8gmzyA9D6yNNizRnZ6fM458bjwCYC3KQERKFvQ6T3Ekh5xzP884eoQh1K1QbcftJB/bsvR1CkrejtBV8SfqyGWlOsGh/Ma11hyiSMH7UVeYQr593G+mBZMBZqaOj2YtKWjUuMgn3/dU4xzgZAaqkWzBCNq6zC5YDdXYGW24IQbRFxBRVllaIrMXGGpFt5YnPshHxC+qosrEBLpBrl+4cs4sGEqRwMnTZCEr019Vo/YARog3gpv41Y5TGTl+S2LKueGGvffPCai1xX0sTiZ88xfBxGwSZG8S4ryq0ZST2CepItg3kKkTJG49BpEFCGPbfYBjEJT0u4co8PO2EDO6hSPBpfg7nrl4FBi15Fqa828GsSDTKXAhzddL4oZ4SvsSYsTrJ0dGNDxUG/Vat9TGJHqdaY2QItGRvq4NIy8opUEumXDKFy/ho4bfSVLLCDALM2H4v2hoobyly5ndgBBE7yZqYQkbfZ8d1IXadA8HNi4Ii9D/tD/fIZev9B4nFAcYOzoF3k5+SlpPauQnL0XsAA2usjuz0wVqhxV3x+4lpO5UyUoqF4uAv45jnmg9k911aeNcParHc/KccsJ+2NSdx74YZeM4HRbI7NndKmpEYf2ZvQGlWudzmOf1kKxCVC9SUhCKat0JROoc0YIsWJA3ldUt+8NTZhRaaFPY8sygqtY8zlF7ksucKbkm7nvh91LePwZLOTAzEEHiBlUW7eXugN+ACCdsD6UjSfAZ6N3sknM/n9Sae9XHCaEGYSX3hwvC3Euaa48gNJPCioITdorEYFSc6GSze2Ed0Gpj1vsLGHmd/v16h9l32CekUY4rQjgiWOnYl37v8tGarE6Un6zh7Jfaj9cZ/p4jRTBq1rl7zdCG0w3UBPNSKczebyO7Vi9Mg20gMrK3YgquAoUlIpGFfHox4u8pAQIGhNWZvv2vpqWslTrLQ8ZvvYF9sufiJtoyQxRQYpVJLVoZWDe1ZPsbNFBmt0QzQ2YeDvNLdhzHi2SC6AgcIXctEpyh1NgThIRwK5uHgMQ9pYBmdegErG3YkZO0ZQWmv0eRqat/3wFcBTpu6RZLqDgz85mm1e4IKXcmiRkR9kuenk+Ii8tP8H3OHPI1X+KwmT9aQrQTDkLfEKDJd3L1q7tRA/BpaoNOfNg7OjhW1AtzM/PhYb+MAriGLPZxDt8VhDhroFXnBvWYckug/sgKDCWOIGzB87vA+64hggof29pXW+QPauqVd3k8bJzojgtYhJ2SIgAvjJ8J5R0jF0sIdC4tQ7WuRL9kwmxebOf7Tm0gBR+QT5HKVB/WKiE/h3yf+FeTY3k6GM7ls0dnt3CPF4b+pWEW97bxZPQ/SAwWcCgPye1lKj4XpOdmhqUcCLXHo7SHQJXRDI5k/CazBu8teeZwpTtNY8IcX4Nb/OaV+2/PVIajQ3e947bMh9/wMQyzPHxikNVtxCuEysEX0zFnDORD9k2Zln65zGxp7s86pXz+buFag6LUatFNc71bbq3XD8TY+3Qj0YKPQjnaRYUWP+S9rGBGGyjBzRUfFlVaO2OZvCQ4LMI3LuwMzaJCbYNMCPqe676WJnApbEd7+Fj4ygUakaOWqVdyaxy/kFf/t9HhlWMyXLCuhWEzO49c7PERkMWmJVlBhojIDDnkeouVain409CYcdcqLdzmUktcI4ls6KsXjK747Fjbi01Ujd7AUGyBkdMrTPWp36Yb06tgpu1rlQBccnaZmTKM2Zf2SN+nQgn1+mFdg7/alNUt/61pOIzHXS1tMvqMzStzwAtwEGCAV5J4RMO8Qk9MhHlMWDsYmrrHydB/R591MR5AE74jyFn5XEa1k+DK3p7aa/vJHL5hQhvQU08/IEFbf2DzYD90N9z3Nh4cVAa6+ZqAkPivEK2EjFWHfoXcjpVMlMxzmkTft7Dif9NbafNYJQ8YIkLXRwEYtr19VmRQAcx+Hp0eW3Mgk5YXofUX5yWOTKo1T7yoB69dgBWnTc9IBd8LNc9Qdb0QPsItrbgwTSueSFS+GPILisSfdH1agj+v8QGYGLW5UyqvuYxO5kKMJYKcRgrt0/A6IDuXcFhBjtf6Cb1wpaQ5kfZdwYsNNyOe1wIr4S1Guj0T1CSa/h74HSxiDBAY5JBechttjM+RNABoBqJqhuQPrjgsuYtSTQyD7U3f1TUWvn+nVYXygtb9xH7RW8KHPbl0aAUWc3TjhdUfuE7iJCzysOBaTni8Du9LxB5lO/cHQnPztAyf8Dcsy2c1n4N4QXKdFPZxlDbnwZcyPNOG2cwAoO9p4XVLwkH5KcQ1q4q7nh6QV6f/1J2EA53wEqLOSTT3HKUgSmHTqcaSizQ+XybzYCqEvjfXlc0MYV/Zz/FAcgwfnsZ0Tb/aPZLDwHOQ0LsPG3PWxxvSZqb4ZBC3h189jdBGH1125qjPMGiQb8bfxWhQ7Q01RsOLrNQlJx6uoPnyZtvH+qRlUdWTmyLrZO0IM6gWYEMaEDNVfuS+Zb2sLY8551fa+oxB5ZciPkFb3DaVBU/s10tSEZe8qDeK6E5/EQWZKZt/2N8aA2/OM6r/sPtW32L+eewbCoFZn/1Axl5eoU2pEsx89LCtksGWvC0uEoivqqaVBryPbHyIowrYg+hoekSmlh69Y+dUfgzn5neDVUzNWhFxwHc4MTRu0XLK37h6kJBI/KrfGYSWHBWTcGm6gnZ9NV3gq21lRTld349KfUbtSuG3x13iWeGHZfehWYoxEVVrWmir6aw5dOndowLU7ZRfcCPpZ8fhzQHqY0Bp2DY1kOlOs+vc2DKtE0YqW6r6HBbyayNEVUw0O2Ex9HSgudwhbbRpVOfQEINarROqPm7ZkNLnYXeTdT1wP9Dkr2/W7Q7kAWLBKC60t1nWTaxIE2Pka3StK8SCf+syFiLTMb0y0DNE8zqwcuzBxa7rPyHB90gKjYycJG/ljYC1yKwoRAwOwQ17v2aBtxWoqanXyiDVmt+eF5Z6CcrI/CQEKJGcQx8RBLsWfsH1FOBwPNqQVwutjR7sHzRwJiXdJG2lIzR7gld/clRE6o6fHxpoFLusIqU0T/WfUOPjVPwHC7zRNhS4rEgAWLdFvgA01eg3T+8SlJrT375Iu0YVAHMwF8800/R3uIhoXW9P2YCmqiJbhjA3ygjPklePQg7XZuhFzZ3bHQPfTBjyAayZcLYl32ouksxOjvuqxLDQxb/m4umSVn4ueZ2bB9P49vftfKhQo3L8qbnMC05xEiKD/qt9BseGesLJfq7jF0oyOJimj4z67p8I+3d4MCQAGXNO0KyAOPyJ4OtuCt4jGK+PrwdUADYf9a2Duau3BLIA2mCH/wSHkjWJPbdVKLwntko0V77isbPVVZW6KBpCUrJCf9imu+JQiT5dd6WaRDZ32owPf6X/QZZBV/ShhWIgRj9JdxcL8ToTcEH9f4X7bfAOILNCHfChG7LsvQpQDBAHfBieq0S5H4aiOSIkiVNF05je/4ekx1mXLZsJQuOS3Ne79wIHW4gIB1WsiTj+2rSKPSFK5JhtNy974Mh2CfvZuR4zlO1bSNZRwu+SY7hSbHXSlhosuHVwQhxxj27Fjgi/0h1XtVOsSytjqdTLEH24hONgwioTOYcufqV/8fMy0m+4pVNtiZ0cL7IWIkHdLGuGWM6hZS2XpspJiiz0O2JRjzAdFn0YzMR+CH96/vtJr8Oa7olDVfnxgh4XNeS2SeMbalGR/6rz6r2NkP0sS9fCr0yomyEQYZhcPkx1QtuAYNAiEGqHKmjdvsa/zVMwC9jga6f3e1NXsKFOIYkJys1TcS9rUSQ51N8Y84u+zbhTWgKhNcJ6ZQGu0TazqU/5HBia3gjS16j1t64u2wUuhwT0TBN8JwRKTNgpfHjsdDfEGv7P8l4TEA7SgVyHTwmOsWm/V3YvZSwNZ/IkZus75cldxjIFO6uXwY9vaNdopJTPC8TjAy4YxeF9V1Hh/ykNw/XcytGuRqieaCfDXC5I7meI8dVpNTEWtVgmUj77TKrBbOaazi9kpt2+y0v9NgZDS/9A2NisyULRWXVhAR/leM9PHfzNGeOPDal+UoarrQ4m+uFXZo6ml0R94RaRvW/+rx4O6ZRbRzmNgOIW8mlEUlbawebZpT8GPYFE09+3RvPdeI+nB1LlkZAJ1M7WbqMJj+r7icsMjjbwf7SfliYoGsUPrnoxYc9FmLRkplJspbrtwg0MjE2uvW/XryCUkzYNX3iSPbH0tEEJgtpo9B43WAltqXosp+GGOmwqYkSLxBkZuLdwGWaJegIh/gr4J1QaXmEz1/Pz0lbck4AsPextLaLjO0Oiy/pVszOr8yI7zUdl56LmG33zqsLFmAU21vnH3Zpa+I5oakJHb82ddTJpBQ19sPQ82iTn3wZREt3yz3c/GNAU+xlzYN7scQzs/78GEc2BMxL2q5eoeRJS/67Gfz5DBwt6UXdkr1jxMYrnvHJ0DmqRo5DHWrycz2oczpPGGIt3SBnEtkwmEJ2brRgZaq6DfniHNSBanE0/jUejTViWPfcC5aaUmaeMkpCXQ5aOPmAEhqGf+21HSKuY29Hvr4dWGJudesuPqcgGvDPPFiAFnpHkWf+U6a9QjEZfTYvWOyXKcETaC5VgytSJp9AX0LnkiC46C+M2crNFfhDFs6E3FZ1tWOADT/grjmR+EiRT+JzzDan0pi/yLjd81rbZGKzxCDMTA1fPSYHCd51fc/eztyTDFHlIvLVAqqUILZ5H23OMvuSS5c+mIdIiRMUR8e1+/AnU91uEu+mnbeZF9mfyVlwGeEJkkdcQ11VCjFH3xA1AKUAxRTuZGumaBYEACMSZM0wU/iXkmrTyFC6ruNH2jWZv0Mxo42GpCNPg3qOBK4DUJGoKhTHO+y4Q8xWl47lAotddZqEjW92rNx6oBIa2aUqaPRsIfKQgEfw/WFC5idduE1l/NQJG5lvjy7cyhHUva0oBJCIxr6ovs7CeP7u+d8J8HF37aK2vY0Zfts41tzSps027/ryqKQbpq4gr4Au3h4qUFofydrBEmCI4nPzpVxhQsCCztv2F7Wi2BeVRwbSvK2+Yob1EO8ShQXNDQXboNwjU1HIg1brec1qW2u3MMphfziviwRzjC+VTye8bbj4iU05wOXkw/zMR24yZNXQBCh/6kLXQylYjaWqHrDup9Dc4fZ/Eyn4tArya13c+/DghVa84gB2BrEbba/R7j6FNXNEW6e4rReOlcaYxieno6Icz0JqushIlEIeRrh2uz9ubnXB6ZNedSNXSkDJFrUKn4i7Nzkee/7ouIrhQV6b96cSaj95kEb8/L57srqMzG08UEyz+8fJy7Dn0Pq+U7Cs3mrATyLWpJ7yvaJWSam93wbuc005YVZg+3zsED4fMo6CKtz8TaYcuLLhSvyADcU34FUiI8UQyED/U0ulWdbQL8Ub1w/4Z3RSanFxCB40AVXUo4ks7pOCCXEkRSfN6SsXYHynbDLYhs60wzYdImYFnqjvUdvn5D8eRrD+mCGEmL6e0isP4j052gh3m1AyFBRN23tStDnJUHwor5k5EncZbiBr64+1IPxtu30jJsMrAtatD/Fk9My1XpeldTbRGf4ZR4eabwIRr1mdr2iI/oKxkJkY0Y6npCexnVLODJWbCZQTOSKayLYYyCH9DjHA1l4DzE/t1bDUxVnxVAndPI8AFQGGFeZ+3p+oCR6xWHJbdAARveSvjfNlugJOHJjmVDaibacUjFedfjJsU4s9fhFz0NGUJTeESCHAWQQNWVnW98oEaHcXtonENH1KPDxQhsaJEzqtYo0Ux42SguZPjosD2Bpcf0CjxVtaS/2+j8AwjlrT795qCi9+pEFC42+jAU23vNDaNAoxMsw9FwXLyGg1VxRf73kEdFl1s03v9HVLoqfYvAWkpDspQ5S4herViiKiQ6qSXaZPaSfteYVfzzFweXRrJNeDCzcGy5nViWBBviBBqxEXfkqVstVsoR3NauPJMjMxUAdSsgeGdJVPoWyEcuXENd+4kKc9krMp1B5UgI8kFZP62yHQjeKSXcepf58qw9p039Sty2Bxr4mGecTQgzmctPlbeFp/iyDKqsaPwdtL5oUfHSmJcXaTxIkRl+V+wkXqeDxT9P0YXpZJRpi/emGfXDKAWsdj8rEiNbrFmbq8tLewzT7H2Yz584/RxXhu07m5u8CaT0VymaQG3SrhNDF/NUSjyMkLcKrk/xIgQX+mnpK6qEy3FGIrXwhoXRu9V/CKzzQUfwSnqP5gjH6RHzH4DLfDvfcbNIJ1CjGM9eRUpZ9lFw41fnTekZoF8WD8Ki6cKFQ9GkdLrxhqFwkYi2pbotd2hDg8BxZc0BdeNTJdjHf+NbjsN4ZbQoTO8UkeEkvDSm45/BJPxxPtA9xTXPMHW7nOzpjGMGFexzxbIkLZCFChu/m85sb/FAflfC/zlAvYEBEpbnxQm7MTbMB04o4lt3LpqH1+Q5AamCCOu0jgEptTfiIufGGxPhW+5srWSWJuudb1q41N8jrGrCsW45tWi3978y0098nPCCE+/TmwuH3PeVTkOF+hEC6Cp/3cGiKm7HkcDAr0klq9q+LazqoGjm145xBhP6prhEoAZ9aZ/ADt9Iimo+S8zlFekvSMwh+b4danH4TosnGn7yuvYsKQa6qcoxckU1oFf11sfcKtq9h+ClJQJ35SJVne6yDluEn1dsD1vbXOnU3xrcZ9ad8hhymI443bpUvvWvSL2H6iZesKAw1+paJKz2laUZgrvG9i5fNJc2KpyMlh5Qg88zXUHIVgE9nKaDQrpnEWMT0k/tdOPJGL1ZWyNvxVmt/BKmC23qXIY1Ct1K+6vhXnqwGAo6o5qfyFhCBgN6u0wvDuJaSoS4xxe6ug5sQuO9W5g5eCvj6TvMDpRw+Ku3ucuYgUM1xr1YustCqVXG81YdVVKOgdrq2sC8qFej/4FdZPwvTZF8XYeIOBuBz3xyEOKSnPhOJFoPRS5yDxuYNmOBRqmdIF2xTcIrVypxyuFSGqyZD9pvr+J0L8IP/ayC/3hie/PcMMKZOiwnF1br6DX2e53pmA7c18p5pWJQmwNsQq7bc2g6JeIG8PJ4QPSaj5XaC5Y7yIKD/ijGl7TAPqishkHRhV5hE6E1nJLUYzHCmoAcKVUeBt2uVLw4uF++ZLWCw9E8e4d8YWWkxOdEj6VAal2kqZz2LFRnosdK9YTpgYgIoVl5LapbCFgR2XLsngrHgjt71nQBYVM9hwqhKWrqaEi5n2ICUR/1BiuIbJWUf55mAZSE2NOoJUuMKRRXWOYqxal1E6/KDDztklqC/wNvI0aV5XhUm6XB4QjsJpRXU1TOgolBzA6JIp6J88T1uTFFn1kyHlZ+y+aRl0joqF3WeNpy/Mssiv6iG0BFE2uPRnVGWlW1Z/+Q/Soo3PI1MlXdVMCLdm3+Ldyjqs0CWvsl8X8p2ZKJKeWQo4sAhKdDvNZpOnpnit9ZsCk1PC4t3qj7dHndtvLGR3e7NnHA0vGwXVEVj3YMFPYGphh6B7AMefbciDR9pZTRjcG+y4NzuUD2F/Z6L2REPOnYyzSSOhMZe/Trw+NFcb+GlgOIhwf/CbiQQnSj4XlZP5VWQ+8LoQb1bJZKbhJ9xpCTX40Kx0c0NeleIGdNbYNAAxgH6OoMJkWdBN276tvTpm8c5+eClfUeRl9bfsJtXxxggjICU5vX6KJ+GlFXYDi4lg/M8QvziT/cwD9vlbi+7xWDocQHKQIXD76h4EUCJnvWtC9JtQ0o6OaVpRQCx0LRL+txOkSPBfunpMaTvrfiNJ9rf8P5xq5q0dtzbB9/n0rHsrduKCBlnF1bBe8pG5y7n7h08R00eJCzMa+01s1HWoW+cj1u6oC46xbQWFbtA5R1EDvG1RvNofQmklK+IFyz2Wp4FXSAZkwfn58oGWii20ByLsp0YzJr1hMLb3dHebCT53X2F27oj6nAdRRZ7JMEDlEeZFwU1NSp1XyBfcwWRF3PCrTeecCiRJYXRNnCGRks4St/mUhq/YGvlbynHwPeZjCxhf+g+eU00JHxRd4obWhdSdh+aurt2KXHT/acz+dIPg7npX2wL3XRzjbzIRvTk9NJwPZ5S4OtEijJOFni1PT9qOwp9JTuEqlwBWcD9K8fkoZ7yipIFRWSl80bdXh630SvPhQVZ5abXpRaE+ogJZZyC5G3AyAfEM1KD5qtqdqJLOaUAxou6/GOuX7oyWtFVQFzC2o3EFr/1IenB7TKzgzVUqk9WlSRwVbjiZx7jL9G0HtoJSUXDB7afwYR2PUmRTNNwAQltUE9GRy5lf+OBg0vxiSccCoL4wifzLFkn9xF5oKi5rrqnM+428fFh/oq9HFwdXuc0oGzl8/ZwICluZQl4N5L87dM6IlCG7UHQIp2aVEBbnqjF+rvrLrY2MpjygGD3jwmwqANy7g8P5IwL6Sa/i5u/O2h7mqEmBhAVLei+HkOwKZtHQQ4HgQBVYIiwgWBD2zS6+MIrW6ZznO8MXBwTuC7ccqdnVBPHFkzZWLgbOdDqNOPSz9MmDEXkIY+CSMLrofno+nhZSkW+/0RdevNkx6hJgohEng+JtXjH1IYvvxTOHFPc36YCCpeslUoUMw9QpVYXDo2pZ+2tiwW/6qoRzxFtZhQoYoR9B2u44xUyyv11zOSMxkgmuy7VPCKWM/tt5jiqFZbZVEbCNn5HzkLONJW9/EDmOh1WNjACQA8GKa/nTzr5udDnqqWLfMO05/If/pc+x6zasHHLx12aLDM+PxxIbBVhV0bk/lY3REHBX3l6zusOEsn4JaX3N7t0bWwNY/q+PN+shEAlTgWhsZH610usxF33wAaDxdSsiELkgxuHI3U82kTuhzxjLfbIAgwjbwg2hERwuZx4ReufxPFBoZh9h9U1LJq6lxMVv0XoCLoeopkFzFIaMECI7gGjZMZR5ZfBL31Sefj57532FCKd2PWy7yRnvZTDaUWAyNuPpdsSqh/ZtFkEwOHeEjkqm+8FC/39ryqwgNhq4glug92aGBZ9a3VWrBQoMPVGK1ciVyv11wLJZjmdgcTUl01wC/mBbyvFb2IoWKr85PWllN1HXSD+ip34oadWomwg5zX1BRrsT+j97WZ40FDwjWcN1Tv6abB0UXqhU7HCgUGbcQgs6RP6lXGyV49RbSOtNvs6gqaWcgXlXadFz2mKAoM9POtvBJdmWlm+kIwC76udGfrDN5iUE6GeCGxK0mrNBZQMY2KerMqRonXGr6nlyTBOSgVKRnWSSSCvqGKsFzmdUQkp2drp+VbVzXi8JabXwky9jMm4+UqOXyHpCs/+Xo7UJoD9nv2UpxNmcIq7vfyktiN1xxaOZsqMpgYvWbMmJ+jK0dX9vLe8fQxPv1RP8NEK4VEowXOnZ2gxUkgc+Szc9+JwY8iywVkx28v6BHRib1oQXTEeVHJvs8Zze9Wdjulpm+MnF6Mlb7ck57FZa6fknTUewSshIk222roh476vLPelEm5+0iIQidRUMkWtmJF7hiuKRQA/6EigK5KM5FamAVjSL3VtaPf1LCLZv8B6pJypIRB5VxESRxBMmsrFqPsEtKFuyYNcFqsFzasvtGeiFR67T26cREyI+9PrG/1O1+CJpq8W6l7wBczTM8srv52gVaafgtjZXUbWvGO6zPerx8ciqnhpwnWEVwjoNaXZ01cECxLZrrkdX08dqlpCPhUuaC3bYk3U9tHxOgShb4JdFNdXbVgCAegab6RBNKqSTaVAP5c5JYrZoLfAz4+0GBHoyz/yzCkq6y7+/gfU/KunVIoYeA34LyyY4xztnT+obSZw2uTGcjRX93ew11oaC/6YeXFWnDMX7phSDOkwJo9JvjD7UjwaF+4zjFbxej8JZq2BJ1pGw3RFK1VMBaWyNWYYBe4CJpPJR8L7K3JnCdnPj6HbfXCNm28Wx4W6n4XIexfL0SDl52ggTwD4uFugEaYenogmM21ks/PArxXXkpBdzJTfyMxYejQ1+xMlrJU6a3aPt2tJ4YpMLwTTsQjnPVUDh3Nrawo0OQgFGE4JCp+e/yDK+R3WSMcFmbwKj3jUB+0cqJ/MfrNpvcXTVw8aRmHGm2yYvnHlrygWZBx274177YkByXDk4L7UfeoNsiTb07M0SwDRw2xH2nOi0sFltOLTrgnEZUMkhh4QcQL3hwUDPdvYhT+DrAd6JJDpfnLYCjDnoyZBv644K1E35k0o2+4gsofjZXtd5icgN7XGw/R3DHV5eMSw6sHxS/ahT1rJBrAj+hcrdm/JEhZw2bCOnziIAIOb5dgr/yXTZfr2IE3+ts+zA//rcaKNekog3UtpwLj/zY1wnkoiISXU+z7cp/PnnEZ9cq6wHogzxtqXT0qI9eI1DmaavNTyh2DspwBwKf6NFZ7xXbgM2/TYUVmJqMMiYVx2oqjOQjrJYbCLfphGKFwduIcMd+iHnvdfm1IePdD9jwBV4QnFJFvkdAO21JuQmdmlH6llpw5XQJ9wfxBTiWHBKHLFgpByGShTcA0kzBkLZ9S8FI9fmmWq1dUBX6YHmrbdMR3a7CnLy03g3XZIHBYij/t/b5Yv0ccEuX7yuDUeznspvcCncKmAZZv36KZtlsOMlXBBrFiAr0mfecivprl1ZW1qNEvee4buvlOCQ8ILdaFN6s0qT8/ym5DCwxUz7dIZfye8DLemMU/ZN97KLK7iXgyo1sDhn4F/BsjfdJykbh0BeUBOgj+tAjh/h2YUMjlIIe2cjWZWLFkm1bCXxHhNtQV8vGyOS8c7y2NTcbZlAqQQ5ZEB7qpvTYDOG5RtCBZA/mOrr8IfYdKwA2KYM8WxPUFDL6n+gHsuJvWVUWfl/3RRnW76KgYlzphpFKSM+GjPUSvq9vOY5Cgn9WosamYpSYeCAYGNMZyQaF+S0hDYbMubBD1XyXV8r0GsbcKIa1PoCQ9ZNQDIiQgp96wALUaTa1G5+m8ZRjOG953J9OJhHYtwGcfhtZ6OzCohdPAVMdVpLgwGPryMTBuv0+OWPIt7DeRz0a8wll2Dti2vsRZ1LmLymRDtW7L1c8gKTAziprVenuruXohfgfOqDp9ro4sq01vd1HTV8Wfj352iiGk19h1A4BBL7GsdRknmQZyYy+lO2WHVjwkPQgYyN+3Bak1Nn+8LK0CigjpQqnpDj2LYGXozrKHMS8iZnhGmPZgyDTJ35a79hfw1+SrqnTvh46ITAU38d++842aPv3syBmasmDj7ik+Jiij5b///KOnUbNbpRsxNNlkSsFwrF7m6/9plj0lzP/xA+27K/CBIGIDsGZ0wPXJEBd9sKnUBQ2NJivwixG/I2dkf+MiVHpMgxwc/j7YXQOnN3xqQju3UwIfO43Gm4IjWEhKB57a6hwpwyV5Wvk1pfTsHDU+9ORz+70o3411pkaJoXV1Sr5BgtLMJ/xWeP641aOJWlX7xpiXCbFM1o4GVmnrWl9BYQLQRhXwyiecktPAV4RX6RH9zEQYWP/jMzOS8hOCiE++QP7jNSAS2hlVykWk0J86sXfvwJB+A9crRw3umqnHc4RW2eJeeFGG7VLsu5Ld5zCskVGfAurBZrDWdNIUwUZeccEwhNReG5XGhqEDW+hBKbBntW4UXa2YcZyABK2mRYh3Dmy6YGM57EE7f4AfnbG92cHqvbtOMVRJeY+JY8ZOke/MZdItpSCPIk7kXzVKc6CE+srxYygFzTBHxffua0uF71u+dPBhZzpGLB0Ar2TzTOcxdL8vQQM5T45XPIqHTnP2NyThilKI+82yrlfoHoRgO9EYHSq45nIX00fBAF1lW2r1uYeEfr3mIjGfQY+hGr9asYkYhKPma9zs1eQCDyqWVDpLSYiHM7PsfyjLjrkq4Qzlt0qe+SMDby5jw1Cu2OAepAvuPntaULv4ybDeCgOFzk9/WYryBxgFD7D+6BikaD2/0oWC5L0A009vhgKmnUD+ZvQi/jkUg6whDYjievnDOk+0B9+bdH6TspYf3ChXPT2PI/nh+jladRbgYD6xQPJBioy0SWQAs/yNKWpzsN2BrkItmO1tONp3Fs9o20nF9sg3oP8Fha3atISON7TW1sx3IOTpgl/9Zmias/QJ1Qjgqv+wqDZgEEhyKNKPlAtptreKNQzkAeHYCMcXiZtdLhCJKLjKhVXJCGK/rvXhF85qUiZqJPLxFf62nId1s1kq5+ZPHoUdonsov812axK16VIfMSfD/VtqhdejwTCMT+eIiax/RJk49S9V7xR52IEpC6MMyLXbPvltHpFbYP1TzV61+KcjIF9UqnjfWyvSavaG6leucOV0QgZxmNIhaKjLX24u4eAINidi6jiTXnH342J0NAIg3PKx6egDp0dNykSpMw8HRlI17WFVp2PoaIgkpHLzoesjyQXoJ4mAuicgZaDttsQbUjAbLH85n4cBHfpAt0XMKdhEFBtTT2TYsbsXT4dr2rbO7w05s+972ODqoCi0HPA79ohYJ3+E344tQ7pRZ2DF9VWyB8O67fY0+lgnKGb3KIIijtImna+WX9SggM4SN8m9pt0EMPLNz+KUapie5/L3XfivxI0nAGE7abKBzLw1ot3r1DEuoqeaECydjgArho0dpvjn3EPwjHVnL8kpGLhPcENKCFIHKKkfqejDCF+6NB2WcrUOzVsbOz1CSPOLFGFEu/LUO4uxonL32ibBN555MMlE9d4RkgNE5XJFljRNTWnzqSYIDIEgvpsAZNB/Ss+gSiTbvpSIOWUNZax/EtArkcaqsPwIEsPAeTY+UK2jWeW0+8CF8quYIyWJEP5yFPXeVFt1HJkx2BH/ppMmIjcxCJUtXam5ak4VjeFkhkO6LNerBUpWDOeySQpxyERgBIVwoLAKMe94syl7+nOGS1WxAEyu3fZLqZQx4iTydmQy4gicjjB63Wgcp9aykCoLLAHOcm1iYYysLVf3hAPZoC9ygXC5fZEy1y+QwSZsv+aI4WSNhKZqV8E4IiACLI18BKTnx7YEe+WimXQc+mZdHFGcwGXITF/0BcH4r0MLi2d5cwv6bdVmQozo2CvmWm1a4DxNGiKSPjAit4GQtiOdXv2D0HszQTqarwk/TevGVpynUGFrlOjTBPn2U9SipFsRoHTpAQ/AVRpU66Q3OcXBin/gDM6GiPCIKaUWg/jqT/Lfg7irlCEyPopHtWhwxIm9eYXaQguG5Yx5ojXG+75zfOihaL6Zms0aDuKGqVNKNNtO/97XDCl5wdQ/O2SG9C/JVgxGq+X8LO0dVFYl1BWvRV6OGhY/FRvPbly++uqvUas5Tq2kdi5Qe/mQ8B+Fdvim5wVrboMsQ1tJuiiDrTt4J2kISDTGgSme5S+S+wOA/Oz7HLRf7FSqs8YEzxtBn1QZr7h5AyNumzsNj54gE3oXuJZ2OsvTjebSJxctA4ez/RrquZ18vSzk6GgGWWWWUKW46JXqD4RpxjbWK90bXzOlxNnEpQ+29jf+CPksfvldYKVLmtx4ByBpMVqMCTO+9aWdZlS60W5iMlxTMwuncbRXMfauTPteEnHjsYU1X/UiwQ2gBDLmaLTU/rj8TMkjBmn+20puCb7RpTqUDRCgrR7qgt9LjlBpNmtyOsrRkO4yHcNbeEX5TeE8JBYTIj/PeLe2FQ0RlvDki3IsF27LReQL5R1fv/2CwUHZ6nhzVmtML0VVuaCKVpuqU+pNa717G0HLZrA7+pHBf8X/YG1onW8dSq2v6W5TFqKCuA1t/aH7uryDGy9Vv5MYjU/lNCiS+ZcMkKYYvFLlycm6tquTeDsmPINa3gOXWjK9a5gqj9cUD490krVrVPNAdSdbi7lCft46SLFk0EWmfTaBlRQL6e1Dg055pRx3ad9LvkXk+NgURFi0bT1SVOVZx/hWw2kfmBw4QvBgTbRT1kGGO9XsEcocMgWc5ANLzXAQ+4J3foYs2/OfOVQuEO0P/JbsUT/cRYDqX+zuvwHt93QEZ1mHJsUAiR63n2P7PWiaxeeFGTc5VKcOpInbKDRXDcdzINdxe6n8FJlKVC41bQdp22Itxf2lSnohGt9zrl4i3c/QCbt4hRyFEg0SCEOa2V5o9JV0Q6f/lQhS0oR4ocjS/B6Tm/wO0Y0+i0EJBhZACVW0POboyaFPzeP6CkCSS3W993w2h6IvY2a+YF1omPjFqItTNvGIyvuE6VWOOZiVOhQiuVBJsyQvHKHtz0QmCqbMm8tclDoAahflY2jXC6+qK40UpkxZrLckuIElmYB63WxCxE2hJSb8JCki+HrLjU5nGNgbmNrvvt0RB5caK1624aTH4qodKhtQYTd7v5X4sxoNOFatpLPyaiPcV/hpk9uBpFgSenSNeLufeaRqKCbYtGQhbB+Pih5U0faMWjT0+jncLYxiIgiH01JAmRbs4k7mOCRTKFB9BoFN17e3IjUs9FhaUzr/GEmg93ozlUGKWLnC8r3sOVCxTfBya1xC8mc5SvKpBeCK6WYx4V0TfTCMXf0K5YQGUxjOsAbAHM+ylzUg+19gt/B5hj2FvfhmWTmwsS35HEPYsSVFabONVhiLRRJGqmWFVfgwECJRjq11YXcO4IxXbgQeWgQi8MQKZ7iRut6DZthWqgl8pHtzeryZz4sggYIT656QdWWiTZl6WAsnNG7e8D/XhJ4DB8A5gaB54JuU54yX9huvTprHTolm3SFbj2WSv/EK/rJR/iZHqO8zJTCm/Iq5EMJluT0Yg21VVAZkQ8yL6hf47ZD+C4E95TEle4IDFEnG1+VVHs5MHlQiQBTQqPcESbGQR20gNukzfWH3QBgDVVHo271zbkIaHAJHUajaRq94sBSFlFg7jpRU0zYJ/Ll+3nPlYvQs+zUg2OP/HCA5uAixXzVUsx9TG/D29dRgKQcT5FxgttgRn5Hiv1ivPOjj3wgRtHgScRDtyVbhJZyB6kyiPK3Di8cM9uKdqqgQFzcBTeKoOWgwZGL2+U03CspMy38MPmnhicoe58u7J9bBa/lo3JY9rMj10aEK0yKBQOq8snFRVPwYnDGzcoxw95qL7Jix/R1e9UkjZ8w5QebTSx5AShvMUpri5vswrvLIt/oxz//s1pT4mBCAiytgo/R5sldeRaGzl9Zjk3/LtPSHf+M6JI/xcn7CWN0ZBb5qUKzcS3Y+TzCL1ssS1d7Xc9psy7/LoHVsFPB3tqbsBVyXdrm10TWXwXVb5pVVXrL8p+1hheEiU057+AbKftxvkF4nmHWjy5kKy5nkD59OyRxIpqHRcYU7ao7IThYSl+y20HJjiGmwRj+pu1JXzXeF/IpxXbNlyHQ/Gt/uUK9OkFKg63KWxC+T8vH9LdEk91hlmgY2efkXP/zcsMiUv/hGD6DEu+uKdKMnxVZGHf2ZVbf9lACOigmvXJCXDtLZuz+k2R8ST+0Ei1vlryfT38duvAgyHJ7LmrkBPUtwiDKjsfdEVUrYU6GM1i86kYWqH/+d72LVf75EojGVJTjCP8GjPqr3ZpDccm+denEGMHTOsnFiRnGfl5DYsJC9cIlEY0MM8IeBHbZL83yGR4FHW9HOFt06y7s0y3xSWcT1YiH04tGxCbd8eRNfOYbB6mxeCSHTLBkEK3EqqL2Y3tIBA/9hf97b8NGKokdmxQOEctbZC1JqH51yr1A3bXnjSkj2D6IcwaaZK920EdfR2p8hCNFwCVmfBkEwKWxx09wVkTODdFG3pop6q0w0u4bmp1/UR2xTyKVO32bpZ5j1Am09Mut24A6BRW02vCdFIBO9m171r5KypjwksVBAFK7oLZA+xJUrrMszYrgxE1n2wa19DTJgWXSgWYDgjhaGpn1ylRLxfdLcelMsVltSivvTJyz3kzaQw81IfW4/2aJH3v4jIp/QjAcIAXCoW80PkLEXWdko5hhiVOdD2kDeoNI/1i1WK2Kr7gnmaG7GEG9YgwSm4MbXU09iTsRfZoBX9mKoDMX4FYV65LHAfQLmPDbK1EA3a+8PEYW2b8ioYsdRJEGgJSRynioPqg4K78tRR1hduyzFzowoYn2NxBxwZWAA7cLVzhluizqBVy0gAze8YMSTgcZFVaiTtsRGP61lRkhA5Xy11mdrHponhbTRYotOB2VVBVsLX4UArDiCFIRPlKKyHXjtSc2vXG9s2OyYtN9KUnVVykdo19iBwtPKeSFKM52KQkXEdbrn/5+I+tPpobmW6+zFk9l9jhwNCXyPJ4ffVPCCrmU7iDtoiHACUCIubWgxkLvmw+CdLiM3betIw7mGsoFpQBGsPuauFgmzye9qnxJej3TaiWNFgLqsFez7HPd8q+ah4fteJbpEssp3xaE+hM8r6jOumKcOleIbiGRWNzVakKt+MhQViY2hF7S6i8/qUfQWP2irBNH+2019dhvFCl+SDZxHlZRbk/PgvzCMEO6zh3EZlcf9G4Zt/aa7twb+PK13HbqfVSqXyVrQCs1VqlRqHUvJx2J3ZosUP6QkCPebEfvd7J3QMLJu/9x8Fl6PcbyVv6VAWp8nmAKD/un1+gDJ5zK16CzYIW02Lt79EX/uMobBJHfV6NYtq1X4xx2RNcmrdKuCB9Mp1M0YRk5QJTbaENSRVimQhYG8ttX5Ffl5HOaJH85um8fgYmsrvMccE0riMG6G4nbEWzdHxc892U19jXHNXdNYsjIdjzGxquo+MEUdhcZCoGnpXL44kVo14rvT4zvK4GejPAcMXiSmN0Rq3OhtmywXal+PP6e1P+FzYdv3O1A5jnXdgntsR4oz8RJEOnzy4CwDnEwPx/YdqaMRfp27Q2Lvlkcl828K53I+paelJOONnxEXxSup1xj+Sywp9LUHfKo/w7zUDt/rgfdCcpDIei5YNtEUMYqKPVLEXyPbwY3O0gyJkSSq9he4AehqfcG+NJxabuFokV8H6SLHwgS9NyI1iCDFJ3rLCqQMWJbzOMQw78K+udbFCQG2a98+JzaF9CeyyyX3OXfbwhJBXkyXNg4W0gwoEWpSDhi65mMMlVOJO8nSc2Amej9C4Cfnc04tD4C5fIPTE+EVLd4H2pFHY0kiWSYn1dM/7o7dEK2F0YRcRBUOxGQAUMY9IZtCvsYmjTXucM//eGsjPqEDAfqhfDgNBAF4h16I59tGVER802F04/69O7aw+NQvlsO/N07zmjujRNEon2nwO5jpD2onEKBfIM7btOPG3k7neKkbGpziLKetb1z4Y6PyRbic6XvTNUl3nJ/2gOS3SFtDfz2WF/w27PsOmMEFoJImPI4Ww0Q3KhswJN/R3Lw2+9YhNWsy3TCiycv6cqpufmhNM4Fxcce6VCts59qrXaEwXT85ChN020blDZiAxtn+I1iKLb+W1jwHoTNZVU5KxnatV0CG7s+3K9nrmYME8UNllPMSzCMAZ3x0A/8ZjKc1n1qlEVvEcEkjI0jwGmx6EfKFqIaY3dBokS+FxaH3uY2wdIeG7DuG3Cai4s3ZDOz9Kve28amIo0HGiGKNU3jxpKFmCTXLEH9Q6VtwBr7Q989YX+EQASzJ2M4KQi6r9daWlssh17zJLniLR3adcVSPYz2HUQ1bJ9m6lfE4qZSJxOy+OvtLI/knQ2Fm29ujAnWsfm2PbZKSPY9B5FmUuggsy5SFVrOYQfFpR1padmI47Jz/eBo0bbIIHObASug4QiOiojQXqol+FHYSD5wkx1CD+QlhVbY0tOb5PuU9JBYd3Fv5/KwB0oVYaJMPoS55Gd3Z/a/EN2qSoi8q/q2lG1e5D0OYq4yhHVZ5Ddro1VwNe8gmH0pq8o6EDKis8WTLJ+sIYNx1xLKm0jNdqRr0AupDRuPGunuVkqI+V5MEBvTKRrt0+0pk2sAInMDgF0L8bzxSCd8jE7X7u43rKQYGHovr/3mopHHJm9LT0OQcGeleJgPjE9dh+1lBHMseK+u8WuX284QtWQ3KT6iCVMr15GiHoGhRTF6IDel0QmTWU4PPCUai5SKBuGJ4MAsg2LclHY5cuq3Ej22WXjHLS1RBlpFT6txegTUKxt9Pk68OB5KLXJmX5PXyLy7z8aRzBlVyACcqixgtutroZXGamZCakwyba5crYaYwPREXWgwci2J60AT7YqEl2FOC9mnIGUCfi1YLGx/bJfrkKU8lazqH6lQHVZMX/gMck1zwbwGT1rehmEDTLb5XPAF25bi3rDSSJE9gb/4bD+NFFuaq7kIzCWZ/nz1mCEG7db8536GhSo/qaWYQhqdIyCnj/WHymDbS7g6bqqoxkwd234x8b1yBDVRsIJ85JYutLLvQEieGkEvg1tEKbD+N/x2TJk/RMZuRz7OM97McN/azboSZ5DnSJlty2Tqds2iXuzFSB1cdtPpuLSvloGrBfpOpC4tlBTUXkY3HziRpu9HFh8vLfIDcUCofH9wTmMAo4euI6L6eieItSl6DP1Vq8VmyFz1gikbmIcemtxGqcYnzDKzoEprM+p9vU5jcnsTY0eCyjAhHtuedX7r3FstTckFit20vYdKmZBtuI70davs++Z0gEnBip0DNmvGbiMShVhEQCzqPQ8SW56JfwFwj34cjv/g+nIiQ30fXb68KsFccws/+UO9LquBZkR8ZixztmowcjnZpbr0iXXOGFm8AM4g0cnb5yFA3guXJ8HGcdJKeeuPkTsKIeDmM5kR2LXbiihnpBZviMNWEKHBZAnUCr448kCTO0BoICmz1DM0YWFH0PuORguVg7D0/J/kmSXyRhuuSI2DuQFih0pYD/nwJ4c73m59rrsVlbXVGymjVTsPy9IpDJBj4opiFoJHAAFfpg/OQly5yrVx2wIhZWEghnkLxHI7M6eVr+fbSHoCzUgdel+oryvD1eqXDwlXf4RBzjQJXeJleD7hj2HjSsPj17aMbnVIuDiftq4/WYBC/0Exh2bzd+BTykWwK4rALAE9VcUmDQMNN7Hu+8l/5lHFMXT/Eeg31lPM4Ec/hyHMPruPxQTp3jnl5OzjNWVc87gfWQbX45779O75WKbpY2rkgvIPvcoF68FpjzR6WfmDPh5mJQ/S0vowXa3/XeIzNi9z13+UyAxHEP1uBfGx3K6ktpxTgzdMYc/cfOeA4M6nZXEZNCeF/IV9g9IRdgPvh9vRoPwIHr0Doh9e3hseQbL7P9u8QWQ2PWfbUCD1txh7aZhUjniQ+acanifRoPl53dxYOJbyL11YA8sbF34Ax7ZPnn/tQ1hzNu0XOZKTl/4nMYutCPZvXs+fOwPUCriQUxmKE42GkFTfdolTAaJxLQi09f/MAgtSlSglXVulyCMLUqrAQE2OQ9OzIiZLXX0luj/Ffx6LzdUKChnYvup01+RW4B44TTYyuAeychYScehMQxiXNIUr4xghEi2kWd5IeQ921tsK4UeRwHeBQnGk0Xu+z4G8zmWr2LeKNXoGgUipm26OSSSLYLIODn6zvx0VHWVPXDT5CW737PFuwcLBfT5tQ/4rZP0pkXvQE3PCsi1Aba/zFBp+knvQlcRwThRHhfJEs0MMV4MZakqn77U/BwM9Ee5tKb8GfF5OiIzpelWRkG1JcoMP/b1VEzCQAbv1NJWAeu0/DRUt8K+cRR4L6cpOTNQpmaoh2GNDF1c1Jp9VHvDh7v26cdRb//5JFi/cY4cK1Jyr+G3EaXf/aSjJOGU3F34cSYWIsP5uZB99GMWW8JrOd7z+UU4sl+V5DnHcV25O+5ci7mLsYP17nOHJ9rYhCkxPTrmqPsVcZjT0ha5B+snLG9t/TX3aHz2QpFGtoXvfDxQsPkasOp0MhMY7JkqGQIhTxB0jOxv/t8PF+0zkz64E+QKQnBMPTeMhFYPlje1dVIN0V/bmmdxs0TJ1tmziUK02EttS9ZbFCeUg3CvLXe0sJb09UAT1E2X8Hztk219Tg5FcoD4tVgO6fRIw+rIxGRpYMXDk/R8Dmh6W7bscJFCMT4uGteDsKWb8t1BHln6cjtH/Skt0YS3XLIHSq0NLazySWFaag2UcZGtw6FNoRMYbuITn7+z46V6ynYQyb6QtqL88OAFwWtZVTXxUHF8OdDON852aQKvdomaQC0ZRKXzOB8SyGB/FuF6Fe/onv/xmjpiU6gGZKBSpY7/JTLd/L9LGdqab3PMesfUPpNglbPXcJVmMf3NYZABLIkpHLIpyLYbeiMRG/R4O9H/s1U4trQXU5OC4lre7ln/hapCvTIWPCBj33SM+1HOPgCybGR2h/mnYVoqQudeJKHzSpt9mvKQEopgWQj4ZFdusc3M0ZBEtPH5zNOK56nnmXjG9/R+M4rEMBIs/lLMEcth7w+YILWupD9FpQRoO/EoJqZSYgpII5x1EN70WtvrST+HzqgjKxECb37cV041ZY+Tt7Sy46nycaKROMI4c845ol/ihEqexjAbQa/NnW2XQ+OKFSc9eVf+ZLhSYpt9WFSe5sOysJN5nQgsEvXtHXfuGt95gOhrSTXPcXuNW6HbmuagnVTbnN3AzzL2xGLJAhZv3u1CKPjOMEFMGme8vzvQYwY7d/Li2wK/0HkihUpTR+hTD+vR4Y3wkXjWaZdY7ZFLhnagd28aQ4P/1ai45MzNIh0ZvhMhnlYJ5ZNMOx3C8LgbWkeeptgfN3ncQkkBYuetm/LdM2bL5DCMNQzhIGMXh0DquiEReBaM+MCZBTdfiOGe1oI54bbLm0RXHDDVAvCPXkHcEGapa0U+7eesetRl6rVsKjKTU5QsannokH6ZxwzfOeOFWp6ltqJMT4KL0/5p7t4wi2De/xqSwC+5D5oFLaEExHwf/sN4x9QhXI83vq3g95LhccEaUzWqtZblz3d//tgmJ+NJJs6GECjn2+mW9gam20PZuBVdXutZ4QEntdQ3dlz6tP9CNsvNf9vwN3+McDbpeG3qliJqaTJUOMJFGkC+EFTjOVOQ0zM5aSBVjEO0Jh25zL3cMwhOgAgsRMwHFMArEgxgh01Z5smxMP1ePv4ReFSMJXoPrly5bnsEzGtQYs2N5d4v5P0iQw/t13hx4Os9D6Jpf2uy4czJVQTNFrpeLZT4e+iLn7Bt53a52ZoS926XTt4lHuOD6XhQXtq0u/1MWEfPpwN5SyrpFExsercp3oaR4VNYDn6JBFhmRl/J14bGjW3V2jjLxrgiPt23/vgf/P4SVJ13wrAfUUuXbOEpF8/2Z4Eq16fQGmY5wchbzByWolZfpJ6x+7+mq3NjpTEGsgjwVxxs6nIx8EGuaVQ/KRSC4sHXbLyfAOIkmns7Eg2cuEWHY1Rjkn6h9QBO6BEnZdlg8GhZJOYWtSqsRi1a9J23ZQZbfm/5PLyJKUsVNOPaW8lPzK6+5XTz+Gnr8EmfjmuN0lCUOb9zxaOn0gvGTx6Q8w+VUCzOPRUyUv/LNNhnDMnanF14ESExWxkrYZ/cG0S/Dh/HWMM2MKnMrYsRuHfd6e6l0DGjO5SDtK6JvQPHa+6gkdSWYW2WGFU70atWtnobO0yWEf17CGlcozzgxSgU9PmnZWMz7rgVB+pNjW4PADZeZI+J1mVbOEjAX3yKnVhudFamY1wb/o2CQXYuTCJPSSY79M595lkuitQC272jCzjSsGWN4197r5Vet9BnXB2gvIvJYUR1zVWlKhO/0bb2ByFrdnpUI7wwAHRAFO2GG/rfdqeskAA57yfZM1P2qbX00W0VvPi44ZPqndMrr0ze1geBSy7TMn1rE6IJ2Q/AitNICm/d+abwEU7Tvn6gRF1xerjrSDe5LdjinBEcwK9DJ5pJ6Sn3v7QYVVez1oVfLvkr0D/WQfWehI3asFQVry29SuDp0/EG3w6rxQcgjBbRU/M4bmn9ujsqMHK9X6pPNtmrWOLG890S1pnU58Po42keOCZ6xiJI5cFLnZQH/VzRweZtynfIwKeuiCct/CK2ZaS55Pf9F44DaIy8XxBolhDMka79vcoPjc3oea+v1dlR621o79pjxSZWn9joGarGfHDvBhj8Na6Ks+ZvZ2ZP/m0VEBdeknm+HNpX8Q+zpMW0GqwIbftgdoJnUAMYY9uWXEK390udw7hkyOx2F39tdMp35KGqM1il+JQkHv3t6v/ai1Mf3a/iZft0Z4x1Vw3NxES/DEG1iP64cP1pBQi0aL8zQtKgfsrnkv04IuFy/1I4zpNy6Q1osYZ+mbeediOc+a7zuM1brNxFPa5bJqjjP5C/rGuUp9o1dWWFLpchQgH7oPzTXpdl6ogeQm3CykXEWP+UEkpQY7YetLau7aHJjRPKyDD0g0uJpxDY3eElorDNk/yJ5NVcIySBxhMUIkvQ6uRo1NJwFgapjo5qAIKy1pPRCHxdlZ4oUESHpm8fMT+09ffvUJhBEhLFI611PSd9SdkbcLg0kQGiemog2KnXAXYkWy1cS75OGNyKtCmi9NR4xJeg0JSf5Yyuhxi/T4LCWvl7ruKNbhfRhLRYEo+/oPBSw2xrz8NtCY1a+i8Bvswfczek6Pe66MSCPOsftwnpnFUov2Mp9pr0tgk/ApCqh4Njm5jb2x2+iFwMWDN0S6LluMovKSdaXvMOdC5JgrfyK0vM0LElv/7Uu1Am55hEK5MKEdY26IJ2glZScSFtPtDIEne0pnrFtFtuEvjWTnxmwT11edkqqFi+BClK+GoO+70D8EAK4SdyX4ImWZ0onBbsTc6fisTPbt7NShL0l84P/jIB1/sA1wQpxNJ5kfAXTMghfrZ8uDgcUajiq1jzzyppPzGe8Rn6wXjIFqGgU8N9v2wlk8KgilL6j6EQG7WXmzGQLCTOKgbUtS7MnAhH3d9U0BdFxEid+wjfK71JLe2RDVPRSIuRa9t2WSYQtOY/PIn+6JhIDwgN1x5I01eYRRNS0phci/qZHTs6zFLLv1ivL0ccxGNTCbZpCdrNNQ7eLdo3fgrE8KwbSzdBFYFAmIFvhD17+amImgTzZO60BLcqd9rIToWhScQoKGanBeFMjXZVqx4amQD4I45QqIboe2+dzNkRm0iJKjsbgyVLZFVP3YpVMLK9ZxNqETK0TDBgqHszUj0gbgN/diKdPUjN0TyHQMRbVn4EyGwMKQYVn6eHxZET8ze9QQVpEUJ+MjwB84bBIyrIcjIs6XVJNlf92RIO8XbHtZQUBim+kH9eh83XyqFhmpqc/qj2naAIwD+IADwpFkZCu/7Mn+/0vIpPy4ee9u2/NOqLFF2Z0wWekziDKbnU7IICjUYS+Obz2NXia2yc1GZOus+MYhSZdXZeN4HTiFTra/Af7vnMpIJRmUt+9JGxk1SGKnzzae+15r/LU2XtwcjCKFHO6H2V3Au/ZEMzHUelT6ZBzkkQxm7+Nw+6Om8nqg8Wo1gbEnaTQYYPvoAy5EfJSvT8laNOxtamWp15t8m2t44HhIXlSgdSTp8Esale5RYWbtKF8/EgkxLgyf1YwEKzQA0+1olbyK0jRhz9CYXVIkf4UAoc10dI+KxPf9cPa1uaQG71az+OkXmdofBLvrCEshjdGCVjSqgnFyi7jDhpJssR65T005WTccYpGqZrA7zQX+qU6quKwLI1P6vZDUznIkjgT0AmeYWFA1NohA+W+HG8D/VMdQJ2USznOr8NTcRErpp14evW8E4pkQ8xJ4i1F8eM9vqCPnZixPcafoP+XdAzptRNSGNMWYsJjcUovxTR44eVO69DX+75X+otoalsh7gt5SYas/muRrtOuHuZiaBoQ8Yx0qcdnXgtZLnSdYX/rFbHmBqp9NxoCZoSA4rnJJH1HXbz768/VbcXzGxi2uqY2xntpZZVyFn1apZZqUyV4x0pE8U26f5V+Xh9kOvVERVtzeeeDMLX8U4gmZb3v7hiU0ekJOyyRKaqa1va4P45fYC07rUDiKh8pdyfkofUvR2EBBTfNXQAzCbtgM/Ic4tQ16Ze7Vj5st4Kp9GDZljh9yKOWNejrhShRUvMCksT/OnMBhcRqI0sJoU2cbptXgkF5OAzw/W6ygqHGDZrEpcvam7yv6fl6TKARIguRLUUyCqJ+I9aPIkHborJyMcgnPn/CtykB7czwRaJ7jS78tw2CK61+X0wzBep7jMmUv+AxEC0d4e//G+86LBX1cJg7twCdtIiomVLH3+lOuvZlbA4nRNai7QV5ms5TUZePapopY+/gvnfPCyKufWeNi6DttQujRoLcjUiNEcssDvO3NYWNQySczABP/JYE+w4hYQdy6kKEPXaXkYkLjDFpJyYbx81HppMudfvmo6nMWyWLeHEgKhmvmzqzq0gNiqsk2LoUEorbgQis/WZh2fZitt/Fq6ImW+IT89CVJQFQMwXqhpMRqZldCu5ePuledUHhXldUF3kxa451WC7dBU25VgPKgGKRcLGTArhV6tFa4X7gyDAL/db+NNddoBTr0fOXiOkbJe1Ows3omu1q5CXA8cE4h4Jf/FWr8wJ8pOmhWTL0i15iUeQ5BPIbMFVl/d4UnvxVCVHFjgy4rpOXLmixDdMN32gJcfqm852kc5pOBqjsO97LTCUf5Q77qkKUlzsZWUKl4nl7iC3OgED7ICJAVW5fNnMfBgx59smDxATqz539zb5RQh375AvjOrRhDJsk80V6Vx07jqCA3VGFwcVHMjofftkywq50iqceJKFnbGmVUOu5Zxv0qeFAG+3bS5s7nlLukLXftZshzpFSwK/JHkjWom/DSyaJhLYBJhQNlNpb+k9EkNBE0QMMqWO9/lNba7nZiZeDj/Yj7vvCnojnfwVX2tp2bKPNL7KiR9spSRBXnADiMMssGw63QC0EtFHDpbm7SAqTO00hbGWm3JluCF9WMAXHKi5+NqdvnHLoM30e8E8o2y9E2fqPzaamaiz3QmGo71oMrwzakhOxsBLQ6GRijz5H9D7GQFNqZoRLk9W7B1R64YYtAjISB9WPu8bQhKWsrxekPnGYyFfz8uxo1+ybvtpFTho+Ow0uRCQLOG/YXq2Kw2e9MljZYD58Vm9t2EdRpCZVeJofBViDPSjNfF8xdpS37ARVrFjPrqKZHOjM6cfNB/hIO1DTRlLC5OzV7UbM/Pfbcy7+Xzi+VKsUj02wic14esu6jGmjUmB3+U3zAnDSmBSZWB+YneFCsvoHhkA+cTti9yMS/cV0OwnP0eHBj1ODDaW9513flS7qr2Yfq7Q0NLlhXCcUr5WRvQOTAa7dBKR2eKZ8IBkuBLnAGftGb9wrpU0eY1dZGBx5hehfEcirc+JXgqFfqv6S51vf6tjQcgb44fCUw9o3xEcAjvlIZVNat4jPmZxIRvKWFIMNT78OsA2yXseBeXYvM0+xfjLb8J4ZsEGnHMSIa7PPN6KoAlG/3LwMR0Xhpx3JSzGgE1ft8b0+SEJZyH/QboJPvYDpy5iKS4eQxPlu+1Qahf4EPFg47aWcX/nX3koTkx3Uftob9sWlVESRXbOnfl4Ca26YbHhYoXjdZLKT5MSWgZ/p1pTjjjFK5WBeGCDNQQTzn2qiaokhq74bn4Y1Hf046om27jPLp4B9bCCBi9BNClwNi5wd8via4NZGRpkpdgsz8vMW46Yp4sgQmZgfxICElSHXcUo1DAsAwLcJ5hY5ffhmYHqHrtM59tZfISRTQdJIVcnoLQsJIMnvlh00BGRw7xjDthY5pBtff7Vdv63Yay84eINJDAvxjJs7lzfZlYIc0sUZ4H9cjChmvYVsJnp93uZrPChFawqPvWcFNBag51sc+MV4WjcIon1y3lhByroh9xuyO9Eq6rRHU+mMBonp+4aueczc6N5i9joKSTOrHrak9l9WSfigaase+Gb86xXtx/XhfCphKOP9FwFcyOcEjIEYWJhqIjNxgm3zV+fB9otSUvBJjZaOWtU+i+N6Hsu4vPmHPXWywarvVDW//s3sm534570zeN+HPl6Gxi7mxbpxTsLC3DibFJGiNPPnwogRkGz5lbE66R+5XbHQNvMRjO91YbHIZ0dEJIf3RlyT/gkFBzNEw5z4co4wq6cmX5Gg34nkp47fhJ8rluU6EeazvYkmAQhfBcVe/qnGySEMBC89Gu8IS1yNMI2Sg1dd0roxb8pWw8S3gUOSLLk18YMQOwR1tCBdU8ijakhT89/eSYPJQwzu3KtpwASY3eUw0DLO9qaveduNZCiyb0CQHPIg+WvIy1H3DCsbKQSqfetJ56t6dvJBVFEiNr+BAgA7FpJ8p4x3m0+ZpTTNv8n+kTInS4B/kWD5Zoe6o5f7Q9F4w7DXeDgFXgLqSThlWC7NPig3bDmix/8VHvQ77+Oun6PBRJYl26vS1ZoIEDowSoHyl1RGJqkuFLsmkQJjTVW8LY+7sPqpfnpheE+6z50l/62xXyFFvKDxA+7zuzWanoKNWVZAWTwAnmCpjzImVY/lFS7PsuQqvC9Q5XZ0QyAXbKZbIUkmjfbFbSZlsFiLMKor0hx9NdoWEr/FUuSg71/GwIkVEuIbRdeCHpxfpfk0fXJvyHP3w7AOCRvSMYmX0aOdcsfL/r0yq5nlAyNTRMIuR8dKutUptFoFbCdjcnKt9EGbZMb+7ntwLkVLCvNJc4iITSe9mKJiSA2bsayqG7i4ozu7wfL9BShVT3u1j+EDE8eb41ci24LnCDRPXPW4pXdJ2daDIAhIAuce8hSLCY8cVwoh+FN8axKgdT6pcU0ijqGWNYwh3gyF5PWNZHrSK17mMh6NKZBqgztlwtWs8UY4ECraqaACJj5igi3nXZ1mlSWpgtmCP6SD6dn1778+OVQJkq5eXnMcaVa6bVJDP8KPHCG8Ge37fPCCsqpACFf8g4Om62QyLYmNtEnkgenDsENLnK9EZf7mvvHb7h/ULdw6IDtURRwz9eITpW6dK24HyJCjNkRAG6ZMlq+pF35BbIvyJc3EqrSzPZGf2vshgd/zeTCBbB+gNrRHPUDTo+W+/LzC0og9zc48lzgRGaFlgZD8rJKyMNkEany1tWImTC8efsNuadpZkEt7PEaRJstAa58mlJjWO6Y+83p+0dhw/CTwkun3eBW3ABwMvzT6EjapC00H0cUfLOlUQUqR46SjSKrlbg+LXxrEtigqsVoX85WRKI3UpvWzbezof4pRVikVO0kSrY9bnZql2rGQ+ZLLOjorwCdfPOxD8q7UxNecSzVJnt8k//+ivovRqy0Iw/mgjQjyIqkgaDMMKS7HJdkA46UBSUy/LmBkDoZhYMjvA8B9Hmc3/qi71CxaFDqm3AcfRGRL3n9/TIF78XLcVj3GBW3DCAv9jGOjt4h3BB5BcgC48DI/s3cMX9m5SKeaUlWflACFmiGMvZOydX5Q2rZaaU6L7ylu7jrREjRtdHbSYgf+M+lfbslH3uwSzRvWMv1nB68B+0tcLX+HzoHSjtR62J4cp2oXlTzahzneleuL6bvyBI7byVOlJRo/r5mb75zni1L/Z+EB2sFSBJ2AVJg2p0waVPUT9U7kCpyEKysAhm7RGd6X+rSu+scFsN7V7Z4R1sa5qotO0J8Ew3GtDAsJNllfQJkaZCNMTYwiPvGTdq26INe/zqMDKlpoSllm8NBrUkyNDuBPi5E+8r0ZuNQMFtfDgzrqmFjp4N90Z/n8UY4fpr1EmMAGbt9KIc/73S//6J0GxzoRwu2qAU/cy4OyACiaP5x2oIHnWgsglgpp7AxI7609jPO4XXUl4AFm35Ubmjrs5EXZZfQY7i8KRQS00FLQph+r+x8Bv+45PPUFWyrTFpf8fDPARDDubHahE3AvIS7TRSXOz8QgPfTCENYDKsPgWblDSpkfYhVGyj/iMQ40B+xxSntzTqeU+qadErr9ZDYs+S7vAJ20EJQugZ0/gn+5b22R9KKZjG6iOkrrgIO7VcAGO33o6fMOCjXd33Th7/r4isR/n2RJaT6uUMmtI0ZY+WQ+O9ucZ4d+PGXtfOgwp22MgZiprLDOh9N2rxN7OER8Q5YAa0eawL76p64eW5X4U8Wj+4JHmR8BmtCkZP5p1D4/sY2UVrYOoJQwwSPdpoKHUYqQy7oFXQ1JYGCzpt86l29Ugxsf0BnHBXifWruOTvhHU6R0MC3QdhW2Fwr/Kbt8oM0WTv+ZjAEZd2pcWVkkOT/2vJeNbU7Q2gdp8Un7XWGhT5Dh9TNgEQSw/lEgZprBT+sfSW/WBt97V6VRlw3tjFVALig5Yuc14O57FSbmYcP1zmT4lIQV122HnQY63ZV8yr0K/Ldazr6iuxK+s9IjZ5hDTvcapLyAUBXMN1Rwz4dhA4uUHqjcExYthXwf6iCXAatdXbqba/PiIoKp5kamREMB6nH03Or9MIq/KLNRGIK8h5Sn/PvxM353dvHvwPDLMpGEMXDquBsV75PfP0tQS0fgX4BBzB8jW57D97cAsfLUdJfs0B2sm2h2nGcgJp8l6t/4OU0OM7LQows+ijOkf+8QwHk8eIhLYbvaFdWdXavqp3ze73fTpn16L19Uu8mSKImHRrA3zKc+rDyA1EKs/dO6vgW7R2naLlyZiS3WI/adagBhDoAq2wRhB7k8rSRV2P3weCZKEeE5TwX+/u4QEiI4ecZx03eJpcE/9c1Ue3ApeKXT7c4tFUnHO4Uc3JeHGlJMmKfXNWMG9bJtfOR5L1C9RxciTTU4eFJW/LA3Ojm25hsxaSO4AvL94C0eChHEy9jRz5WVVZr0rvNjcjM/+yW1/Tb6a6pLX4hyp9WEeaW0lpexlCATVilvYSEuo6Khkf/NJEAhN5ccu9klUK8iv0zJkAWGd9zEslIk2G7qbcmv+Q5micZB5hDrx5Wcfoz/ZTnJh2LNA1FcckCRvntwoW6H44xQcY+c5C/eGu9BuT4RNWWTuFRFJLEmP657Mz7SA+NP1Rdzh0gWpOBKaYB/QSe9mU5u1pqqMUp2eNTkWpONH8bqMDMqyceYsajoesZ+28XpjV/9ZRgPpGRXOj/h0QpW1dTBwX7SCNw7SOmLJYx/A/0n/14X8xrrg51EIrsGJSkyVH/mdAULcNP1lPZsVnAK6uaL3/3yAhLFHAXO5QwxvXagJVCuCFkkqucKRrbMMcLM6s9CyJs9YJ9rqzKXiAuf/qAaaDfGJ87DyUJlUiX3Bg2LJBGMzxuUkdxQLWmGPbyatbo+4H1RsmDpTQc7Wc1hll2PBf+TAH+2v1/lkh3TwAQIeBsl0OHQ6VH9YgEH6QffKXMO8CX7aDp4n4niOi4XRmaL/Gdbf9tbYHCclk5mx3dB6nNih6AQSUxqQF802IxAt6a5AcbSnMY1IGNaACYc2HPM37iEBLFjmPS8bhUEhgC9SIHrcZ6mdWfhWxim9nCosI0DPJU97KVxO/uSpNhTzk1lmbY9R662oW+40EuQb5Ajz0mKLEhMrVwcmbLspWOAWNfMeFWMEd+bk2LJFaeBCWN+iFCC24vafKVVTIiyONXUZ9ByRI68cRN9pmoSQ2RwlqvBO+rY90hri6xTzX2u6qDNOptF74XtanBLmSwSbHDgt2ezkwMbbpBkkY93VYs7nepkq0RLYE8FzF0jU30icfXjDNTF9zX+DBTP1OgivPas+RtMeGRWH08i6dI7E+wQlQPb+zJJrpz34r5dwccQLKvBCzhKMsIhnhMUVXYK9iqoee6MmIlm3ZPWZBbV0Cc/+q2/dBCss/w13X0Eed5vt5T433Oy1WpFpwj18gx7rhmz+KC6dbOHF0j9xsEGBXe9AIGKrWliyGkP2SlSipSt50wML/NtXqXVLDPY4cOJUXON1EihgdvacwhlCrsJdKGnESj2P7sBUw9fRsCh9NyFqhDbWsA01uARByHnB/ZoQNupjEpv2WUBAaiNLyw/9+0va77P5YWt3izq1RREg7bYrqEnMc9Lk5tMB9OY/iuzNYDu2sltD19+efZ1ERGI+PiJLmhU825Uw8D2p694EycIsxFKvgzTcFGTtZtasiaZgAQSWw3dC2KK3vuEJvnPEwODbJBoShsqdvObXkUpkKvEfH0hKGXYvhbUa5LRSVdNvCAnD7BPagpkwHMT1kEwrfYmJmfVuwhcZXONNXsI44Z/gRSKJoztJHZKLuKl1e4XRcG2z+yB7kxrLDzbP0pLyXbeMW8uFiarEj0L0nx7hI1yf7iiHTMAbIL+vDnFBCP6Mhu65sZnUb0WkN+9VaMC704Xs4ih9JGCBl2AigG9g4fphzCN6h422+84hJQaWhCxcIYbSCFai/qhSI3yAvHVBHFp6OeRMAXr6DPWpvzU/90mslvW3Ba3fpOgpwPsJj14b9pVFhsq2cxKpJjLew8x1M1cw3SsyWgKLujrqs1LGJOyNUnxEdm/X8ch0Jn6diN8FTgQgR5BJzyS55pQk1aGJl1PDqJBuDCP4YbuADEGDNkbgO7X1VvWphsjL+tlGQMUSr4stHwWZSmgt7DOQvRwIW9wFBgQiti1SPhb0+xeNj9fFo3OumcvPWAY+9kyYvcdlBNyv9OXZ/r3X1dfs2XBoB+jIWYLGDoWfN+fYJDdaV4VW26yLJgPpabUWGoE7bks/WUZX410X/tj2oDzHDfZihb8wM2xEe9CN6NDSz3jQkJWFT+yl0Ykeny05sHCNe2d14vDWNKp2O3QUIKfCz/QRtxcvS+pUkpDvGEVMVokiLYFnYrQ0t6zL6YHcCmB61heSSjKMTox37+wSRljSFPvbvLeEg9fiUVeaBQfesvMLQgYnBbEUqfKe+YnFjenAqhOj4pkS1xBtNd/FhXPB8so6XGzNApFr4nk8qqlyXlLPnrfK96MQpozdsXgCSxe2WwlC0verIadjXwcAXaodniiuY1+k6BWvq2nPkQbOd9W8hU4+nctK0WLZPlpcbhYJgpsRjEBBbniQw1GFYZ122IhEpAJAejk+QpgKnQyKWZ5wWRqpLw7POGq9jauXkGbwNFMJ73e9PQGSS80ccX/Hzr4mHNKZK+BBisUR+ifpQ4mzh+CbOZzD8OGzx0USxxJ8EfXEUpmEOTAmSv8lUs5Ojme/kNeTvZ2y+oDV2r08XrHCvxw0SFBy3rzpSnwY9E502p5M7iztLqvcfnZfnN3hNmX9r3N/jIQ4qBb0Ksv/OrmIn6jGp6zrH5wxMlY41cawQxWwVRQFwUs2iW2uC1F0nMcDCEoWkGMEGnq6PyQ94UpqEgMAxovGwtM9qHu2cAKI5TNA6Zr/AT6Zd+Njx7srY54cVlOEaZx8NvxuvX2pAldRaZRe6RsNWQDDX7TlgRc8MJeoCt41NhmD342E3RcVYJeFw2VO3EmzqIIQ6U0j9zpol8BMU6twtmNbTgBUliBnWMk+tbYT8YIOjTeC0S0uJCgF+mRUOQBaiZhC2iTtul95ntlkGs6pA73d/V7wZ47ikK10eW+aT1QNfCEx6oNY+QLaUKVmphO9Lw9BdU57Git1X6SrWnOkpbdV6C2ten4Z82XPEXRwileqhPJ+76/TZpP1KF1/dc+HwUhnX0N/AxfNbyLQEh5D8StTDXx3Aq6doCUe/Xo0Cr3ACpZDMm2RLzFrfwtxRLweeONkP/tzofQYrhBfm1qmHHewU9qukuYvo8aWtI/8iYCN88nB/eArAK/VmZqZLcs0yynRiFVVPqKvOTcqjqmrCxSzTQPpZUzUARynOUylybGLyJMEtTn0hFO+pv12RD46PjMW173Yt/pe86T6vY2Wuqxb49WWjD0BIVAt7ZIufCtQfelWBfooidGwa3t6FIkJRHsEzxGThtSTzCNUxSzy/t1FQrmKbQvubAnfoYLuzS7SP8nBx/H0fPRWuetI4NoGPYObAK3CsYHh6thrpQmlEd17l5O7jIzrocyirVNm3IK81jEt2f+7xR7FqpxovZ8sIEbRn1aI83XZtbYEGZ2igIeLwfOyCIyngTJfrX8+yLcStIusjELwcMqql32bdMgglmYqI1wYCyIytvzpOdB11w9pHYGYyExWs87Vn0sivvKP9aIoA0wtFI4RTT+cYI0k2y6v72m5leAU9h+tO7bYJTIEEB9+Kxi7UU7WSltu64Qnz1VqhQ7JHd8Uj1OuG/e51F3gr+kxGGAp1g0QmBjxnNPkm3YOETN+sdS5Gl2F78Svg77Gizp4WyHmyOjIte3mFJ7gM/ovF7yiO68O1V8q4DnAqqHnLqKfSqDKHHJpgrLEjy+Ym17Qt61/45Dv0jH68zk0nrCq4WJfIyU6/olmSKpRfq5yeE+9Op+XCvieoCi1AIlhjB/7pt65lcO3sHnfBI5MolM8aR2jxk6dm3vvsG3NxRcjpbIaw2MqLeKhbvsZLYs4Cb1A3CMQzYZMNhILKdXcgTMwQQuICNSdptip7bt5qOmck88q3M2iPt8Ffz++3QZuVpAjvzl51yAHlL5JoZmsYWQXTSg+qsD8wVBv8tZ7ib0SRk+pqeBLfVH14LdIoJZ6U/4Jx4YAUEXRZhYDGBFCCH1ikVMn9nFYvi60xY2vfdxkxwX8DvNm76hR0pDm2yA6/WO395s0HH0BXQd5eQFf8CccUAqCSSItlcgznSfc5wg6Wr3cH+l2j7nWJh4oFGmalQW1QhUanYX5gRyiyV/sbi2wLvYlfbGEph74yZU7ibD2uQyhO8IMaCLQsutfgs2KM6aFyDw/OMUw6HHC6Yb8vhDN63oNIQ8S1wvyqlOz/w2Y8FteNf7boOO4enmsCCISdom3Gj6v7WwryRv/fDIT/h4hTkI+jjb+KKCa66S0nQ9x9pDdgJZBr2vfj9oK9LUYpGQfoOl0bY+/5wndlW2mj/QOh/XcuEcnoG7T5e7LnBmDFkXdFLmAV8HVD0SYsi9W1CLRlZWKQGFnJF+bsDX0UvM4sOquUl5jI4QmEAfAlNEnQKj+XR9KiTS7UD4Snx/Wkzf5LyRTWAndOqrpNulwsPoYfSKz01MrcHWJO1V4yi4a97OQJe7nULw/h1h3+xhcL4v59B09ffssSR7OaXxkWtIvTfydcCz9FCES08xa6u4s2q6KuKAFX/cLttHq0pfZyXWOWGj2y0ni+TQAE6edoCPhlbUL7tK3zTUKVuhCC9c9+zPDGcmjma2YVybBynruWfi8Gt0Z5SY8i3/oyxfQigqfQVzowCPhKwcQiAlH76wTuQsdpjKvnjduI55gQD/fsQ5qEa6QnX8W/QndRveaEshRE3DCIoEcAqblRq4QTyFeMu23d1TmPaHeVMCo8xMBifIybOURs6odSoBd7530umzYgVTqxU4K47xkoRh87LEjdvMJ4xbTetvyZdsVeheefj6ZQj24NuKhEQF6Wwjz8nRQxKTzycReo87bvAxacRyPsHcMMO+hWKPiG1qEJBXpGyjn56cZzIRxGgQ9nf0cgdkqQVPD0WCq8jLqq3fxz2Eiv6XP8VAc2/LlkICgYRsVNMHwGBvaRh0LfhIFcMIkNm86HGx19Hin27UdTyj1hoWNBufCscX7CNWgulK1Iapa5olXCki/jTutFR5g5clow+SbXJHiB23oimHDgT0zIkTNAaEcR3/FLq2USjKuuk2yk05EVOxdea2+95XMUt5acE69FBChw5MxReIXMpXOSBMDKkdkVQZti5YqSy0PskeR1JyPkY2PuNhTeQoea8+OD9bSzEBHu4jalpSsg6jCWbtbDOCBA2AgfbS0ia/5nmVO01Yqj835OaOBBFIblWVzcjRy7Ce5SmQv1GiThlY8yVMX/SSQfmrxTqhxB4PH2MWvY/Prvm5pln8NnTcBHK+VhJ7S6nvBJzXaviAwdZmFcd0QWyb+ZLUdYzDJnRN37vvTqCe3AQ34gmcC2HU89rN6Z18XDpYrQDkgCsdORYws0PdBCE4zXumVXXbPz+KHaz+Z7c1pFwPsz8/J7i5TZA7BbKTKAO63ZOO57DzYwczV0Qgog3MlO5qwGHPf9Ed1OE987/xBa1v9clFRQahsZw3TCiwVNu60eboN19/dMPE9Ix+qSjLeh1sseJUw+zpKIAHAbzNFEGwJSrrVCTkEG368oFP25sFcOoex2m8Z7sVY1vwqbybSWJl3+lPxqfI61PH43RcU84p0bdo4RznV1SfNrICTrXid80knB5vTyueTXqaodOiA4hwqQxIM3JXmLtFPZSczr10wsnaoTD0bFhiKWU3tDevQT2KQqVknCYFp0TmWaV6dq9FEqGifin/uuBetxCV165WyJUbticrH1zIR+6sGL4s7wNLbE6f9o2XGPRaujw0TN4zqTyjUR9RNysW6iOqsxpSJEvE20XpJHs330O5g5MdBjzxDXbEt0fMWxgPAlyb0/POC1PdAlxBu38Iu+Vf43gPy30/ZqnX4jJ3OtHsPWBZV53MfFDH64n8vQL+T7sn5tZCy0FiWYKHhrwx4UhWHuLGx8mnCo27p/kwKKNY146yutnr7fmAwoKxQQxh5Zey5Ep0f6YsN+rGDCe5/2QfEdeCBiPySN2DVE84DwRHSEW+5KPSGQWoXn6Ho0qOcqez9At/BJJlD6+Itobmls5tFiQA98RZ++eXxpzKbYrC9s886JU3mfMn5IePCoAehF7RuPHEuhwMhkZYt5JSWKBCPmhcK2fKU2BtR5lxF+nyW3wuB0N84DL37bTX9Ph3EIEIZnMFALfHv/gmbJsBC6arjsUxbRNcnqeFH5WahmlJPswwjc0Ssgj8+jtwvuiRu/b2/Oy4Ehy3tiWxiRg8mHUuQ39DZcUX0c2KhNWiZ3wYp8WMpfLUNVEl7/Xzz3U83ZY8mZZfoKj+OSMX1FSTeRqQmLj3ewgj5of2o9RLQZJaqzSPkFg3RZ1/mr1cHRjwp3FGCDZrV8rhco/rZsu/oJM9ExzZf5WDrGM01cIjbzG+X4tMtgpKmNawRR6yWb2Y0vEYoZ2nqSpz+8tSXpVfCizv1w6mEUlN5gJnbAF2qwhkxLW1PUzl4byyzCtIEN6Vc+rfDAGCAalJUCpvrycnkEOpZJ2/vPo6Cpl8bBuxFcqSNBQRe8wI07dXYyPgS4/AaNCgxM50gC0ArrQwmnmHjCsNAUA8W1dpQjRLFF3jxgVRXMxM0HMcLhzE0MCtE8WYom2wZDUzTXY8gRwy2vnh/N92+TmYMT3LUR62M4zIrEo15If96r0Z36M+XyfA6GgYvWJzeur1KHzcx5EEMJgRzk0chJHsVf6UhURBMd5HzP+TBlBfWh1RrUUiunn5hiceWqgXR+DEd4yOXLpk4kQjcDHYBQlpsUf5ae5YUguvc1dx6KjGVfxrWBx4zRfHfaor0kDUaPPELz5Eb9bFWlPsS8uxaN8rMQnqW7/TqiMeItWgIyEcUZBycqVcd/3HzezyfAjoZYZT1OjoPRlfoOQHvuJ5Zo0s70f6w7N7o2Wm5q0yQ9Wm3L7MVJztVDIlc9gVd8B3JVrn5bBddBgJv8gi1IWUNm1h+p0UucjIXo5i2Qlk8egAVHBBwBUYW7HXd8zUJJdt7Aco8cEQ/xgnxG5KeTBAPPtv9BxkLgvVsigEujECyFAaq4sIxdAcsi0b3x88ZIX9h+nYWvO7dCE+tIPFI1rmWG+h4MX3duBHLA1tQLHE/yefn+Q7vbotfR67lIe9OvQFIV8ij6+PmLbrgB5Q2tOSSyRE5p0In5JJGUF6bVoOr1pAt+RkdJiJLtYZXS6ia/Z5mrSQjkIROliBH+rP/vRcUjRsxzdK4R0LHMsedQNYvDR0/z/zaqepOsb4Wv1dhONLE+25HMrvdqg4JwkhvYqGEnRL6U3J9OcQxag8Ryg5rFSFaMGjkih+uiQ6hcnClOtdAcF62Hxu7AfGP2SYz9TLOlitT4V7SaGpegBYRcRFcZXGtgggROu27FGgmJn4mDOjI0my8YdVClJi1rKQoPuGwXa/wiCh/FDesILNixQrRN93UgzUxnyCX5xnuqDrmU0YLI1F1bg4B2xMOS4NGXw3v2551D+D7jlw/ea0CGN2v7F8IU4umRu1MxoM4UcnAI62Fw4v4fSnArR14iHpxIw4rK92bYE/yVIqY2rF03nhdczTeXOAeTitrTg9TK00vMUc6Oovewx9VwoJ81YB5BPQ5bCCBHq6kC/Sfc7YZM2/Di0DbGjy+URRB0NUvf7BMko/h9MOZ8wE3ub9hDcGYZXlCLzK+R4EhP++0EHSCF9W2z0Mc9r7ta3MUxle+Z6sAiBy6V+iqMdeESo1LVu/xVGZDTJYPHuliSAa79pBAzzhD9DcLS33WRcQSiCObkgmDDBccZLbAbr0a3fVsLACifr8dFge8hNwcs/XtOnTuHmKaI9+3N821o8jWoZO/L209tTRXJAybYtAImdv0TTeVQNe4YTyayXJd8DR/Z1+Z0Qyh+83bNUL2spwSB4fCIIQ1MTGAsZaGYg+7xXKwZxDeO3BTz/oErzPAc8uy84uLjl/hjuhntNm2/di1uOR1iA+aAZ8HVdMwulLymnlMhNz/aKG8cps9xs1St0Tat3W6b7q+4MoFY1BHS701k+S9TWbtDNW0eLfGwayId7ucCIGcfgNrAIxITAZQSe6p/Zc5AtvIIPQ4iM+VJ63dKkN+DMSQpKHnyaIwA+OTT2Ll0jb4khgSmoiKshrpSwKieyAJ+3jVvHZwlc4T/lVlox72GWeuYhoiZ6Oy62HxbKvpzZHaZgXl1FX41BMYpBUw01lda+wkp3xh0BDQgsxm0r6vqb43U/srK73REfZBxpSHQ/I3/ovFkYFd8LuKJrf8ryBf5uDPkAJqTTjTWGBbEFlPYMNBpuvgp4pgro4LSH07H/Lg1GeRk+lmfrqjcIyQEJWijojPvy+nEva19ca8ZAiyL5PiwjeODEHtnzh245XtkKkXP/RE44i2TR/YhyElH5bR4wm3meKFBiGd0bAr02MixoYqQ3Cl4fQ5HBb5c9Ik4bcJ4SHVRAxDWZuJ99qSOZAjyKXTPORY4/9yXJb29CvRnuyezXVqT/TQrxjXGvbSVLn6ajfw90jT+99MwGqAcpcSTmikSLtqcCGbcdX8+MNrqtLWHSXa/WTqtMo6kvDuE2kOiA31eZuW/KeDsEWxHJZBzTmxKadXQSDE+R1ECPUaIleYWNw4IH17xeMr+Tl75oFYKqhd5jCIwGrkC4nSLP+BWDrYkD2EBDGrS4P/tbNGQvuaV6oaw/c2pvD1PP2a528a1PrIIn6Ve5tdE+kukH7grmXbV3sDXDeVuSVh6FEBdks+d0x66onTalJ+GGhwQ1aE8QsJMdtnSI1biSoSpjY2G4v4uapTwzR5i7FlMQR60VbwditP0moQ5BempHgxQ5mNZBv72zQW6eZSuPJbcKpjrC0Dw5NAcgTDtKe6LCYGiMYBuKhGumYRvtbIOJ/pGpAkFnROnRAav+s8+S543eEOaiWP8Uz5UUYP0S3Qe2VAmqABj6YOJavmPjH3B4eAEIgoU+U5S97IWFbr9R1LjnrPg1w6ScIq8Hvm9/90WEyvc3V5e+SMsH7EtDAVEXgZoxP1yd8kip6GguxGrhnruMhMRNwZLMTwCrxr9z9tXEXTpXSq7r8Z7UgZhs2SwaDDP8Ox2J30PbT+SXLVMYXDWIFqv2Ox8weDDDtuPkoEVlr7mlnkzHsQ0rKk5h8WOwaXc/JBO8rH8d4pTZxRdDdXKTSn5eeEDY5PLHdAtu7R9b70Rq8yhMQoc8lbb4euy/F5ihiYAkbBN0JmwOQCe9UvuzFm2vP8KK+NiMn2YHDaKnY/JOAtewoqHxr45GWz+uOkBB2+UcTNQLfTVPjRCeR7BBjg3GyU8beB5cH6yCLVyUU9PQqGWxiqxSO2IX8Hww+Ha8l4/Zli047wExb9iZJvEu4kMgWysoIn9rrFb+YUe442CkW8P2L6eEyz+7z8jEeM1nY2DIE3O7JhuIqa97OP+CF0SBukR6HFFSNZAmGsiQt19wOTIVSqONBKA75gKpOX11V57v9QE6GxoXGfBtNMhAIL87iNXNZi11HZXIpi1Lyi11E79bcCgmP4rM62Npo5g8EAbEjFloyvoz0nyzLhBPERS8pLSrhtbdDDvHoqh9SM466GjyTXrfSRZHcoa+XD+/F6TpbPOUrGbd01xwOwYC4eX64F5CKKLE0FEDGGYOYp6wGVeugnz7ReujfuT9aCBEkojAIL4KuhbSSmImWpfViAq2CHvAvFV+VN4XGXgn2hItcnNyOARg9vFV6bEhn6f26IhNkkaQWWmaOifWn3cxWRDlCYHPb/0TVkh/wI/P6NzgRER5dqft41g75K2UQ/wbqNM3zMgibeWsBn0F+pOYO8Z0PN9G7QuLcCcN+fwvdNwZKyxM+wor8lRqgDW+IkLPI02vMGF6WXR6jbNLe5hyeDPTn1Olw/UtgkIbpAUnRNyizEO0es1OCSad5wdoCp4LkmeKshIdRiSWszpXNS+xHAcL3TuppJuqNsExqIvkdl5rH321/yKAKp4nBbhq4dNCKTTxx0PJwQdneEc45rWcoCn23uW6cvRySXjuYwUJxb290C3a9ka1ziKjUDL28C1JTSTyr/DF2c3RYl15+OAvUTtF3OOPYDHnqoPXW8j6ky5ZeJJVtyr7BMI4oqQ60XwjswOHO+sNTasyDjPBCj5MGlSgqVpdx9PNonGqgINEPtntCyKv94sWDe2IILPiku4ofzI3Sjl0csK8jZAP8V22GYnbzyhcQl8GqbIq7pI9dS9gzeTTPdLT1paw3wfVjt4//2YkT4dLdC1HwFj0lEqGkifWRHat+EHQB3Ykw/Uj/moEO3qhTRy5ZFU6DaBEkt5JuHszPd8jQlJ+WfJj9tLK6VKKwzn7qVevJHSMdRUDxm7jlnbuMSIQQhk+MimAqzSBVzj1A47DnMeWyiBmQ4IDwIJQE75LkFJjdzmX7Rs9VLaLL/Nm9S/rpKIP46iezEFP82WHpMUnuoCTTjKIcb4mfHizp1n4Y6Rhmb4lgtldtjvSyXOBHXmroAkOYIGhL32sLVNhnLeOg3KUFt6VpYRspztr+lCc+2SNdCRTxcN7/SZKGM20NaUH+siG8gSJru0TL+Igjsdwd3rMjTKRUBk36xw3LHgiEHHYuMu7gX1utepgLOHfLb039HtTXiq9zzpy3jgxjVInG3sueClhokfAPK7d0TSGoTDOOscORYWQKjrphR9Hevwu7hIKY4M+UFXnkzZGeogmE2AM23g6YS6wZ0xCZahubTMN45kHZ2Eb/Q3xO2vr8A66dZy9NXIFSQ5MBljcpSwpF0yKFsTah7nIf2rTOWGLIFya1cu53ft9P68cqllm8xSqBWTRTRWh1i/nhDas0epva7pIj+mqVBBM2ce+c7piIe18/W3YdvS4Mt7hoCcJJTQMg0hce5/odAJUjkX7zS/HHyFspGjoq4tooSavlBZN+frCB/NHD8P3xYdeqKMF1g4WNg1AH3Mmr++vZNJPbwYEUXB1we84Si+/ftoxMKLzLxUd3412wsjlBzYK2beP7lBzuku3CJrV+3sAjlZciwbYayBFcO5a+KiwbhbWl6AOs7NyyFQbSjmiS0TOuXf+4DS7y4UyutuXdcKQa0P7d8y2Cqdd1hV4spMf3dx8Xsgb1OaRWdR+PD/X+NLJuzaVMX+m3NCRIM5A3l4Rbnigikp0J7y2yZRkPpNSuBPzBAwYGVoQJ97snk0AStcnPlBiqCNaTY+c1cLie7nTNcJH7q833kbJfwL3zJg8W/amdAW0ltJy0PhDDm1lH5EMiQTOUdqHaOoMhexhGfxFtV2ia0srgShgFDmRzO+WX3Jtb5cJHoComouKzGXPStjwUhyxtv1JX/6UfyXHK4WHvgFI/G8G6sUmkYemqD2hzJOF+wr7db2JbFSGWKz990KNqVkmIWItn33ybZ6+4WIlnsWPdeTaAr5ZvJAYw5cHRzeQ/iOSfOkbssOPKaNwB9ExeOzO9Scybu66qNMfxWcuvg1PYpcacjzYVmxRUuLLXqOOSYJlEk5+8Y4pHOyAcNlPvMy1zUFGq8VGgKk2iiuR4Alfc1rDWdVuRUMXo0vzOk+yoDd49nxsGFipsIDXorEL1NJ5foV+9mzPOAO0ob5OAT/sCrSg87Sr9qiBFaEtqTNQv8WaaGEAh/8sNEjOqZ2P35LcZm1OTAsIKggziNPDh9Cs/Q951Efp2MgysvET1fZnlAzF/Tu8bt56yrNkj6I2gIxMq5OMDG6cPP+6JFYnRvv0kzAh+zwaiCHh3n7SCq2sy5v4sOJ+N8VfPilxMC2/A2a8B7zRGRrwr9s0w+VOXKmUOcT7ho54mKBtQIaKrJYlntTz38HUP0Y/v9o0PwC8AqfHhjYqBQGwiLJwmVFbKhPs/bBPJ7lL8VmDu641iPK4BivWqYWwmNqePQ58KuOs66dn8KfKXTeQJyyoLdRlCGh8l2pDbmtZ70nym1nNdpeHOS13mL7I03lGH+3BWHDyjEWD3HbDzADeJCpR1m/erg85vRTZF0mLzSJB4Nr/ysH6dDm2qGmuYHkVLGmU+I0zf0vn+boNLcvlIEnp5QMlHlZSjLIwWvyyyRHrKAcVXhbjHIrjpuwPLc8yvGKhe+9ECgUPK7cIcUq91obRjhBsuFAzLokFN/CB6CmQXZTL7ZD9oj3GNrYZW7XqC3aimlF16HtsG42en5m5CdRVIcWMOsNesEUV2i/sJlbowFC6/aq/4orFTAqnvcCdBts5wcSO5bMN81YbqcmJb/moRhXRVdgFj/q6Bq7aw+8asGKUdKOQY9pRdOv6+ovKRE6iPYt9N1IKYe3Z6UOWLV9L1yvWyF0XimcVj56iV6cMiWWxBjWbUPTeTgdxXbBDG6eQI2K359rXbSohiIhLo21x+xb9gcluu4sAyEVsgemOHHDfcqab3I0z8Yw5cvrwCiiNdL7X2nC7Nnq830kcFeEr2G4n5MKZ0ze1XTSN+z9jgwip/6F77k0nJHOo14+wC+Th4V7qFPRONaIiBU9lt9RIOp8qz9TSTSlrK7E7hA6iAjnKI4WbNhPip8LIxgWLMQ0di17iHX5zjdk2+x3hvgVMSh+03o0iQkLQ3xczrlP8PsjU4DKYMft/zv+tWahE26XRHZIZ+s1RBAeaDsZ5MnrInyGvDrWUXw87b5Mr56zj37WnPopBIz/0Pgio1/2VFC/eo7xWqMyB+mE2H7SmC1xygykRpHiZPm7pGmVdTNeDYBLS/ixu0BmGNR1qxgsmFRsXxjyQ0vFWbA208IHObkFPVbQwGBNBFpF/bsW++g/SUXfOFpfXObFTSTjMS8Tu+4WZATyTBG+odGo6ECTJVRK5AjiFJSbqGL1zhXkB2NxQbdBIW/GNqmHwDq5KPMKSjzUnZImchHXMN56RK3sx9E4gX44bSo2pjVRUNfhFUvq9d67hAjNXSIruQfL8phbpdajAxDSSzx8buQqWm8FZf5d/y9bVv4uzba6DaKZ3aH+grBA8agRyKNd2d0VnkqdgzOLdTjU2tn4XFxrX73h0ljoPoqfXoLh6l1IkBNS1yNQfprkBFvFHaBf5DHdlOGl3wFLfoLLbZ7SU/NU9IDxlgMGNuUmLVs1cppqE3CbQB1Jul2wtkr3O6FpTeqrz5k4VrxsxXITEm4yXpHgPJRmp7WNvO5VYEt4uDvLgtYgMBGgDj4VSgvYuE0SOoBAxptmo6zWbrH6VE6anEY+s1fL5gFZNBixgGxYHZNwg+C/aOgdeJQ7UAYiY3q1pzNqEdOD6af8pXlOj1fJbXa5M8FGv1cDW1d9kEsA7w/KXLKqXhSrT4QCgUBjNoHMdb5tyok5IdtoziQ2YWaO9bVnZ/eaiiTaWkdqJ4TKQsrwcuBCreh24OVAYWrFUUy75sV/lCsTy4RObfiiE77+tIqOvwe2HcCffvmR+bX+zULMRJQcMwwMC5uFAMTb8cQj0JwZm0aEe5ZGvAE2cRiomCRBsbt2t+6oeCvbTvotYgqij8S0HA4COoQj+kP5GM4xZ7hEC6Sk7eCRGRg2672w1W/9G7iu6w9HQnEWQpUDtAsSGfmduW4/S1BUVj1n7yFwabl2k3R73sOkmoKuFiqum1Q5Y9letodObXhZogUaA8io8atDL6Rl9SGm+uhFS2V237n7pq+ALmSmDFEarCHGwWzLVN4YKcbmzUAh3NqG60Xn7YlFvwbrzLfa8Bc3yFM2oNqj64ZDYkLVVh5eHUZ7t6Ejpx5H33yPYBUt+fp0zemFs4Zycxon/lrcsTmB05TFKgqot1jFN9frYxO2kaGyydKHkqDed/mBd+jNTMA029kYEJ0o2tvazDlPIGucNmgM4dmeB9z3T+r7PHF0YILbTxrqYrkFApXMD5ffh39nc/XwFxjZZV25iNCupPhC+Rl8knL296KKw7NEe9VGGQd9XMETTVu2Wup/lwUMrFSHaJ/pbXDrxwbtehsiMZfiUeUUt4qDsPtgoJQLFbPp7ws1yJy8xadUq6LtinmEFZ5ydwY6yJfKn8z2303w7QIqS96I4qdqMVhH1f8qAsINqcAcv60jbI3e1ud4skjWFpjJ1zBeOq9Ws9HWkkN9xwvp6qvFV0RuNt1RnJ/TwL/RgCFxllGbP19nFlfAY4OEoNcd+pGnJGPD0d0VfQ7L36ubcsMZMJg9sw5Zq/Uw8SLShjrx7eQ8jOby0xaR//R8eJ1x86fLUFJrOzzFcH5pDk5XzJZyeosFJ9UxbVU1KFCm2waz/DUEsZXXIqO+q++q5WEvz+VTWgrK1Hbpg9pC8iBWGqxmV003IaZI7OLZRMn+t95kNoTVLhKEFmGYxTGd34GydcASiYZc0rE2QaGDlq3kIl58QAaXwxEWxNRYoD492z2bQP7aoK88wMnWIgqRPCeXiRZKRKMKTiG+Xe1CqLTOey+I6hB3Woh7FTqQMRpRoa4ddNRDL+jEv5YT9NFj4ytaBC8XHgtHHR6ncNCC2KISc3u5l+ZgpWMxeagj8RnO/QevxXeSKWAH0U7JBGwcjHSURd34OIFj8uHDTMiVSQRmC7XyTwohSsECfKERO3UJTRZXYLqcOyyortODXqWliXF6uXs6fKGyrazN99w9H7Ig7uClAZAepGVzuPcirruvmHC69hj1r/SbmtIt8yaP7TPIAC8pT3M4kNAt9u6jTZ/Gw1A5RTgHeFyfK5L9Jrcokc1kGVcLcOlOC5SUT2kAD+ECU653OQZn1acep+XbH1uQFvQ07smAoXi4POrO1Jeq7p/+QYyc4pK5+H8DT2tM4yqDuwTVpV+By28sE7RbY4HYUJs3WbQzVS7hC+sAEUV5eEKEKJhhW9535CVAyUjSj3YVBqjmv9hHvgcyB5nsXX4e1qTuxNFr+36GF0eQfz1pyDLdQxOwBmnaIeDflYQtqIaPLCVj5j3oY9JL0HxylSJCTTrR0iD1T704EWjU9w2XDk7FpZ6ZNoPgpMrInGZb1DsdICSptl/mLlZXbJhcAPAhMwuxLsci3E6/KRbVpsZIWu1FTJRa9pbdatFBBwuT2Q8VSwt3qCj6tPp10hARYrYV7fDV5fOx1Pp07jlSxWF9RywLIwImYpVjzEU+LgmUnvoIy7QQcWJA0h2IexzNLhItlTXX3vJ17sP9zyRaR0hEhQf3vjgBkOnI8aa4VveAk4ztT/YDGrV2s/lrAcHm/5rpkRLxkio8Q2PPTOO4exKfnhihmJpl0QH2AikRttD4cxEyFbUNLbrPJNqJf13M06jSTp4MYpwOYg3cKl+aX3CbpPNwTTyZ3+OkkQmWl6GPuSBx+0AtSteapuch7eFnVHA9IySNGAr2Hhqsv7IvSWv10bpXZKCVQR/mB74/+10a/ChuqYpX4Ul5InjKEQmg0ZqqiZRrLdc7aNpUrw4LetZefgmeytr9As6wEkXjvLEPj07DjX44FXnb9uzz3igwO9pCs5Toj7hGDBK+uIEl1Ytc+d1B4Wf0BG66VLomQJt+84+ZpRPa0kWgn3rEYrJd899tHB4DqcX8vU69ea1GR7Wh3FpLC/ui9uVi4MF0aSlrqRR12xD0aTmvjUSmIU0epwDVJzazgQ6jfXUnUMpn0XM6V8+wV01ZvWJ2W0T2S1O2uwWgUe8B/ZU/D63Lasy8dEqosqeIVGD5XXic58MrsbZB9UBfeSEQCnwZYDQKdHlKzN/kBkcb27ZLUXD1Ff7i/7Cn5JPv0QOC3iaWCvkX4DW80HV3S/qUv4OeRHM2AmC3y9i5sGEuTXMpe52Amcms7fQ4H56MH+fTZ5lJPpcTGrzB9oxjD14Ekah8GFXOSSMoxhhiXevzRRTlsYyFTjpHmDbezd9qg7f8xZZgv3JWSsHFO4/GdcCeRbRwu19qP8PEH/F/hD4ie6Gwh9kmjcZAlM3oKnKsRkF1KP7AwdcyWWzq6sYxdfu82t3H9Pwo/MEYZpTl2UG+EHtqUvGIpbB36w9+LsyWnOl/XBVQSsBa7bdv7wcM1ZDGkkcVlGKZ6rGXP7NF5zdHSvmFnaJA2OfaRhraIFEO16ll9lNcq7jrCfCTqaXG7v38FK+jhb0uKzWCZWUm375xZOm9CYU+SYoFl+vp8KtU17rkiB9duZsK4jXJjLe2TCpRz3YCDLsJhJ3xAgGW72I1FU2fxxT1gADROenaDp6IMec9tcccT44zDXr/WEA3ksGGdzAYXCnqJThuqLbGh2QRqVxnduP3NXZAkRssu2fRjBc+ScXnLy6qDkQz2yxUSe9zUNC5j6MSdd7ou1XfAZFylI2QdmtLEbwn4hB83Ag2QmLIW0D+lt/tyDCx7JXtcezNBo0PXfZmOF+wT255le1ORj5jQH2SlFeifSKShn3E/3KnGj+T+GFh5zLZxZcnYFJnWmxKvTW+VEJSL2XIbKDGXuN9X7UpcBd2QUIOO7f8nTyJdvXJRtpA3T0DNNQoLl6y7LyuogWE62KpP019EqL9Jvz2UoR2sru/yswhlnGJ8+X/8o+qHbRYVTDQ989sbP/LNrUrEfi8k9n/fRalOLLRWa3tsTE5vGzHK6VYJdGyZ9jBiLPNnryzbnss0UbZHWElREJMY6LakJ/awJuYKp38f60NCddSIExL7DHy0Mx8yP6mjFu2X5sFkebstU91JEWz9JhNlCkVA4+aQPnqWnOLiQ1yssI9lXDk8XWwKRGkYtfdlHbTgXArry+yzEWX8w+Df3xl/ps9Z2sXlbOpWG6ZTMxILQ50HqmOdwfJbRU7zNThqoG7HTc7/ICa1QXFoqgyTXrj/OXzu/au7jxdENhL+fblW7SAV15SnNapRwhO7BhiUuyfgwoDoPt+yRl+H+H5FuVHjisAlcpLlzBNa1I3b3HpctUB3IQ62VJxgfQ7jfPiB41StTLfBfoDvOrlpPKFVTpz34oM0igClVFk+VxmWVrzLQWugINzD5tSA+ZY7H2O7apjTIs+14lHldDX6Ofa3qaVJL8A5KO6tpJHQjdV2jG5a0OXSnsFTjZhJiSbZsaqVaR7BESumWKqCb1y5m9Q+JKj/b8YTPbDdBG5u60Oiw5QHE+WfsuEYjUlAS7dssvDQNb2I+lexBFPsQw/Jk8tJh0pGmtormSsfSglcszeU1296rv+vbLZ1a6SJj+NXjZQAdDewbvyNIJQscedTYdo0rU6eHxjSmAXgAUQ91Abcj66xFV/oqzSQ6t+YTdQybGIDmnNa+r2bOqRQXJf6NtFxnlg05Ev2GY+eTXwjL39OQVQ1aQEnWHNQWzsZ2vAHQlrXNtgW309jSphpnlYbICYhf/l/FzgjHbq7HngI5tGAwTEjkKC7EgR/p7Eue2nK720JBtV/mt5rS8QHZ/yoncDIQjMfhbJsmNd5Ph9/nnulDcsSjCU7dVIstOQxLEIthn05QPVOdHcA01W0Xa3LwIgV1gxgaLF7taKhIQ+Q8LOwMbhDyVsVPldnStskBNFDxsymVHT3tTNDvsQTBz2achYwfgB0x/42vEE6erPj/ytu9NmWX07Nd4Y0BD5nTccM0w04xujVZqhvDIyoFyR8ehlsHG3fjI0siiJ0/7MGNUvX2/LQBK/Ip25sc4wW1GxuI/VQ2YlwJBdYVYkgGkqUYDbgYuRDCD02YsmaSpEi5EmeoCeSXjrfuTIwWWQa6+vWLaMQVAorS3V+7u5aniHhI+AiSjLQumGE9d9qIXHJn3JTBKCThgBGx7vGAdZxwggowSFmCw9GFPq/Ko53F02u6YUEhAbDEdJKIKXjspSZ2Ay/bvVfxvLt7l0LZi87p49FgQ7hph/OsfhrxW7eh26ifAh5cE+QFbivaLIQpiY8Ck8L3gIcJNrTo/K6XvGt/4xlEov6qu8rl7ebjFA+l13VswT28vDJ3ue6yba4qzR1I/flDuV9zpHsaK8fh+udFbI6kejMv+soFCPCH4eb9xQv+NYAYvt2Q8KsDzIRYaMp6Vl4MfZgaI5CvA04r+201PXuDIxbA8fruHamkd+3bhagEoRQQMTmIk8apyRuJ/i1I8qstRqLptrdfg0WREb2SXGRvJh/IygPDoBZIm2RNZSJbeNkUOocayd7MHC7mBnWsziCZITY665a7WoziDV+Dt1gJUkFyx1sC7A/08TSRszAj8k+UOLIy5yu7jm74j37maSbTHONhL2qrppzkuzCIy4MmPG1RaECNQiRHv2Fuo8KuI+SlqHae8rzbUm+BrLqghTILRzpsaFxAi3xSGXxZhxr2r6G9IQHfauyKxINtN65sTB+K/TkDYck0LgDzFpSZZPd7UaiS23/d08NyWnb5IFwlUvjKEiVRrOdhqh22i+ZnuGohtn6x88LW/0fUxmsLouKDHPNXJNezLQ2cCHG9S88Kogf4X7X66rGH2/H6wbbXBa8cxfJfs29mDejL00fOVkj6sqHMJJ+tHekavuVaCU3MoAWKVCJZSIl/1LCIP4sG4yedqC2QGfjqB0X30PjHByKfqjA1cFq7pDbGbYfezmq7OVWr+fmN1rx+4LyxRw2RqiFZLzODEXG6DJNy38AgwXZ+10B56JfdHhWlq73+uvPboWJE+cVLdydecuzLiDhQquy3tHNGE5vGbzg2W602HWD3h949m5WrJiIPd5hH68akso1dCEE2QK2UquaL0DymCRFFwihF89CN1fTsgnYWzD9ETgMbcZE0ZP90DpO/f1Jkh1w/uO+EFgyQb6lA8NPCQjjkCyuNJD9KbgUQSGDpoeqgv4fWwrk/puqsUv9aDnrJThgZcLGNo4U2G565WjuTX4QlEBUzcXWqIe4ZlajRY2NfbyQsMarTdEc7d3CVzwb4yCAufVvpnpDWLZ/PUQtD53oXGVpBvtlCOhWJLolP55+OH5yO+y8rvZJWfugcPUIHBInWa7/0KNp/m63cRkggrmuf20q/gt3Awb7YSj8lFIl/fmaW9TEjlYervHFYj7pTSdhEHTESppBtUw91mlLyPKstu7PMYwOBH43pjC370WJ2dyoI0uZW9+hsq551g6jGFatmadS1ANssVf1NxsWLNmvsuH5pb+tkOz6YQ2NV3KHCelKdaSUPduhAmJjx49WdDOnUOt6MTS9KzzvsWoQVTA9I2Nsb/6TnrH1KBC1QwZ+bkhFFSFPA+4nUxo2Kj3tJM9+mVKF7Oe8ulkPxk+yDOpZUcMt6C0CoaopfLHW7DlXX46fWxe0LE4iObcllMqgnRbADZuVQVAsvxE+6who6y3ZY7Pk+VozBj8JrovQ9qfChFZqcZV2CLBUh3eYKtMFpm/Ju7O1pwqaP0DHPixwKq8qYYZ33pIG6CRVbMRkgdGhqd3e4apiu64WmirkV1+OwoA15MAaRlhyzihleE2EvR0eTvW05TlyQ4X8OQjpx0iGvOc+UoYBpKsj6QhHiJg3YLQvkcN1mreuUabdMfxd6uBiOYlPofi0hUWzpTJjbD1k2vhEzbi0t9ZRN3q5/lYaAIpms0jg5mJU0ITsXLNa+i/RsyNQvmoxE8lYUhxbHoWFyFYn+yvRxkl3Lpxl3Emu1Cbq/O80BD6nJtxZQ928vZlWds3nn9AAKPULmEZC4j1P1yEzBusNNKNPSvl/PZm086Kz5I6VXbKyVx7QBEZViLJt7WeiJstOAVhurNvgGTPowrfziP6I5JQ7GhoGjPhWOwin3P89m01T+A+waKnsqeDnvEsydgQBPqkvtLYmSdXb1ukgbctmxogrvFNkKwBgER2F/WdK/ZRS+aZp2R4rnFwNXKnW8DRnkAshXR0J4KQE2Nd561EKxz1eIWwI3XlUqA12lkYi6OmVRQrrfqdN3QvdNAv33WcpZtVmpuMKThoR/QAXOrDdxK0j7WESIsG0VQM5e6/s4jVA0Me35X9VIKzFX1G210PabUSZyXwkRKCbOe2qSAmJOwC2U7oWPmY0SklNnyb8qCske/05DtDHexajN0o113DwzVZstQyxVdC4hs/K/pVMdj0Tt7QEhbpZt+DGA5c2Zl6kFwkVwd4geRPz1KGPWRZi+NVCt7XnXIZNrlKCQLShhgx3ucH7QEgiKACq6mpS0vPM8+bDSyY+gPEbU+GfLwNzqfk2GFnbz+EYjfuYOKpxUfFGM+MqyMO8YJ3xYvdyMdW1CYuyFY2Lorc+fX679ObUq899xPdaDSkPf2Qc/Bupqx1RZpUJu/OCnpV3a0xSS3rmz1hpJJXPOnPhKKuRZ17EQ76Bw9HELXQW6Dq9ymc1NAESpNathdvZ3R+2yBZ1dm1Y4GznQVPG1TjsgH00E6myJOj1YSfVEP3w+SjdGEfL+1r7gXm1+6wLWzio3eK7hLF5snTarTO18MTyQYXLDn2lQHyb+5Q9iUBwtXAKZT/PjmAYqIBvtMY0p7pMid+MU9628RcwEWFEYe5F6ck/C4hYDceByqV6xpmbvawak9rkphAYP2YXXnOULimpQIqwS1CZcwBS3TniGt0CnrLH996/MJAphlnZcAMi3k+FQ+x4cChIW48cbzusa2cEnYOtP8c2/PF6eeVEj7q3jke8TlGoJ5s3QrRIRoTPvSZ48ftNNxS1S4W/yajKmA1qRswHC3AjAwIuBdlFaYJY3YMHGNDOAvHMb2A4ThNEVuWRs0u46LlWUQPQA2zukMq0G7OK2eD6tQ+PMp1cKavwwKoCDW0bNboqTQ0LOxbQDVUbA2zJRGb20bey5kRh1xDB3V6rk1hMfDGUKubOIb8IdE2XpQyyPnFw3KdbLnQ9jH2cs3O2ufESODMHxPeewVoR2enOEYXbHnBFbX9cS6WuV6bX0ezlTV3kXeAvRN2Hoz1pUrGUysK0fsS7RTFhhwDQS09NGNsYCtf6+DeU93tH3SkgWQH4VnAb7TPnL9L17COjqaZN1W0rBZXvNAkWXFuOl7SOWOnznqgPve/MhdoWFXDj1XPnpaQ+wT1nP0fREvrvnDjF/va4cvjK5/3/I0WpNhj2AeSsYRl6T9IK3f3HOqljbKdIj/insIVeQ+P034nRrN7xi1BmaW8dP2pTmPhxyk+sTt6gyrDaNdfkCxV2Dp29PunJfzzRQ+MUAeyaU4H/Y+Ra2zaEKaC0g4Ew2OMoL/u2jdohftxQ9DszDdsTCTXkZXfLKdd5qFh9E72W8RP6GOoGfdwCfmBJBKxTRb6e74b0rPdR0R9Nh7LJeuDzBcpgOJkRGp5j6p//3keVG4S8jdDoEsavImCl13xAM5cGRxebF69/ZEVPpbq+KMssPXTpEDuTtVefPBVXy8c8c/oDEXpWTcgr/DSnLSmUoZ9Ppy2CqXZJwPZRECjKVm7F8pR5HAnSdwoKpNEc0kw5tKQc0wlWPd6RybPDYJYgNcdVICspUXXwOLFKD5U1KnJLMk5bYEbSZ0B+ka5YwmJ+5eE8RUTSteWpHUhr370e8zuK9OAcOGIH3bA3bTnynXgu/KN1Oh6HNrqhi4RP/eltg8xA+qLjnPHxg57uAkbIv6222ZVTuq89OL1RxGGQczlfFk0Q3hkx9UzJ0yMqfZkTgGGGQkRDsy0s5Ofz5WRqg2Dd+52drEjebJFrYDW/POsOjPnat/Voy/C5BSFTuW5JpP3esvOzBrs825xQdvB8iP6BfqyZfMRZC/4H88cjb8+Uf0ARFJzkK9PxG7kyNMv9zRYXlXaX4ND7ADcUvj73CxjyLsg++3bDdRZ43W0ObKKzacu0x6NIK0bw7xQMCqEzD10GLOHxBDJ6LcvbE79iTLvq0IkuG/l1K+ZtyPyQ++dZOsFjMTAX6bY6Ee9nUYRnMtp5l9gwvSRbex0+p06DfMLQlYT0VesQD5ok4qoovT84g8F9AissusPrZ+ZNjT/HZFIiBNLcnNLu9a8hHIVT/2qIMlXeb0h4aE3UrUlGu4krKYpgjVAD9R+rc3mh39uqepzBlG+xwir7UDEGqQS6CHZHFaizA2ahMs7R6YrsYB939wXrZlOo8ibbu2/jzY5oHeqJ7uR8Ve2KR3d1mUg2ndM+3RJNx5DTyGFLjefTFIQqb0Gza5SjMtOgMZ7MzWj8J4vsU8+/X4wvlMCN6X6BvwD8cxdUzgEJcVqJxrqX1fIPARqW1lTwHgc8EUGcSdzCG3OUx0fscI5j3BmNfp5G1I1fSmrnWEe944jS8ILLeVjyAmyfui3bFZUGmwPKEvQaHiWjsDU94Bqh1MQL21h5H4kgo3feF9c83r+tRy94S76UCikypCZE5t9BpeA45LhzOW6wNnCQ22aFcFwT7alYDSnJEPC7qoWbDeEbL+qZzCGYRBNrQpqIRE/a7YYnkbvcf5IMaxz3ry0zbK3JIBJK6n/O6GgVSYqBKkx5mRQf9weTfouCrnMZCarqn4IfLX3OKIA9LM2dFmREmcMuNLxE56UkW9F8fO1CjrYVNoj2+Oqxt7BmjtElJKNTt5pswWMH1cgfred2ivhfxMa8uws4+qrsJ3bIBgTnHsDu+LjNhlS5MBMFfv2N3JR5jQeX38k1iCYnr2fNWbAawNG9Z6ps9w4zVZ8EcHxwxcGhdLMwN5dShzs8YB04CxFqqFBytcR2vhP2jPoECmdkZXJcyNb5S7eTzfqN6qckS9JmEo6dDftv6NHNF+M71j7QWEDjSxjx7eJiK33hh4O90QtXj5j9d6lKFafKgsKiqwPPmRm2WjKX8g8ryVTML+BIXgR4A4XD3Ah27eZqc0F7MnwaUnT1KcDaJtfyb5cO/bfpQtk3LlZruxvtS6lcR3air7zkUd0fBE1NOehXn8G/zAePcx86eN2uv/XObPfJWXaKK+8zXLR4H7I0h3fc8Qxit2txkCrbATQ5WhgBLcWE2kGn2xxedd3dE7hMU9uPYBfvKa6ct8RkFNS3e5FNd1BbldsZQ7tQbaxnSyqMfl4HOhCG1RyLHFyn26ypc85c3pG9R4dHPNla4+99BgbF5T4GVUhpp1EyaRF+UvtSNNm8OruRfoad/D7zqEaxyTHT003kKRdP/hEZCQslW2Vlt3x1FmP/RzRSmwO0cuhvX7EfQB5IfbcsmZWTavkU6GY1LfaGOqGyU/xqVN4Ed34io2BM6Y3QjnXdpUtjmSDbIFxg/5Grte5MTE9PXCx55YcO+jlhlUbCBLottkeGaBWnoNwAfAn9kRrTXSv5C1RfkEFAN32ULWf5Myl1fEtFyGEI02yBuOE2yPdVQCPToFq/6ZKb/nllMtsyv7AAhn0gt8q3OyjFtbzTw0XHu7dvHnHikaZkOnPsikx7iVQ8zIKOpTShH0k6LBM62zhYdOSHdfDDRbmciHhYlPd0ePMY0RRCXxebAdPOiI/0EQHpA5peKMiTjxZVt5+n0lb9E4tK2y217nECMQg+WjIJQd8RY24ZsagGHl07CzBFQFKB2de4vhW8tbDREhCl1jsB8im5rzH7/kMFVzA/TV0rAg5y80PsKpShlHW0tC5x+KhMrcrgmxKdGxnOSE5WOxzolsQfqlkWhjDniPyDhuIx2jj5IVCmO6UkNELBqD6EvxCh4r9LU6YpCRH7887AsrqoqIVUx/3zEE3X/9hRC0FgTRLOKCqmuYtRmDVeWnNMqK8+oqxKjN2wljZUR27drrH9dW+AFQ6rGcEPSfK6T5AJjXVplNM3Zl8F3iDJkrKcVgidgA94At/HHiRjW8vqHr6huL/OmkGVr8NVN8jYdHO/IFnAq/6VqP9AVT8qofss+KZKiOBCDP40VoCdO7iMIdgEUxw9i0xkL5byf7x2Tg7DVmS0hVYWFMCka5NU9i4Rd5nMZ5SgS7Gl4mjAkvpML+zhQuTFuIx9gLrTqi09Srdov2a+tR9sYQuqcm8NM3+kUbuHYQYZGSP5zIFqc8M0zaE3T7ySUCOJd/oiJXt1JO5m3kNWzZKul8X7R83tEP52NHg13Hm/WXjVMsJD2AWEtWcHofGZilNfu/bTN16L16j6JshJv2bofyxTr/ahZYgOsoCltitDqKGcD1TuKgHWBkWdJjCZbbGLMTEECV+3Ga1yK0D7MFlBEalQsL1Sv41UhHA939O0wRgMrQRMfYKwVUwXxkJWdb96M6wrES4/6Eepuc1Hb//3JRERqVAPf8r6Z6qQvz0WNG55Yy1DP9MjMI/b6+9YYPUSYAzIz9S6i+tJkbpqSld1Z6EUpqaE3z9mNIc++roih/SqzZ5LJ96PUeQzyzGVXgtvNp5aPWUKvOxRi8tUNjr4aXmy2QwlTdtPch9SmD3WsvMkTUZVlLKEP7qOyrHyU0quUbrtWeO8gpQphe54Y1OAG0o3Z+jLdliuwacnaZeFUfyZOdXHWCpEg5YbJkjwEP2xvxoYO03mNF2n4AftVA+wvvqew8W1XP1Fu5+kM0zulIVFs6nhKUqk6aURqkbOp/JCTKpZwbcFEtSFBdfssb7SpbWVzDLmeFEF87bixHc/WM9LGCzT4VM/otYlG9mlofFFo8rT3Q9bESWi9pvFSLy4N+xfzCAY8itMmH3aA2ILw4c2+PGhPmxFc9kmKecgxsATPVjuteELm7bEDZd42Tf2GUw1VdvdQUhkP8GiLL98Lwa9Sb5c1733Ir3bvpoO3sKJkzLstC95w5G4BCWahIUPoawnZZtD8KltSAHKJK6Durb6UuKpc//oeXmLbw0FzAVI6kQKu1tZfw5omVb5TnRkK7PYvVSkEdTf4vWm5e2d4gmDohAHhXrbwv3XyLK2oybUx5onyOgvUnJNR9ID5kcuNo5SVxbK9ePox/6lvTHSrguJ9pOAJX6irqGE+c5cKWZl3aGzGCY1sk/n+uauzTQYuN+ReqC62zpK7LFGNPxFydbWlzk1fqFNu0o8gPdX6dZU2w9vYDkc9wa0NxiTZTSqlhqPSFCbbbhKC8+4xTpn66f+L/LV0PS6fkl5+mMO0JQKi7MAwjWOowtCjNYqEwANGlxOL6TqIenTIgAJ2JsUqZ008t0kJI/je4P4vXO6EAefX2hUDY2pM6rAZKlxKlWnxWstQuXlSSAqfCQ2KnwhPdgTKbdqqIMyK8qCOsjvkS7y4eUeV0e5/KIT8aN8ZrVJOBSq/bPzzbJ/olc3LzRP08SjlQHN6Ggq/4QUBQ/knIrJVAcDtUR5M50BLX57iDPwkd2Lnl6KeEojyNiwgCA4ZV4wJX770VriZtqochnutSswjDeFtseKR88ECsaXRgnDAnFgaSRIgayW1BfXZPCkEpNMpxwfdoETw30NnLchNvvWbVH4pMqhSgCGsT3x6yhWjAGIUXb7DqoAUseLJ2Znj05FlqC/sIs40zw/W+SwmnDuHeI8ewwuQD8l7appIqbg5WmmITcI43+uHTSM//wGaDwrffKRCdD6MveF3z42Gys2O2eRd3VSU2nMtPH0O4U6lcaD7k2j6xvatM9Tz6B4nJC9VNVdoZgXhEy1fyZNZcyrEkAzABFdt69AjFXy65djI6HQkrFS6pAekzp++nZdtBD3UC/7PrOn3EI5AE3IRHxdx7ZfNzimRi0ou8zuPZN4YIilnNn9m8iucqc7JfQhiurr7x+BOkh4IUa29mhQuvYOOSJdivt43P2WIcdyiVTW8gseLanG0vbSBeObu9uPf6q9o3gA1JkdmgschC2giC3BRfGdGj5LoTYG46+Y1zGe93rtVvGTCEY7BKj5NvU78iSe9uXdglZnrnRyh1FV+Zb7XVO1igBvinEYvkNV5KJfRQAK0FKRZbervEHLyfstxb39JGj7Ga/CBYucli4F7gCBk6CYy5k6d06J0JBsDcrW7S4ASWFpvNiUZIeJjowXEVJ6ZFCCgO5YmuKZdkdXvpUUQCc8jGVroriYttR2KBJTg+yEPla7/8SJOKltv6pfAVK4ZH5S5TlnR6CWRd+CkY1GDZSmeAZ17Qbg/V+gNeYqYfnt7/CdP9Igj9Y2U2edwbJSZaAMrgeuCoep4EP/mRTB6j8Xq3C1b2AYI5Lfgzo2wOHzRSIYadx89FXCOMz6p0YAwKIm77kuocsGhDAeh3vZyU3YYIdAWyZEaXNy5SPvze/DF5lEdyNLqgAIIxYOAAYNj9nQ7ufyBpx1YVUBXcvwmPzxDKB+lTvNf9MlL77P/Gpd4UPchNKqwikzyw8QmFe8sBQV2Q33Ctug6qTYHxAyviHg1p7rbhZHK79ZgmT/sotiLuJMz5hJGVrKCrV+i6aL/Pk3xNpgHl/ekYNSljb3XLHrsljzMOH9PWkiMfW+mwyDrTLUXshnVQQ6i/JMav3lCCbIv4JNmmPK8Jp9aeZXebn1jKgjhl6GXYEn4tnIU07vBaBdLPP5yIynncrQ82k916n7l479BnwZLCdXqRQfdIDP3Xit/6sHetllpMVSUNSJmqeHjZF34JvNuoOCs+QOSB2c2O6RktfLWNbklqKGwocGp5Py8khzwrXYGBUc4siclHNzqxQxVU/ytVVNpFGhurtLEzDb8bnC/Gx6fWNu/jt/CbPxWMQwhCxf0/HeeYVtFj+dusZROmnUZ36PElxekEBXLiJE6C1ieTHGC9rf6WmpqqT/VfrU/3m8OYi7WIt+WY+/IPAEwOIowfP8IO+nK6gug0mgcRgFMWa4eKTkm/kuVcoegveLxg8ozDwBGq3kxkfy9JbA8yeyoKzSo26M/BkFecajCgJm3csC79IBWeoplYAk5ewddGqov0xo73XoPMUQyFI2aW+YtQeCU6ZvNk99IYnmr961DJvbO4EbKrNChjjZI6LQSZQkgcVr6gUJRMzlQ9NNcFuxlPPCWj5yEEtdOQApSvQ131hrYzKJVYuuR3x4g1SpW47Jnqy2g0pE5uaHH+Q1iheAgzavmh/L5dUAWKr+ZHIwdgE7Mxd62aQ3xmo2wm9bHmvmOJQttpHXjW22qHRF0SmrEEIC1NMNjFWedJA34l4vrb/8FImo2viZ5wRytfkutQ6rFJm3pyfUp7gMcldz/nt3andtnzRkvMs+6bzHDFeMoAOiq/keghPnmyos4yye8LV9A+hsXa0YA5xQnt6odCfTwjqF5/mcWUGh+ODrs6osoapqTauNg34pkxds7vh8rt176VFe52rAhnFWTHb7PUMjJWV8eU7CHS52irYowAZLAy9cXqqceUCk3VDexCOYa0bzMFTlWu+J8Gfsijko+n+bK9IsbLtqvOJPNnc6mu7kBmGxj31R6Lq3Pjrwp1NIEvv7LT9LzuAdGpTJHqVS/rpo5DfT/nYr4P2kXG6INsq0/VKpK0TvsWsfE/e/MIZxpjobb18Qt938uLCY7vcxSIJvja5zIshLmXjlcQYOG/BeFBAhAzwHdfLHl8CZabalWV1NTkYOJ8ueKJf5OHuPcG0wlx3Jeg9CB03ewfif63FKFt0hcx+dKjojpAlJkrwmt6G6M0/dhZSJHtqXYzwIguRFc8ob8qwdQbVvrnbz1ZKIVDsg0LAUH7tE9s0jzDMB26Ma6JfAdl4I/ljahtuhm4WmExNCAgZvJGBWtTdSixrDLxsjh/TaVMUC7X1PtfO5tYpNsC/PVM/TA79PKv19ZJkwaVEmhUqVumF85PiaTFzFPBNIPHheV8cW1EHOWc1mHsTkybdT60Isn4jSnsNRxdtidRYnkRS/RgE4tFPsA6UpE9NyMzka0+R3h74seqhJv0NsYSDkqQJBGUQu9fLrft/I0n8cW5FETWUKBhwLOrI+1+iWfzGYPIgs7CKlmsxjgOQZe/KF1aXuqwaRtEnzj8Jlkc0SBBrwDzk4nDk17dke4eupKCzFCg0X0w3pcD14n3Belbd+CUBY2wUHoalT4SfUYd7T7KhRBiTPMr4FbcLkT6xuWc52kRxhJdbxcdcmlvHSaxz3YHctLkr/HA1hxwaRMcacrXQqLVdXdJl2lfwoAnPJ3QycqSNFTRoVEQAyifcm5a3CycaRELoz3bdjYnMKoM6yEVFTFnIHzGTtHXTniRBQEsvR6f9v5v0KFtNUQr4J37/KlZ6T+Ei9HdHbZGx1gJOHR4VAhNlc+3AwoZonIN9rxpEOIClYwoVTut0wqi8LTgVhcYWwiLx5PjdbmRBmil0P0Pv8GOewY8+a8McvBviZj6zmrp72ah3Mx+bTvz26Rh1OO54Wmk2N/xcv/s0vUC5/1j3+nercjJLrZocnVzoTZ6l3BwOYUgDyTXiwG6DyLaye74n4LXkaPDlbe+SuL7VZB0sijkLh4fwOwSY3MmQUZ2eErHGKQfTqNNrKLNPPogs/8678/1Nl/UQcxQ4cMiy1lgV11+A7iW1+jGW4actnjLj1LCZibETsIx29hiPp6yW2/+CVU9VvrYZhy8DGx2toLTeSLpoCaC0m0sLr+R/8AXdNgZ8/puIwvrh16MTSu6WovAsKDtsGqcIaZ/+4Q4W01T0MgRHPqpnF92oMQl9MgClyhsqlhwXyiSO38TYZDrx9c1YgwpYv8FlCBDg4E5xeu6cATm3poK/MUSCpBoopyFlafgDQNPhpT2J5sia7g9cKzkSRFH3YR8QItBVbvRnF1x6h+gQ9p1Cj2fqK939mCxaDcXRnDIw0DMt/MeP7VAjZxxia9arO4erasAjFyA2Q+Z75TZPytgrqElT2fO1kB45PybtMkJNys5u//dzDM1Mv/08DGMMzd9KDnhpQ5WElFyPPynva5dwg1O7udBPNV4SZHPwc8HVtl3MaNUrBFeNB/yCcuX4cxxUxg2IkcxHUej7n+KGcYvTBAafYqp648aQJKiVYuFy3EOEYRNy27CeLLmUAi1j5g+btfjKC7H9is914yopkGkOcze/0NjiNuZNgH+XNLAD2QmukQ/vWBQgX+lnJhrXePJMGzVOUAfD9wsmKuKbbXGXToZM9So7WCPHatjzBLp1LpHKnRjTbd04OFnEFWDazAX7Y8JsAkITKtk/wd9NllQdcU6JHEa8kO5OSwpaEUvG7E/WcSw1iSvbjHza6XaZ4q8C3vK0VNeejZp3BxwAk6ize2ghu/t7sQRrfhrNTqbkDpEg9meloZZnBzX025d8ktEJ876g5SF5GWrunQq5bO2NdVM/NgZdhEMqPz8IzSr4Blcp4+T1VF5Ta311dIxTst83bMgXLITlN4ko8UTbDgZMFLrzAxGXnWTAqdqmbIrMuWPEyGkpUoSU/aswgBhqfoJWnH+Unck0hhqO1pRfFFjACKNd6cNhwE2CuApESVsSB652CmKSywyhwHNcrVX0MoMuIAsAhpxM5bKp2J/cDKOQReG8l+nDiQddIQy+URT3AgmkQEBTVC1Pb5JDKjw78HJvSIozYrI2Bp/LzpHQGdcPll8Qr7rFD4A6Ed2h5eItcPMbYVRvVfpQh+TSnSq3Sx65m3v6oWq8m83AzHJPbQAyHQ3eHVGLpcVSRWkSrbJuxmCdh3HrDtk4iMxhifp+5TlltVeVSfc3tTFeeuBWHd+3WT0KH9r4apt8MCEnQLozFVo1FR1pjXBCKYKLMJ/Os5JuMVd78esrbrLlwjKwrOrmAa+oHcZHfVNbcXUmHksrHFgCLYw+6G2LrqNvWh2yTQLyl62zFeJzl0E8LnLAX294eD3AAvwrFQVjQiuU4f3tH6ERMknOHkewnJ12HykXf9XkK4O+aHwMZa5Wop4Y/nepr+s+7W9pg4PyMR5CMcBqNAiM82jE1vItMjbGUN5ws6x8jtt83EHzGJY+XOfvC3l3gvlUlVr36wNLkGH08iFYekJ0qM00APR5PVayhHpSK+EuklhKagYVznGL73soEsdfiMfyla9/QbGdYNanbsJF5Azk2XQiwOL97At5tEMVIuSF365zC6p1Aye2LVDrYXsFmGf5eB01XHkqSjPjWb6D9bSmp13ks7F7344XA1/OnRp+k2oMLUvujGGZYsvts3XdKZkaztEw2XLY5YfpxyYS+9kG+Ka5KRMALUTTQ1bptEQYdo3k25Q/wAzR5204O7bnqucQwjcgnamKicx6Iy3LOG36re6ta6K9lHN4Fk3wvWZ84OObjv9c6KX5oNCMR9BmfZ7u/6uBrCjJCEe4K/doXQLUNWOhmhUw6khmiv1/hoarZze43vLHVZ4nZ1iLxWn5l3VHrqjkpb1QdGJ6hZrGaDm8dP/e8dB4Zz1jYGDT5LsP5M/ce/IzvcehT9cqXvS7eTFWngk0IrxS9ZMblDPTImEIP97FuTFCLRtBlrWMMx5/ROOjiujewQrx0KrhixBtnCtD3FFdR7BmSa2e0K6y/t7GxLyZvOP5cAJEXCfyTeGERp/p0Hqxx95Rd0Tt7ujOizpO4j1MdxRf6pHD4n3gwjGOU0TNDj2pscytK4+EYkwp4EfKSjCs/Ux6sEH62DQQJHnDoStdFOjaYmpBiR6w7I+Woxn9wovR0ft5p9kjjm/ukYK56hKSV4q7VWbTb3pWPuQNWltS0WRkWWfxYKPvl9Ham7vg6VcYPfE5pZO0KCUJh2iMVcRf6or2oWoQ3mtYxGzNKpYAm3GNKc/mvmQDKrXFegthOFScvUgRp7CG3z1cSvgAgW6g6WyiZv60a5TdJUnYhpJIenrK9/ml5qTlAI7Szwvp9bDv5scxcIO8iQzc9SJ+tsyp27HCmAKnraAg9IeQ05L4DkVKOzaEDzv6yQAkGQ7MuRu/isxMxxAlp92pv3wCsVszUlCpK6dDO1u07w4TE9CL0yND1YVkSy9VN3smPPxHfgVChB+lKV8aHJIKYdEKUL8wSzk6UfKT7MevY0bCWum4GOciXHQqfcLbLhPfW1KVxbsQYjlD0cu8DvW1jCCmB8QH0Vo6R9Tk2HCj9ocy+/KTh/np8GQUq4d98Cvq+54qZagjn5OJ5vL14+18hFu6gPhixsm75z3SvC40mEVWF4lOQVKJOgxomWzz+XWs0NlcuA1om2FHkqdLMBKbZe4foNLwhXgqZjqQnNCT1Di1SLLdSSEdWPJoOjBQIxbCJwMvzwk8CfXfFqSJw8ivZs6jmKhK600cTdJzDdMb7ZfZw74+Z5JaBwZFLiOHPRsHasmRB+26neeEtbwD5SgnN7im+IcAroOSv2w76TsyY5UXyyrdbQYAK47PwDNRsTGDgvz7Q3vgwhtvEDEH5DxaJlzR24jLyT3yCzJ8Kq7Bpi3CDALw5L1z50tUzU6ZBeIktHK6z/S/FNp6YYsU1LftY7NW6p0YXMEVJuj74qydYX3kC2NK6njsKUp77n28AIXwZPwGax7KtNb9sE0ArjWVdTWymor94OXmFJ/QBSZ4J46CgjBNe+TkPpVpbD0Aiw19+Xu88d5kWChvjiqgV1p74P9N/XXwMhbQnvg9daGl4j0AReZcfefwuWNkIKjXo6GEyy+dB0mZgNNg+TKYS5ysNvJ6vy4NeTeGYSB5/mGni28UzyUtd9Q1MFQELNhAFuBRcCgaJUtoZryn0QBo3qsg24cUg9mpkaEdhrUucQfud5Lcr9juaymSnpIzwEKOSfkw2yEJQ/aBBANMTRsQUfUdNnlfrihnaVF2om5qDVvC0XdUG/UCBS6DRtXKgjtsViq5VnHycUWpa9eUF5I1SVaPAONso2EMymsYQ9MsYlwt6XprwHdVKvk88Q0ec1cIgXOFKyhdgzYpJTSkPHsa6ICPYUYxQZAytXZ5AHyrmsM+CFzFw7T6NiE4rqzSo2sW/TQ/emlfOuPn18NXRn3TLhfpEF9BpSDcc0VCfcVekcd2wXHAvkCrFa5mKqhk73dvzOvUezncj4WjzA8fJhAT/W3F/QdtL+5OjaQBXGRCx1X4RteROuVriH5TeTskAoShjK54rCAqP5PGcHFHQVbIsZp23J4FgvzTNjcLfywFML7YW0nnE/uCNwyHD2x3YJXibNOlajYA0mw/NwllxVp8cFoYb4EnVRhg+J9eo+mGwmz1Rsf4m2Yd74QqPpBNIII2JSyF8PPNmSJnuU7863v/v8oQ1qR9485dkVYi9xjXCSIuNcpZj8rsGNo2cRIIb4DD6HPoqWzOTviDjT0Bq6t0+oGogX3zC8hyWeTbarayBiLmlDoEqqOSYZvzO01e+kIn+5zQ+zxaKB+j2OGCj4Ke+7hIT/IsRQXvp4kkZC3RRF5Goz2sB6L2qxyWw+3+Xuq6PFCJqVPNRjEIjWBwVeE1nd/qctdkA7tBIc7oj7q2FZ/czth0EuXCeR9xa5pY5On27vtiYG1xYV0J3Y4piyq/R9OguI3IfUJw7Mk4LBVOukJBEYVoWPLYs75FnSV0CDryBSqQ7Ndqkw5ECWgfH4VGqNiysYauFX88D47+YETG9ACJsb/wZ92mokjy4BTonrIQvTgHu9zOXkPvnzap/2TfJ1GheclZ2skgMG1mcUzOWgEHgh0RZ+6Bns+dYzzL09a8Esj9BUMGYm9pjUHRJmuCKfxQgxN39WkaT8At4S/JI8Lv0s72JsR2DmiIZM8cvx1JQCAUKHN7A2yeesL9P3u2N6X2z9YZThvYkaiNkaNoA6CTMKlFyxhlJ4q5TLA1btHxLjd0/mX6q0zIzi/TUkXMnMCg0+76zunBMa6nM6ujiapFwqbyzcGmQ+Mk3dZdcgcBRluXnH8IGuRta0pwCTIteSJIqZrae1qMo4lMUWbRxO2GR/BoBTepMESfdSeWc2IY0weZsVLwls67KRtPJHTklr9BGlG2pMOKItI+jxoRIKrh4Gm4MujtZsc8qutBFIp97+y0wv6Yh/iGzGWtKp1lUnedcAgdegOIepBgX+33WZjtwfo/UgL2atX60o1biTtLGa5KIMvJdyVStzESDAybvfrOYhhW3DG6RALY6LIAqSXPo/69AAH1k8qvu7LC1ZCCqUIg7J769xadhNM3RmdftR/Z3PEYre3eS0dHzW6OXeIIFDSSBwzYGpdVwxpmEjE/gNpLNxN7F462XVeQhHEQDehmHn8geCeovOaS8mPkkJMiDgGFSjVtAJavsNKYlfkjwTqIo4HM6lFWKNgVtjzJRJUpC6XKxQyWNDqmcLGGC/cjJHn/cPq8x/BhExqRLYNJgLqSRYmoN65Y3fUC5H3Lwgp0AlMRK+3NvhQJ99q8nXrrJ7qy6+4BB9QelgoBtMtQgeIaBK3Pj+kNnlkNWd+Lc9u/xy16ux6aFb+Z5ECJX7+0ygssXeP5UDcC9UOjqFcsYoeYYFyAyk5tuv/vZB1lNM3/eoNVNOXSO7Oj4goIKJf6scMd9Pok5YsTyHJc2e/vcBu8ttTcxmUqIWiAkxeZwbNXUwtbPmGjByzDMyf3nApXrkKcuW0sRsmeCfgPxLvyCpcLhAMWIkrONhNImoJeEdXPB7CCRYSUC4ndRv4btlMsPGgxUPej6tnbw80Twn7dL/3jxBljCL1FMt1BydDJ+pxkj+z/awr5JwO/HeayKUP0+F7gW8INcaN08051fOQPlcuebEdvpkapar0sNz+wgeRFcXNrTIszRylvwIFHJh7HCUaeWq9fTeKatutEmpKab4a6ODHhYhfkbtLM6AzjIdcuLx1h0Cp4Cr6soTJM7CvRwZRbtmSKZ4P/Y3oJtEHlOXVECjQsmHVtBGPUeSH0V12bLqIEcVEW7fpTE/WxOzD3ngEKabTxP1RxQ3oozbjWSrxx0u8pcRTtF3U/UavdcAIiYAsZUBvDzgTNUz8si5lhd7+UY9Nc7bT+R53fx4z5GSid2MEtSaVS/H4FE/2icILMlKvr7EJwH7LMrT5In2OkXtH4MBjDSIt4Mkzd5FNtHV4HI+cz/gVx3bpLqbmreHygOvxIzHkqaWkAYDVnZr42kmHEUPZa9wuoLudQm5EUtDp5eTFmK2uX+g3R/uwkAwuEUnkqdCugzA51yP0TheTHKSPfxhi16tdFJEDyk+PtP+4fORbh6KOcvGENJ4aP1IhFnPVgIdVLpnhDZeGkYkCTHDoySnvROgIoz7XI4ZrP1bW/QRHzEmufaoiMPeIuv2U2kySVKxX10Fr/OfLuBCOe2isu5xw9Nrhw/iv+MRk4D21WovMnN/FerXNDWMtYfsumDN+tDRn0FN6TIvf23yIUMEU/7AUhCDC4L2dafSHJFJhMGDMjBNrABYWHKQL8BYiBlt2M7z6xW9Wp85wTiUpek7IZ4ftmjVJNNqD9DjTfcoxfBvmQi67ns0qk6Xxwu/nFDw9IlPUabVUa3sGF1da63j6vNnIpVW0Am6xAgniccE6DscVP55vn5W76l9AlthEsyOo8K5iTlB8qEv7UH4jb4LnVJ94lWG1Wj5vyuM2nPeRl5JxmUkkBrBt3uiBJtnIhNbyAHplvNnNYGrM19saY4yKyCPotimRj8S01vz0rPOGWyKMyPmkRXahty+xnx2HyFT+2XJHwd9eTjXO1yhp+iI55/c07Ihq89b+DhMd+TbXLt/dpomUIWtTta5hznpiFo+GcswfUVcihiu2wGIGS4t6B5SRBZYjiE/Ws4+jQu+RfqjTXhuqyozG0oGKFspKkjlXSTkRbyuib/XIQB6+rBcOwi5DnUaoNxN+cXunTwM6781MpXBQeNKS2XgttCv6NXaD7Jty1QDNCHegyYYmm1rUbF1HSCav80dcq0P9ADm3izUiAVjBbgTXMCO42agdZ3WiSCYl5aXaD+54rRJNmYKjmRKs3icfT+ps4C7ps/jX/tGNBJ3NFuxRPrNDXuShgIImfqNGNbxcEFupP8BQ5qGdXfuZfd3SE/18AyHUe2wvU1M+eOG3ueHOhx067YHfIFgAVqdnnoajLn9RzlQIPk0xGs4/hdfCWJUTAuUj2gGSBMEiPYJmBbU0k11HYRIuYscaEDdE+ursJ1fxrZT8IwgDySuiIXPH7ilIMyT9QmbP4BauDvrasKe4yaB13F/mFvH8Fw2cAjNpw0+pj0iEUWHEMr922ETrgQ9Exy5IbKdcAJRrNK376VqABXie7vPZ+5R00PNmZMPb2gR4wmYg/1x8donAJdbkkaTd78u10Ge/6J/IheUgd7mxhzUi6IZ8TjUN3eGXXsBX7O+JTm9wBIucUkRRs6tlj/InVbh40DnsDkkO+Q53/eHX4A6QbVBCPzVt43EiWOGRJGoWDMuAYkEyn3nzfip3SDbYnkIQpALgSj6K0USyfOMoE5I6zh4pkGLK5cU5im0jGgWP9TeF+s1eUqOIIRQQfdYZVqKemlCKJBZ1dHZ3x5FJcj9ChRJAs7xxSgE9tjR9T0/2Wra9QhzH+z2TBsb9ZtV1SNACO/9ixYdMbGnfE8KJ/bP8RchlCfdaK0M4Nw8osOSKK5iWEYMHeUHfGQeGKl5Uc8vzxDaP4J49+USDDjpevEI5dDxSoVvHIQ9+gjk9qysAcX/gMjWOOYezoRFaTr1bHP/2+az2DCqfuCfzQMhch5oTg8yZJ+Gym/1UnTP8NspSIiBRg/Y2A0fvqp4nNfMl6sgnuGjTIBpYD0bipt7sxeGzfGprVS5xdrgTnbUEmapVTwuSKfBT3GM5JbbyiVoKTEqBcCpU84P9boRCGOS0V32r+2QUmdUm6ItblFcw8i4k+HBI670vwu8+0ZQaM7KeqRNOxuL7vIcWvae61xjHZF0yiTBqsO6fGKwxMpDt9V3ho+JibColAe6cCX26Yny+zAhUY92cMEjfN+ReVrr8knjp7TXCYqiWlGqPptoStau75DEgk+t0IXNucyD6oewjSuSEWF2uQqgY3oLEMJvFMBEoBXOSS0AAC8J5CdGqoiARSUJdQ02amoAd6IwLCRy6AbI+IGXX7x7eJTzoShGCPhE7Ci/ftElXKrI7YgjK6lC6/927EEW7PKxTUaJaGuOFQrNOceWvpj3Z1KMU1+J68tJ1QtwgbAr0Mx9ByWVFB378XU9rwDmdowMByHRjosZANFuH5PoYDABu7Pjb6h4lPXUvqJ3aKuP0WRD5Oid1rPkqJcAWC4T48e8LTKzKmzUP4q6wKC71UvIew02Gdq14M+Rl4kLn6s+hCbdvxaIM5jCTfgLnDE4699HTgQj7aqHPX1vUGfQ0AwwLH/TCxJky2kjahabCLHB5jk+4lcUV9fmN54j15Ig+kWUYfltEfuOPJzoVC4AM9zERFSdWmgf1/K0OGeeAjfte9zSke/t4ltB7dZ+M/nearLe06NN7rhkV8phwnmwv/gntFjQ8AIQUPzC81EuFFazA/C0voJDM3QrsExRU/vV4VCotl1Heed5gahAfpcj4eK+4wyTtWizOv26cBSL76H3blzL4b35tlOmOozZPg0QBeu34pMdwdScoz0UwR0/RblIQ1P02w+jr31qGyLrwnZbu10JqDydGc8EGczQxfdNExNOxKzdK2DAd3tX19xPKAPbSemjAI0vQOs6pMAUOwV6a77yOkEnAymhLknrrosj9mEB39wi1JVu8sFXuCqWFxTIAUUS3aDN8BPjwFanYYeDdCizj7Gv/2zVlUQ5LXnlEs9ce09OJzihpKbu4E0gqyKs1KyzT9eF0/W6FWs/jjHDBPuaXcHib40aZLu/3gwhj13WZPM3py/T3DmgxvKasB8ynkb710XTl4PESWI4oF44Em1gSadbsG+PXtr2pPYERWGnzjJ5cYidHXjeCzgnIHOSA2bQwQgWUiAL+4cH+faaI0R/n6EPCh/0Foj+d1EU2ZYT3sFRgNJsxz+PSuu62QhXwj6zR9jqK2SYNMRhJTK9xQcHeCtj/1gfAGV4TyrBulb+Ovbcrxt9uMIZertPE7p1PibWPVQ03jAxlK0SsvqYTM8nQvKD0sdK38Tn/BwPa/urC6/1tqB5QdmFpe9lViTJyjii3nMnk6BWpk2UPK4Kjzlzre/7UxavVK3xrOQM1wX3R7KtZRx4EwTv3OyOmA4BXSHtUDZJWmYvF5VEVNEy/5jh2CVFjEdp0tShA+T9rVA0rsMsJeF2pQ0gipM7mPEjgjpHDjR98uqeRj4sUlf/AHFzw9xc2MBxc9LIKSiD1J8JaeeBDdjWj4WGt0lw7ro3FIjazTUiLIwWo0zjJOEWdAN8N0TMwVlz4ZDgpqKOppjYItDQjYODKpmRrh5yznnzwwW8tcVqS12xSCSSUyg3THYKX9xZw5gpjJVi1yv7etSdA+xFU/2mn9Kh/NoQyGEk0AHD9pQzP5Hij4NZHXTqQf9QBzclGCrEMZnJDy6p/63VUKcAFKMLa9JGlzCXboGa8DHemszx5rU7+Fje9JeB266zLaGK1n7Cet3+jIkaAzdeCtrye9ex4Z1xVfHky8b9yjJTaRAlAeE7xfNAO7tdGTHn6iIOAUB6tta9UGzyHbVBXJPxdva98fwODzmKn0KaN3ObZzjIwtP96mDsEqkFTjsn68M2RD1JJRLMuCearwae9+IXzu1L5lf8bLcPMlgOi9cr8px3VBS5syvfTs72bf+5CyDJz+WWVwdqS5ey8h8XL2wLehrLEl5pXNi7XmCpngr06f4QPgmVk6LWQXu0u2ac/rjvYC4QpAnCUJqhwOsBlx7w54p+EIXzt13SUc7vyuYxR7+U7Y85Ww7aRwrYCBZWzkD5ozCK7BRFzQoq3XebmrWzluM9XJeA91IdO0Q4cCg6TiS6IaUJF9LuLeNMT6LinBmXmtQMgtzlU+PlBynGQOQcSs6TSNvEOFhsMnh4RHBs95VBbe/MRyTtXfuCmLf6319ZivTASOV9dvWqL+e6Nvzo3Qtl6ChXsNzo7mNscbYy74iO/kCqj4UDDkRiKjI5WtL7v2DvGlQ2Mw9uZFhMGnL2c1RucAe4nDitOb87bpc5ygCMqMqSZjfkrchpqByMMBfnnigfY5p76Qjxrq7eWncj91nBf5bPhWSoJnRUY2v2PqdIhEB22nB4TZim1Y1s9EidcyxW4O877raeOhxx2bNAy92prAtKQX7BKNp38lAiW4zFDab0SWAtDJIMPZPT0XirbqLJieTaerAM0SfMWWCaPjUXeCNkeBrbug6y7SfjM5VAZB6I4bNL6dwoQ3aNrEqX6o73K2Ff5vrL7ywXY0P1byKpZrcDjAViYDT7stQiIfqEUL5jbc69UVBj418Eb0IUAdX934JIWlH9g3Jc1XBaWDIHJ+KF96Ttws4cZ3zaEcG2wDSbvR7TXrmBv2St1+tXqauVQJMOjximFuiaIxE/gbpPzhrXIqI18i5W6/u5drh77GoIOy3Da+/Ge/5t8p9IGjP68APYWKJi2IZo2o9004DWjwmLgG6+lzg2YAMgHcrAdoZ9gG4v/cW+PHk7cMxKJZimWH6gUXHrMXVo5LcWp/+Y99siDPf9Qbk/PInJ85z56vOl2F0k1TMTU9h5mWuBZCvUl00oukXzTVgy96Jhfe5rz6ALHwMKx+2afAmegL4lm/glhjIF51FU9QzRkZXIrglCRSnOkFaIslfVNkLqgvRZtg2grDvlUwGzviI8J5u9KuKQaw66WT+sAAUN41lMGzf6SwTBitjvteQVYuKLO2SXq/MRbd6Ptw/gxPclV9eSvc142UhWkAct6muCls4ZHMQUye6OAZA2NFLuM/H3Vh/28H/RSCdXU0IKEf/YJzjxJF+0U97ZJkrob07VNYJqhcs8FvA8cTCSCsbq6lhgaB+UrvFzINa7awExpwKZ5oKPkBqGbejMSXlJSETB/3f47FgQqcvZyOvKbnyNWioEiF8pXhDFtiNbMqHkMbhyoaDRJRm+54Dyz73OHi0K6/rQPIr5tMGFHbXK3FG5Y5HyWrQrfL5la5DtZms0ZKDVcJ3g4DZqgzFd1nIrgUiYYd3oXEwu7kRk77iwtkwxj92YHgooJH2e++QQcQPyJZ50e6KDZEzuttZWHSKhB5jd/6dwUtCNnnRaKV3hAVF5bFllEsB4zX7xPkSSWP5CYRGt95XsGG6Cw37GJ/biUFElziArC1OPql8BMSvrwFRcLjJT3j6tMGOZv/90p6L1+q4WF6PduaiBVXMT8q01y4J1qvOD1Yq2SB1RyPr39iRRSpsza8vhNgc1ekBnyP7XcL0fkraYMsvCwBOq0pSdB/ghapl9dTRMDxXcdJZG0LCObz9IhJqWZeoWO2ttN5zn3/tsf2xkgRwEgxbVqZRkcyYl3AkoUTDh/bCmkkN6/edCLTPtEdnVx3FyFIy4vY28If8yWqcfrC+6O8Y9mPGxhq6xcJiXmMS5kQ/7g+VkopZu1NVHbl7IDM2hwRncGwlHfLJg+x12iipfxMntVDS1yC0V7RWnJXMmRuNf9lDPtWO7yDlqJaioYmeYgNnhSmWWQO49yYzrrd3zjTA+tSf3qjsFJmoza+hdmFbHK01fBtPPu/QTTFdJt8bJAvt405tYYSwdW/KPnGUcMLYUf2CQZ4rPpReh7LkrL5EcPLBgxU3ZcDwC2X+FT23JVmTHRG7KGj4XreZxcD+KwY4u02PmEgFnOCBzmT/MYh+Q02GXQc2mCnaGpmV3ff3Bwgq0ZYmtlecei12n7/vsyAy8aUSse/Ctdvn/yZpmCLOJWD8tUmicAG2ERMbhdjL9MYMLYvYQXpHwyRz8t5KXeWzO1xor4UQXRGWFtOWhIm0Aee/HPnNetZ/QqWb+g94X5wimionEHFpNw6fOouRs52klcvAiXLt3vMUPr80PB36jHONIFG5gmFBSbbXcPfgG+TMlEzzqgfgux9moPrmTgY5JlD8bIz8t96ga8d4kJOLOvMlBXo6EV0UKY7PEbo2DWsPGb0clNTH1z68KttgWmY6AI58ebAU04oIvtSQqbiHaiBrHVeU3xKD3//lyVxHGWyka4Ln4LmVcuTT6uG4+Rqdqm5IKunTcruXdoxRecGqAUTLuOQ2F/mpjr47TWpNIrh/P8HOmInZ0wLxAqFOsBfSiUyJ24sVmOggsViQP3b0Nbp/hsGdq0nfE9dMAMVCQKdJIIECh67YwQC3Y7AtJGxoF6m1ikHs0xWCuQ8Au30aMqXKSGogLqUI9W9xxOZ9jSJtx4xRgMorACMVpKBc2L5ugtBYNKbeMGa/DiyNP0EDU1Ok1ElgoTIva3za3Ml9kYsNJesx99NjeKUHVFbtiem/0QpfpZmhlbvwVVeXas4HhV2rYfoNkr3KHfe6NOdGU/Ve4YL2GM4zeXYc+HuwZluy8MRYvzDl8EMnvdcYYYGGiXPKlEp1zKGO70gFKa4hr3h725Rc8NGY3CnE8CZWlIKLDNMPUGLEQVPD7mYmm1NpNbps2YWRkLO6HlcvXJd9TXBGKXvwQSqyuKZLUAyMZsG+iHajWZx14bsU6DDKn4RDIFYBTBu75UNXmNn9UOagHBQuNrxeAGgoN4jgLCtIRZ1IrfjwWnlqv3gR4wywG3QPas+hoL7mGljEKBnbpJQ9aVUt+tWfs4A2JgGPtxYsOEgCZJJ1Y+W7z1ZvPQm5kyzAK832MkWiQVTfhcusqeF7N6/9YpvPMiCKVPZuL73jbpkW/gSVwmzApNqk85koBhR5ZpVOzKPF0zqp3lX2sYR0fRp47E6HhvasIRTWwoWe/4GS868SwuylQTCpzqQM329638BsnCNA5s6+lGD0FXl18G49LKwkZ3G0jhDd4oEtySh5shJIl4AswvWtH3ZZ/8KOUZIJTAT1+ifEc0iPE0Yh3+Z6EUhphMUyIn2jkHj8OwsnYYyoh0Dd3Ph/FK250BzSxtUtF6t77wooscPZ8jdcftVqiMpSimum/D0xA4/zFiliaYRY2mDez1uK8EWLeMeoOBDjQk9frDtlAI+zwtDBCGEow/IpaCK9YgU+V/sTtwXU8B0qT4HWvl2FWv0bbo+HXZhPZwHxb4/lx1nVKYXBoEyJyotq+QrSBJj2pVlr1y8pPBU1LY3EGfL+jyeFOmtJOwnTEWLUPyqLSqBxbWgRCZp6zM7C6a/Qua5fJVEyi0qzKBjc3qKFEHYlhAyENlMiWGFO41PhN7sZs1hYG7haOyChQLQtCK1hgxtanaKg4PQ1+rL7oY+4GTvvhB6RT7rN+sMYAAZ203mo6RQmLv7j4NFYBLgmp3cdSB43rFCz65aqY5biqJVKGHw1GJhPaMrOlvP6+KyPfrdcCz+gQ2eVjK0weJ+1xDLTgAZapRAUBBTZs6kjtkDLofFIV664tQIDFSvhYcBleLjkvvspqnzsPS51pOoYfKp3mOVK2OOlJuYfAqLO7ONgwciOutIc7af0EB5vPmH62L9khaHRbGvu57ge3je/ddR0UfAHNNA8xXWrw2URkEEk7MRSp1KpHhiHpXOAhk6s1AIQS1hyPYXVSjJK34sywk5OoD+6/3GpW8LF5LfWZCHJJHVcOSLasOgchawMawC6vY4kL16bBRR3w5VaLVDz3MyOUQCyp/7Uv/oksbkcQPWRc+f9/2oQw9SiZSr83biEya9UQGaRgAVlXfQlwROcJtuA2wGtNpPPoc2gsooYcFb3dK+JaGouZuqTHxNBvL4TSOlhRJEZ1qN/URMcrpXE8bRSRx8k6ZyyF9Z88KDGIbsJV6tBMcgBgtAW04H2WM+Yfbb2y6y+EeOCloKcCJXjNrEdJABEQ1UtCxt24BYhnrgz37LPOvEfPzMdgAURjQl6O9vrymVDPBZW/8rOv08olZC6AVg3vgBNrF/Zyz2BJ+OiUcVnhtYspgvxRvSw8ta/ts86bOrjLcIUKCHMCJDJvsmGnnOZl+V3frqUIKuxyDhv/0nlu8iDN5+Kq/f0LGZbwNPTHwE1lu7CkJRgaAwomvvCQT7fbysacRPxwZTM4R3E2yU26S7+Nmcpy97CY//yQqtIzp/VptzjBzF9AcfvgN+xEdZ0LY4Wv28QCZU1l6UFY6RlWb515391JoxAdiJWBxPi7skpy7NXjpFoC3dDxOGeOICdgcrzYIVPqrXPeJZ1PKlOo9BjNeWUvom/Ee4F/1fbORiygUbSQggtLSBHvH1LqKXX1P0ZtKv3XAwv9IcropBmh4tUZnhPMJpwVGp19n3yGwKERHbq87VfYR6515hek4RZsbTc1SRhAsUn/tzDG77LEs7GCTeWFlespm6BDC7vK1ltsh1FU1TdTqH0UdxZHuqrsqhsYRZkDdjaDS7vV7+ohTldSUG0x+Ssoq5aLKCUdIsadHU1CEf3GGFjdfeoVzTl9hFSGcknBWiC2GtJTy0ka+eYuuzmBAtuNReUkF2GiKIjvy81C4LnMdSw/3fTkKrUJ0YTATrh5HpJGd8Eco/rE4iUZYLN85pyE23FIDCxQ5CKRV22YvvcOaO5gAVwibfTo/ko2HnTbByecKtXLtdnwU5Qss0zuaI9vvjwsJNplfQh9z+LqBHLFBVWhyjOsMvmZ8t1/Am629ULEmGETVRK7hSSt8AkLmBOsutTuGThn4HTlI5g9kT8yP8nZddZz1RwcALJxw2arGmmXwxyIKt3P97MnfZiorrVTGZ7Ri9AtDJ3hF96T6pNMDmnXnrXkzZSgMTTueX9B3C/qzTW3oFiNucARrNl386QeHQOzgtADe7mxKyW3SHG1lRNECz8lMoFzqk24/Wt4MYX3J1sUhdX2qicn7t5kVXzPv6e4Fktq5YmY0tpTa3UFdWb2xBG0TELzjoXhGL8YXDtP5sya4kYS5/6ORmO7NOFBP5591nb1nOMvQGi+oQlHmBC1v5dwOFBPbUAfAm4LqGMW2XvabKBT0Xz0pr2ts46YY1xY51GhIe3Gt6BUASBJuF5NpKh+uX3zqcvcivstI0VwvkUDdnDhu//6s8aGycLhzqHSoU57Uj0IgtG3HuziNPa0yU7qZ4eiYaAiu/nrZRB29QleCpdlkOQiRZuNlHHZ/aZtzM84kJhLVoLgVYWkCyddXZjzzMLXruIi1v2NBz5czikve6PXFrUy32X2/wWGP0XX7S2xeqSuw2uAkIHs2rlojcWzyJ7sq+/uKwmRcwmrdlCCCpXlsqmMM45hOFZJLKXJdJ+ZPTQCLn3O9YiNvbEmujhPpK3I93rpoRSfZQnHDxQD4SoSoGUPigBUr9NHAim1219EH7zcJiHh8mCoS8i4ESXWisfbQiliW6kry63D54g/bo86KT7xoqTPHwMs7+HAxM0RMBZb8gjd3N1CPYSAnTz2FHD/OmTZN73pzy9FDQls+QapW4438tBGZQl96AnKU0vgNHizxVDI6jFXkiSE3s2Ge1aodiXlrUnKZ3wJ6W/xQWmdLwKYO+Jijd3f043c/Ga8CR2XwL+IRz+sE2FwzcIIUudBN6ykC6mD6e2JQ6M7e62gqTdTDOtRq8BSqvwpwyPyiX8mJe0zvBQ0YL5j5816yjUONjC7aP7Y4R5DQjgARnGWxQd6YBqv5iZbUpkNZ1ie/youEAIhcVf/xiEmjSWvMnhvsohXLSFyCYG1RXqwSvp4Fj0WxI+JrCEEztubGRgA9RXC7B9ULj6SwM4neRgMmuO1Dh8Ph/8/RLP6JzgHJThOUpRpYKRJ6ocZ0k+rl/7R3fATEm2PskKb3uUPzdRFx4DyA8ccRMIGv4Clf+bfrz6AcXQjKAlZ5cwD+ovqaMcgOSlFNz7FjyyOE56fVvolIqXrEkboxKs+26+LKNAazA0c71rE/0TGNK7D5mXvwHvt9agLQgi4SJq7+o+ydXZeqmi2iy/3CJsw8BszIIVfGpGjugrs7BXsSX/G/tXrN3Tln34JCskVSqh+s8tP1VOV4dXVcka1luOc7IJRinj9WH9P2BZmNdajZz/c65rz+F8blMTa9fPaUoXt+RKXUXbaIX5/rtgZ9Upv5i9q3X5iD3Jm8Fpw9m0tcAhy4TOBk9xRTgzemuwURw5DyU8zhItPcDU7twPsXb0gSteo7lw2Q+9jd6ReTt0DTg1rHYKoPQmwr8gWbtfYYrG4TOvvtSngL6288T80qAgEW178fNsBty7QEOfK6HDaw3a1uf5O67hbBPqFEiPTV0JccrJS4bEyIsc+4GNIlqlUj+L+fMov8o/x14WCbUCOnowBjM5A9yEtHj2CjTt/yAERLIsTS3en2NvDgSQkwGPn9jIqCqk6r0FktRwcD2iLPaL+8zL5+8PGdXMiPaWtzngHryJpzXlyFerB/ik48SRmxm4mlV8G/JgVcwJtknbFJN1+/VnKqHzYpDoKWO0jt1c697RK0FVpObK2hrAALWyj+xZXjgVP+9E0fxJudEMy5h76sAIMuZDU/j9XhIKETWPdHO4sizzm9FokEJ3ebQGtzpv63KKXky1Y3DvVIHFxAYwz8ULGwY0WZeUr/v8rBHIrBF15JweqW1JyrHtCFIEECQkfwJPBDv1Zk3KTBqMddp3mE1xX+NRmn7z7omPyik10aYh//jvEXNUI9s49eON1QXJFkndmwgiPeafoDKPsfW7WZeYiNm5+xaxufOMeMzxHtV6AXeL34jIWFLjByWfL5aaSp9qYPum/sIsJytO0oNPbKkZeKvnKfrpTADLY3r0ZWEjCdxxFYj1uMaBSf/nHARnAvvITLpl+hO4YSwJfEs+fie1/PYFs60Ba8NfLdgpPzDX6rNFCWmlaDW6rfug/Q8HgB6c/JtLHr+LPqrGa9qk1o96Ijo2twKpX2/CRQZv/mcCMmbbMr8fwyloQLTlRz8ENVbVpGzORLZBNBdKxpb486GQu7FNg++sraI7/R8BXDX3Sriywymlqjj9Hfk/xYYae962R8ZXZKl9JyR2igAePyqa4dyZwksnJd5D5vRTho4thuzbmC51lyw2VAwh6ATEGzHtAt0QJDCU9BVfLFseWDqIThx04cnNWLsybmv24n10AqDaJGHVaR1Y2MKzmogNWGh80AP4i3Wo5ucKmAQ6lOdJLSBUhkVtKE3YYXs8qGL+bS8d/O+oPsFwFmbq/BHQZb+jZ+Hp0YOFO+3zZci/FhJS6xEoGqY3/iFQpoKIpH21/R4cW3Xe9RP1rzU2BgDEs1fRscCxkRbtpvxoAyct/HALQaOCeBQkqcdjdMng97C0GiFc/xThNSbmAh4aB31+V8LyL2L/Qu172LG/Ly2GGBYuIqXePWoQbrJKjhFpXCdcRim0i/Q5m2FnCGDm0ZZsM2EmmsJwCf9A26/G5tk7Xj+6nCqZ+SIC10BBU5U3rm5aieMstDP8eKZIRfzH/JBwC6Crt3d8liix5Uri8+B2SCUhJUO1gl2SvCdfmC7kXo9HLsqWhweBqQfdUN93YQcTRGc1zHkf46i/CAU7dEDQ3RbB4LM54RftaqsjHxpRWIYCNeIHtyjc5BvVCvOsFHH6PyonCJi6dDTE8HLXE/S4aN/ZEvPjqmmukpf7l2JdFfpFIoAVT1U9IMQdaC0tJC/7VAXimv3CAJirA502VVnTNkvzXrqZ0x4hgnc/sKcWVG1VLwY/4gdyZIl9LYyjkjrqpat2sBap1ytij9m+hAE7KbRtlYJG3URrR/YDlqKZbeKzA6lme8IQDHoAhKkrbRpvPnxY4wgquiHXIRQgYbQwWvmerxmiByTYxG3OuXqzaM8aws/r3Mtz7iV7GLDf58P6oiibEWt8TRfN5RFZHYdWobmywOBp3Hmhrpit9csQJMOCtp2gnVtrMg0ggk+8zKkeuz8mZtuv63C+8s/87UK8vE/5KsY6yan01A5Fb9hDUcIPeNNgXA8jBb3EXFd1rfFnEdlcZy3/N3cpHU3n1ukl8IesjMUrWRLQAo5cfra0W6oUZ3XdoD7BMHxQ1mgVfdgyDiMJSlY8z5t+8ZUM3WygeALsqXxCkPVuKWEdsZoZfEXjkvrFR9zRW03zhzk/+HdXSxCFDjt0wubrPxlswl+brR/NBqMTtI3pop2SxtnNFbfrXxrcEiT+F6ue7Pech0/80ZOKxFunQ5NO507XaKupwI5hL//Y52G5IYOMzFFS6MqV3mZZ4AjMMz1gO/j3w7NiOCQ6SCPiQDxKeIEfhEJBo8aDRkWnzCSiSgbiEk5O58Y1L71j8iJS3cA5aw74lDnrtkFSMQDB4/gigI/WkRmySP0oIOd0bSkXVuWE4SRwV5ls/IrjZKf4wXPWVnUWpoybAy+fejLChCw3RjS0XA0n6r1QyRC2c4zcFqjgnpLtqOe4tRD/4zJld31A8YYejujqt4GvTwADfQdLJFdK2n83r3yNKVEGaiwztfaX7lcSo6MSbiYUyOkx7pMmCKec2zVvflNy6BmUBp4roFWsxXLD2vqe1fz+Fn26TdculBpxAylDqjM1bxuT/0EPdKlTh5yXAtoRkO9jFh7QSRzNiO5kenhN3x8h1fRq8vY7PBeOH+3+au45XMnJzZxZSlsk/vd0FhMMK5Tqy/92u/hAjhcwaqoU8yC7WiZyNzEvfGFHDZehPKjdCq6bsbFT/3kMdYZpPOjEu5jS51i0C15H9iEcWA5qtVKhcNCImDW/29X4NCa6LFFtQX4LqhQM1/pofEkwxHGiPSW40sQzIhRmOANG+6Ay0gw+lgOaI5vUh6yTZoWG7hkue5vw3NY9X3DNm/p1d3a2CzeJaR0Wwq5M09uy8ZZxey57vEpU2p0BWy4O4hRTk8YnvWcbI2kHrWsMfLf5pXtw3nWxHzQpmhxivy1mUBIORkfUk75doW8AeCCWwYor6fb0iUIugxZpoWtWX/q2DtfzUZD/m2gehhiahL0ooV34VlSJargxcTXg+w4FgHHc5qTHRWlnF6U132ZSrtSWoYoXiOxWUVmwTBX4Hu++CIa/8hqpPzrp/wXcqpX/2PUtZnzcV2Y5R0ZNQbDtY11QgqgOqK2PPwJ4J5gLCMor/TZbtUH/BJ1ifp+m/VkX1FmvjRrcIzTHhbaxZ2zyZDqr69mGnJgK5RuPUYk7C05vTqa/TN0Ki06R21i08rU+KEzUYGAjq7ynZ2eiMkSaWoUJsc9BgZ0AV7pQR8exLXf2h4ojz4OYmrDvPV4KNfCCkzadoOuOWbkjeWkxjLJpa8D5xpkdhafiABwgUHUCCd2sCTe710U+tyfJBYi/t039b54kl/gVhF3E3jSG91eC77yA9O6gMCMopFJPwX5mO9z/ZcYGEVoBry0WnS1/Jwc2YEDc5YeDIS8q+SF+E80y2uxPx+a/tCtgw1u+1DNm1jsz+AtqJuXeY0zdFOc+NPXtEIOQyKdpptGJXruJXB3mZySTdi1w2y+uWA0/pBmZ4LymX5KzE3i9JRp9q8alWKk6Wibk4eJYCuM+Uinv+Ijnf/ghdmaCPeZvqB2MCLk5w5KdMAgMjCfVp+C/6++m8m/cPE7Jqc3q1zFGwH9kwGRaP1TfEsO4t/lH/lDwYKBl48ctwYuw7LNvdR9MFD6ZjLyBqjHK4iQZNmO/ipLm/TjE8/C2Q1ZuX1ApGr4EjwrMfI3bE7c06QUMQtVPPsbhHMoOpKFc6YW7uQqT5Pz8ZXrrRCfSNk9GqvGrnK7kE9EjO0/EHd+T6RVZ5bKiafa5Geddsz/yrIPrJuG+lUZdxEP9jtkSIX1y6YUS9GbM/fDzbmGEVe3ZGHHdXvEmNtjQHmJ4HCEoWUdpVw0Npig1b4EKhUq+/Nm6qKkvskbpdd8IgOwNob8wdrukT2TjIMv1ft/U3SBd2H+8qbhkmjJ3tP9d8Ey0zQHOx0NF9vFHLKxT0XDLZTgbnaFmbrJKNTCO1rZfcuW9ffSkoFjhvOyRR2SXsSihqy87d9p/nqegC5vOzGN4ZflnLOc9aGh/COPqkNXXJ3Q5PjYziJfCEwEDbFqq8UPD/alBOQ+7G6J5o/cgtC6YCsdWhE+c8FAzOX1yMQ/aJtCAdMPEHuX8NiRK/fCshDR9S89yS1Ga94OCzqO44vkuEvboaNMI6fhnWRNRwbRmbEs3Hytoqh2CYCksAlG9uOCSr2frW74si41L9i3ZY7cTAck5y2WlezquSNGx4B8ahQvA8YensKP1SB/WaGu5DOz5AMhckjrjVHWx8AcooURNlZDii7/N5i7WJ60EoA+5m8f2t4RryNS2SnOnXrp4cUhYBmk0mCItllkS3PeCzHPbgD5k2Xy16CPV05SUEj+heh2HGSQia6pmvCVkgq014P4uwjHoMIbKjjjwxlDOmvXrxLdSm0KZmSI6oHj4wo+ARBzRYAjs8utvgw+6Ftlh/uEaHRiXd6qBDR2UHbMhGl2BF7HHfp7irgIPllWpmdfmc6pjlMW10cAzdcAXwNfvNJnOMuU+qfBVtg9P2z20p47kUJ3dOrItn7mTCpFEs+bXJsa6YVVKHn6D+Jwo1mJcQiT/EbV4sWXOUmKcRvODH0xpHfYnkAGqrUd/LPiFXakgvUEmMDJwWk+YagfTW/9sasa3cWvnHKRNVprJSNdt4mmuXWRH6VOhZxDnKfhNbTlVE35yBRR0x8odrQea8s7hdndXvf1YYnRu0AXMUpc98MjSv2eDdPBVTeRvj2CMpwfxQYm5q0A0WDpYt0GDpZ56GdWZLevKsDdFY91k9ttIf6Gj3p3y+SETdXoV1po96N5FJk72Tv+4ShpFjigFkWa/ck4Ilx2ZX614Ry+cKtnhwG3KZ0ZWKMYmjTYmKLBvl2oUf4W1vb73DYUgz+Vm0Qh+HUllwAqCC3m+gp41VqF28kiBFJcDyS0zruWzLrirNbAAGSmw82iM07ANMpREBxGC51ufVzvOQ4s9nH/hBKLn0LnE6teGAX8m+sSxr7Cvkra21q8m9hoXD2q/qkhHtpP08BKKDdHs86dxQtqKrooRRXvHkBdXJDrbJvQBWARCejxrj2fxCm15uKYoSe7utwvvxUaXCOeD1gEBCkM8EpS0DQ/UiZ+w+B1nhH5L7om7J4ujHHxIovo3xjwigntpjSb5ayJVOgqX1U4jwhslcSc9P9Tbhgdib57OUSJ2oEaWod+8cHLWxc9/JCsvfszL1iVdFZUhw0cZVlFJYoGBUMr7FgfN7vDfiOHgZigsNYgYGxpq8s+BMvOaoi2mNYgyoAspC4UkIBE82qh6GOwv6S5PjDUV5Ot3H+bdr3jxHRSB7yQ/LgywxXaoPm9MOEWHBaJeAm4Jd4Knpl0zpZ4i5ysKWD+D6AiskvF1H2COy0gy12qGIJCfBHaudzIrGZ88IgfFrqwTZhBdjNoae/1utCMByYILVgNCryH29jIQm8lNyKec6SkjVLcLjWAJTsdj397uu/NaqmtLFHtjJ7TWar9hY5FZ2K5tN00XuERzv7sbDj2t/+mUDESzzZeDqPOy6CJupzpfyCogekrWPZ8uYXigkCbHkZlbnEnfwaJoEm5cRNzOXU8+SCQqOjYz5fXTL8FCUHB9Bus2XqQFVeeh23HiQy+V+mDZw4LTTxEl8JyipgBy89sMOLT5wUO8hlHfJZE8GC7XZJ1D98eCS67ttiszRaXqfRMErknTk02gXgeArlPjV1RnN9BR48Me2PahScjOMybOAZp0IKhVCj1WnAvjVFjrQpi2p6hl+QqIyTUZjYe+G0PXJQHGZlmnr8ShhjjKx/SepXZzu9RnxI4VFHK4hVgwSha8riId+XXUsaT1xrAQRNIiv8f3oao1wrucBt4+yKKEE7MVbx12di12cgwfeUJ43ekHis24IOjEirK3IV080DHcpmL0yg94lW2+eg++aYtRFUa7GPIK3nfkuYNpLeaXYzbn/rTqbgbjmkEWOR9kD71/ry5rCkQAyhH85P1d38R/oE4KdqP92lYkp0suYkaF+iAITgz6u9Ia7g6UUNn7clc1iWCA2XV59EePODxosEbb48LfGhrwDQ2ayDZFdG3PhhuIeKAQ6otYkxI0rv7I+JmioSw2+pZK2PAK1iGKS3zwR5NNdtLj6J6mL8W5nX7AZmXCWGvfSPmrfZAvRT2VsyHTLHXxbhwjI305CwIXX0EBy694Id98zq6cXrFXfy/uLKikJSBRFYWEm8PXwsW0GqOvnlbRh1ErNy5Dykp4cMYlILwSgUWf2jW4V6+8IdqGQb8mQNwY2LnmBMlJiK726yUkQUSB1yDnjzMF3Lott2c8ctZigXz70xyUil/ZfJRIw45dMtcuZuHqudu/dGOkx6XJo4rFDEu6sJx0WQYLLIoLTy9Wfgc5SmJDIP2LxDdetuyDhKGGxBp5ivsyQZPcKFssZtckyDBP61DPIyPNzp8O5jjI3IHeITbhX3KyvN5OQQNFwKTSKOr6M11rieFl1DwattV+hums7/uxyoy80Uxx3KHCZwD6jP9kDfNxpHxjIME5tMhK6zf84Os8WGUErad1qmvlZ6mvehGujrrikvTRuOBCLo4jxgGMrzErM4ViGoj9XN7O7bUGG0BdF42yvH697m8+GLPa2yXZdWPH51myGRppvWGomegNsOMSAsj3Z7Dut9meL4/appR2YgZfQF37Z3vxSz3c1nDZ4PD8LObYkMI8PJOA9SKPhl94Y69dTf2Vtw5lqzi9F6+b2FEkK2/nhNlXRcbqa7gZNRebGXGC7HvyQj62NxDqWIH7nj26ZIUxhL/aW2QzaFku0U3j/oQ8ZfSIP++oA4WDYo1dKm1+no0m1bAv0FdYkTPwI27r7zecEY6GzxM13b5SlWzB2bMq9thbF3eMAuivVNyVjq2DO3y+NJmMU6vjg2zsJLj/JC5xNuKJ+rHJ8IGSRaawfg7QGaDcALUuYegzDZpJZe9jq/6gtPX0s7V50xv6ZUKW1UmHgFv5hjh9+w1d8JDaOFLEObTrVLIDzE1iUC+O+wYbcAQgE/4GNyYwupwwFScIQyVkCfetRmXXbUTMzkfbe9FLwaEkOAAvn0QhVTaZFpcBadRc194/yiglPjHl61j5cUariA1FmUf7OrCenlti+WpanQ/b/XK6Jbiyxewz0EZdEbHZfKs5l/6Wen6Sg1q4B6kIigw1F21JoFiQURq/h/0IyjfrcgJSir5m36Er7F+s2hDHdCb2tAShHxV1CT8SI9on9MmNRXaXn2LkTh55aOUBN7KS5GilciyNwSZ1KbiakNBjZP896xsH8XO/QimUD45VLfYIgWTq5M11D1MVcvz+pj9wQYZa8gel8adrRdVOTv79Imc3SseWq3ziMV4ysW0tuAS66ZSU4rMKQ+jHKJ6ozSsl9p29PUQG7C37bgg4bM50UTBE75H2dz/6gPmBZfQ4eBKI5ioxM5p/AV8uevBSATtwoTBYvg4aadnMt41MRfS3/NsWNXNbfKtm3iVX5MEkI9YYhBbuUW3nXJajc5s7/zaqyM+W2GNXGLtCOiaOSl8igtAYH7wyacrKfe8bOQWb/Iwsuv7JoPK7623zxfbaS1L3HBPPKZqLHpQxWPCXs9MoWWl7BLJ+OKqCsXw0oehu2kBRfRxkzji3XklcqdEAWYD/9WcxBByiljt6mWu351jaXagL9+zyD2JXB6o0U/t9bGzCG7YCQRBljUMJLEpDL7Jy08y8CMOaJPPBfUJa7Or6w39R52GsDFj/91LdUQCJtqrFLgO+zAXWfgMf5H5IDV/gilQERGt9LXvz3Iuz2tKVivdBcEeUqJplbm74rug9nECk2YGFldjS6XgpeNpGFmvsyBnFfCM6+0XYfvqESes/+U6aA92A0C5dOCWmBT1UKTbQ2JoyT54erYnI7KwxPi7g1BzzizK39VDUIG3vw2PrI236C4kGDzm7+0hgEfS/Z/l2TvNHuZOaSY6OUBzRpr7Z3x29neH2Q4h1hfsfqaw5YEU9Lzt+PXJXQMrtvabmKsrgd896IUdjHVo3V9KUlW6jRS9cjALgGTLv2nCq/+w7UYr0zOTfL0N712IDcmjqwunLsWCTq/OUT91xiUClpUoWET8cDWssFHmopmqP7a1n9ReWQZAwERFzcRHsXNr+hIC0hJJo3+zAjCjdGuPQL0AF1hacTz35zzsiH2ASbkdBedovr2bpzZtcDCo0mggZfhxK+9u14I7s7QnR0mvwVkYuVJKRpSZjBrLgjpITtwLKe+736v5BrhGm5hI57189vceN9BuVFaA0002T0hnJc0mGiP8rpQ5jxr3IyJTEwqzm4zFW+ceZkc4xEFEa4J+hIDthj0aBSmFiJDSBwbOK2CcUrQlQQceKCvUHb2lCnQx/WqUgsNuUgYThytWi1pnGqHbhiRixNEXJZPmRciIPe69l0f9+qMGu3x9sSwfHzM5CDTdrDZFS+dyQ4yb5yNvYzcbNJ6823PKjrXYZSqy4TAtMEeDKUILn8A9lT3G2+YqLx0MQIHzsKS0D/DgAoo/Jw4+tT/Uvh2gvKwi3oZHBtO7VJHfQKw4bq4UNTXzUOku4aRIo97GEpfCFBjWGuqpcQeCsp0uRBuXr9zCcOdl6aqsg8+hzkvUHkVgaAO0VboXY+aJrzCRhx5UKYSedb6knWTrcPD6x0l44sfOvSVzUx78k4iF2hA/dNLaFPylf2ht/fh9vHWdDKr/zLmJuWKq0m4I9uidfz1mTeRF/VPsRGNmLU3ddFwiypoiG0xAdN9V1sXWbOudyBS8YxzPPiqXR7PR7cXmFZWpx/3DaRx1P5MGgiS/f+A8bNhq+RP/7GR2kASNKZ0+yubkeTtXiPUaEEQzNK9f94qEwqYATe186SBPyVpFbVUkSP5j/+LLmq6hwdtBjxZyCrF2nWT6sXeE9TBsUY0EZzpxZ3zaV1SxznpPrYMg1Clt01zCT8UU+zucxuWj6jutJrdlCGn4OUp3tH12zFYBEq2r6mGI3VRghdu2PmaPOyXo9M/wzsTAKm4ksN4FlYs2Y/FDc8J2BlGU5FHH4XPNKuXXkgeXlBzMAmeVuZumwIepdS0kFuOKXEYcJFNO7ve8ujEMPcnI8R/ralmnaTR7XBxRQriUrAbuQPTxU2opthXo3Qm0WAnX8mJavioKaGgLsTMrdAxLMKCaEwrswSng3Isf5DfcchlEMDa8WvOi4XAKZui5g1OKcQ+KGvhiXWjr16fgWPpD6Y5XnBo4UYnlqrPAlmtM3do6Y5cWAkq3aAx/IjM/nssCNIFLwpo5xF3lggNkDsq+NmS3vhWm4ASbH/5it7l2uJ3/f7iMASD8KmSY58WYfXSpqbuSJxSpN0lRAh7U1KRlM6HNiyaLB2wAado/NOFrC9q/51A9qw2sQ/25MVYnnghcEds/r38a2zgdkbacm4/J0A+Qy4jvha6j/miZidu1oSfAFmiGB4INEYj0siQqhqro+kzSZ/YOvgtzId2ziXa0Q41QHUXCDL1twWqeOSbnicZ2qF3B3/eeLLsAm1NzMgoxvXFqUR435+g9AJyumkH2ncxBBM6BC+mXYyAWZF9l6rF5t0v5lHEA2QzEPrK4SWHrlMcctM+QgslRI+iiLjc7zhGhcU7r8QhDuYdcuO9QV9s9IQVyxDIZ0TSeFAfBf6pmEpa/QVgVUcvdlAG7aK4LYxKYlHZ9sZqiWEQz8yObaTQoobg/2bE/gzoKSFyJ69AltT9i+9jtpaCt9mQLoWCVxFnVEhNaho2cB00srcpGVcfgXYUKvjD/pOWr/TXhBLD3AHIvfmnUVqIkAtTrjdcOh+WvoLg6zFEYRUdO4LjujmXvr22QuXh+OTFGc5wruRhIP5F1uNXrDXuRfL42+v9HwaUmrpAPJrsc+Uk+BbL+EbA0LNBwDhuvhKJPkKzxwjSzqSKDS+cCZqvztiwSj6QjDxNSzP3sDOOYIati0xM0GPusREhnZ7eWhfCsgF869oYLXBy4nayjdAIy55O7hmfKK5dli1U+lNpcvD0PpKYTwWr17MT0jUujf24u2tdA5aKGEebxQTxaV2xq33M1slMZQ/JNG69E2aM6KKLs6hNrKDKtFZNdC4iEpE9/V5feAMlGHWMnJxyCEF0CFDYXA5s9YVgSrGWlT4ye5USifSyJ5D1a2iml0nOvsdbltK0GQKr0Bme6oYEBEfjCSj7Qds4WBwX+6KSnVJKcz070B8l0u3UDurgUnG8vd8XNdEoALH2OjkvGXPPLzZ24x77zIXFb7wnlKxqsjBDGvp5tKow7ZHttLWFzsioSwq2R6nUAR+TrbKXFeuvbhC1+6pFi0tDQdMYOzn3nkoQhHdPHawpgZ0PYQjP3mzP40wu/Xc1CeuGUOaMtv1UcC2mKHo4ghPZyDN3Wn7Ee+OwGtPRJpn9HIv+xCyN5UR6Fo+0ULG0jrzoKrsXNzW6pzndQ3LPQwI2XZo4Ug+V/8VslfAT3rG22vGVZAK69JlUurU4+VQIpAiTqrODEbsPBYWQKXnaR9zxQiqxZV/UxnkmM9orxBwbMoXFhXdGfRMtCvCQQW4tujo/+ZjI+9DYyv+BC+Hp2q6R/TUxG9VUqvgTXdTFW7vbGcRD4J7out6a9/9J8p5oSlJBBGp5ZEnQukjzt8hPiMgLLu2w7HBZPDwoCBOA4pe6uOcjF2i2JotpGSmWY/S9/srwL7zpQRqm6OSSljYhWogYe4lNzYayBGq0hxYO66UM7BWIfcXNEIZpo3fwALSOAk2d4H6OgG+FzPcX9T4hCYv8MAhZsz2RDt4aspx+Dok3uVx5tb/zVSi5vPvR7vNRXV9iMYwvZaqyX8yDqCHPCla44ODP/sAp7F/RVuJMHYv2oy9WUCVbQTE6ghN9ZI3cNrC6pI5KCs7KgBzWb3Y+x7O7hXA7mfrOj/b6WmnurSnDyQarQUzZeIk7v+JuHa0t0WDYTqoaw9sq1Pl1lVL0lggyFztpIxRhJiOXmkwt7wWeXB3YkFasDjr+dQltYnL3ZpT8XYDM2qSPT9FlSpN2kfMA+QW5YYxi47Fbrq8dZ0AJ3fOkU7sTseVGK4JHPYYj89IczyeioariEj61ffSMl2Q94WsLRwnTsV3CNG58knuC+N1cpSmFZUw4CuUvWTJcOVVKBSjWiju2KkXSdUNIU/oyAJEIntH3opLN5tfKyK4kZRG1Q6GwbERMl1efmwzhP37pLCB8AcytwW8tsBXlK7uKb6mnNBUdKxxJ2G6/Zf23z/zESjDMJTmbCOjQlhOWA8hJzXlf1Wk8p66KEvtUGgiIk2UXSQ5xVMZ3gdw4nupzW4aMrizbAD9ct4quvxncmim3X3P+pvi0qjRGlbcVYft+0TkuG2twHsMzqtyI5Lq8XnxqzDrGEPG+YGo5VGJeewlvcWV/JOMdCGHNppQQbzVB7pzX8PGQmcAUH9U+Jvig8Jm19ixOmAcSJwhT2+h7N6sy9D0nWrU2ZkXWycPpzUC40/UENZwzAGNa6meIbIDKbs+caAsSHbIZqlkBMpAYZMEl6S8KYhH5QV87BoVE7v5FFPgvMfLGIGH8wjGgFV3jCgsLmOIA6kHomYOOqwXaQ8EOJG9XjmX++j4TOMwlpRCoCdT+7+j+HoZtnXwbemO8vQb6VlR0/gob4ybXZvNm9VUmcvR8m933bSde8Q3pbMF+0rQOF3ulh8i+k5m2wDqsnIoiCgakF6XD78g3WSgDrqF8YFLluX60AMdkt85kNgBa5PWahIVPSH1n3yn+gOrC78D/nP2cT6oAZA8FSZE9L+3sT/GUiy7AZbW/A2JD+ZXYjETV47u6DFxhzHEneVu5c3xVW4FUMPJ3oPO0/xKja5tTwgEgZcS/j5erPsN4YN/WqTvSwVGii4h5S9Bnuph5+xGjLZBIGb3jgCSbtZqHLqswWbyqfIrVkMy43BpfYl1Pa2bHlyaCmOpQYhzLsCOnj6aq4bh8JueoRnm46BFmygWOhHtQ4BciBoF0Pr8NJSkEGFwpLvSOd4yZzKyDpTL5QxU0WU5NRkQfnh0OMWcRY/569mepnhM7rahuj2CT9etUahNvtlSfGxV1KLrLnpJdif6i5zVojBOWVH5D2npQNCH/94+BGAuJOE9mBhgV3HXTizt/o6PiBGJVkgROapI+9xloHf5qI+key+nohnNYQUMjxHsCphu6+RIGuEhyAZRMxBhjSkTIiW0ZP8cEFIo6/aCDvV30F+sQLlDDctzqubBwsuCjL/Da/QGEbdvj3k9vavLwXZY1EqpgtJFacgjXKyzRtqbRX/MvgAQbqfD4QYlAlKVzwWQsspL6nuKJHEEtMkXHZBczztKUgbgZw0NsRgxBoEhfA8JwsbYXCzPcvK+/ravVtfsW667j6qeqPlG4qBoXZJQcRg/qXN3c4hBXoJ5KfazKvAcbTe/VElxbXazaSKsf0SOdSCLl+jb8IeFGmF1iz673oB/eizkIaNDZYOcD9wKtqKn+ItWZ5Xi75K/D2fuOcB8/ZdUQAQS0Hc25W0neMApTwcaQnlDRnTi9Li/JaR61No1GXXa/LijvaPxZOqCtwNBO56K8DtYv76JmRjdNLdicuo3m+ppOAPApqyepJCBOGQ+HsFVjA8MzamZcAjsLEGhzuQEJ9EN5GY62ihrsQzLoYux/JIYOE5i+nXGcJhB2+8KU+l2YrEmX1ySSnsbxudaiDExjvWpPgiq0NsV67YEHAj1rvIMTVFSJt1b8VkT6eDl1Cva0j4FytttKKb0ySQx13Lzue5jJJgloB0YQ1jEA3ymFQFPLwMLXKzKa/wBkRGOHEH2dQGw6TJy1IuE4z5tORPTZ9HcVsltWOWECyyQkLhAlOxmdthr8WmTYrjyoXOGII3KtZa7RZoX8KgPApL/ez2L/KzZuyWqOH8mRiJLEbSEz23LK5B4+kiXS1+fhegf0wDsSmd1xHSWLZipKlyZca+x4Ctf3YR62FlMMx3zstjpR/4FToqKHCFSSmFC4JI+JiMB3GuPWyAuIK2tcLbDHi7ho0o0q6EnLRUygRWgKQGRySXQTCcf0KgeGqGGrdqbTcRVieCJu4bqcacI1VRKXcXVs23rdOTFKw9DcRzgSMC4DsJwWKXnuUXB6WfTNO1fYlXyxSZoS65JdTlO5TSzd4KdJBKqwD1TrwJEro4oRO8+o3Gj2NYsKGeCbePKOGvNyPBHSHtGF6AcczwIWcM2Y52/0q5xPS+p5M93TqZczIPv47c4B87eIkdPV4cMrJspOwEjy+wlBDTraA++Icc2vgQxED9b5iEI2kbGvZXUuo3velyxlfyeTl12gzkxhujmOIm4wS7ctJ0AwCNKvUiyhTg7NppMXBXq9a45fTfSlMzrwgit9Z2XlVh3fXg4j8+nQ+XpjcInCe36Hg9N0GEmyrLoEbRXx1GI2UV7/yDAfQzE7PGSrmn4n7LBtOlJgSwXqku8yTZaX68FR6VbhEmv4u23VNWQU/qMrS7A4/7dGbCZr7kjLIiv8V5q6tCDYswNrBXxpSM+Q3AXJvqT72WhaItznQXMZnL8MWMnu96rHSVwPZyKRDA+TqUVXPV6gqd3Yohm6DSX6QfvO/VDdoR56nR/ikd7DjdcXB1VhH7/cls/ukSZ/jffXuSQ+4DDij/BkAjg3BracO/X7XjoRRGYZqxUBIHjeiAG027dwFFrlYECwdgaJASOUqDFUxhiba9WzbOheT9mpEWF/QhahpVl4Vxato2deksTsfsSbb8+K4ZbA0P32lE1rhIPXtsgldL9ZyJ+90981rq4ZLWEaZ2x+yQg8fNNdhOzCpNlz0U+PAk/kYMsFx5uyR9fFT391wEPRSS7ybbxIyiva4Bm5ZfQaagQVPb7qLmMtHUVYfT56z6c4xv9nQQD3JTw3XMPZ2A2BTnU9DkF1K2CsMTsUHLHKruLlmQXPlEPOCfi8OdYJ3Eza3Db97Z+nPDjitpBy+n2m0GkHJ7ESvdExpHhDSrOsct6ZQIxrQyK8svjfgk4Oeg+tafxwsK+M9fvJ5YlP7KWPZ2e6UW4uG2pUKG1dsU+5Q9rwfMlZ9aelwXxznZEnP6j5dxi6KsZHnwZ++Z9cl2HpZMKZf5Bit8yECDz/s5PIKpmkR6QMarvafNTuv5myun3F+WrxCYgqehusTOahGsVplZQJVz+OqsK6dOjrWy+qEjblNQgoOK7R5ZNZZK8Y/oo7UzdOiGuLRAP5ykhEaqydY2RHFP5hIh8OlMdrv5LDCaCtyzKKwQYpMDLh4CCmyrcL6kOO4EoMmBlBcXXkg0Lfb1MAuzwxYdZcx5O/IUX9frpO+HScJTYWHQnRvIW92OnfB6EDvd+HnV8sswV5vjR6NSsmLFGB8M/WTuEimDGGn9fRVJfTgJjhG15xvkoWDRR4q9OidmkwK+UC7+yKu1gh8NqFuv/RjMa2waH1MDuvRsXJGxacmT99aSbVVQm1c6NqQ6L1O0tre4lZGR04X0Ipj8koIUiZnPtZT90LibgM9zFry+1D45WsQ1DbsriJrL/lgxQdzSiLVFmEUEgScxQmndn1NJMuVYySbx846M4Y+41xPyvUdx95E3Pm0FgCG/Bpgelaoku6RVFxfP0BcX3968Vleq1HAFVO3PRHwgopYuEbgfkquu2UX/yLFqaupKxXzenNLLSUw8YQpPg66E3oy5XYklIf1DmJaeVs/KXHeFmA9/SE6i0drGgeKlLK7gtigYZ0GaTZdrk2Rz5NH+QqIJzVOsUWsdSjfw6xbawvBydqs56dktnJLOC040GIV7nF10r3wAAwC6T9Ar19bSH+A/t4oZJ5rL5vB2VJxHa2dveX7GsLOjee+6RFTVA4dauhXJSt8YCGwxBFRoAyksezt2FLWxVsj9CRZXX3wJ062fwMuIM2g410x0GWNWqYDvZSbGC8LR+F3Bh2Mq0dTNeuN4VY8/TI3ffC+Rg/zpgA5vszVujqsMuKzngYK5EdpbCDRDd0bJ2fShi0fjoNJs8lq18zCom4yrQP311N41Kr7iOLR4VisTD9FLecH2wvn0PeMe/hABN3BB8TFsuwrx5pvwgyAug/RI19hFVPuh7JR2r3bA1AfLxzZQuh7M9UeO7JgCqpJqbRwJN+40G+8x37BhaM2w2ZnjXnAMRph/CXQbeolXgLdrPyxeIy7TD9UVSP9Obfq7eZDc4EVM4cj8iu3nxeaFo4T/uvYbeNC+zy01buU945EPoGXilye3fk5/JmoGIrlCX6y0MyL42CqK67/Uxr/4iNrGjVrBmm0ehfof3FWoz2NsxAKPu0u4gmn40oiYJnopF/Ge2segBThCEwHDtbffm9smKTGRbhAF7yPxDUIZkgAmvjbLvz327/dgDXR8RNM4dVDzaY8z0rVCWQK2TTn4kp1evJGAzsMyjVDUkhcSxlAZM40zfTsQ3y16T+oZBFXL6YKyNsWi5+rFhzEh2SuxRzVSdE14W94lTEizy/UjlOwSDj5VyVkkp8BclaqLy/oWrvIw2TrJlrTP+KgapLgIhx4xD9lTkRtDsBNtfI7xQvVwoZGbE8KBVuw9P6EqMF5LHkJ/IeRDFI4AW5q2KdADLlD2jhA2zQo2FgsErMxBXYHSkT4wWPiQDQDqSObu7jSMuypNW2DtDX9ujuixTii0/T21BvxU1okQMrEHYUwH2I+eNs4KeZpbwAmJspRpQPNjfUuvtitJUnh/OXUrGHzCJyw/Gp4knEdOrL9nOvLknDcKKpFUlrVMnjRQGj+qa2XZ6P6vb+rqcpYSPVJuc6Dvurv4bALSjXYEoK44Fm11CFAZUEOkBxYHWJOP6emUO3tXpw3G+GTB5Z1/MfVgp3MdyIU7ty+3M1c8ByqLAjMw9Bqwm13/530p9X7hQ9Kl3+xFg0KmEra5dwKNj/B7qJwc1bQ1drFZVoSubKYqGgYly/s//FP5mB7+Pkn0286FH0fK+jPFbhAlAkHY7IU3vQNk25M1rmjJ+zOUv57zYP6HqF1L0/ewtZh6mQ6Qe3jGM3OSiniLoxkHBA9tuTW/qSvG594WL9JFhxoACt49boHQG3MJzTMDVWQK3HkMl5P+bybBRNeEUzk31AKPVzFoyX4NYn3+wa6L/1fjoYESg2EoyCCWXuOQXVrGYVFZZB+0vuXmXy0O3K23GhSfT+z4y0StImBpvgKQYqGFh/0hzmZYXIuRtqby/caOPm7Gp6qfdChSJct2FVk1OrAV+LrscLzJm5nY8QUzM9/RHC8Bmsw8zwB01xtohjthQNnoHfiBKrkIHHJ7JptL7VAMUqaPWXI+s3S/bauF/OBG74cgf3hr7tnUDcv7STBOrIiDS9vY+AkATfoZ9D804DwwejkcEMkTcUAx8GzDDjj7t+hQLRcZmaYSNhq0e1FLS/va4/qCYg/kkmQoFeLpjWB3DXkE54c7Ma8HCNl15Xl05OjV+9Ttr/iAv77vI02HGwZEmoRGE9rBOTe5AbrhpvTgiYI31gUfX4Tim+QAP3hUTNnqrA2sSo1i6M7Q9qMLV8m59AQaeiHG4BSAe/RObb02+LM1tylBnuvcuQYUpRl+5LFS11d+MD1E70sMZi3qJyfnNb7W6Vh+TRnTt4NCMIFFQlyag9r0M1Wbmc/CV5vsI18qde8BCO/lYonKMawQCYIYVEMTLz/hKQLMxyt4cb+nJuZwhlH0Jm5sZ/vPShYPT5co5ZVQlrM1ZqRtMrxnpPr4SuO0Hn4xKCGlUeGnialfhOZR2UVY938vacOkd/wxp2JG4owcKIM7Z5ruuKMRr67gyXBajO6pnmj74VO6oBOJdro+hcCcHZ2//S0eMNDbvjS39VP8eiceZi59sjfZFrAEPsv/HIVq8wCe3TMt2XB4t4XeTulqgK2Z/FS4V9U7aqx966XY9fRb41L/3px8kEA17WpmGHKM9FlI2f83Np9QYuQpX4vmlPpFR5JFbVRJnJIa6qxNEYwG1Oym3AmfRcUez+wMqf0vYkEaEbN/zK4UjIVDN8RGor3GMNKfffVZDsDr+vV7HDQ7mpBcM7rp5CNp2v18buU3FiMCLM/HTic3Z5hiy8banKKwrpG2SbBj/9DQF46hUxj8hKoPdvINuRTxesJiL+yx8d6/Ywgyv7UY+IHqISIeyXFtRuEhLFjJB9xt6JsCtCOjWR0IyQiKYJS9lxTiYtcJ1WluFftWN1km8Ll0/NHu/PwdrXl2y2vjj1FuUtDZ5GIvji+ytkL599htln/NErVrdJW1R45w7lDE1Gc1FPjOot7VBYgZhNcrB1ab4Pjr18xpHpTM+Hm5dcXNZpSETPNUXrjIzxtuKYE5giMYAzomFSQa0A9SMlZhkBR77kLlJo/UCBuf140asp6pRseTbeXLhpJT2ElF1AGc9uw9b8kOinHC/ebpPyS1vxjyu50wa53RNunbXwlGw7sResNPqgZgohavi34p7y/ZuDG+6G+3u5QfsFTa9ueo1HZP+cvD/CQIECxUyKcFvFG3TivHi1NTybgG2EeSk2/AP5Ny3h/ZUjY/CPBfEnQx/z5B5iqAyDbfGqSFK/0hWm/ASEl4sH5ql79NPgXoxDSpuNnVwzhlE13k26nYs5iWT4zaBtqs8KkdRnFN/+KCTmfxTDieb5skqu6Ripk/bt30DUA9m+SzEIgix9F+8O/h1lUDhkeRjbvTu8eSMog+VZnBIHQh/FJp0peWNCJ69lfBqLfCVxYh7B+MLXErsMM802NvUyZx2/NmvS7JarET2GcELy7zFLzKa0hTkENHeHY1XLqSED0JARbHXPB/6LQh7FHfJYs7y4CTwa3LaRMRLXApYvwv3R2akqgLo7llndiD6oHMkJ9tX3iF9YU6leNarNpGTkSL3EWOtKPRmXy7f1tgfpW9GOXHQaNqEVPn/tQX5iCafpdOSlBkoyWS7LlIsJn8OlWD5uhWhK9wxvhF8zSpIwP+DAmK/Iy4zi7miT2hdrMTIGMWNhzwANov1HdD4+DIxvYwd7xpneZoc5NdrkDg+nsYXFiL+7wHHM5R0CigQuwQ7IfRV0BQ/KWMko/m3yKT/017adl/kVdYh9i89N3L6dcrCzGdMy4vRziIk7VPlG/NpDmJqAW+zEYWl/OFOGHZVfUDUahOWW9YaWD1LsD19OrmfH66+Qbuv12e5iB9qbnBeQ8wXEOM0Yymtjy2yryPYDWCkM1H5hJse7xNbZSbS6hR/ACLjME7nwRHajyf3gbIzBpGDRDjhv0H37TB5tNRRs9GYucs0V7234TP4T5TJMie2v5IgQKVAjqmVa/G1c8zIkl0WTE5m55SjNjZztAXRvYIq4eLVsi/MFZiSs/1XU29wQeZZgUFiypCPBLpUAmaoQSKHNLn4hVVpEK/ga2dobYPgF7ebse0LGqFTzzXgXBGiTXnGaLXZyR/E3UBSgxZ6uhq/bBQl/A02xRKOOZkF+BAI9MTvk8D9wzIKDbqWDYEweIM3MQEsrXCRev17lzXR8Devlwpp2tfWgtRijGissOdIT5mihYxEIAWhDVaRVhHm1TwpwTmRioC4QzlhfvXi8bUwiNOLhCRj8YYkNrNPfV7gbqwYMFGuQVGnlWqsvsclBuagCbtLihygg3AAjJiYzUlijVgy8wzxhWuKFYBgE4DvO3gCGzagq6AKPuKqHC4vdYW8UnydpfKk/InW6s0Qp/4HBiSGr9t+zohybPuWUOgLAf/XUkOrz41mVe6fHZzDwyIkeqNWH7eT8i8XowTaOYVWeMUKvlF1e9hckEN4VLffcc9MIIAq39hhgCcVIQ/iOqplF3FWRDslR1/+ukeR/P0kQ5qqllT20flUmpYZjvac4oUa6M1r9EsiF5frEZjjFaSxuzk/xmfiM89CEwgxQSXj0IEbI+1f6io5e9J1ciI2vEVVdc8f5D1Kw8LdtxvDIW94m0y6uV0+d23+hPkM0Da8+ypHEJ41pD4PFXRG590eBlPyYZFROVlBvywnWGkAeG0OtPMEJP/gA0t9jeXdI+5R8Fz2KGRowAn5A4xujs6VNbwNNkgOJsL4lUUOL44GicarZwRlbHVD2TZf0eQc9Qbyyjxtv9FQFAwEFzt/SDz3wVCQXXWFmjk6MXlEgSggxtdcgGH9F4U0ybTJQQ0tgogdIr5G9DjM3BW76aJvs/ccb9mg5EOgzc925nhncVagOL12Nfln3cRE4kfBQ3/abnyT4+P78RXMmR7oKcbQ7qBvvEMXAwpO9txbrAzPqZ4qj6pjpwUDPBLVQOsT8E2pC/97/Y/S4cUKbiqJ6SAbsGVoBe7m5o3QATQ23PvFktpGZvVI3vxWH4p6DwUvdXgrdb3MoMyHtI9WiWIjZxUt5SGIPu/5tyFkZ/I4cvYWFR7cKz9uhCD4uUpC7UIIlA193Uf1A/xmSF3JZMOJFl5/EScFuw6p3sApKXXB7MBDmKjjPB7rGEYJlB/NSfI+1bHsVjiVsuAhn71raKXSPE8rUiNxvKbT2usePWLU0EoN6C0y9ZiLkn+oySFaG3RPTxWJihLjVJSboe0/82qcRVCUiMsZc2NWS3FIwXnXPjogL5gMr5bdSVfZaT/c2NaQd5b+3Q0DM2nAH9Y6sx6lUke8hlyomGd4od8nEZJ2V2tSeZx5TXSN2Nos5a1niHjET8AH5ur/YiPdV6vUhecJOuGUL2VYxcv6jtfbletrLbeYVlcFGBc5ARBV3milbi4tWC4BEwgDLDrV1dLJENB4PGoMZDSe5oWWtwNL1fdesYdb9ntrPmNwgSZBGSH+lGZ8sytKqcBGHGak3T8y6rMSyIfCp6qpG8Q0Be+mJtiiNDHBcgYI5b0lR6Lz3X/3NtExxvzNXuXjFsjimapWZ9dgYA0D8vyVQlmABsFmWVLxqWG/auqkzl8JW9EivYdnBHwNavyi8glcmCAK6gTiUmQ9sv3Z42vvf6UHo5jiTxFE4L7ug5trklS/UIjGagF2K+fdyJ28NNjYiDVKMSVGKw9IGMH/AGADgP+k6zi7JK2qBvBTTOnEEcqE9qxq4OlUyB9JNaCdMI3XbjCf9BPWU3Vs+KVaPdGa0/DXuF0lbPKk9KBXmMoTZ52cYe06cNv1EAFnNjNUc74LImTOH7Ytn+y9lgh25G3we2+CcOppO4GXnoPPv93u8SBV2vkGX4FBzm/iAwkXE72tM3yxGwMFXHeTY76Fy9Gckd6zvgrXegjFXqp52ubIRHjAUy82eDf4CQieJtNb0qPOmg/sVMRF98L+fYp1RlombNS7KWitNHTJi1spbsqU+ZAzXKK3lkQCtSAOZEEL+v0gijahUCuHAcymKXBlueYjrNsFaXvU5j6DK3vO5nM0c7nqqw2ETUXQySdAjHuR3IpaeCkskr6oTAnaMp/Ac+Uh18OJDrePBOfC+S3QdGLW9QxbcN6PqI2e4ngRGaIFa758upNkr2o6gsgbqvct83xJ+ZMF3xFf4Dldp1LJRLc1v2H9uHphVvJdg3WsB/Cw1qjJq2APhefAqJeXDZLfABkFcllE8fCI1UC59FC9t1ZrZjNf8HzADabQ44s18nF6W9pUqM2nxRT9TBhH1OU/RAwLghTB0xZ8M+x56kMrtzHffdFn7eeUuUzCkxrHy0oLO+C6Ydb17rEVsjKsxCiMrAY/4mLImimVI5cPY3q5vn/0JLwKFjDKjnMbLpzfXgX242IUvU/sQmj6ER2tPM72Zc+Dr5mO4Fq1MQRey1bo+mM78cvja8GI3gscb+wJ/WqPTgn8FQPwOwD2BeuRyLsI8PtUZTcKM77vpPYOFpLddQRzRAb8EhKHKjkCaW0FZ3P4Hfpjs5umGzQhedN5LZAmr9+7HWYB5vib8WfLm0O5LkCfoulzVElDqafSKtFr5AO6wjdfZh7/W0YFtf4jCYh+XqmPd4q4Bb+s0G+zaZwUUqCbc5FEGM+wMpNw2EzvV4WnypcqsiGh+Akqr1WNM6xcQR4z2/UlZ5/oV+TAKH4KRi4rSujCRVwIdlXTt1mb5cr27G2aRYNo+9EYTdmWbpSuto68V8LTaFypiz9jUsBvX3VmvYZG4UBt2LRDu4QxQDSPa9Fab+0rv2oJMTmilP8zk7eE4F6OJ2QzZTHvXZDkCLCMciH34+Cd1tatUWqGZUMvp4YV+68vjsOeebacp3rYfIgxO2Cwffr8iMVFsfK9vu6K618whNRLtLMOWy60PFrS+mct3txqEGS+MhjHsvs4+Y8pJKUEy4xREs2jAzIEJXZJmFIXV4+xl9WHH64zb1AsatbtW3/HmRmBkjR7as5NaGETfL/ggHUUqNZdxMCvRaxyHPu7velEJp4NS54p6D2TtoFMQ3rdkyIuDLgO/cMpxMYnfeuE9MMAyptkudY1ola6Q0YRygf0ZxV0/16Kqi29YCt0fQd4BMu9wQABCzQLBGHCM90SYKwFp3s96hvt9+5S2rNppzxuiNQ86dpos9mG8iQ4gj5B/veOAkaLjoYfG7CkLcss9SsKEZ5BVyMqieU/BTbqRXyK3ADES+y54z0c66JfL1L02/STgLKkFUnxobHKFsKf0hPAOlAUzpvMJ+6yKL8u0xkJmlSI4U/PcGiYub75v0glsD9EB0g8w1qkN7NEoPRivqd09uXx5GHGwKJA2ZFhk86Eg5dOyrwZkRvvpb4zo2V7cZ9qkiCicBCPg18tSLrCeV3R/9PDvCR7HCdPHwWjkI/qtl/mZC6QyLC69WLQxdXVPMPK5qkugXmu2GTqLNV47/sP+0e0dTNWl4kP/eu9w6Aib0G3wP5vaspuyg2oZM/H6A4T8aEFaEd/1BMvUXDoud1xfFsJMGV0RvfzlHdOmkGFj/0L/hSDqKwXRRmsEek7rnlNuM7PSfxLSu6JuiDPKSzEDEzvqzMnL2D8ZCGg2C1YVzyMmU1DeLFfJpNiqaPVGBeWNVA2EqY3jomQtfpL/HiHR8KRz3QmqlYsmoKzr5DSi+3Tq63PywbrmB77lf5DrcvhSqZGY1d1h7r8OTLeYPh5wHvwfxu/kz4qXFW/R8rc4VQAD//FYjc888RntTAtS1Ic+ntttQmOjUIcRNEwJwb9K1kQ3sIsgT17ucFNR9uy2xnSznRJHA1jlZZcuSE4ZkPysGXaAzIn/fMVSsNZaH03BF4lBQRYUV3mzye/RcZbQijpHQMC7epwd3e0pYL/CGEuCrey9fGv4s1lyLHqmteBOP765IJJ32tx7zP77CaJVaFTSLbxqofCwCZOJaEpv9/em696H/nHFcjnUCP4xYNvrPrQW4i4tocWE6MHmWtlQOLRRNj8CWamOJsVQF0M2nPfonnFMW6w0qOxZz+vIVtg6echUP3BVuok340xQx52+97p3eNblWGNFkn59MekvjEOWyVwXUU5OF8fv/jZNstEs8PblFvW+v9EsxbZHcH3aA04AcOJKN70rz4v3esr6vgM1dXLY3xhb+du8AZDkVnEpDrzABLt3BoJOusvL91GLD2uYCevbxJmrLBasLkn6FRxlkPqRYLljkLfVP12kWDl1CuxrC1nUMBJysir8Te9+TrTmZYa2J7rQl7lATg+MSeDl4Ye/KpOHzQ5APrSBjfYvsHkzHMHYsqLr2a3NRR2O1X+5/UYKtlx+R88cq1jZPN8lRHcoZkXBjCfOdTMrpLlrc1fzMQaEh8WraZeCX39xEuGKEs6TD1xrc0KPPwETK6aJsy+CZN2WG7SnIIlUsvdewkYx/dXL1GXWTEWVSsdSCAgOGjQsPe5Ug+CgWhETtbBi7SRvOS15r0T9eceXnxRn/LTCu7xba4qu6s4YbKDGP+18Lszx/fU4uKNqn+dMF3usIoVo27kDtPi6O/JVwbNIc2g3gEu5k3b4AMkn+LuG2/JaZp1aVIgINb3dRFdUKcswlpVxe85afceHQRdmzCB49Q0zOm0HeDIcPaH8+s7rzwYxsVtSUBma/Xlpi8GmHClYjq3EzG6gImfZqpFgi5E+3XZQRF6Q7hOxOCa5wNftuwlFbVUWyq4xPlrLbRif+OsQS9h4eQOT692KR10SaUNuLfLpWwSb8b/CBAvZUVpLBHRje6y3YXjyJh6mCbBOCpFpTn4PNiH8/8ko7CKDAWhQBAXtcuM+ovrIJNDYjcgAwwcM0GEGMgzxCbhfrlm2TvgMkLOxqsVEZkmLV1eV+rbeJ9nPqYi2JZDKqNS395lL3yOiM2XFVBKoHvcXJZBVqJtjXRhyMA6zIiEpsOMReJHshIfgkgHmifbqbdl616UTYC2zbzufmnqvJ4LcDkFtKomTlnGz/i1hTqCpRnrRZJK1odqGH8M3cllHPpLqjclSTbnmLcQ+V6fIbNID8uJ5n7XZ0XtvFw+vybdLZpT8YEUc2+ZBs8L4xFqzSgyNZr/mysFpdz2dRDV/vopzbTCumTfng83qFWuzqC0K28L24V3H2+OD4hOkIEtMfo0/gfubF2oNzhTwQNOjeO6wz1urEGD0nKUJvG4bVenki/J2GBJ+hSX2A8VtaSnXcK/VwragiChopq9EoT9JhA171aaXohxf+IGbVGiXIbUh+SZE5fSPEaOH6lkZ5GGwnCui6c2igUGZq967DF6NnNmHDqagpaMJFb8Jci+f7u7QRq8ceTESLJNRPxEUIW55Pkfkf3mL3u1Gp7gDCcwKZhR4Eo6mtTgp6MoCo5Y5UOKsdPZ9SJHH2p12cncRXYnCcSYx6X8NYRnmOLLUTZUSmKIwms+dsaU63fFyXlHoESpG8YLnu+LBAUA6j6WSf3qz2P9ZyVPeIztA2NxKTfs5iUoRBzfqQD8GnnWGJDyolQkw0rPaeb89C3o2KhqH/Z8RbHXsoUN7+e4jHTo32RMT8niDoRQWgkoiA6QGok/HxBvY1ABQPnK1L9dGJyaB/8gFzNdPxtrrHvME5/1lpJ7OkY6+UZxZ7yCc/Kf8mLPriQxiOZAwK11dgicE+3LQyw1kjEPkK7jpGYGL/kAlyUD8qcoXcfBhSIHFyts8C+kUaLaIDBulqhfq6sGS8tlOFtL/tg8hi68CpsZ2juAZSer9ZxB31UJ9yZcKxCuYvlDOoPqEaVicvJuygeTRHhi4l8pRQZ6Plg3zGTlPGjZLKDflJ2DnIiwUoXu/fsmpHBCtjNanQYh0hNG1SSDqdzjBCENRRg+KWGG2fbPxJNyKS6kQyPYMAK2/KVSf/BIZCy9xizRV5qAhA626gTcxfG0yTUUbrWXyLb7KIXocv4S7oUzOGRpYSUujO3CXAgctIZK0RyQdR+UEiveMQqsLkjDMKtHlkuBsR/YaA/RDFensP+fi1vliKsHaGRjUXIAg2SGN1v/nP+WmOJS/j1wylhXz22QUnZDqrDMha3X52Is85jVV8bdEQ5nuZnTOkNs4MDb4H1EZToaSZDlKX2nlWxbzVhtYdupCMenJN3MEGaXQQiBc1TEh4yB67s00YAneGyv+u3zDlKko58aMljRSL7PwmHIkc9nE8//tFDWCtmOmjPJ7Vy7J2DUAl5YJSO12OGbybUa9t5kFW8xITI2Nwdh8xHAe8oMh3qakduaSF4V9lK+pGVh8bp5r9P/ODl2GegoZ1kx12jaewUcyR0Uppj94WA/q5r6wjaOwIr4x90RTAM45KxmDHrPExwwGl+DtUeudpzRdMVuC14H6m7UpZBzCXg8x6Iti7MQK3tztVUhd1uT51VtVQFc+NTyNKqXHODaYiHE9+PixqnwzUMGs1UroxBsCKM16UjDCMHBkcyO/d1BCCgdQ+yD6ZvbncKLFmSk72hMl+44PfAtY4szWE8vXxGVairSXSO03u1B+vlUCSRRf16XdDxLwcAHCg3ojtPX4CofqzErldO1eAX3T/2Rb0WxBahW3242GB8EN1fkl4RuCzGa+4RUbzZrEWzkU/vZpBzBl5GUo8tYRcq2vJ2ajoy2osftcRKe0jEIySMO8nBO/PRJPf/BAxr6WJMpTM5t9KkaWM+6Z0PeMkQ4o0FBRCl/Zhq13laGWukn+Na8CuvPbNCkuAO1UTSNadDrH9ivgcP2uIYuL03XepC5L0kEZoGnH4Cs1t0WrrA3/AGpBjlcHjFc13aIBHC4/+yp+o7RdDSlXZ5k1X032DgDgGIH8T0LXDLZpHe/mPR7KXPeitwDbLl//+mk4Sud6zItEfVZtZa/cp5R+n47Rr6sHx87n01DhDwZAh3CGTsmCETnqMbC3lgciF4LijCRiwyvRuey6jASUJjV+qWIlE7meVlMuWLIbHyTquPxmKb5siOHqQfK50pCkB0SO88uI7hgUVCwkmmVrByfg+AzCoDJYaV75x4Ou9jtxdMLIgBvev30DNq4hZ9UY7QScLOkChP7GzWHe40xTgh3DvCt+sjD1eo9wIzLiKF5UX7NDz+9Vd+hx81WLaWy+eayPtci2NIkaMJO0Hw4UnPPpfiHYOpqBjZdXmH4T4JtfmjAOO4UwZZxmpfICmbZ7cwPZJGeEcHe2Hd4IpoOnhY3U/xnG6fquHRz5cLtFLAm3VBBARgjOBmcIidbI+00M1eAgCAB/2RYmMNWvPg5tmcTWHMIzECoAuvuFjL6mJB13x8MbQpyo985hW8rSwBC5vIJ/hFauX0nUkbewgf4BeSoQBVlof/onqB63JBfMvOkzU0HYcVGM3YabG9JKuOVTd5qaTe4QqilSHrCice94teCIwh4jWzGkX2hirUyDuyVqWA9rtArJ8z8S+kg+FzfMGAunlRJnMUBncLrVknSSsLTTIB18a39gcf5jH77XDqp8njFZi/EmxOl+5tXNWzT0y/jD2thKJ7B0w/Tx7u8N1ByMihjbwzn+Dmepe/5cfwILJjlCiFE1S4t0QFjVpWE/fYAB1dut7Jk/5LukxPY03Qv6F5J2WcG9f/HOZvjJ3p/gaLxfC9NvJWAdAlFM85xmolPJAiZHhY/ytwZpUWE/oBT898pMgU9RnyJOl3RjkNKs1bhBNj8heP3ATyAPgk6sAved05duSyyi+w4TuKDs1G5dYpoLflsiByrx9LOeZTbwNZ7edx5NTbKl/T7fvN1gnxSl+d6iK6olXfEzb3J93e/5/MgE6tAcpnMwuWe0RRwV4l6RE6tbZZj628EeDCgv07OEPXfVhuHyXM11/c5fpzftSVEtOceitYPl5hrj+MtdTmBj06GZTtEgfjffB4zdEG16MguaXuSKee3ibiPf7dx4OoRiIOROQ4K0+nYFH+911SsHmIWkWPYdWIlnG+uS3k/UkOK0WdFMwe2prDwfBSsiOLcq/onI1ZOpZmjK2PImO6CbAl3j2kYrmuZydMrqtSaHIl00ilsqvPp0FYOt9ySUoAIa5VDgbnp2kyISzALqVYz24fKqlFzQHK1qJ9xXy0U8Ge3mzrlC3UxEmXShVKib3blY9cWMf+dGrzbjYkfbNQA/fGZI/+YAS/dw3nsjNssgG4dHXW2pT27rGK4OuJnIfB6IerIvhjaRBi2K01o83hSe2B+WivluNe5HlbpHQ4nH7mgBecZ7qX9d/j6RGErW8tENzxvb3/kK7Zw7/aQjbyvD4BRmA1iVN7tjTuMPyMo/cSuwVgYADBkHJADmXqS9+N2Nmx1Vu7/+/GZp8fneE4/C0ikX9jCmn62iXpX4xOzy4D+1ycpBGVFa2zFWEWyEryZFd6CMb0Wut34bGIMsdJZuq+KA+hbW9LJBOxN4cEHWwkOoKBMP/7GDTji/7rtDrTOYgY9tAcAut4A76QdhRUMW4Se7eebxNjiXefCMgASGCN1f/+Ymo/B2erld3daePglD8GbUYQveZ1JZfIxdDeluPiMudtyz+kd/yCsOZtsbTGCxlkIrqjaLc8ay1jQV+2rzAS2TtxPZNjiltVS39BFxHUnqqEb8sVYYc303GUdYXRKvxoE7sJ5R1RLvpziiBxFCPYXWM5lqo2EFI1guKSrITq+jqijU1uzaK54KxSbv19EhMnER/ys9nLfHXl8s8Ib1R8RNV6TT5iqIa1+/0ziboBEyXLrbRJBW4Swn/rVV4l/6EAPqdzacCwabeSwrBLkyamgByEmSmaKnSZvlpwzYxLHwoWsYZ1Oq03PCDKiMJeUTXp8NA9EaYwUGh4wvFDif+NMdIPWLW+qBNy6fV9lH1FE3tUuQSrz6gJJywh+SEmDpz5mp5kFQ21SkaUSwXW46yBQSxOsVM1sDShrAfDoYAH967FVAOMSskIq/J8m/BbJS1qOAukNg3RTp5ygVdzD3TOT/v8bFvW1NjxzY569Youbv/BbvWcJyLeTiNfASLfHhhcN7hYfzytxbfEQ9/RMzH+9Qrn64VTY6RW8yUGgsBeM8+DQw8kaek0XYem62O2+NZ1jk7GDvgV3y+NxUwjfBxqgBSK06bPJkfZi7ZnD5PvQC4bqcKN2+E4iMHcxV0Vs8XaPFHV3l9/dyu5TmntzdtkyRn7PH/XNTIsIwocsGQsWfHUS/SmAUPgeQJCATaQogLLZukzv+lFeAacNEAzpcgKsKkPDwle7jKmFHOrnuOBuk508kVyWb7ZptKtSBFWYtJS78z3PnZ0tMmdLd18FMI4jaBMDPHkjx9U/nx27mCpm7E1IdABdSTetIdK847gf9A6rfVegxytmTxd/aoWdOZqVdd5vYi18CVbJ4VlIhvwksd+t4l0n9t2pt3qps/B3QYPsSxxSZLoZtmq8MB14kP4wha8Gyuveehdi1ia4NgNndzmNadx+WWdEgyiLDT2lX02fEut6of3vRCDTwIfuXwKeztJhPfmj4bpPbYhnLQFh2ZGvQhcFNvK+uW7eidXvCaFfciAoQWd6Us0gDmKwI7/mlWIsoGuXdWoEQf2ZqMuTZ0K+mr0HpnMYZvzZMlzInztnaouTMUNzZQTU30ais7eg03tYobW66nXt5TZzBjBLWBiY0vNv3ECGECXk5l9+EDhWRPJb0hek33JEIeMMhmWosvQAxQtOt5q0fvpvmOxCJvu0VQC230dtRPd8NF9E6MERr2FjH4PuLcpSx/vCnqUz/S73ziQ2FgKXmH4dpZERqI3QWRfSfhlfqzkcwNCh4ZCQXHakv5UpBUYOKZ0ZtplcrII2VBtZZf2qiGkm0gciBGJJBAHcUFBwGVzAjfzAP96QyPhAcpswrIDAxWaY5Tu4f9Z80nq2PEESdkS1CKxmqQHLfjOl5oYPdHrJ6MSmP/FhJKDj+CkQ0/gcZ75a1rs1gxL1u4lfoFnXYsiozdL+UDPdHdgMHoGx+tZfiDUyZSx0rD7R6t8B9K7yE1ErqbWdbHbcQBwUG6tGy47Y9qSkwngoo2IVMEghrGjxJXF9nDWBiJyWBKwJ9BZc6BK4fro2CzaYmns9Q3j/3syO4m85AGmyeWt+bnZM+rGXmcgwHr0HZnYV0H6UbrR55rhS/7qm/gty9Wg4fv3gwZwmHsLlufzCFaOVE+rM7SfKF0WS5edlylucEzHwpkW0subPPFVHQ9rmt9i/MN68NjYnQx4+0gjI3xAFt6rx0WnCUHZQX4YRn1q9BnJ+wd8QucKNUVOcsudfcKKc/5xvztKft2MdTHET7Kq1MLhflUfffKcAjHv5BtBItRKZJtImYrkq5uApuVHcVROh6v1OtoGSGtJzqfkdiKotzTmf9NFxvJ+KJcn4vh0q6R8Osw3VXfZx7SurqPAGqDubYs0dYp9j7dEa6rKPh1pPzFMOsYCbUd4mvLbQajE8ll+q7T00X4Sw2XGD96Oj5VONTTyAqaIBu3u4SKp4AFJD/9gSr/WhIOHlVLVg/E252Bq2OGPwmclX7LJSwtcA8xkcQdTjYXzuhGz6y0JSjv0ZoKbZ5Q39MhVlBPU8D9PxbyriMCiQNUjlcthP2wUJcnwkEYv/923Ny7+iwxaIHiPe3PyhZbaJc7HS1+8Paz4U/ruPKu9260L4P5CFFViIPVTUlG7c1Qq8CKKqpyOHTmtG6HSgMUka5WEod0UEVPppQR0RBiUA/YWodkJokPLYtmuzvCTiztOny65GeDDXEomOjfbYG3DHB8WlM58OslROMdv5AunvpYHJE97WgMaHWqRDk27/0yEgA/pp3vDctM1kUE2PpXsHY54HiPJwkGSyD/oWW7xjHZbERPWVea1tMtULQQ8/PietO9gq4gwOUzfpfZiq0lmR70ilGZ762kYd6x+7vnT/sZS+aV1uYNIqBgqwy3dhaOj/LzAYyQLslxGzIq45qVVLje4UIHfzJYFpSAjjzM+grDPTigaLc1OHUF+XWX7sVFJCD6pTiXtuVcz0enI9lMf0Gpnej8Ey4M5mDtdYalaiKU5qPgbFlNkRA0t+0/dYYelDitNakk9N1HqNmdL6/85YFMTZRFrcF5m/kHiyX+fgW2cldznzNo+yz0POqzZIZo5+ZstfDRULXEoL6BOv100jWOriAcK2e2UtWo2rRrVAvx1W1hLmBRdIZuRfKW9eNo5wN52kmbn+aMuzrTlG7iCmxLg0YjRJB6q/li4NgqFHlmnAhhJZ/JxNJzBzJJGdcfiDhd3XOHK6h7PCOHa7tXmvMqtggNAPLDyT37PtDfkEb0ccgoqy8/QpXB881GWfGdWYta3sHyDYOpD+HvaCXy44QW6hXAzDQcpwSADV2mx7h3fPkFH9Ddm5XbId/d5oW9XSNP6moaJwc5HznVNjXqxr8xGNiQrtBreEnZwg9T6Jl+nYr7veKSs1zlZkZzwCfntI0zf3+eTY+v40fSrzYRnmL3mriERKtSlTCS4FKzpcuY+zKFFdhb0dr+ILCaat0Lr1e5LsnmOCzevIplXYXD22QRRdk0Q4OnayAQUtSHLPyRWwDoKPCYuc01e9lPFSus9iZ0MtkM55jx2ch8QoVX7gJFz6T5oVCAxuY+yXymA9c6eGKG416pxzFd6X05kiifN8pp0fYChO11nH57rMIj7gln2NYOwwlKYDWUbnfRUpQv0iqJZc+/eUGSfhDFGZ+8la+0hMafUBvA8IpK+VlkXIr+Cg7uC+LYb+9ijXgPBXnmbLo23gQTUMbTeVoSApRZXOZawjonzkzvWcVv80saNdsKFo2i3QuJgFxmpKaW3SXHgYulrtBUpyYrotyP6i7BXHOCLbuIctmq/Oz9rbAsysMmygJMD/MiwvFPd+6c4XKJ+biMb5H3SmG6E+g0RP2MuO6zHGM+ijxXgRd6gPEo9tb7BBrHlwtvVfywNuohnIxRBwWdei0KXaTCpmeHWSnqfMz6Lxtf177DriLfduPaRxTH01I79TyaMbdR+YTlWpoc8+oKbG+kGt0/icWp25Ua7yNEa1LvnWsd7v0j+gqTvL7edzSUGSqIE26dUpaHqtl5d1ipt8q7sbQWm9sOk3XOBwphRt7T6NOuHvbvqZeSdZrly4JxL4j55s7TaS0KwEf39lGvIAAejN/lhPky2ScP4UCVldvKCblWXOAE+JmaUfEZq00kdnSXNKon/GmbtyFGhnAh8MsU0h5/+RFDO8BCYAKukUxeYEleSu+Bl8Mn8eMV1KqkYDEhUUpGsxc8VH4nwyjbR8FBVVD7Tn+njtS3jPRoQXHmcflIuAwW5rgE+R1bTtBKEAgWvjtDaFnUyWl9MaTqlk1UQo+3D3l35JtduAgO5IbbcKL3sVWIIYpfyyTFQYEAGOdMFeGB5kGIRTtpb2nRR5RZKvvf6vUq6q4dicc96qSreRxp3rozheYbzKaxQVzaX93xntaVMQ5FBhCCeR/XmE2P+jbGcbR1OnA2ExthrrhSt2mbWOB3PdPM/izuwR5/zmfOCZ99ohFNBFytrTnHZ8s/gah4bcwX1eBINapwEQc9nLS6b3QZkY4HddEw1GfNM1OoZ7SeNryR/Inx6lwMiiebVwkywexGEDlGBczEEGSRFeIiASMB+tIH8bod8/MNPBsT2zyaphyurvCou6zIuhHcxMWB4mtQNdwgyDaE+eoMymCEdVqqiqocC89/fsSt8j8Ir6MN0x7q01WNZiBx/9zzk57CnAVAq1LtjM33gCTqemLlSWKHsF/vWsNw2RXZjGYgUUBdIMXBpWnO/paJRIp/7oBBzhH4MKbboj45ZILe0XrfqlG2lAVq+AyEfgWyCqM0FWs9/3ohMwXFPhW/IK0+pSDjh6Ng/EUgbVGSr+5cc6Bp5C72R7vlL7zirIHxw8BpMZbw04O7jHosSWSG8UTCBW2ZRvNJCZgnG9UTXoBroScB5AjRx5S8bqJU7Tu5cSL+Zika3kVTegqLNAPTdHDeT0rUpHDqPXygs8T5AMCpU/ePRpKfbLOIN1oN1U0Gq9M1zpyTr773PYHiSDf4VmBYTUhirqTtEMXXTlchL3N3mVbPo9pMzW1Qj2/ocdZdSPo8Q6F4VHYRV8hpjeV01p5yrg56Ne7dmWVQjTRCw/STOsWxct50vUx+V0rc0V59eXb/0mehrez47UupXG07l0OMU8T8aoGz3ZnoY1s0WFZWNN4BrjqqSJKzdNAkh7sDgjn5ahFKwa2lLOqRgO+e8/E2yiKDZQXgMJkZ7aVOw1tII7d9NCn5p3uzp5EjuV12HLwqPr7z8L2uRGBvgmEmhjb6dc/5IpraklOOqVZx4E6o9bBQOOzTTZjN3JYyKJbU5ld4I8OxnaZZ+G1lS8ZuDNqvVdc11gNwJ4SN62GZFTYGCNyF+l7j5nhyy4sp5/phxfAHfolVasPpoiuXiqXcklCkEk+H4JIbRAZW42XCNQv4Mgq+b8LOsnsdkRdGpKVNjHoTY/dMvlkTGW+OW6h6iert6yBVgdF4nvs+jzE+q+5CmQnirqELr6YOtgKCo3SBoOBmMczvniVAxN6b12Wgd3zJ4cmADkkElHrA1C8X1o9AVSesSzzFOh1qQnjNGU0HJB30E8z+XLlmwDg4+/vMKlUdh1P1mMl2QvJWp45Cu9bKrhoRg3gvJ5JGLl9gxUs6hQxcxEnc0df81vWqSVzzlQbkd1TKwie6p1KOOLl66tbObVH73Diwwj/MECqN1qEToGaLiXQGk1vuT/yeCef3iv3DlMnYwExSFBDFozpvZZAqS4KBb1gjt/BPI9OyoYyMslpRoMU+rarSiAi9EB27FCsID0OGatEzz6mXu3d2IhxtkoUeMYpRmghsFjImbk4QjVaByVUVrm3cuIIJuqGrtAZ5b9nmLoV7K/0bL06pJ+9JhfYv1oQMSKuYA8QkNSg0KYhTS9IC6o8X2jFrUsRpa40GuVTWlQeaVM+wQGBDhRdZLSb1J9KXoy0HS1beZM5729oID+6amdQkxEvo2nLtxOzrRATjHMMLeEflo3dWBifIk598nA/YNH2kyq8VMYAkUiAC3wO6cwEbUy9OIXDUo6Es7IqjbsSxyaAUc1SvxwjEwoxEDoEfNsUCOCE68MlyzO97JrslFV0xg21U3OYttKOkM1K7nMKx4KzKIvArd3/e6FtoPB8Nhe2jVBOwBBAA/1hYLYojRTa92j/2J+a5tJB381MZxJ3fgjcR3tAw24J3GMk6C3UcXbuYePQmzszP3ut0WdjAGEg5WKOjxGODkjEYWaZhfN4bHudgic0qMldF2gXH9zNzxx5DZsnKRF3OLjluDBfWp0zL+aC00SxaSS5jpSzknJd7KNFpW0xf8z1JAN2DbdJiL9FY/xHD8mmHTSPcDN6BxzPwG2HiFqFWTJY+jhbI4RBEl/fEKsxRGMcJD8rCasvLe5lyvn4bklEk8F6M+92JyaL+giOtVRalpq396G3ntT+TbMs0pQJJLmMeuzVDCIj7xL4jE98BU0t8D0+R5ZZcwFMP/xxZyHhe1QMU7LtnulluWdADf7eQ/BBlWlZ3S25FG7BjunyMgBCkYc9DZXsGnhuGZ9kF42VvF7bo/19YOLH4IgLiLbtNby4VYu5c78c+2I5r1amvCJ8THzrUznzHypmiUWS0L2BO/XmNdSJh2fQqVJxU5UBurLYPD6qAsKTg2o8WPWoilYZ1sS8odiH16HpDJNyWBBBwYec4EBIu8dzPTYWHVeM6NwNHiUjyS2qqpJhlwlmAEP9d1uyOmNjQZoQ6yArZMIxmk6zf8g5BQIkfx+iTX/dusCjH3Y2eJXz6r3JKtcVrnv9rDDMc8D1xeruqz2jn9XcIMn3ZZYCo7S45pW0ivTJUPmFWmeTZVz+TJA3j2pJEelNlGw6gXvHP22fwR/ORjXpKmIqgefqewxohKdc/9qYLg7EZNNwAKHgNxn6EegJ3eoVBrJYq6PMtNcsNlC84cT7qcAjQj5vKonZmtqpweBq01i6hANYjpSfBMf1n3CHqKePaevkTMzy275MPJ6KwKnmdpghNdRLTLIdkMGppT3IIR9n5VoWN/3kyZiaIy4z6jM661rf+F5hhbfLzGTObyhT5oR35Q/W+iavJeCCCefqpQJdbCto8Iz5ksLi5iPG1eGhU+/rpgipCHAc1WqdSXlPzBpL14flyxenoGThKXTfp3CjGg0IbMXw632QWDRbp4MZYhn73Cn8lEKzLGp53aX7MyKUhx76m4bLKwYYTz89wVh50gUHfTMWe0Jv4XwNxa4XCsynzF5QuClITRsFIitwm7xdAvH3naLbKPzRjWWHhsUo1yMhtoIF9/m8niCOJy4XsvHSl53Q9uRd0bccoYyx708ksAaVylUEhuYW3MDAm+k0u1eKB8u3gMAonIEESFASsU4tzLwdNnDubQGgaZSN/y2xhfFho3A3iYCqGJCVEAeWG3UONs/3QDMiUL9v6BXkddbJZmWNNEIgtP6ntu5AAEN856jt0+2SHKp3BeJKuv2SEKLnTACRxnx+0EvZ2hvliE2DJJx4FayC6rayKifMxCrRieJNK4k4pKPR4p9/q3eKH/jEj3Mnbu3Dt8oj3hyTrsDO+T0cHPMaV1u0WYPFyMAVo5gHQxc1xXpb0uPyxg6TBawHwiGMfpQkcEHOq7ibyabnrjBkMtOJ9VMBUTdp4r3C3Qp+TFxwJoUPvuLxyVMXYMSSRkkBthc1glt/TOa3yFyEtv6T+wZjJbrvo6FcwUZBNuqwKdhvaGYMZMJb6HHodp4VHWtHdBG2Vk7sFmW/9rS8bUon5aSGbw8+W0oajUzyuE7HTjMbNCiRadoxQxSVU0iTMyn3if7sI0FZIjF90Ic0HboKTFzFd9tIjIl5Ju6OLnpYfXtwqdwamGx61IUFdrQxXKTbZha6bp4GA0ARG/2NzlsLN/bvMogF3f2bOytMjeHUZngMCnrWUAS/4kEFWU0EJHTavWBpRcUMoAd1bCk4LIrSjD0yzwH7QSMchAj355SIg5inyRuk3AVGirZrZyB45FN95PPO9MnbuRexXDCQKKGS6QkUpY52Tqys7ZUfA9x0vdqCv02zzXkJWhM/9BK/g16Ez9rKFC1OfG4OosItKXNR+vGHMFGJXjwkZM7SMFGZS+r0Hvm1hX0fbAwp/g+anHeK/4qOzMnIQqjkxOKER8ahhPTRNrtGNGr3yWMbRVUFDZV5tcDjrM7vh0WOczwJM8O44fyZwJSTYh4hVw31s5snMHh4lyyriwvgcD8ewg4tMbpwIX48aqTcQAGl9zGxxYwKCguk/3kB5QmAiSp3jj8nC7IH6mpN9hG/kIpoYdgftBTdVro2ec9uBF+Lriw25OhhcKXtQ6jm8hxZbl9+pTOGoPdoTE71RPk4SNS/7qIEveLazzbseUWz0HvEZ0ysRMXI2T9wV7Dku0U7JUjjMSauWjaf4oInJM5nnW13xlGVnj1gNfqDItcVq+fSZHye9skaxdiHStwhNoST+dbZQBdjcJuai+1WWzMg8+CAfXnQpFuVsscGpewjv/K3AyVagOPfO7cwyYrETyhlCQtxNAppAFtSzBePDNgxpI3xXkSug7tglh/yPff95PYAAZRH1Fp5bS53QqvNc1QJsV7UgbYJPweZ1gBHGydPIWZf9hfAmwEVPnB1jm76DU52VGa+WdhcjN5ZvQl0KCfbf1xkyq9/xnvEsqbRcQI7rQIdhvGry2cYDibgCNdEWEPxtU8ROhfJISzgHpsIuLzgATeOBcNnzb+tgBsLslLKH5wFbrE86i12dIa1As6kOUdZPDxJDouJw6KD2QmNjFOPNub1xrj1I1Umjz5C8tAdriEUT2spDk9L+rnRIKjTjya4Jm43n+yNJPIwAJsp6G+oE16APf3Gak1A+vFHnCv2AqSyIPVoO+uN3dlONLwD7I4JUxEYDmixMgDjrTWqbXvcOkUfsSpPP90kiYTc27BlO40jWNKFTJoeWqqWu5Wa3f95Na9jDSbcb+4etv1/c9tNuuUv4ofKpF2frvy3xHcJDhQY4sIqPsHidnuBg9DoDUGr9FRV0QFnG06XP9MvdA0rMt58uOls0p4hEIUBte+1mvT3KtsHS/zyt1QX/9lDGp1oOjVGHoAqXalv/QPiY/5qW9XCCgErHsAp9r/IjjiG+xA+UT4s8m8puxU/Avw4+DQAMyTvf1bV3uZf3pf5XiN/A4ObpbhGWb8cfbIgVIX+4iUPp7O5pFIKbflUL2AGSjs2Pj+4Rra95mE5YEuwdDeW5XdBh46Ri83JL48ngR01Q04cep2ZKwRejTnFIVFbLQTn4AMaa8+duwCyYIQde9ifDz++Aa8vK2xrXRBfX9mk+keqZBb7gLE8/NrYfIwprIHeN+e8P7AFAh9qqRZn9HqcBj9iiP7/GwS2UzvVakJ4ZX5BzcXJ26iHtgJmUtYAPhWXSniijjtSCUyZoxT2tCAKZdfdA3qy/XNtls5fjEdjs9XYw2VFqRstTa0jLEY2NRvbIB9ce8vnfkjMKIQdg37VgSu5VW2Ss65RJp2LqDVBcdMOPyNqN307/rCIMigAuUUwkHC2zYGmxybrpyXLwij1o5r1QZ325F0GpFKuu+c5wxnaQ+S+OW90gutTTtx1UjzkFYv+kpnTbUpGLJyUurF82Rp/uaWJxNIFIJ2OTvamjI5vkXJNjIipoXOK/HJH3NIzpHnYzWqLhrUJC8NuVWTQIxSkujf5zI8PzvloNWd0dXaOqu8UIteFxYts9CYPw958XlaC9Kz00EYm6wZEz3fw3RHU1KrrJx4L+ZtmDdgVttzkVUkjHnUWCPleu3qO39h9kPFr0A013XseN17y7Tr3ETud1eKUNO87tArcb2977wkdWknRMRk40g3wUHEKeJi2ujfKPKysMN7RljtKAMQsv96Z1KkI4t/xmK1QadmYV1hZ6uX/0ZN8m/+eYBMoY+B5ZjAEXYreu3Ps5DUMiKUAfHG+7Dlj/EWJT2iicCPWTx2dKDiviJGnud8bpYfWb9azhJLe6VWkdEaa/75kYB2OswKgn8bdy6mdlzdqYC5fx4gJOtVfkdAC5uQfV2oSTzRLwiiRQI9Medn9yvZPIshrTA6bGCsA1XYhqb3jUr2keWz8wJSpeTuR5ALnhTXUjYTLjEsamh79nfwKhotkd8boAAO6wNBG/GN5UTTbWaheZplkTe/v3lSb8dTKMKrtp4qn0ronnXzqTDwPst8qOCMdjMOiXPFU427+laSaia6bo2MmgvhjnnKjs21vnsxz9cmkNdhuvmi4KFMD1S2J8KUYax+bwmsOl0dTDD9Rj5Fbiu0MVF+JBU7LbGhiaz2PW5d08z2516wqNJe3BXqLWAtjN5VAczAYRnrldTwiD2YQrK/kDmx2/NszFHjkBIbno25E9u1pu+99IElw9rsMGU/HD2xXVnTK/nhjcTqc6Fg/5U5+hWifx3Jg3g3ImMCcEJM+Z3Zfh9gtoFUXCAqrl3JEBrJVDalUkjAu6vAgy2zIYMOJMOtQxJpWSrRUxRtLzB5lZFcYBwBOJWUTurwLP+BaXiVszfr+XVOOSbppHctW36VQuKtRHtHfSjfVl36AjZ5x+YSUZLVP5Q/ynpij/abUT/fzHxmjv5FSkQPQ/xExhO7yM+YNxJhLxd9//EALqvqUVz2tqYl512ho9ZxGv13DEyR/mh9+dUa8d6i12+Cdm+nPic+j2ZCA1w0z803v9ECvWry5oru+top/QKac3IhMuYMSt9RdIc4TBxZEo5XKDkaDzkLI7xzcluDtYFCcR5jDcYudNHdl2aMGzZ34DgNUfLo36PlWB2aCf74dZ1uw1m8pkfo6f9o1SV9mIUQAgWY2oXmg4obdqzPsq/Dfi6KBnlF3iLaOUGZOxNLMoAWOmjMyjFy9MrGyepJ3l0Acpj2ofWreGieu+PL4FMeipQcY7YGbf9oFh3xrVexkq1WRlBIkAFhd2mJz0du7pNReKMTUo5tkyMwKbwr60ns1o5mOSeAFS25vPjQr89wLzL5WPCzd4i7Y/V+p4foVRlTxAhFKlZQZrPL/UrQYH7Mk38/nNcMyubLrPHMYQclSpU/NtzYRrgtXiXdObo/TKeExcxNDVP2dR92us3K9WhCAt4NqsKkW1tiKjIETWKwnsuML5LTUJj9KjQlwvRaHclA/N+HKEGI4NZIqeLhxPcp1rsbd5a12pbKLRn537Lq+0z5UHGoGW/7huz0jsZMNxU7R7EOjKFc+w+Xfe0pIwBWyWVSfNmcjBZ+5M4ptDEXa5fYwEsUqoxs4qbekMPXk89GVOT7361fyINuFty/du2jEPS5x3ftSIJtUH0OMxp91KF4IDdVNoRQtxON3M0i/pr0BS6WW1utH/jVLv7EqIi4zI1fs/wTGnkHXMUBzVbZAb41DuzPpCnK0+Fx49FNmyvdmMDs2589fkY1IGLrdB2Z7HScHg6zZkocJMHmDdhwD1UNQG2TgsCOZtn73L1jCRd3PCmRlEuxUZGMwt1+U3bwDAl+mU6m8KZ/kGS2O1WJV4vceB+pqasVtT4E4X4IcsRfkt2LUnXRJmIfpEjaCxmpgDweweKr9RUAfeAQvmVjhsvHJE7eQgvu0unO4udUtjhev4Y9S1QWI4CMOH/y7f+uqp2eIj1WiT6e5y7uiFSXWIblQk6oaDlWYFKtIxQkfs9rnVk378omtcvXM0DReaYDFIuftU9G0gOqeeMEYFqEhgQ4TrU8FkQqr8re1R56O6C5IIGOpBFq87/npIw5++3c0pGiBzJ+mJg/FVvOAZRtRqvvFgjOi09lZXV7OcZbvaWYJeIKfr1Qy9lO+Z9WIJxaMTCROC1lOZqjLPVJ8ojAaauCH3T2Soms/dfgOxofkR4CieGZs9XejTjF/XSFT3pu2OYAD7YJG6bY9KdnhDuAfrzZZiI25I/6EguiNgT8vTnW6pK5oxpMpHizBubMZiRv91mXDFEHlIHitvRmUrVSVVqX8+9TNgYj8dmearu+yJ2Sxkk6QfXdS7mYkQK19y7Nbn7uMMcRJyCWY9SepI+pwm1fMkSJoyeqhI94V7AhFriWxlUHXp9u/rsIrTlLBtT4oSoojp3ZWh5M6EGZYqWAuin5fZqNXsdp+/iJ5EUXr1WMZ9pYBMY7lhoqDXQBsxR7dtg13pqSV4UUVj2zbUmd92jW7yz7Rx59ox019caxOiT/f1aZm6rBYx4LtVqrIfAntuhy48iJI7kstrOOAE7+xc2Owdp78l/bnNzQZCjUuuIUB1L+dd1iVOmktOVeL1VK3YdFufiuN3CKOaL+H/xrmnIUpTIY2FF1fA8BkjKi/MbwvImt4RcNqWz7qARU9XLhj4/jmmaGDtxRf+DuOBVJtHjbb1Mq5pU7C4vLFs6hX6e2u9KX38xsZwlqSIX4hh7L0WSFWX0N+s6bmbeLy9lSP45UmjC8hLC1A99Jj9yWWXbZVp3Varca17GsHmA/j9d5ueFHjb3Blc6X9BrlYZPeuj+WoyLCeETAjXuRichc1jLlVGkK4OKmM5QCGQ6N5T0+mtIMfrc/rw/r+u9ip37YIPAHHGwOW67+j2c4sUE1F7OVmtEGZ/sRrApS4z9NYi04/lTyWN4NPkAzH1k+Oq9eCDN0jx7/9NO+AklxYKtrhRaQX0Q5RVIGpll/svpkVg3F0xp7fInNq"/>
  <p:tag name="MEKKOXML2" val="Q2QSQm0izT0RW/ut3Hdi3MAdQfcvbYtb9mFIQ35QQ+fwd0+l0rsxwel2HNUsiLCiFW0T9mssP0Haqy6XIOYQQYGTHM7NyueCOvshtL6BuUQEy/Aa7nXYgnjAvZxiazromMUfvwUMqg+CFDg/AY3D+nQq97l00Txy1Wty2GR7RpqgEcUX4dMBZW+R4R5aQzdw3Ac1J2r6667o+WkYjaZs2nTFzYG71uMWq8S/cV4oXXGCAcuDbK4awbnaA8RXFyKp9HklMeqH79FiIL4mSz6jEbBVY4KV2K3MhoVcBXyBlxgOqbmZmn/Aca3ltVmsbo3iIKatw9xQBHqFIAexC3d2Rg16ZTt+i24Njc07qk4D9/kP0QEH7nz7skHbNFxfWSwaI8dQgW/k74v55uLDvb/L630kDSA6jJqsF8D8vykrOU3twP90l4ZfcOmq7+o6apzF+ed4FPb9qASxJbGmEqlKUtImHZeone2vrJLRP+OueMmeYiOT3gD7R5Ln2p1UI+yW0jvYRf2beLiJ3ajQta7wuP7usZVu7OznMS/eVhUbHAOhTJihPg1rSAPj2zzk8Af9UXidf4SseMxeqOMbn2mQO50/fQkb5l/dpGDEeFMbMbiC3djR/KftwitvLcdaZ53bzPg44EznxtfzqFVbP19MYeQZjbnUcPMa8iZakZCcZlTNNmZADvBV7gfPsOOV7Eik0CdqQ9tTdsPBmZVOZsTYAw7nxV9vEfKzLibybcx8Ld3agSdlANiE8Km4NmsOfVSSnCoKI4cGXuMuv79rPyHUHQHUqAbGc21bmM+CsgI4lJbf7CnDCNlBe6yE/UIPAw4Tli3RdyWqcqr4fhT13tMNMkYloLtm0j3sFteKqyO4O+zaBTPYXgCYxx85KxV1NpHXu64e1DtyJVb8Bfdsqjc0eCKihOOeU+y6k06+nvVBWwfhSPKrWSwf8GUB8MfNV+2pvgQ0OTYxoUbsYmvrmEEIYBidatGDmhkEXxWfKOxbNd9z/wRHHg3l1ckthTPojNXyU47jLXHtIXnntPoU+cMRWpfCMW64PYL2/F270s4zwfY7P+I3Ing6aYKxdSndeSIjGCDopFk4QY9Xi1R7jlZLLZ5iESnta3gtMyVuyu2ecryzXGvTMZJ62/iPnp76JlFxKDQa+TcU/po91Ghtw64AS+s4+ho8pM2yS42XjJxXBNuO/HaEOn98cUmC9jTsx64yuwNTCnF0bE8cxQSVoSwi7SH+pTCj5o/bEVKDHwq/t5s2pzCBaIv9ip2SzKKJn3o6v3G3+Lvv3LFSjutNEDZki0cEZOG181t4AKjLSEhBrWfZhw3Qh/x9hCfoBCEPgYzjKTTSM9ghyHZslh7IDwvO7kSt0Sq8yaDd59+1SxE4LJDucJR97t6/vN3Lo31wXKBddghqxNZ0HqmrSNYxrUMThDpZTUhmFIO99inKwf7W45ODMVvcQHHu9UYp/xSpNaMZfmZpwXBnpXxpq7+l4JMsaXAXVHWgSKio/X2C6WoH8BiQhEWNWgKFf0Tvhm8Ew98YgsyrUpynAaVc+kG7r7AGcDErUUzmEVFBXq0nKKTaHZRBgVnZT0+d3nuChOKTs+7BRD3DkKM/C9LilTW1ADbNHfKE+g0+vxJNJakws7Zz5GMX8uZRXwEruvWD8kRHHZefHV/XhmfA2yFR1qgzsko44nyYh50BLRcTasz3Re8rq1nBOPaEtPSelgNUGO6fPshY4RHTvAzuYqr4jsjE6jNi1VowGD6vJN4SKC91ZmopvagOIucKhXKe9BgXuhcjYt5s4gGX8psZS85BpnzSQdgL7/3b/OpTGSphVel3ssdXvAh+nTMhhzK4yFHOhysGN8jK3ompbOeqCWrk37R2VgrnapxaA+Qlr3rhrtkVD/sGOvfNig0kNUMovOoSOAFgUbKOmDSZg8e5jox6w6TTTAKcH2WWJUz8gYiDIDIkPla7lrRAIxVYVGBXZIT6EgNxuUg7gS8Q8hpUUKgJgxdSQnE8XghVz1InHspO+tac0ksb7WWnuk/pzR1WnPT4cEukuOQjbaFKQANJPJn8q+8MLPMt1hLOWXo1un7QlOOnFWvSZIw7n6m0mn98qEVRBoA0Aja2b5USQTfYGrbHyOMAT8d09ZJBi/+Fe6fT57yX+K47mHACWSoitflFlr57N3/vNDqwoodTyfb71Wd0XaxaR7hqU+c23out2Y1PVpJQ+pvZOfioktVokaGpSjeFUXqh7VxQ9Zc9cexBJD5wmGMCZl1vM/+hc2v7CwZKlML5GaYpSld1xWcNIpFR86DeD3FyUp43vqWU8msojz+hR6WaVXhNWBhMDlVSo9+tuDMXw6pdUJqzios5oFwrz1PRF9Sc0yJeoiTbecivIJQvJN2Tj4Fo6GR1xywWXlTGGSFCmpQHoizml9ppV+dfly4ofHJpafTMBJ3hVqTF2i+k6wsNUDmPWEBEjUK53pQ0gwNFMnbPen3QcDQraGAukzwrsDkTIzavo4rdbXb5rvyVT7wVTkE8LOJ8qzot9LJFDWzESUk0hVzARgJrnMw1evWh6vhppo4zAUfCA3U2II5C+PsQ85Ft7vbYzoYm9iwGPuoO48LmBMnhDhemt/EU1u4H4cb2umHb2MKnuvhHEzjV6L+Qg/lkGnrnfpKQ28e9h+f2SbGP7MfBNY/6a/+gigznbynjqs54Qp+FSCX5jzzxpW9kMRIuaDaEP1dDb9iUVUBNHHkrcZvppOZyFer8l6PnzCcXnyPJPLb3v4pvudM2cpWKJewRaaT0q6X4w2H1wptdEVyDfuf1z28t4d9Jo2iWOBcprs3F6NAwAAzyP6+s+M6Ylb8ptv9iKztRtnLc8q80gfdhZqim1eq5kHwAKpmBl/81gcZkptP6DYYlH1Elny7zeuSbY7IkJ7ZpkN6VvUZa00/Mn0vgp2C0yRnL+ZLqRQmuFToIuLJrak61b2cjdB5g6umL7qdSKXaeVdu2j+6hOpeVnrANmcvolLdKOk56N+Hd4+7j3q2e7qjiDBlojKZNaFYRny8qAHborA3GqijeD0avjqqJEaGBrLhszLmX6KvHh/oJVQAdaseg/v4qg+bWt8psKmvnxjSfK/5MMGHg0j36z+bAyAAIo9pC5RdWtrUeW8xLf2jIhLjEixExMLYAmWZb4xEx+SRY7ywZMhGFFokjUlJaaReghguFRKSswKxNFftGjci2KofTu5sRcspjGxX9R913qKYPzRXLtHORdXDPfpEELUDmvN7K5xBZ/OLgKzX7JEwZ+gdOEjbrjKEap4aDaut2v9Sjg6N8Kw2KQBRc8T7Zgomi1MvBTmOw6aaajnfqZkUue7MujykUX1X08OKemiXc4oD2ht+wnN9Y+3MkoMCV4P9S8EnQzySChp+AdmlFQKmUdGWJmze08bbUqQFCzCxeuQUtp+tGj7rq05KJc2KhLSvta3rl+p3hhbp/z+dzQYMdRctNatKghG7PTTClbElJLcw0iBcbjHXS/3xrlyx4sER2mPSco8Qw/cCVA4xiDKxgSrkcQhcz0Sb9CEWNMCtB2WVZMlpNkeB/GvxpTJ6f3+giH5diJMwcS7zfAtDUm0v0ny81TVndH4zMFec7M8AcjbMBi1bDNhxky3IN5mCqWXHg8KmymUBjiPfwH9p5aowe3LTELNDYk9fxKWvyiwPvNwHcsuuVkgZKmn5a8D8URisn9Z+LWcfn0iAa4bx8jl+uTQL2gXyZDEHnx9xvgMZb8r1tNnHjAdUJtY51EITCe6iFvdrfFg5xdKB0/Rsu2nKflNtEmp7pg32UGJRLUCfiT0jbcNinVoN1Bz6CCnbKlNXTrq3yxdxdZx/5cZZsc2QId0tioC2wpMjNvRWrbsvgazHUsHVVT84kDbPkdDnbOJY6cIN9PCzJfe4yM8rtagLozGWHEJeONPWLlfnaeqcq0AmCCYtJKqLXWiYyFX/WpVx0WQAXv2qoexcS5hLRHX1f5SzaURB1exiECH4WugY5G2KwpLK4x7+YJ6AyFddcwFMoSfjGqdFpVzGHi9kvqyCTxGaUnhJ9WuICWEIVrOC5yOLUhfTIxDXvw7RafqQCEdbmbUfkecAOMR/eH2lKy+3QOgiA9XSF+mmBlZx8N1I84f5PT8uVJYYhhmYZcKBzIB749WIUSRQ4PmwnTu0O0JQ5NnX1GSTMcr1f7bXiu65GEEdAOOsPUEZsTsOTZ4YhXjGv4G9l8tS24mLV9u7z+FfATWlAP1si+i5JACm4uO3TjIpLuLS+rLKu+NFxicvRcdQmuIi0ybm/zaC30CCs3IBBgaBXCheLR0HzjblyNbAH5tHDtGkGRw5l9ETAew/3Qdang4Vx28/c1rEyPEr2ix0OgltDOBzRYjUAf2iHVScy00QhTv0bRTe/3Sj68a9hW5kHXvVqFKSbwvbvm79wUSrOZvvuLXbqoM/4uin56T0z/bGifgLtNCBmsWhXZsi00OOO0YeQu5Gr5onB1tfYWIAJyVh3KYJ2aIpg3cCw4Elr53+9cSz74A4Kpmjb5pQUupd6VauWRspT68gTxQqSryR+w96Ay69YB2jrYTumLn/wazD1h7x2UIZHo7gW0AFoJZZfdGi+v7H7PyX326lXeT0Ho8fMvcgdMEIp1UM2G54YJDbgvMY1HZLxxrBNOHh2hcVhbh3GQmSNsySgTgHnWIB9DcW/AW4+w6J1cXlTkD9a4AzLEuxyvUFGjxTdJncd6PoJ5N0SWIyo4xs+mTHzqtWuliyVC0KGnXAtDt61ZaSNpMXOcQHgQcwLYMZwoo8PqphUTBoo3Mh+DmAu7dmmQ4eC0R/uo+E+cM+sek37wArjm7eP7E5etPmHjvEdrd7Kjz7GEy543JWXs4qYvEL89XF3HD5sCyI78SCdJ2f0S6IA7ZvKN1o70ZaUkVl6FMZ+LWZ3BgqlzOEbumyuOUaAfqCmfyZjBjI0oY7Wj1uSpy9m3uFGF62XTUGZ4iDTCrTbYjX3RRr9JRMq3tvX603U7aKFCl9nTj7nM9zccg0Gi61rOysJ2dQuNqNro4TxI8VThsXTNf7PHpmcM7LA/Xmqaf8A4W9U3pOi3qr3Hdh3/ry62mEBpVrU7UDvvKIQbSlBDiMXoIBE27WHz6prHTZQkDN20Oy7x0gkcn05k3bIBYauJhic7qTTylmtJzlOsz2/ibsSDvbw03lQdcsLOMSL+CxxLO7lepNqC6so4BYH9tJvd5p4SexkElliM91/nKkxFZoSjaK/SCU0apZFb6+EWvbV7lndI0LhdrVBhI8TSAxNEEC2sZHhnO/uN+qJfHtbzdgPy83x33Q2xXClAl/u0QMRjTeOkhysDZ9NDsQAZx2VOv1oQ0pwPK6y2lsXvWY6lGbOBFBXdZyk6MhKKpsCxQGhm1R6I66TSaIdYpj7NCQ85cTjlwfiY4HwJ5GuYWQjzvLLSOqsvsJI0bZEG12uNoe5GyGcekesbubr8z2wPjLoNQe7/XeSl8fUm64jVKiee2lst1iQYsBU+Y9sBqAlvcRCR3K13MVXrdvv8F/ysGcHhStlxFrmr6Vd3wjAAalQ6RCDCA1ZY9Oueyahda0JH1+qhduCxZdkHSQvSipoNK0zFPtmglwvRw4e96Sov4Tk+K6v3bKqG8YICU9PUvAZ69MgJloN2iaeHNc/NDK+VV2Pis2Tyq9YVah5ABGjnVAnp5qJzb5ExA4J3D1f/qF8VbsN4CgPVtcb4ddbkSxlgKq9JEdfkADGP1zOlsvpeqdECwGKF1Dp9LmfBwggH0fttygeU+iDqlf/vnLdsX8Bf73Vqsuq8IW5rYnRCgySPDZ+uyCYpYdaABMz4lkvZVTYi4kCNi3Tghdii5FDEaRTDxHJt+KrNjxx68P7qInO0ioBWA6ZgY03LNerfamFERAEiZ4JXDp74UYfJlVIWYkPDi7BTaVP6c45GYh22WaeKS6R08nvpGv0TjVYcXjQHgT11zfKsgjr01oDJEM7cVksSjlE9BeFoO0FMIMo+emRaqiLRjTgJ2BRqPR/Wm+JNjfFttPrJxwsQBnpnyJveGZCeZobXY+ZQWoDmcRNMcpAUhXpHxlAYgHFqfQgc+YH4WmdK6oOIkW2zZJ1Y23adMQlYjbyKKQh5Jlj1nL8EZo/0bIe0BXaVwfyevYIEJjtOx6KZ681UBAMhYJzlf79SfUxTWPS+zVvDvBy5DBHLf/ihL599uKEcy2fuNJ9+Gg1aWKgs/HD1U6SgoO4C6v4RHduq6Q6lck5/WeEH9Gxa+2pV6wfQT03/azeQ1h108Vvadc56P1WCcV+5x/LQpHwFqGonju6OFw8HvnnSM1HQ5BdpjsZWlO2fPaYw1BOUpGOz+cUWnkt3QzdM/PfBieN5ixNaDGZtfJY6AT0C454ejzZtMK/WKQoVzk5MnDSWvYq/kDfyY32A3u8jppzV75IQXvYSed5Ld5sx2BlmlHWObvUNQBKftuVlAV5Lc2KQpy8mkYbH7UPUWh4bym5MfWzTiQ/48zU+6V1pZxK+4DRfSK0WJTKhpo3UyvepGbViiFIeOupHB3+ojm0aLbbC2CBKAvU3i6s7SuUXlrpyAexcTOwl41+Fd/2tpRzs7kj8Dg7GPmvQacz9fGwVJcKG7Om+yVbDYMreUlqgOwWmAzJE5YQv7eIEF6pPMhj3zBkj7tenzvhYWUNix78PIrJfHE3B4UmS+tvhtKqdbF+N3q2LY9z4BE+TVR9HTnnMiclaEetC34+9KyjJKXFGCKWriD1bRfN7nEqWxIA5ajPiZcPXPTxnLBW6GfvAnRo+1PflKCCeRo1nrHsjalgnTG/sQ8fLFogZywSh5hGKDIzxjuMSqnLEvECyoUJWzCJtAK3XdLvgmZL+nsa37brarAfcWJ0qMsJC/GR6uDXw3PXAe4V4eM+3VLpaqbDPgerlra99slpyu6iQBw9mIA2x97SLxN3e9L122ekaF0jw5JZ/HtUPz0aimXc/1CX3+nX1xok8wC3fcmKLfQiONBwC5ltG0guXisVP4msUV2GFjVYq26KqaXOAJWZDbwqK+6q9EtOorWzB42mfvhbtVcnAFsuVJm9cwU9Oy2eveSLRAdRDZThgBaxbETKcRTX+LpXanWwiN1XYn4Q4fTQFGYu262EOVYO51TivzKANAmxd4de3J1YRjoSCeOP3rc8pFlpJ5wovVjR3HFmL5219befvC/QX7jsNvKTeNC4R3rloSjukoQFp1mQ5Sw3SccPsEAAKwwtNQSsuu0tElLeyT41ja1xXZ4EcKRHqSlO+rD6nq+VTk36G8KTscEgPMQIl4L4D8KeWrZHNlImtycr4mVNfx8Z/7djbnUdxJ09DwB7/6Va9qBfj1EIuz963weLWg3a0f1IO4rU+X4EgdY/Osg1Zn79VFxVLrvKbgzBnMV+s8LBixF6tu5cDQhXPS/w1U3UlpKa5XS9iFfdBwsLLLQbOOxGnM8IX/d9IJRt59tylVzbYjK6wrAxvEpX3nT/LPxbXZyZ1+ZKFppdPUUgbM2WUI36y2hq7HiWetdwMW8yBNjog4ThwKj+N0uQ+uiZFY5D3cWh404CdHHyR3F8RR66JIHl8JfBvFyCh8ZDHcGPhcjYZ/jYMteADU6vsxfnVT/SwL2+WwFNCwKJijrTnOP6GutaCeDT3cwrap3n2s6nMB/FjWNV8LzOwEA4vXttP2GjDIeeTKYKgRRX/eKi6hxV/WEwkePsECOZdjmn+KvepwxEaaoAPOq4l8AHJinIeStjUIErLoNxbgaWqZSD0X/DvNqAtg1FbjHHgVYvw1hv+yzklxkOJGvayWwEpWWhqCDyiZUx5Lt7YSMcwhA+rlpwzV+HlpyFoUAptlz5kYYFy6ERgOy93qtevJ61uhajXhohjXymCJJ//LxRWmZZZeW0/4NAyJVJBE2v8OlIIPFV6t6aTyUxDJIjiq35VvDDiPxsgi9XkNBfGXDktYPpa6Yutd8zKe2gna9Msg0OYf3Zt5LY8SU1kGsCg4unR/jXIR4JNXyoiQbfOtmpuAvvOOWkb0jGBC0nvChyddHkRajQoXoPMHEwzafaNso6Fv/Vbz6Jyxcpr7CHNnfHZtN+rKiRi46YLv6KVwNrz7yLdpYCN0naTFX1zJVCf8hbAUpnb/RLIuBvp/CYfF0BnlGbCBkkBQlgLq1V+QLGzX3Nasm0l8hA4v6YHRzoXeracqrqpysenoqd9SSTDcgC8Gdd93Enjhb3TxDtux5NbHyZvTFH2WDFl4J8UknNcOpu+IoaOyLXnOPSTnpBSIOUwVv7kK9qJ9sMqbWXlaNQHMo9ThXtZ+djw4IzeCpEwYmcs7NtF6pCc/wQuf3pJHi7apvcYStIv6oHsT2EX+bX9ZUY/fDIqARobOQC+acDxAcRnzAwPRhVYinTmt36jEE2WXeh5xwrOb1M4wfpCND3fK90Jj9WnoggMDUI5grhZBlH0AGAp1f/m7BFnOU8peujITCXgRAqt0yal5BR1I5jifRWV7Q+GXxxn+NaJGP6MEfoIeIdP/Q33kPCD4ksQGkSZfCHR9PKk1HVvLOC0Lay6Tm5YQLe72XlDvDtgaT+H+rktcZcF6GDz4WUhaBxL8Pbnm1PS04aCYtXG6rolIIJ2KPkHiyEgy1rUTYX8Sl2S1VRyqNMHdIaJQHO6DpQCEwfRCEw2wQQOn9utKVjk4LBnqrVEPpXS2BxG3ijNB2huMDhATWlKF5A++ldDOID55eOIZk0/VjT2D1vM4rhzhk0zJQ/DThLmQOAWM4810pEXjMSJ/+0C5yOyO1xu35VUvo0UzDa048ib4ek/qBEkFHN3VXKlih2kpZMDQ0WK+dg0hpqV5F1lfPrJLk+iNC5fdlYVbPW4RPk0e1aezDmReOr1Llhatp4KN3bpJYuQi+qnakdEX2Xtr7sPld8ZmumWNOUfFPU6hDsnpFmzKiIxoiY+NysFnMDfGbhiPSJ2D0snOTAtjvMcVKXSlGOd68cBXMcxH37Xpo+p2zW7MJPzKIraO/YbqpZOSZHmc4DiKKaW79pJWOiN9YrgezWC1LWVzXNmB9yc2aSQy6B4+IvEAJQXrlIhAS3U2rM99BXa+BDwgARTdVhVP6L8OqhWc0zDumKk8uQyzgJCFfvI/LhAJ1+9Z67PJTerhm2gHZgdjxa3CvE77mpAjMUZcQvMZ0BPL8sMU3VxuSInhwZkO4NaMDYgcDBJWUlcKCyjkqkxCL6Ibj9g8PK+7veGsrgnYkr2Mj+F72nJUXpKA5p8O7RwAHWS8uD1w67IU6VgwZcpR380kM6eJd9DellHxyTD3/kEn5U5RV6cmyQQY/kc+CsWsCS3iO6rGS9WQt3JOVERcSo002Ch6jQwP2rZGPlRP3kjYV0ba6vwhxFXvzLz5Ih+f4KrFSR6U7chjeA0UmswhGLW3POei6nYFNBAFIQBB/evGzAkhgS8kGBNHDrVepf02uJs1TlV6dvPocKyQEUldAMal8MIocmiBs32hOZSxAynVz45VnEFuD7ThnRqk8a3lMmvaKtlFp/ps/WBwyLxjZkYIViS/7cIz6Te9KJDVTCDTWwKbb8JFBCVvxxEFH8L8fQ0ZZUxe+t91e6nmbSHOhxVESETa1wLkXjkYySbQit+LkUal2cbgRf8XPuhr2FZvhCSbIX/5sJ+Tg2jBB5C7ebHeR2HSmE0cPsVUTJWZ8xB918qZPMygVUNdE0ISvh4yHOVFd0ADn948Kot4V6plc60e0q17+8z3T+6Gi9J3MzNLPWFXdP28NRTYqgE6afEHVv2kOIDxzSkrRmuP9n+HZZjxUc/NEWmwDHaEwCTC6QSkVFhy/1nbel//ztCfWIONO99NZI9fGOahWxdyXeqZmkp9RcNiUyb4kpetCArebpetKc2qT6t+yoGwq3pkZYbLqvMQP3EBKbWI6l7RmxwIegtLK+NJ61zHt39FpyCvx5CK2jTz4WqWJWo5eABYqCWxE2nTyPTmpYqRCNF9sXMpRgzIbY+1QWLKYRiCanSylPyRt4k41rSE7UES7RKYeaaRBH2un+fz/J12EIPnyGT0mMLh/BvITKwCw1R6DmJ0k25zA9SqxNulr3VzaOymgO4dcPuEKif0Pqbgx8WdloOsMDmEKVhVbtxOFdC+YANcHWCAiIO5la3mb0Y1Ur9iOTTvKQc0vz6e9d5Y3o5nFREJB+aFfJl/WJYuo5CYsdvTqqmE8XH7/nky8Szi6g04MzfurA2R0zpq2WNCNEFVj+XBlp+9FA14DVPJYDe3KiP+YPRy1glKqcUd0xxot7DtNQjwJeglNetW2TC1cewPu1XccPtBRIQ5Pcu+jlrmGQpRUOLCnMD2220ogM2UWPwIcEnx+untRfOQhcsOf2kGUvGDcUF0JAxkiPgxCh/JPQVN22ghTfjG4pgis+ig0GTlTIQjn3kzySzdg02tX+wsH8jm3ZshuJXCB8DPqE/yQUKJrnLyw5m0C/7biFAaaVMe7U/v3zD3tBILaVxVHaYJUBkwyF7hT/aGe2wR5GAZ6AS3RRRvGmPO365UDIJ7d3tTKWSRkmJycsrUG0BiEL/XBVdCz19E2wmtqPtTANeltthNbh0u1Mr/asRjoj/4ykaEU/rnyMN8o7EAIKhAUr/ZA3QD5apPT82LmsCf3YnrkdC9zaUk69cnnNJepjxSC4DIplKv6aLdjhnRpnaw9bnNpBF5T2KaaloaSqY6vA6NEiXWyIILEEqDF7yBjBXt83n1PpcOxMDqkxn3wV5jaTSUfSqMnS7aDqkqvZLg7YcwudRw/gtLPoSwG+hxvmiYGHKYzBX8BXnmqYQiWPB9+dtNlEgshbNwspUcH7s+mkOaAM/WE3eXuhCnuTCfHVTJ6eaU2l7BORILYG4XzJ2JXvrC8BZWIvYjwC6PCc2MeGea32tzutu4E1TNCl+vWBV6mvggCgpVXlt2aEaccS91sf6viDxUFPvSSOThvIH5SBUV8gayYl+zV7BUgmhAQrU3KUZxgbdKUaSR/7waNNeFj9G7keOkQz2UPpCjpfDm4MRo6SAM3RqX8pwkU79WGYRUFmJitVxfO4Y4DYGnApCH2ZlZpXNVgJGS+GaN8U8HVKMhiBOM1l4oK7uOD/gcKay6y1ybQaPwLwvu1DY+aHByUcD9KH8WxWIuA2ekb/2k3rECQnlSjquxlWiHJ9n3DMsvNkqlhIOcr230U8lsSUMLIqrog6g/q3C/xCjkC/3Hm6p7NUpYy/nEhWYu0ooH0dHAqulLSauQyPAHY9TH7crcHn6SG9f04GQwki5b6xhAw8C7dxA+wuCmMG38+PINFeyfgAVNICNRyfxTdnewpl/LLDcwrqRuYKht3U0UCj5db4F3mhOEITaNlFTN6kZN4F6iB2iI6KcdhQjm0g38bRBkTebEgkizv5zassTKWyZd55S0Vifz4Xzq6IXMGhjQfBh0VP9QEWGr8XTSd3NIwvXIw0xh53mcYWiiHFTcuFeb1zXleGyYFolrYRrGeWTjZj7KZFojgwZrEGwjsLZZ2bcXjuZ1XBp8xRtpbVmXWoclvSmouBOkA7JB4xhUK5upjzef9RjUKCTqZIURHJSaWOo3TIahw53Crws76KLizqxU4qw1LRhBqzq3kHfitoI7hfKtQ7e3Dp+mMqYXc9zJb/6rfnMbS6zLQ5s7HA8XQUl4r6xWrkJPGkk25MtO8Cc5pnYpM3PDh3D+nZKBazZdvxs9ew8Zhs6av9F4Z1F0Q3lTlceT+yb2GAocg4QL+rjYqSCG+c2AvdJGiD0UI34M3g4XV9DSeoKWtuWuV+ZK+efJkdTqgXjcZjGaKwprNQck10RqOLwxTcGbSlCjv/1kHETHIIEQuHNSQAj/BwXJJpufc4WlD1ifhzVO0YmonKognjxuFqAPO9eIEqRQsb5U9rSImQKchPwBv3VX5kTlltoD6cPjN76nJVXFWN30SCx0mpudBEfBjBPeMt/+ayj+BYfC6im42cptyl/WJuX9rTqpVvJSm9J8/7qYt4DTGtLDXgXzjxJN2VRsQ0q23e43FD5iacFh8WIl8rTVXEbjSZ61gENBFQGrwqGmmJh/JkiYuys6ihSu24fYT0HrlcHLuuyfdYtBg72k6h4Gkf2jLR2QKxmUktkyaYOBDAuksMU5jicsb+jSvW6K4bUsOl5b4TLJ+ZA19p8NVDI8FQ/IOYi0qzOTaqXkq2dUmFVZrL/syhKCJubVLUYxd37BMcI4htdIVp/FECewLvVPnN6XQ1m1axebbenF7gmpmefrsi0kDkaURsEuJtKFNQjItgOgerW1LCNsXUqvFxwJiOg1K4P7hMxAzpIza7LrAYsv2W4BdVTym0qo9CH4Sadtrdmnkfc0tuI1VHlI+21BfQKeDuOgtnQrPaRPDG8NQxnycoPV8ARqk6KhOwqaI4BQ6ple6EgO/KT/pemF21TxG4hRkaB8xs11wFpAUAMnA5m/iudbTg03Hui1Nisf7gXOddNOtZJMz83E/iOjQVfID6OfcXz2S4O5FMButzL9V38fA69+VmiSEEBNffti1f2qsomTarLRMCZq/8WnYCU9Go5jB1kbNzknjMnIhCFVbT6lF5Wk00SRkz4B1XP3dD83tElA5QYwh264IWsfzhIjOs6jG835rIF2xzfc7NE/uyO8oLDmIyPtnvGMOtMar2/yKrJPuh23HLY7jNRtq3s8VowhV2LsbCBNstr+43GFxw1tarmxLhlDvY5TnY84/jjdlajkyvgZ7rPKl4wrisnc7TMPHVENUa9SNLCb+1Q4ZlbK+X7pLegM32emKLIxZq8IR+J3AHOPxyFRBtkPCL5hlCkyyFqcDODr+63n1/o1UeaatP4c3pLxyjbe/rAmCZKDfHqEf717oe9ZhJa49R9XcvuFBx93317dMPdSuD+xZwULTPBJ0zrz75ixKgpOPd35zAVShNs16KknVihKer8ijlvbreA+jd9OeBlRju5AbrImz72NKprEGkYpukyeLPgnJ3TgDdgYXK9bULvbUfjKj+2yI7iMYkbM9hI4F0gWx7lNoicH+U5HDX0G4IBlIAkNvguuhg1jsgRpWxtzncX/mqOXzbH3yZh2rM4eRw1nwmosvLJmtHwbD1pXtzchAN3celGLMByKFpIjAaoadEzYdsI/53NqCzjTT/SVjo5+SW7uTQqgjP6gbIEdTgUDl5gESUhEn2Fw9dZvdyHaXm42WxE0HWxp1P5cZTRIp2wRxQbbdFOa9GzcsKKR6W0lwfP2rWL3RN7cYAm96V9Rdi+gMBmDuV09TI5+Hb7f1PdsNX2xG7sRXBzqc08CAw4knXsjFjQmXyPV65YqBPzoZeVvn5qMTTw7S4X1gA8SQRS9uVFYjWg+jz7Wohd6O36W6KavKf5wJsMlB+0A/E9FTfhWL9zqxUxz4A2Zc6w78LFuQ5mhcOTLmyxQVgJUcKGBjo0uICqH0F2ngKnWBZil26K3iu4mr9yxLG8AshkrXl67RqI7wb6s7Fwh02YC5TmC2ECcfKHEu8YCiTyRJ5VP2S1U0BM5YoyxSfQ8KEO8uq/vSARdkQ2KrogYHp2PZuC9urL8nclPT/YEuP/nIHhHlmF/01WXJC/zJVBirPh1hcHQ3Z3+r4hbpe86KUhmRRZEmdZkELWLxZ+lvEMa/ovVSaMSKequYtz7idI1odNzG+kfyFuQPxTWDXAInvahDmEhFcQprx7l3fHFAXy58B8J5A4I93Y+zd5IlDVk5cif81m7Xbj9xMIWIaYaoSGKJdBDavug57Ns1cJ+LRP5QdCPmJwNa7qBPCFPzZQdjzIYaDQG1GTPDiliaarl/UXHoZvoAt9tBd+hIfNUQc9fm2iBiPs40nlPkeDuSyJSfv4TXgdl0khXrIWp5j2KLRPRKVaaZONawXreG/4NjWRrh/13+D4Qjyy01W6ZYFb94jMUxxVtlXQk6fg7ZA4rbwyOCuRfTXzt/zgS27J44yWxyH4f1402+yD6PFlSL12528jgqCG9RexVobPtZTCyrkUp+2cawGDSkzKTzE+skFsmJDRW5SnSfuMHd4RvORLW0bFH2osUuinzFPMms6Puvv5nQz7F8n4k0R/LsnoCeVD3UBmELXOs1LnuymVeElfiSd6A8NGDRoU2OVYJE8dhhOgJp2xOyzCYyKUQ5PJbfcmejTc4tqKFD0d69qkxdRy4Z2DiRS4SsjtNsz923PiUjb83uksxxo9fpkZbOA2f27PtjYVhAMntAN/wviUtrYWGwcNpDvO0mBX2hMBsU7bmwm69f5UXg+1GZ+ltMTP2+hL0D3deJxKwgADlYgeejAuypQeA+uWVDNxAgWzXJSOOpmxq8BDq0tDDx666UNAJQ2baeO252DlacxcgQyEdTxZ67EfftNN0mZPmMOcYPJGt0xY+0CvicY04YI7lHwJwGM3d6M/35mjVcVbtmP+H+Id36SBDgCm3RjEJxY1RghvGqG5oBOfaz4ypZwhayyFO4mfOfxuzB/KvMzjCPLP4vgVoriZ9LcMlFxHzO7s25CApy+ugwkSFfENzko2mVzkOJNW6CexFJgrkU17+qDoHRgVJyp3AwG1Oia5VfLVAKRpZtkFV/9QD2j6g1npUCLIgIVWYJ4W4y2vlUhqHeVD5eoweCWAvo3P5eThuEQnnIpdO7V8xZPvkKhT04R2VPL+bPIu0HymP3ydIeOzSgBJEwka/rF+wSqbhExuhIyKB+SsNZyxB8fVda/Y//Iacp2GauVfRUaeeX4jl+LafSgFYo8pv+XvFgLZCEmk6ni1gyO24YFzvp/SZKX9SLcjMNTjTaX8yo+q+PRRX7LeMxuSUrvk7B/0Drzwao/tIidPXTdl+bDuBeynJGnQ2TH4Tod44j4nvaPARDpjwNTKNcHoIa7+CfR1UNxVoyW+TaFuxxpNyqzp8PtAyFbQpvlIRL9E/70N7f2pIYO88Y3zzedA9CkXpnRlMtg4oXFHxK1n71pRFScu+/LU7LQyo2imfYYXaDmIYJWPltKvyFoUzHx1QFXCbHV6r+jPa39hljJi/CLVf5fBsjlzNmKqkeqiwasbzUmu0h8BhmNSXtzGCvCQ8BoLEt2UxvkHECfjeavB/hwYH6F2ZvfoyF+kvaCXSaa0QmDCHfJ5ikv6uLvejonr6/cVFwHKNATDudiTk2H0oZfNFuT66u/WTZr6D5ed67O9T6Qet197J6E50k1qNrTRE/f1cOuZPM7fdSJL2vZtNX3DDYC04Vfubm/zS/eZ3pchwlf/7lgXlLnxleRs4mGlnzqKlgmmlhuihhU4ovj3JLyvMaUQltrEw7NCspMcn4+WI8FK+3WYe9pWWCtVrfwCFOTURAQgjMZFLuN8QxWhEua4I7UZCbvOweQ/U6s1H2Tiec5UhkniUciAoD+hklaoCEE9cXEJLEmKgeOOfljYTKdfo9YBvnlrZJ544Y4nX8RVtTKct+IDiegcJab7ofIXTAKeG6ZluTTIl9DgaPWoOKngfAoX+6/J3rriCJsmxzcmPjGMaJfh0RNH0nCiQ+1CZCe6tmNuNp5CHxvA3JuJLUoNVu+1fFpisxz5abYYA7F7gtTqRpsBASjUax3f8+Tiu5IBHGds11+zLzeiFOWx4l919xX59AD5o7cgr4zys3UJYSPjur2VjIOcZ3hxYEex67gbu0e52SGwFyvy+T38GdoXtbfvIAXFejSjt5PmlkCpHWKUzLm7ce0sSDDcTaMJBbcepSoZa5U/tWCd+n7qGKV2hX4o4Fq1SuLRe/kX5stfrnCuCj8uUj6qpxexmNvCags/o4LczEBUSMuSdxh/M9PSH1Ytq5IZvoFqTN/MJP6sYsKeVAVsEhRREUBZwg7IpvcVyb5wN6NAdXS+tf6YyAgsl6Np/h8v8uDajyWuJ8IYFe+63N6H+9dUtQvkR0UbytnGbNQ1FGCaozFa2eu95ecnwpKLzaXhuIY4YZouB0MciUgBkS7TdmRJ1FthN09BBOVgY/HaRJeenDIpEVEtciKDd8WhWfGAD9jkj423c6tIzgufNgdMuCdbF7mv1hU3EOLqgNFSJNV++rBgweynguN+LZEb2Kr7Jw5K8PTfGnNNLMIpfCDcoMOtW4tv6qGEXOZTbwHHSd9401abbSAhnxsIOqOc+dpODqiXg0o0kEOh8c4qgDgG0xH8CMeXQs/KrbWbbKeJZBtME4JJKiNlRoafEIuS4VIQpDyTKYbHtrd1gzGNFKnbKmUuztmmQ+jY7KuRTg+dud6bLDM6YvJA2Lvu6InfqF0diIVmTdIkruxN5H6+jnEZ4QQO9aPWeFgC92SIZZOFNPnPoYJJ/mzt5kk0mwJG9DvglYkb5e3m+8FIG+M2Fl80yeR8jH9yR6mWWNc6eEVMVsR0t4D6nfwNCGO4SO1vW+EO+4N6o05UP4XrhtG59Ttt2oE7vLg0TWquxyPPDqe7jLG863hCGOmK3PmsbjNlLFMuvSEeHqbTAXy9yiPpGsbjkN/I/VjwfhgKdLbMEiETB8hZzEimLKShJPucbuPQYpEjjc5gJkWAGt6mj+kjPjiA3VhWoeBoWwstrnAArw/FNiZaEUcgmvAXz2if3FY2BHrwNvDFyQ4LqZoD2yH554rf/FSXHhRGNjw/amqAU1AmCSFUWxjN4TyaIFlhKd0hqLnnyCy3BEJ6/FRH6PqakWz7DJrmWQEZ84yvaD5ytrK0qgFEzq1Rcln5u+5unaxffUsNH2RgTVA3H3abKkcAotL9DPIWRIlL6AcH2QZaThs6z8u5XycKABNUPKlvaMzqaWzIkbA3sZDv1kk+vIDhLHnOrH1px1jsJi+kYgCZ9em6bGXGDO9m65bh7SL/R+PVq9TjlonZiK9V9/czw8woEQljvz3wAJOoYMpClqE5szgBwwTR4/e0JITZB+M4PAg0nXtKYqCzkbr+ZAmanONlss2tgaG8UXP7tDgrYO0L0NTynU6SiYoTPMFeXoMBtZy4jG8aVN1iATe++BVT9jDDD4eDbnmhCJYdUrpZ90BRVbPxNatWoop2V8pA7Yv0y+6R4PcRJlnKLZp4dY/Z3yk16l8k+x4mNPPnW02DzBE6lzX7vpTBz51eq0Qsu6J32c0b2Zndn+8+soZi8B9Q7p/iFZ98Q9XrjBUQL98DSctjz0t7FAIjorO/hrfehumIvRjAWKr3BYLsaAQo66YFmofdSdVtkROVQOHloH7bpK/PAs8WGsX8YiiF6aGAM7UgGWbemlXjsTCe7yhd4iXNK/WT+Ja7nRBDy4VCZQfUETFv1d6vUDDCN0dxm6c7Xb0tHEXgjk7qNWAoSa6wprCZ9rNwRVyBVM45JD42WlV3fdamL1chw+38u6Zfq97/r6YFyi1V/cUHabqZdaqs63b8dn0cEXuaqnJhvFamKXySvZwve5e2lO8BfPgsbK6SAigVAE5KVyaBTtpSJ2JpB8NStO3FkTUxcnVnGMnnnlxrsBFySp1teSwjQbbHjjv+Nxu0GXCoZ2xL6cZzXimdI7YyEFSeYwI8YjBo2RpFlabDxaQoIiie/Urq4oOyZwLuaJoqCdmUMcYePWujme07vujGPjfGGfFDs9+rdvQREEtA7PDr9aClU1GVpHkRHJcxBFmsb+So5hMdUjLY1REb3sYIERArdwTd8k4gsM2P2fEMEahryufWNq5fhJXWF99uyjeom5/FR3q/lKVAyFAql/TOvZ+Mu0pXarey22GT/GZimGqL7/sL10JELUwkGGwFznmfLXrD9g/W0Cz5q/8hqQxclz1N2zNvWyQKSli+FvdGmtf7W2JBVdE4ooZlCM82UcUOaNOC2oIBrWe+Lzlmr5HP42ha+JJrQPMILrcSVIB1CCq/3zboxAckfMtqfedgy7v78kOxEpxLJYCdJ2Ye/Xn1ExpGwBQumvRMWHIbfB8UN8R7bJtwbvxRKY8cfUbzMxXcLa+mFbRsPZQgXXEDqzvAhD3YYq8c8q96eMdSdsXiLitA6EfHzGQ7ps24UwwOtywrPSk8iqCg2/18ow/HpijtzTFfBuYmqF0ez02r+HqiBRvTvVBgfV0eHFydWIClO7U+mOpELNZuRxnOS90qD6CroE5100W4BiEYj5f76hTK80mSlz/WTBGkOYzR9UzpjBJEI9ZpgfWRDLI0KXm8UTIoZnxYhIBkq8QBnEeJ097MtRRkT53kLcSBt9t17Pn+5wgUH2OELHN8rjuMiNV4518UoHSIEqgnXrTuKqPn6cntOY9nU7bS1FvR1hYHW2wResIEmBuspuLBwSPiyGTRlU2Nvib+o5q72G3OUnRk0fTfSZSVtCZk1vZ5ftntKld/JtCgAfSlkul+jOeIXZY7VlsbFS4w7ras+mOxvtYz51n7vp09ktwYdzByfZVUDCNc2Yk+HI0upMBdmVAl8Zxvco21DhWNkzXOVzXI84ufOYMuV42qqBjRbGeOMo7hl5jk/iZl4R+WC8Ej6rDzAO2NixSMqdUCbNh7YgNMjG5mY592hBSFDW7ugfRr47belSkEqHwl09FG9pZD6W3PrTK18KzvuU8i5czQOE09X27nS9sJOVl8o/ByiywYHSsNN82qa2Z0xeJlgAg/WSBTvGxpY17C1BZNxn/7jvuCSOisKHEiQD7BaOBeTPzbhL55Sh79ld/T1Ild/Elp/sQRXwHxDOt5m9i1xBP7nP8s+FuD2lnVicprPa49LhBKg8Hv0zosL6oC3Xoc9Kdb0Wd4zayTeJRMHw9j3I55Ik5Pz0K4Tp1gLpUOMi8YHWRNmK89TCSOHqjFVIn1QieH7g8RdeDyUd6SyjKIdwCduhFqxWPyt+DdUENnitzDhsjFqlUT4NvDa/qv/OcWcKmeaJc6HroW8wwDrDC6ag7YypwFZDGmhM7rqq/Fdod6kXmBdbmw7djzbR4vRTttbWECKxCUcAiDNYkFhFIhitOE09Ki2vDa3dKH3vBw4RJ3crSRjs9QmpJIMU/KMfni0VxuSE1LjTTKqmmXt1OmLGx+3paPWoPuUNqMeUel4J44kxVT4iXuB5QwpiLiA5vV99rBbCfRLqq3yE7Hena4oLP20PuvLbONQGMp29LEkTgrqshpEJkYYQK1lTUficHDZbawShLZIcbRQjqhr9AQQ5oEDnfE/dDfKgTh20kjpayjfpL7DD5BdQeTVQkVp0eJxoXqmJ6hJoxc9VXS90iPLdIyr/hdN3Mhzh3uBWwXpOaFpDH5Fo/qH50kcNjo6mYLg2kfSVyiirkXo4JTzShalTx/eCKyUiD+1oFLmL2URFG/V9L+z/WshIPGdWdhCZVwwPmRmF64wTuy38IT3OpjqwzeinhkpAG/gsymAo2yT86bkPSoCVLdCgIM8s6phDnM7NgZoQVifU0XWvjT7LWsGf5s9KbG7Pyn6EwD0KlkgaqLoZNusf5pD9mchRT8N7wTeijB5o6kZE5LIAzfEE6/ikQ914hXwWC73dHzISmDt1dFO6taydaGrG/8RkiIz/X0whxwnb3cNSKf4cHX4DjAiVV5yr6OmqBn5FL69uMxUpuR8veRUVMJ+/zUvcoooOoanjWpEaB6RQrmsxW1Iny/n36Sw6SDJodEkQNEC36I9AfObfmxHcpeH12bEaUaPJ5KyQXwUGRcizm8z+mRqqU9fp1b17wSOZ6IP7D3h6jWNXfHiSzP6ZaoxurobQNzH5CBlKA3odJOlZ74VCJYInxVaUEQ5PbX/4Qjk55XuZyqtKLDqXCYgC2LOW1uJ7pYK7CPGQfQFYEhfNhCUANqfi9zUN7v/SWyJa7yrjlyQQdBnDjHHVaPYe3VIKvAER8QMXM/QTWECh+1+2IZDNwo77B+ZtG5Tpd45k1VFkuAjH6FgJanr0V0IiY1BDXcvB3B/UloDNXuZ4gTvAmEyTiJS3gC9yi68jjYgjs/TgstyhfFhPHCusmVcNyldlVZHXW1bXg4PVdRD8DAuQvrDULIvdFNfsD8SWca9CazHNqLW9s5kPv+WO+/8NxDnvjsyH+nxCYnpAclYLHR/X9pEaVzbtqunzDMifJJZTrjRjnsDg71sXJNmc4zr6t80V4M/hH1bUjxf3yIUw3ZoWnmBN0vNuKbptEd1Ww4MjwsO72bpAfemGL9lqAmr8Egw0dmxE4KkAUI28EElXJPp1wMuOVSvaJtrKLqsMCW8rJP6VNtVlaZtDRHO+aYx0ofbD+TcUl7xkZR56j1q9n/P659xIzz/qAHAWtdliqFG65xqJAbLol+TD9QE7YWcPVxDl7fBIhXc6q/d6gWgqk6F8IthkFSPlkgLuFjpchHmDWK/QqfncPuVNLHTep2+ZS2H5dkVM5U1F/esU4XPT27JasboCLmxdgGdP/yjLJMlyfVkKfcxwYPC9U+t49mbxMrPKJjSvQq27YhxrPmm5UlAiT3G/Dd/PheMRA3QH0AeK1jXXykvBlVGN/ZC3pHiQsqELb1qxpCCdIynL6qju5T5v2IaTDhRvei6SRZTWEdhNSL+swtCNEYi3yhzmd0tqHK2J/JVFTMEG92tGIiQ9p2swGFsv3i1F55FwhzzGbb6xkCsKhprRwPW9kSwM1rjWqYEMexcio7NOgLQ77M9huw2X9PQHjnYerDIqV5TmSzghAYP6bDuDrJXep7HIq6rlF1OuMt9zsxXQ0xKMceCZx5ADXTb4bmf6bw1n/L5456liic3dOsE/EHkmhJQqsIHx5vQ0H/KATWJuajju3IH9r70LjIy6T5dVdxEylq135jH8toA8z5fsLRxc70jFkThDffTXC7r4gu1ZATtPBN+YAe/N9FlEXxHiay+WOuBz5zkCZgpM0KSptlwOpxBeogeoRpMWpCQFdEPrfWeoTIwNlXGW7lAWRxjrG34gnyLusiM23LdIR3fojB0onlbT3dNiJ3IMT7LXKets5gzD6cBLrBZ3nL+01XtY9M6KWgHi6F+PPvODqGc+u3+ho9bnbA23USv5ALKZn/UHJxTRQRnklBKxwDd3mdtdAHTFr5AMcnmIiT24mmgUJP5f433G/DNESdiq/0Czw+Zx02vW4wjYSJ7/z17mZDZzCyaJMywkPlNSQJllVlfPWrNve40D9zgG6rxj5rRjRoDLesEY7+YQCmD+TcM4fdDgZkBjQ5Qz5NEttT2Z/jo0fnDaHWtxIe0POLSR6ERC7e9Sg2vwhkJ2bRofCEBmeLeSaq7H5Xl8O8GbkOOD0rUCz6jDN0h0DfDUmNv9ll6mkjpM2g5jzNwyYZUpO2S0CxSLdZI3R1VN84xzLBCNVOA7AY3JY6WNly28t9FqGO6P1lCnP/KVz0JZScGslnHp6rwjllmiD3L7DYgs9ywbWRCMeVU5CyA0IkjJf2nKSAmZIx62DQ68+ttjM0j+aam42GT21ezctsCEtrxvGqwtB4VWs6HMyazIVzThiAVv5NARZCosFOx42MzzlX49r62Gq1ITU+w010Z5ouzn4BH1zak9uM8UO8ZSTJbctrjyPGjzb25gUwwB6WKnb1yqJXpIv4B8d26fwJo4LYIRqw8mnA5w4nW6OAmXm5L/D+2BE15S00r74kP4AAyph6ZkTTaA0edxQGKespRJaJw6O2wVTpYK5hhz4xeoS1yzhIEDIvDgH3zBIbJ7Z5vX/eTRhXIae3TtsINNwPXI4ZbbPQEQ9vsHfJ8rY0Pz90hsTtec1T5PrcCtEV/vKQ3im24rm5PMrCCIRpg+8fgk3SQGBPFV8dWiTtYuae837WL6JM4UKyfq+Pv6ggNHh7hW3CKjrMewXwugYej09c9DC/6UpwZNGa8P31fIY6thfF8PRsIpLzrDTQUSw04Pdkp8qkJ3iZkm0/gZXhyzKy7APhwOcHfOgprw39CqmL+2COBSbUBkW6nYCve4oiY3FS6L6KxvDRNmbYLr2FOeyfMBGPYLdHPEg7wezR+0yW9cvKPVOLcmHMBCkXoR2n5hM88kLeK1k8L1SXRM1+/SV8rfQepjljDHMoy5H9bjOvK6oCO8T1aEoj9vONfABWbPHD3nA46lNSGx/SKhEAdtyEaphKDJiiBKioWpPWk3LF6IhLSSv0ZdGjbsQnrpJvzJpeGwiaASOy82FBx0/q92/CL/knOl99MqG/Gv1G1n6aCxRBPXsPMGWUM1YeAYRFCp25U1XURyNNMYsJdxTszM2JAGzC9k0FQUQEWW6aa5hbmXz3se/usfpVsdTpOVH2UCC5nvTGOA5t/7N5W9Y3Nm3gPf9j4OAgxSKOUUCKabuOH2IcYKsiwKeQDjRa94hDal0wLMGERx/I44CnEEtMierSP/zWrxPBPLfHmyc/zPHlQXJK9SNTbe+frVzSF+JvlcQxfQ1fhDLbfYyamyRM6DYpF39hN6tWYtuaSeL/UrhJ3yiIWkIEC8Ywn4n/o6+hRdPMBDlGcVjvIeWhQ/hEdJZ+tzh0x0/qgiuGaNaOYsiesq7wcoI5J3F3M/gaa8UCcU5s1kEUnK4HWY3t12H3xtu6WDKN7rMwEkE7gRlu5p6pWodAC3nENEqzEMknGdozU9Ad+0XwtFFLNrOzaksKndOQgActQCc2A8RCqupA14EDc4OO5taccc6X7cCTlXaqF9YfuvHbZVX/FP2hcW2eRoayNZGslglgfN6rmI1hzH4IQWOrOC03brV4O1rFK75Pt1CP5GsPqf1egVJKW1IxpIR4u6ysYeRZSJivXSV89F1GFsnMpoSFemeYU00g+c3KDL3oamlDbLNSlyUkDO0eCWfoWH8Qsv2rMeMHlsMARpGSHOmnW2g1deT3cn45X05lTTj8xlUSl18hNT1n6vaRyAEDAJu3Z6jHdWev97spv0EI4Vwq8jkFe8CgZsZ5Kfkz010OWkStXAakBjJr116cWjCHmDFhZbBhUXvp7Q+igDxK+WkdJhhOs7U2T4gnGELzOWND6e8J0xizn2ppGsqK4Nc1bkmpSyVgrPrrI3FyrcWfAdvQACv4umZxj2VG60SwbHGyhtOxbCdW2okMbPjMyvDxbtdsNS14sYkhT5FDkGo2HzCsBAVtHidWkKDynWNY/pTOK5D3T6RYZNWIkLL5hdNBbcWWwrD/e54lmhesF6w9K8wfCu3vFjoGHPX6unk+Bgrhb8gchG035b82Q1G5rX0SIbtn7G8ykOv0JlOORbXDnO+bclL3DYDPRELCdzoNbXIV91eKCggRPYum2HSkuZ9TuDND3ZRv2mlSPQeF3hJuGm4I7fpggc9IUV4pJXc8GlzJ+wqcPZzYNEIVgTP3vKjyTpLSfTrYDkVyE8LiPZNNfmf54IoZOXpcSuyMuBdV5E/PbpTjvl176Qzn4pp7Ek7lDAm7ijUF9ib6KJ0Gdx2wg5OBiRaqmqOqV5dsObElE8UG+XuyP0yyFwCzF2zOzuZe/JDXvr5tD74M9cSuLzNfzGeo/hDfHLfoxuguMiqxK2IcVhzLjkK+Aplu02s6OwMykbvwDVEneaXkcCnCBuuQx9uAc/uxlL2V1T9i/rN33xtrKGLV/CmZM3H4fq/uil3StG6bDJZ+KWmc9TylW1ukyCFvCS2n2tEM/deD9HCb6qr+N7+Y3uEvvKl3c3xkL5OKVN0aWkzkOih0vWpErG0zDSK5lvcrzpINV4l6+NLaAEn2/tvWd7L/TVLphicVjhWG4iljDIdV4JAn4EUHdlQf6RRE9R9iZ4GezW0V4xAbAED4RvYFxhjXPmdtjQVnXoYDjhVnFaiParXs0N75rDP6DaCg/bKWRCq3zL+/ebTkdBX7B86Qc34K8HC9/czPw8A4UPSNWY7+9WxVUYSNNdRGE9gCgdjH3fAb5nzMWjYojclJ8WF1TfisRMbZwxcLlu681fnqMTe9Z88pwDY7co1ngZcr32Z44UvA7fzVOBqKHDIMhLB3DZY6gSsR4Rtwbt9m7QLLJr6/9MmyUjLtQ4n5KJ9YPSkEHIr5ig/e67mzhm+goDXii8jvb/J6z5BKceTFfFq64KULRQIC+JUoyu7PIWyUVOc2bh2Kp26DHyr+m8T3mv5JFpeXVvAwS6Xr8hCOWRp+ze90l+KUrKJOPQUynZljfFi44uJQjOZEedW3QIkUSueibtLlFQqHCwTMvKvzoyKaZzc4qReEMcMsbaEv07ejSdZaf4253b5HD0Vs86iHwlCo1d0BY2EzAazKb2qLUdmB+52puWUh/2lIA5VLAzAAjF4CiiKjhXFB+y0LRFx1vauxwpo1eFVh3SeQXTkJujr/Ek9BdcmCIjwo0G+S3DmSyS/biJdi2gknR8Bkl3el000XtUQZAl3GeLeGb30kpcsnnB57pYArv58BipaUnPWLtUuPoNdqMmzrUs4PgujYNKObyaJ5idWxM6AAxrSloC0E9epf2ewHJtoUz4GElodWyvIoa1kRE5drmIjwcvx9Pwmv3iHPcCIkmbsu1q63ydwynPPI9Rq1KUWy3qG3GTemECADAQS64GZn8i5aveLdnXaUsAPV9tTGW/bqn5hJIPTD8vOCGeX2U/MVdkwZB1jpFp5ZJWciOx0nHgp3za64RmpRpGPq/kR5oArdN/1cg7o8NyejvwefXTfZk/9MwHuZW9YjnaNt9cZMp/YzdIKytKfPGFoIbwVq0ZjqEpVJgjEYNliEA6SIC5rQYp6Y0h1ccf7YQ339SJazm3nsqv9eSiw+9f0JCHLJMSkQ5Iroqkscrno3r/bwUpB8LLrjRmhKXEzXgwqk1AdFdkXCr6Rf3hB8xNYPYLhNVdOxQyiJtRjLzBVW5/fnYJsEVu+MLghcKbaiP/T8XbtnIwxPgb+8cXSQVY2pPN4fhZhyKIWSDRHz01mX8MAS9kTsku3Fv/vHOZrRh+4DSQtEV07+U3is1V7C8wu5myYSjz8VDRc+OCDHYm1nfqh0hSlU6WDVsO7B6Kgyz7fDQLTjYbg60N9yywD1TyO5L86Qur7pdH1fDKrcv+HJJAT6V9oPCocSyl/KVHEAZEaqLSHuzruswPpacI5YqbDKXP01QkSTYearAB+5BTL7cVudeZb5B4EayrSrfqSpNSWCngnnPNyjk8OjHO7vDKsUK9JV3zNzLhvssO07YyJienwk2E8DF4vlQbuZ5uSP92MlFjz03unkCPIMQDpS7rUfDZ6UvNmj5PS/JkFDPqGVdV5ViL5z9EAQO8jFuiAGvYa+uithHvxcH45dCCD5CWBiZ5wHZQoOApWB0sFtSa2xPXQtqkGfavSnq6Pn8+0NFXKNBWSHzD3Jj9vitMqhWheu0Y51tpCFxvSm6boq/VYFssf1KunnIAAKSPwjI/Ty2fILZnPtvHzY7Xz4CIUyXFFeEYsdCZUXGugFiNLrkeadP0X2h3yn+8GVAYN1ePWkM8PwZ9WQrH/LIklnq4YG03BhYdyA7R4YRaeVG80V04whjZ1ijL13kQoZQ6wAFNV0XjZyYxbXjs+DCLjWBij9j/Y5lpeUhHLTKguIOO97fLeBSlyouYccJRrW83xKgcojzPlx3Cp8ibeM9dV7gm2oFuG5Q7+1VdZ4WWYHOxLf81n4D1jqzf2l+tcvAACFY7OiMto8t8jTx8KIhz352BAHKMY6dora2tshRU784m8bU1QFnQ3YIohuM1DsbnuLjYOyK11I9H2m7mXNaJryGKPS+eSde4mV6jBtIFMkNND8LBD7dgG0DGhCFfikPPXYLuisQUu7SKxOVWNZexEiYcjp9C8Jxrjw7AbgG8E3r4i/UhZ+M42vY5zOE/ugvcn8DK+4Y0CI4vJHN5sjij76t62rSoCMg2MnB3t8BoLEaJjsdhz8N+8POCnAyQXXc9v/WVcVUrEQC5NGjPJ9A9TrBV9jRzYSY+sVvLq2OMlRiGIxHeFLcqocn8Cey0U1RWRnP5Rc9D+D0dATUuaFGhLdbF5fqFb1bMjl8LzeOY12mFk6BcMB2d1PDLn8A4+nvP0pebw/tcti80ujyAxgGPoz7/qw7r97lpH9Q6VDgO2uqutS4lR1/W5OIg9/sKKXJ7oaxq6OxgkLwCWeP96uxzH1w2rJKUA6ufShCR+SC9BeMSSYZ5r9Gq6qSiJjVHq7B2YNjw8SkpdRp4nwVeiIeamElNvOsgWYl9edjmGANQNtEz3uWB1bAF8Tdjf09MVzicwjp8QMZ4bbIMoHJh3VVEbilsj/Q03HnMJng/E5tGusSMD8uMO3X20nQjg/O8ni700WkHkOGxUmslJton5FZ/clrqkbp9KSEe7CwPMFOaLJr/sVEQM32KQvCFvbmLw0Pr8PaN6kaIUEvzE4P79mpiFS1qLvyd9LCqizSKCBmjtfFtXkDxROPKEdbt1L6Alv5P36ftJRC7mZvUMzY44tHPSxVDsVlbmVRMeswUDs5AlI4JiU3vfKw22VFOBe4Jmi4rjNIDByqubXbcu5QzYZZhrMJJQ38R8ScQN9tpJprciCtAOoWY1Uf6ThRraEz/Ym3XxnKQjmutBtjmXHn6fTlQuiBn7WW9IplmoNVNv6uA76EwtH+95Bzpqu6oprC7+HbmN5wSybz99NNPm12E+bHj83vtkwcmvDQRd9mci34iQv9UAtXvnSShfo0MhflA5brv2rNaPYRt9eMpowWpQ3g8kRo/d5wRZvZjnudhqemXMtWvajz0sjnRcD2O8ersjFgtWYYpXfc/0B5rYjt3tyx+ESICFudiGRsTNKVEzRDT9OJNQJHmcywAMGShbPdnfiEpw1HBN1epcOELJeJ7FI4WNbvq2BDiqUqWbeBu7nLaoaDUpMmdOwkIdaE506EVwTIpu8wRcDXKNlWGeIVK3iaEmmG+njFd0HmuILpvVmGbgHeL1DOVXmjAt67KVcaUH2dpK2Cae9ghETTq9zMX+tMapHWNgMbZMBZuYp3eS1LwbaeqMK+oZAhE2sWeVzShkKkjOowoZnBSXzymwTMjE02PYOMaTiAEJEUAkq6xyWKJYP+z6Y+DnCxNOSxheCzceP29UV1K7rHuZNXxYUCI07ixxUaNuCxvmHFrdC93hiXiXUbulUPuXlHl0pfZm3I4lpQyKN8NV2vi+oddtOqOJ+EzXOlBgYAw3/fXOu4CR/Cah/I/1e7EqemnhiwsT75rXkAMGiPIob63rW/OmoQePS/BF0ocbAYAzA/xCMwa4JaTn/w/Kom8SmaHR8evAHdByt4cldEEqPFnLWejmrChoJMumUdMhRrwEOCWobblCHLTZ00gx3OLCHTKa2CkMMereVImiBBNLjSPOzqOuzxCHFrEttzwZX/7KUa7/bTslByptY8uc8iBFGhm/3b2Ej84vciKncALVtIB1n/AMra5uuuTkWZB/hQcotDRibs1nXAyud1b0vO/OkkbKJGruqLezNjmZsVmLBB2vlZo9mCy/9ljvs4ghBlReN/IlAYsNjlp9vgy0vCLs56LfTGnS+4dJ32p2vWSAWVC2M9hRJSynYFaqG2YIGB1yNSTLu3AiGpkjrdLJAs01+XDNRVRIsU8eBVOR0OAkGBfRbDka+yTdC2ClTIayHdRzuyQe5Lq64dLfPasCBP9ZZeI7fixe37JVWJuxMwZU0SMCYrc+Y2uM3yMulzlQbNtLZ+7zkm+tARDsLf9ymuVCxXLWlVsVLh4L657KRLZhBrK0SX3RaFpWqkhlijFfIAvSCO79DWToxA1S1AtOIiaKNW2W0qInzjcs6npR8L0l+luUb+I6RuW9dsiWN7EfFACDq1WzIPy1kLMK6AQoDTxpz05S0Wys4GeeziJAQ5FkUEqjukn0RBM5jqxWikWWGJzybQS0RQfGXiKL4IolI+0J8u+v2kO284IozVPP/htSueHF+5Z/VuJrWfT41G4BnYPBEt7uYhWPZZcbRkgn4JHDzUUhkOwNtWIr3+IvQaSlkwgXederhGaXP01vGUCJkQg4sWuOsorZ6WqpBDohHX8u73b7dLWvSAnTfgBYCAzI7z60iHq/okSa3c0DZ7xyxeHejI+alKAeD8S2Pm4OmBBLuMbO+pG3Dq1+Q+vPDLjGoMuxpot25rv4lTVbwcO/iiVzLjsERxg86uJEFyqd7g3A3ypVCwuAnBDIx3EyXnQQ/zdRfezFICa6NJ84KaQpOiGfY3byl87sXUpN4VwKutYORtZnu00VwJPyxsrxPfn6hzp8e11VIeY+djNJZYI0eot2Djc484/SFqccv6c3Zu8/XpVB7J4+l9D9TRLWZjm9EEw1PBVTCF9gN4pqDaDvp5ZSXn99suO/+4gFgFiQ1vSAUXl5ERiQ07gs3ut2IJahAOMD9898BTlU52fXsidoElIjyoIIj6UMo/+SJhclvh0G9APuTIWVbPCOBzYGo+1AGXm0Z+NBEau88hbGB9uR08mF/SibUXqFYm3NNRjBJmp0+tlDV6B2m9OKHkDHSEupCvYq3ZH/VuF5//l/yCksuQumsbtQ9xal0wXO3GZ6VFZDzJCwTjZxmdE/PoFZOM40546FACf7VygfJ5d6ViDA56uoFEuVoPnB1Z6kbmkWfGtlTkFfMf+n1AxREa8YIL3b10Wc1bWdxEfRI804YJmZ5kgjgOstTKpHQBxF6+DkDk4+eav774iZYE+or4JYZ4/wMeV79Ek73Rlq9TFuy96K2X4GqxcL9MmWbJ3qOiCI7yYfSGErB8cq2/ydiJDpd0xxKXGPvgbx6LnyvBx5VDGkpISjRw9LeAL7TVdgT16P2HWfDtYot6tpmB4V7iau39pYCc8JltoOpf9q3n9OpMqFqP4TjkGsnQGxv1duZEzgi+y43Elt1zCd/n/lLFN53Qi0yguLVz5yt338iIFAJnpRzrl7FvgwXQ1tfpkXEvGG58600JCn/sy/7oiDzfeGqIYXP/BPyH0iFDS7y/xguzt/lVsJ2ATg0K/+aDjTsrYzyy//j4tgzYPlhZr3UAAhbfQtbNiuCUmcCSUULSfhOhKCsQ0wGkzse42SqSWHWPRXJJPykKJTdCWBA4XZNTonT0gu4SK4Lhz9EHYR2qjppXz0kkzblason/859fcoQIhDx/ZRWAay7z1mhTv3Qq9+vjqHIrEuXLdYgMFI6qS9oTm4zaHCHt88H2wql4Y9rzg0lfnySl6Cy6XmAMBn6W47jcqK4BdCqvzwZWOX9CP/cxZUNHSVYgmMnJhH136MCI7yhnkz0f82d21etDe2T3BSE5gYIkmcFXf8OzFgMt++22/daTfa6Aeljuzm4KFxryOqp3lRg+N4225FMPI/oc+nhdiIctl4DoDU9SP7mzSh+1Y8KHaycdYV8gNP22HaadLrBEOqCLpiwJ3xrUuGxuf8nLPmx0VxBgdmr9ai5DqspAJ1l5O1OE6YyOTG3cLgoY1TbmkRxcKzoREAURHqOFNYgs3ArSHoFGu+hTEYzCUOGT3rTI1qVIIc4S/E3nTOeU1uoUnbd2LZ/xeqhP/pzvfVZvca3TlmGZkbvdpjmNB21gevOXKqTgZ84sAFDRg5ysU8CHgEgh1XfmbFzXwa3zk9dojrhVcJELKspxFxBjqU9H7yOZV8ZwhERW75uWUndyAIk8osaWOmgprLOvRYk6bt6DrO+v2pDJNiaO+oZ5aKhMUKFzd0nScQla2CyEifmLHuU6L34Rzedi0JOiXHPD8dTNYKGUFgTyqaTclUnhRNKaC659vWYJPOFoscy9g7w95Ur51cNbfKw9jULo2Ik9tCdVzXxbSIqJbKJhWS/q97UwcxctsCHZ613LbVX/umL0ijQpbYm9BN3tQq9uSNzWh8rggu3rHdGnFtuzJIp7f8FZSxfIbERxc7nNhzEh/00g7MEleEFi3414iB3wkZyFQd7sQLr9w5JLkF+K504nnaOJpR9ZLrIii2agVq6Z/aXoe19Lx3gqeNmPnIjP8nNLMUMTLhbkOSVLeeWs+BgRl5yQHRdYexNSspTKQxJJImS8croDDIDJALrmTydADnKxOFkqaws922ZclMPkvJatgv8ezDtNDjtem/hwiRASp+kZZh3+at+5QhRs2DGjY9nsIT1McJtxxjJI/IBN+eocT6ySh3GNp3lkDU2mbuccAWC3CkIux2Ha/1/zDtdN8xTuBXFgOKDxpW8V0cac6pGOvRyFuDd5OxHiOqjFX2wFPht5Lv7GD9JA4Gm15DTR4DMGXxXjbQkmN113orWytEMiU4rp2Fei+esTM+Ng01SdZ8Cx0Edwu2ntFyYIIidqXAfGpvDfFXU+y2NMNyXSdAya6f00Vc1QeNQw8Q4k1mv3knTvIBYexHdB4f6ieKz05FMtGeCfGE5FuMt5syUsf/STmWZXXLzLHOAOcwXlvErlv1adG1wwsYSb2FLGUHTxsNO9sSLES8CpUJFAirYvxC9lXQAP5rK29X/bsS2Ob+xkWnJoq4aZ9QX1mC91HFoPOh6YpwqgWm88AuIJ/wySVz//djov75YuNZiP5NJQWG65YToDW+Cy/ipNihjATVuKabbazuv5dpUvDn3o0bCn4DV/ptgIqc3lXiffRLDGTagvXTjXK+vaqeH10b+0n9Eu+36PwX+U3/BekeQ/iVvz/aC25uhaGoDPeLM9uqJi6cNnYOAmgJsGfZ18IAs276tubmWVJdpR79CIownK33Hzqw+clpUQTGSuUKd2OYqukU1i+qyR0mrFzGE7+ChuLDo5fJYL2FSy0PstX7H6+nm7Bh8LskjXExAKXNm2INRwp7EKru2FPYf4R8BzEmHlbwfkPoVGnnzpMS35tVJcowEvhsXpNjKBlEDaZ4kAhNSv0/8VqzL3pxUbQtr0U9l3M1z4qPwHRMKqhzcVZEYHOo60ylbhQgU8R0Qcvv9gc9csUWgbQekbRhjRy+2A4/7WnFCtHjpkLWmkLtGCsFZs0B1ZtGshYxujjM+eZuL8dsH+ioFdN+iZx8ajwqfU/zphckMpwA9Lko8L81Hbv4W62EGJIzijGkfKnXqdmaSbNEW5JtWiei4yBm+wYd1b3xPf1enmYkdNvSOiRJ7zaJVO5ObpcIwh9pPKkCg02aN4oOVZg3ptajszCGCCfB5Vl7WctBAb4v82c8WFNf3C2+yDhFYITK836e47YnZApUkCT4IRU68toWEgiEZEzMTRDssQtJbJfOzHhUfqiIpFTHbgvr11UPI6ToMDPVEBzw6j2b5FL52/OMNmZh6MpYspeA66VxfUkphu8sEA0Ln927rVcL7hb10EyFUEEsVvk9mp7Yg8DJyujO/QE1lfEeJLkHkh/31Il6VRnzE7U5FZz62LDfJv+CV3AjWpbXQ5EuWrz0khu3uKoA25KbyVmI3zDMRMDmr7hXR1ekyOjf3TSngq5PLrYjXdrBdaxdKcEscIynTeENvBWQ79wr6WLciA8rcZ/AVTBH8YMdMxZqKVr1WKAbm1Hjnr+rmCdHWp/s4HSQUxDjXQ9AC/BA2DN+aJ6RcaVsT3Uc/3hwSjkTS+vayTdUgNe5+J1QF+E0kUM7Y7VYkuln96VIIismXPKzAJxQky3yixkkQ3HB/XnazH+7l7aKTx0LWvrAgTWm7+l/l7cVKmQDGJBUCiC3pCkxyAPPR5gpI3FeaQayi0KXZCc0Etiz0cMzgPQqTmoL4sBXpKidGoL9oDCeqsztfkgdWN7OJeGFbJwfORwWdCbEDo6nPlD1tAlV+1Gpd6HAuq2w1rlNm1vBEWAN1ln+K1/NAzOlPSwn33KCf32+nOOsZy8b+mcWlnvhBekkbg1WPCz7vbBz77nRi8T2YoK8kVlsP7Hlyi5Uxm8u2y6aRuZ2WB7kUBtlulG8GDWV7FMUA6qzhmK7AJCGBoyAAdCpOS8h2hSLK2mCUYko0WeEXE8hLk2e9xnCdKGuel8NpxDHqunjrxqcbeVLgCwzbclZiFXEHRGOIXlXwGoUWa4IwaftRSNKf4MWN7euRYdaPc6BMp0CNzp2N6Fpn8KjWcaqTT4GSdFRS1ensN7E/u1Ka9yH0g9FQZJwi0GETkUWaNOWMbwXqkNQHRYPilk71J/qxmqzUWdxBIR6iJ+hy8w9yoyz2Ez+Ai0agbF48jrlhf/HWix2XQPvRoT3VTcbmZHRszqLdxcrx+D3v/+ktwKp0dFJHAoGRD+XTtq/XO/2RWqfVrs1saylSCefVCb0jSRAIJD/CBtjRSipa+iDYBIzoQ++jAZfAnxeURRzhBQwGsjivphbtSMKwgh2h4QJmuOjCFGwjA5pw1ZXlDPm8HdBq/+uAs9XlqepC5RnTY+Uj4+dW/gvCJk3gPnUFoty/yjDoZv0y54U5K1K78qCJxq4rAvoo4qvrqY+mc29x48VRcAcwNpdtYvvShpK3EVzmDLaD5i/VF6cOkzE6sFNvm27YMen/9+07R2AzWHLyxjL0gftTVd+lyTy7cd11mFvzA7cpCs7Dh0uIH1m0oE4SVm9ksfuhJ0qLnjwUwDjxpEy/8aWllKkYc5+Orsp29kMF44qi8YAIKAOR7rmAfOHjJ+7QPt95wNDhcn2pPagr9UcT0edh1XNFHMMfjtsPQ34LAOr126jduw3x47vqu5wZjrSKWPMuLPFguMV6jnq8kbnBPSdA1ex1H9bgS4jcuH/uHC5Vttmw36FH/sjKt6BUlyob+gfQ4Ml+LE4LUFXglrBHMPk8jwbuWRvSfSG1txaf6qVJUrRlfnLbeJsTYtnOFiQ1HWBrT7yVckNf99J8YaV2+O64UEW4rTpXzC5pq8YIMgn8SHH51m8QBSbUXmLjK99/JxaJexUqP/j/xb5hMdwv+pC+glIdKJJSzql7+0dp9E/G7pAQxfTpaxz+5qO5++joxE6svww40UdEGHVUfRsnpmW4ZHSd9QxmfM2lzb+d0BYFv40be4Rzl52nXAy435BAAFgKK08RNYlht6swHl4wMP8Tfk0cbm3JRhzMF21qeasYc269RMOSHQFz4N+6Z7kVT0qL5jVpSdxsgyO9HG08wtpiTjkIf0aPJs7PSuzB20AVlHNHd1IUzk5pc8Bm9Qw6ABmyrqn4JSzm8M034UPCHACqs10EyPAOZDHqa8x0uAcqVWfXigKtfYs8UrNgaFaYpWpRUfB7qF91xrFGETM2ymOThsHEqPmXIoV5gObLf/1nBEMdtQQ8vAfyO/6xlmpmPHPKZ7PYgP9+hfVWxfP0mMIOF/Qhl6DEp9UQEg0GJ7VnyD2Z8HzSvIf0rw1heqfwY2Z09IJ9MENXduyjBMfnylk9ZticzC4/DHDuhxuGICwCZcmk6DuPqMsHN+8g6pfQCAA725Ej4xxo/UtqR7GIIp7uXJN6NE4FjzYmzL0Ugbzhnm4IQmCl7ClfCUhbSNmSHyO6VQjl49E3J6L3P6lLjQcwpQjjPJs9jMLfIFPJo9QeTeulQb56aEhhXgRjN1otKJm3PfvRI2kl//nyy5Wosznv+fq60Ifnb0RrOas5glJvGs8mMCqsm+DdAU3hBQA1tjq602RWAKxG1suAoeQuE+IiaIH4QzOYoI1PrgX/dplGK6sphH3jvvjWcb04rSm0KkRdIxAgpRLiZkglZB9i6tWUOGe6T4nT8fFlRVR5H/DAK2zwS8SBSHUr6RxyHNEkHQgSBMyXuEIvfzpUdbj9//j1VJZZlPlTHt1/v+7c8d+eY7PlDu2rDrMWjpk4cQSiOUhgBuF47qNR0/A+loboPiFEmBCwli5FO5tl6T/pfDvDaQzNNzSkjg8WPacWqOWIOyw0G5EQmkpGq7bEkWnVZicKOhiujh+tkhil6rXTCAoJWmPLbJQc4OnED8AR7AYhsh1j1XkzVvbW7u1GLSb7j8iAVTev3rjpPX07FKnjjhf3kQzLUrunQpbjqP/M7Kp38/yVtRn/LxOPX2ZH9SIdApD5qUXRhcyqjSXjvJpsH1HIDXZ1+voF23txoGTjgk/ooaEUH9LTLDbQ28PHPOiJQTEcnrZPmttHe1IdlqB9LISoVdd7w5f61ToOKOaqawJ+UYqYN9LQ2TJEjMh5V+Ko8OEME9yhhjpeDXPVn96rVxTDowiPF7QaN3Mhx4p91i5AQaob+tFK79sFRbLm1SqyBT7prynatznTGwoWss1O5JcUfosaJ4ho+qXdDuHhL7HdknsQEd7OkgL5mDpX41/fJwfmpngXSjSPspSSUG2KDmLsJsRtlnx8HeQp/IyFqzB5Ztz2eUSit6EYnGv8BZGrEqDVpQvJgYOtWbwXgR4avIUMGUQC16eHJesFqrnBWOPGn4BN+Wd9ejtCGO9F0lC5qVuTaGQz8GlNgpGz0YkgLqnkMENQropAm+J/61quFigYZMrV7UFk6sIm1VN6qdW7Er6CG/hFwNmcRd9+5EQFsyLyTUHnoj0V4Aapu8SaFQglpcCRpkMlmd9CS1B/HpCY0XpT7ziT1fxorTJUeGEbd1amxvba1QDgo4lwJYhFAZtAZLguQv2pNP3K/juFogvkja5NmmagZiJGgzJpz64WvQk9R6V9OKx1As/wSGRqwArBZf6oO5j77h0BdXTGGAbPAierOEBhcEywsxFuV4SMRvbEIHRU6SCPhGNiMfvB3nPRXhpjO3HfO4AkTCut99AGtDNfsVJ+H7aS4rUzIs9/YwINX0RPBMKzf6zpRjoobKteToGJNa3Tn0wWChP3QNwyc334GfDDksLFl9VAKOHa1aOAib9GsUlpNqf1usuMI2Y7Oa1nmvaS0NKvz4L/uQAUpakH9+4QXEZ483Xi5ayAdElHT4EhkwUUUi0yp9GQBJkTXIgzEdRzySWFEGJ44KuYROu4CbY2+EauREIkw9o9q/NnVqvfJXwuJ5KWc/Rkz4ycyIyuFEtJOjH2xpSDjPt9Q3/a6PkV9fxeP9xg3wDRkH/fhU+yCYM5GqdxCBbP6rR5Z1qSB7zwIBXKK96/Ovv4hr1Oe9m+l9w0anYMy43Z4AUDBzPN5bZ3+Hk/RgVewSmET0f6VScMSdRlrVf09j1JaayG3g0oftsqyINigwC28LO7uH0OUW2l2QLM5shBfQHtxX6rrzRLujucCkZ1Bl2k/1DyH+bx9G6BlW5hLNIIJj4XCFkHdxvCbppTmL+b6xZncD41NofkB1AZAxefBPtKueR2dwjpkH15uj1Xo3lcnuAu5gGyOgr8hFQTTPut8SnyMfQ61bW0pGhHyz14HTrtveZRrImQgRtdxCaesDwjQQRFVJu/xFa7SkQLhhQvMBTmRsvzxj3KQg0e/BIwprkvtD0TwBbx99NGgTEzxILoJLZCps6CcLr+7+bUWrMVlTReRb4FDKCCHaq/inuLeqEpdPQ0NPOlRvWe+1lRNmnBdgpbbebtpjxtZq/tqSsLPQJBu0iiEatNRLOtgmgI5863wZyTo4H3Ov5r8X2nRqsmjlGEtnXJdYwLQHQlC4j0NvUkdA+P0mAarx5gjhAJtd9Z2FHKxNHkVaAFnu7rPAh5ikdjaoyFv66ZeTBR69vdfU/XRsWoIG1vrDJCCNp6r6+En1kfKbuKC6H4KNUloUR9qBIipx7FY1dHXblrBYd/QkpyKzdcxMeO3V4PXx1m/Nn8+atakXrTQk4SYjcxDIfae6BbnVxedPpC87Z2U8dckTOSwpssW0xVAQoGCleBPYeir2ZPYbtayPbyUrtbvtpy43ZakL5XLA0hluPepP8K06ytLttOS/WFJ0Tp8Xb3eGeKK3PdkJeJs66ApWtUWwA9uGM9kFVGKprnwkQe06VuDNszDF/a+2QiuwtuS0mUl3GN1r4bADdB3rX1RPWimITMD63qp0Ae1hpoZCex28bEyJl3HNga0sx3R+kT81H3Z4MpRcxGf778V5dgObfus4vc1WskrJfKKvoNYYL26sjlUkEJLPqeKwb2RgiXcM1Rg6JQWfMK0m6u67namAPsh5PKuuO4rEKkzC/Q/QwTWv7HjrjxGwBO5JpEh5yfIyFqNsxgo54ypkbA7QmXWFAtXUz/vQZYgQYeWeotVqUZ0rDN+NqUIAhtXajFon9W02sGDFtO3k2uS6GZSDDyH8jVGkwT2bmvqc+slicBLkQ1F0rrHRQKziGZnaDD9ir+XBGsgZENRSx1bO0zUtzVeU7jRGWZsUzu0OlqZ5535cSiqZ14wQLtYol2D09sCEmraZun+9HMDlEkGXLgqMNhDDfPqo0qmn199sB81H0kUcgEZ6ieTs4u2rZZjWDxxi19L+lzio1u+W5VqRcT3aUxAzsZDD4vyyo4Wa4CsRTx+P2+aRjYcBJFWJ6T7MngdDgmtZxqUfAUeZnPvK25fjObWEInhcxpLnL9EBAMX/79HdByDbhzPY4XelxkOqIGLa3mWoIu+2FTQ1nwZjDR+JJN7R0+jQXE8OI8MPJ/YqEVXfNRztcqrza2/fR1HSbaTHVqGZU0FYbo72hunOADtX6iyowQkmk3Y3QqkMf+MXj/DChsR32cBLa8ifsga/f0ft7SgsLbdN5iQT5PvaMcU+9q11JlQpfuh1vImMJjjApyfMLocChUinXdNVcS5nRArzoI7xpUyVkrzSSKR4NEwSUJtxpn34SyGU5fjnhvqm0uKHLxrw948lEjoQx38+1ZsWzLfLOiG03uqCWvz5ot2udw0vj1kJ9jBPsMbn02xy9v+xW2p0P4SP6Xuqq/kOhU7gYZOReCwugVD4ksO2XuEIm/y825CX66U4BVRSQF0vbIhzP/5DRkNn7J3fHKfefry9FJaApi9SfG2zuEXw93qcahx7/vZJT644010pjzOCTuhPmD8KiWmH22WYY5OvesiCnN4eoWQ8n/2SX6nGANlm0jVDlYDZ8OPt2eFp56xeFa7l0lvblPT9mNCZ2kWcVRWntodm4t0ysJGcefYF8a21CBusJnDZVfYsT15B7vtY0hVzXxjXNczicFESaBZzPxIHDd8meshv2Mlb9gT7VOlrpbUVaQbQk7QJneH5DtH1H2giLfMWODtEuwgUQ9ApPP0Ob2pIf52E4WmvfmskfaZ4wLnzsmbB4w6mqx9PQWl1n1ZuPzWZwasc0sE8Yuew3S4AlBcsTKY+c7AmCgpUEKD5eFFflnxzaNkGuoXTq57j+Se/kDqGB/qhGn453ebE4XWKlnZm6S6uVwp5UcmEq/HXxndtlayqxA/ct5DwsTIOV5WlYLPvGuptTXZH1Zly0f3pYaitC1/QFmWP8CWrGjmcE7IYOCXjKi2Ak8QMTyOFihy/B1pt1mBqqKSLMnnBnjTLblwSJPTA7tUpB+FWpbCHdFGFFXtnFz+ajYEV1cIe1GONO51Ehtadrhw+5egxX3fVT4BbBx/lZ7Li28/C9Ta7tSPaAhT7Cx3SDbjwbQ/sAhyhJkhmGM0BFcV74WQjoOCyAqr7VAmzGKgLRpLZ7qtOU5k7ETkbxrzZ7V0qbHqvR2z1186Um3TJm7Yv0CgMTeIjZQmcG56WCiiX5EgosYxe6n9dRaR+Y6YD6eVuJZVFFADvQEqJ41XpZSVxjWZPUkoGYNJJjvxgA8IQ6xONr2POeiFqNMfE90JPVL/Z1dO4Up0TXeQ8DjK/c35BLYSFHUZMB9sY4iH5px7+3M2L+8Xd3R9wi02n7+7vi17CCW0bZk2nagQbP8tUc9jhyWa6L9/cLzZIes6dD/hDj62Rf9I636KLsjkaHl98WX502zxfyqF76yweANwlZhEI8K35bh6Ue2aO/jzRTclDwdabvHOQF/hD7LQcRvixAwaLsd08BS6TQVeOO4xYxs3h96Oi0eoMFTc32bK5a/hMu0XCE9G+xKLWA3YKuA2YmmNrPVRGd+aIAP/Wa8e9nuVyt77LulRTSDvRerib7ezgYH0n+cw4QMGF7rR0Inbx+tXBt+uGDNlSr9OnSNTErnV2M0GadFNiR43e0YKPi4IsvDOLc5DdOuAI6Uc5CCqY18gyDjHhjDMnmQpNnPj4Y6RuVKY/w2ShYQBju45EKUuQp05be82RzGTVomcau6WAqDh7BQSM+5+qQR1p/ZvXKGYBJlpHhbKLtVYUyCHTau8iv6G2GYa3r3E2CfjlEd6x7ticEoPZ7eFDB5mDTN3oP46N6u0tlN8JqF5ueQQqOXSvLttOQDEjJn03l+Jnc8rn8unrhNPKs3khC78J3VW8VOIOWcNj8tXa4YVdg8uHdYg4m3gPwrhT7aTW93xe0ArZ58birDX4v/7U9WDBs0eu4Z6QJth3FZJvhoYAf59vTT8kk1IEEsxCE3sBidf7IMxeUNE9dvOkdSZiVUCbofeW0qP+iwvcIrGySD/Eh5JCVLHWIf2CwsLjckEYG7wyBc1VF22DPwcqw9UHPk8hJjAJTfBRhD5874ch0Gn6HHb6A6o5v0YlTEye94Smxo9u84zTzXbAyT9owNMSUvbFAoxWZPbpl+JAo1UTE+hWC+iQdbw8i9YvKKLITKINBQGGwY6eVkZlZOj2znlB9HyG3ECdQ6QwPmZ1hWIRotN0FjFA1YqKE24djV/wHizr8au1jDTyUw3xeTrnTj+Xb+2nVYqgHWjrP2p2KEx1NaldI/d3eQ86dFWN+hveSvMwT80EXsBWw99FKInkxhskfLHecc2DUoEA2ueL4wvqfFSwFcJNUwb/bw4Y/nh1NoFyM08je0aLDtZcNYDSjL1QwrC6sLbyRRgyAxUk9Hczj+2OuP3fH0d5hCJCQTopVsaW+KAjvVdLP6GW3nj7wMDQZHsOJe3SypWcdJPtFYTQEnZbA7O3MdgbF3K8IKzvltkLGwxpxNW1wX2bjdHLWheoNI1GqwVctkIx9x86xqWfkZVcxWjei/kTgaloR2juRmchMwlWT1oArlM2RAZz25Y+fsnJ6LQDVe1qo3B45z7/aYv2ZlBT33CYPGd92bdvNotcq24uwufnvzIJRaFmApvhdNlVZ9haNUXkNzj4Dp1NDxXRuclVdzcMIQUHeB5xaDlFXgWGzToFmdc1/Pw//QBodWtgiyw7I3WyqxKdl51GAj5DBfV8qWUkKzOOthHVLsvsCAmE37YwxmufT1vYCIms/DZtjvzu4x++8MYMFRp/DtoAJgsh4etYo2IYU3bqvwG8VocAeZTXghVvEu2dxqhtUIHviOZhy0apr/uHXyoVEOjbj0oDH6rS57Nt6QCuq9FTQcGMGW6SxX2rf9rRLGzpLpwTQ4hoFIw9Fxj0JGgcGDh3ywFzjmPub2ImUXG4OOV92VeFe5mIZFmvYDvH3xGUpsNHWFJUQAMQPJ+iboQ6XnkN+fobndjbAN2G6Lwsb9abUcfNG+MyiDJSpTyo2uQ8VEGIYncVm1zuOCLZXolWfndzldI7KI7FCXiMs8RljLrzDO5ahwN+4dqD5S3dOi7wO1UHcWtPDke2Q7k/LTM5/4YIALorvwbKZ6SllGp+lGypWc3Bm3NkQRd6bSaYHgiPHcX+CASf2yNWo4JxvKoe8+5E2ed83NEEOEiqKrcYT7ka2L/uJ5ExrK9YywTyeYGncVF6y+HPSw9JXya62U6h5mq6IkflXtVgl9djuH+6AxVUZjMQ5oKZl3c7szD7BxRVanhzx74G2UHv+ZrL139au9SbZ84sZNP9WnWT65h4O/Djcn0+9QpcJNoI+VpUzBZAnfFjuyt7g0YtU5sA+C6mlgNZx0UYlSIpm2YR+VCcgXgD0F6ssqW8h79qGvlmigq3+0vWT7P4xAD64k+SB9d2sQQxtfEldBJMVeD3u2AH46aoAdTuPdn2kfwJbEfsmq5DXYE+7GHDmcQaCbWa0fYryd0er6+y5d77lsLYNfy8LwMBrp+aYH4HTMFZEM+UAlUfco00TwOZP21SwmSjhYWDNxvYgaCKuvMubLOMwEs+F7w4aLcMkruHEukJ2qGGkh6pGXz9ENV3wDJgXkG3/C59ZCQdNTKjao1GMY3qNj2GYJN+xci0wOCuqY5UG+uWXvLuRREciYbZ9LA5hWZj+trgbGVSkSIvgU1l85wytbxIDqbvFbs67ygk4ryPaSnYy/RSt5kJVqHiBM9VarbR/2lYv7OeWvLWJA8ze0NojuQAXZ44GVB9V0zGrAzTylNCtzQ1czR85Y6q1o3BFrRkTY6Rzaxai1pEMAFgunS1YmrMTBUFLRBSemLjdwF2GUYXD5OEgQwPMHHmQ+nbE7BTyDGG6sjfdr6oquWnIbPHbw2L/FqVqHRjXOya661Bqi/B05nHlwugBXp0qmWuIU/hg1BgeT6iffzVCUWppPvGAD1WFgivk1l0yRmB8T0Tb3f/P/C9jloi/K8FnKCf25CMplJOb+JqCx2gz11kjTVPy7t5FQ4/5d3PhYDgogsUrzw2Onr9ngDBX6Y9DA3NTkqR32sur0zU9dGdVH51E8lWJjLhrV9EEnpOdgFhjThd+YAZ11QTTq8lBaYniJ37AamHmi+NrZEfkC4ox1zj5YLt56Dm90fT9niO8dJoRqQ7lodSeaoTz65YbgfN3aT4ytOgvVss46BgIM/Db4OomkNUBQb2gSO20ukiIdwuU3iDhVK/r7RxgmPSVSH5RxoSyQ5EElMHBGWfLzDP/tO1zGUZxnzc2i2wycje2zO/byparfUbJTdRlFgHa8B1AlX9OA9t8cWNk6VcigJKOyR3L2Un0TF2V+XqS7c9/Ukjqh6A7IHR2sj6Mzx2n/lCkLNBvVpbGlHf9b5BX/HJa/vrSODbKUAk0KX+HM0ZBKKOt3Xr3D3M11gQnfJPABRDIPuUhAayMGxCaQIqlflydclvcFGLMqhaA2g2AZOc4stBZZ+5tLaTCZlvNNq1fcz1J5ljY0YMSlkBT17YhoozRqX0s+1Yq2vkQNSf8xQ2C7aE+v2A7WHLkafMdT/MxWC5g9YSI6jaIabwBLnPA42LFLw7y6aal/Irjo19X7xwmb3JZocXkR0DZ/sNhaziv7hLh21XE+dVpPihbiXloPbNEsX+ZD/DykxCCEnVRJO93honwXdbZxGB9m25i8ajYPdpelpFVGG0pLGWuzkxiY1Jf0YoCCZzeqwgz88ZZdl0jXULf0CITDVmNQyHoxFtWN+PXgDZ/gseZfr3wAidUgIBuiYAPhv4jVwbac+vH4R7zXzpCn2/TgXvZrZjQgVnsxMAnYvFRf52X9pNdco9W8prDHJyxRtsk4UqZDhK83FYlz2Az/WatrXrM0KJP3tqm85G0GBW6LFyl83DWfkLIMP8/LrwmP6vdx3i/UT4hG8XEi+Mg0SMDBolO7ZmPdIlpALO/2E3lok/eyHt1Zc8UpXqYLVbGKcK2lY1Jq2SyPHbtnnMDk0R8WP5Dr93P0j8VswXDQXSxfkj75f+dQWZsRxwxZ9kYgHlpGrGYLIhnQiyT7b+XP/ypxBUvgN8AKtxsNTDUpd+DhCiG3nIffWm3iC0bDi54jnVVDCvzciMnf8cyRzKaMU/XOOGvL41L5FGvXyfdveI9QupQQ8pY4WNMHiNK8bpndoLiBiCbc4sdvItyucao95KRIREuSZDhSQlyA9TCywKP8nMlYoc1H5Jux/FAaVedBu58pl75dh7K0HfWs04I87YCKe9xqakYF6Co1vKIy2ODZXKuGOlxwk2WwHlV9HOHtMKut7s4eANroZ/JN8a/a0lOT1vGwQC69Tysq+2VB6LoV16Bo4DiKtNIrdxbtGhqfs2CMEdXiNvWmqFOhSGCrQFqKYAVYGsu31fAsm7R7D41C9HZ2duGC4iEj+F4Uts9r9SDsw7QJxm/HEZz3Gbml/YF7Rru7ZDYszEIOuaGz28wz1tHfR4GWFcXWM9g9u4WVfU/emg9spIcqWk9TrFd6z+755eZLNf6rxeUSV3dVKnj+K29l7RXO9WNlXD6avg/12VKyrJSebvDVEQOu4zf6fRs9a/NdPy/a2JnQVQdqpgyQOYEg9fyqrA5m6Iwtruqe4pVtrnM7NNQnrKQ02yuBvf0kdg7MOCWEnE1QQ21lkrtNaxMxtBEp2u0TlxhhFFh9NTFx58srcTjC0Gsh18XTl0lvqsQSodPxnJ8971x/SmkoLG7GE2cz2DBoPkKnGxeBTh8GBJMPgLtFyfj3rxPS43ml6vjcsyRwy15Z+LrtGpEICdX+/EqfM1VbVqkKL9tCwCUJr+jBfx0N/R1HxYFsdX9uNrw3Yq2IJaNCySGbU3sxbSclQKly7SoEzoOYZeb5uLs/js+Hl9icvj/SgKYc1c94LH35SFyeVxcDCdWU6s50pFeZ9c2QZvc4yRnAfaqCeK8ZEuXlmGXRfhJrwowyjuhbllodn0k9rGum5+WjsXdbgh5i+vwVnSCwUdrJUyIqSEkofO5kuxBPLQNAzGc54Y7o+1o5NRpOCCpAnAbv9ybZHAaqyQjc3rzxjuCpcjUVRLlT7Qvs3Nh2qUOjuEZDQLKO1BRCCcVEuiI4zCJqxBlZfJhI0MGzQDjI1RjF/LS86M8i408ECK2m1G6uMwEJLH/+xzFhYH0HCCgx+lcWkgef8vlug+PekRLEPMWJhXown28WQLs4MZ/JIexSlcE1FvrnuVng7txQaakQe6wV09Uc+WQcXNtCOXZSj7zd3zUMpa8t+DpA1a99Ml5nqSPv6nTzV40w3m3yv5s8bkJ2ueCwzgwEfrOhlpfLTtj50VN/yu7OblmS8lDcEq57yyLhrrOJOwNAyXu//z/j3v/z0EeE3E+XefK8tKypyB+TTOmi0LuUaQDvH7TwNge0bcDX8ZopAAs8ZopxnoXrWKGOH5355IbI13M5GUkpwo4NTWzRm2T03f5Jfy8xXCMku3NUJgT4hBn/ECt5erRCK9IoYEPDrYS+5K1ImJ4y+Hrl9SrOqoURVtE4qIVoB+A6q6XhWoBslJceY/aTTLICjPggfmOANAKNvTGGcaDkjcbQh3/8MIsGqR7Ih1AbtMBmc4nbaSVjOuiV2lZ+7sCbtDG5Z9FOWKaB/72mXHZkVvRXsZPhsw8JaUbqYOpKuyWsbx38DdvvdHL7LSVRDKubeSwAI/VkpRvFPUgEEL0o2YwdvF6w553v0R6fhFp51rtSljVuk/JvctadkJ3V1oI73NzXc/ksFDu3gkbsgPMBPLS9QYPJUETibuu/I9s5DB6SCqT4F6PinvuGnoxVWCTCACyWNtX455xm2d19S7QMbcyJsvGKGZsj3u6eU40FpE48/ceqzo6kLk42FclkaRqfu2brNmS6YCnMDnhjASrA8KbqMJfWIlEiw+qbWUxIGB6uCWcIqeWok8OXbD73XR+iiEpwh0So4Q9A6vEG+TicULvlNUNsl3eskRyoKvzpn2BYJnGhmkUE061VODUlUXOZqK558fpio0h7ngwy8RakrnaZdbPCi9zVhRomv5rGYGZ9U/RhgMQBBZPmb6duVi3/XsGNuD0Ws/cV5QHpWjnB0iE1ls0Cj3nDq0HfJYxlB/F0dOEOD1+8XrvkcRvWdBMSm6SWNGG0QQjoYSlsDPCkdma4Tj7D95TfvlZGc7f4GPM88ecBdZnsnxt8mLQnnRNHmvKoJCvS+/ws3AhJ7mCgn0iBJVW4bwRMeuCXvCfSnzdnskvDlK2rHAFnvFSgztmYW64eGLZkKuBcBBJwl2VmjpEUdG/j8fG2UWn6gN9kyWG6/j3LjoBu3P2ySsvNVstHrUj5apx6+0D9GmTrlntjC9Mg+f7q25reBKVukS2/P3kIG92J5OVja6sqEATSwTDvnhFAvIzm/yJGUmy8zRU4e91WtNxL32O6b1gSXyc2zvkJ/Mqlt3aU6Vh7GL5QREAlqVU77c4wTGU+Tqvw+SBi1uLP9A78CuzUgnEVcN356CMZNMwzHVkjRCbf4YHltcj/9/YVkCoency8T1cQ3UqFvJzE3UKAs/klutXWIpHVmMY5JiHjOQDDJjGKFNcYRJ5643cOOK6JOyVbuijjj+UKPS1wTtAR/klQz82EpSfVHhHXXykY0p6SejA9IKtXnhfYreLbXHKnjTskdYMtxC6sOcakFr3SwaACsGuEw0lXNiIvcoCLq+VxcxVhm/tu3BnOgx/DM1aTotluGx6H+RnYtFLlLwx4rqAP3zzikXlSddBSaMVVucYyFawmVwxGkOFA8ri8Bdy4L6nUyQHfkuYqvnIv37YluO7fuYgVstwTRKHM0mAvgN+kbmf9hvwRKgMJQ2XbJTXCunmthz5lGsd+LWc80NznNa+9baZ6ZoVGZqcHf3gzY2szXBxsA4B/W0bTWXPNrKEMycN3ktFUTIVsHd4cRME1VblxHMyo5gHz1k/76FwWOhsAFjArYTebaMnW851XpwHx11KpuVXJWAe91rJ8huAp1V6CkIwYRyQYpeJzk/rMxAyVCeA6v8J94KqfF9ibY7SBPotiGRIkOoU0oh5FJLMsJNrPNtIIAWFDisriTd15ezUYTSXqmw1HsvevpuvRB7Nt4xTbnB4GRwMzTB0OMdRg2vj6S77Dy49TpSTLHId5zzsNgSXn5Kil4Wyj9T5q0qrizC2l3YqJcwPuVmhKDV3CQ6cSIAF6N9JjY8VwDR3oqA3szBtRNrqS2KoD7QOwmbniKHBTKful2E+Td07iJfrUGE/Vi4wq6stjZnrlgg6U5vOvOha/wAecmRP+2Oiu9y5zWkFigRtLD6ij6jFt4+/dUgLNkfb3jzngwuMORGlPZH8q+i32sUvboOFDJvlbEyP23FzCX0lzDB0l4mK5f3FflEky6iyn26qz1DWwVd3RxHIomVuCguGbsE4LcA5fnKPywWJO2r0TXiBoy8AiAe53rZmwA0Dywh0WHP0NEivZ2Olrh+sIyIHpq1hV0+Vr+t3pYbGeLtiYV/ny3YCAucROchgnPQQ5LdRiyAEF8z3zDabNAe2BQ9s7cT31DKSLI//k6Wsqob11LU3S/qxjR6lGsUZCcbIY8ybPdlP5SrYYoLL0BxXqWi9v3ZzUhNN8T/fEJlPEfhncBCRfaG9RxfEMXISX748o70y5OraWpUwMDYPyVgxT1U1j/ZEawEhMXuN8y/NI3UW32XLmysIrJLV/gCtlq8qQBfC3WTJJO5Q0kAk1DK8mI2zQcpGYrxxojeURCTD/UQC9LmkwPBtcxzB17AZgNlk0ps83xdTWqhgKfvYwyYYdnPu/UhVpVObQwar2rIt5zdvNlpLrHxKYImYBLQ/0oJ6l0smrLu/mID0pjKdA3EcXz5Pluq3Mu8zLb1FgBhaWrhJW+aJ+Won1FBh2sBaEez/bFcQVQdtXJMs4piqghaIl4H/tsuo+o1QFDXoC1nP0X/bsDwQVJ15tHnQRRo6Dk3aPmAoviQaz0unjqgbJ8KlNhCrsSVsPRd7paEwY65O2v+NYN5v9sG0gPkEq24Bt5BO6F7jaj9Szqa3l0yYhJFjOlLrv07YVPcYM4TF8zTTXdj6WpjmcI4TWPqtMeS8QlL3QB2Dsep3D/ex9Olitg3BrYhIW6KNRiHml9AodlOkLWjz5gS7b3sZGOFsFzCEj7H0CPTQvEJxtv7Y4JwYaH4FwLQvuViFUgHmr0Ro+X4ssKmp9RGga5ppvLd1pFvdbIS65CZS8+h7c8T2jn9A6ag2Ty5JgKqa1GiQRvdgA3coMSNNPTJLghSxb3whTiuw9V/zLqLl9okQaDzX3feU3wo9xdmDtF6jRl5DnHTaV36WbJaXiI4LN2e/wkRB7aRD9YnfjBd9xEuHg4N5DPnRyVPaKE77RbXYQooOlq5RVELyKf591Su0olQXWzeJTTpgezLNEn37xxSXjMTMjkFnkFcxCTLGMI7Qf1CqTkSoGmtHKCutZnUuD4CLOkZGRD4ySPPF3IBBjQRBYU4gOhZ96AX9zqC0tQVd1qKImtA6qernl6bY/KKgbfI60aB8Jb2m86+xXBK1uUbnpTOrsuU1+c/BzcFU5/YAeb+Kaq6flJyW8FrqF+OFo04GSWJcmZuHZKY+Fxv4Xa04+Auwr/5mDBTjIfmJX3B5SJo98dE8YrnJGKH37mDqiCVUJISefk/rJrpFwXpAGxJbwzjpGCs5jH7ycmsVZpMJTjsHbw3T/mX5p5DFKVj3es/D4wtXkFfFd3BDF7e2oQi7zGGa3teNoAWWaclTd8DsxDeSJgCXNdXQdK4w7rBdMGHs3tLu/OxgRT3ENK16i44qrjHTwgqaruTPBBetmiqwTcQ9+ilTxdEIhulTaa1+mUi1yX3Mb4dhsGkHJu0GD1T/axcx/qLWItCvcwPAxrIPSU6lXdqbwhSNvjuYq1BrmKPWFB67VV/GZCPYXjukR5/rpklFvD4ZsYdkPLttq3BFANHnqk08RwHC5nK8xtCCtdhuBmOe2EH1/X3lewppmNG4Izu4VbVrPBMDOxGue2v1LxPpXIMBM8vO/vHr45hhy7pgVzQHTNXz353VyG7e0A+ToImFDPcssJac/zmwavQR5v74Ha/3r9FpMsPxmb6AbErKHCdEMDq4Vp72VwSzG4LSJfQQEwczRnJHSdPwhTxhtFChaEhmNVPei2V+SNkt8Rfghz5UOGpZQmWSEVzXGgVxiI4zGm7IsHM8ueJekqSxXcZXVtSU+M/cEFmP+/3nAU1v0w1LQRxHWbVWhE9vZzDd/8+YVve2Gp1nGngnE7MoaZYp6zPMxeY2C5wEKkHdQCk9llvuuPzvssQp1fQvTglDgU9EjGgcfNqUOeSYxUXy3ABbzooEe3YEBs740QZm4SfMmcocIMu9EZ17oC+F1JcouPL8rd0jUZAE3bmJJ8Rtw93GWYQZz7IzjAFP/VezjOvIiqn/wJAPb4/z2uKfdMgy8fM7+jPqMqGjYi+LBkOzyb3PVJ51Iu3IvR/WuJcmuyMGQtfZ+E4w/+YVk4rOZOL7YuXUoZSwblDlPkqwYW6xxzfxpyG0U3mJNyN2iWZwQHAXx97M7SWkIrcwjkJ1vI8Z6XcLPzx9lPVG3TxVlFkCox27WbBCtwtwVR8i3UgPkc9xzCeiu9qj/DNNeXH7UejYyAdzF/y+cQJtxj0Zwsc9iT4UGnDMmxqi/9LVb0/P8UkU5fd3vO5QdCpx/30LbwcGsi1vP+wT1VvEPaOBC0sVZDxOc6Z9XtEkUFsNxrJu9Rq3iqAJbw7GSyLsxWdBmIRTKyfFtg+0djqPMEIObPHufw6YB0OXzA8vQG+xFR9XhiGAp+n1apDtXTWcHn/3hkT2iES4gFsKaWBBMEoWN1wfSsBMzgquwaiXkDh+F5o6fbrXpnl+unqTWQJBV365X6jWPKWH+JWnc8UAuEkx+pE4h7/+LJLhofrGQQtFkUHA8HUCkk6xbJ6qUyr8Q3af5MJSsLx/pzx6YBDZcjJNWe+Ct6oCTeBD+NkJpZxm42QnRkhWqAjlaLd4uF7YwuWdwRbfDUvtUww2TBz0WZ/QNgxnzzaSnJZ/G9yP6+XyUMiQFyQlvbAqMV7doyvkaLOcnQKE/nzb5mU0S5x2qu3cw/yD7c228haaTWE249eHqSxm548luwlRKAu9v4gUuV4cBl+K2GRQFj/I1xbZRXO1OUUQqWj/tsvZ7f2g0yvdZhQalPsn4DXMRSknQ9pTRjkXp3P7/dbKUOEeB1G4qSzFQXXntOJ+QynfCFSgFTW28oG3Vpx+5+kRI2vQHQcGxyJMRTsjEIyLoJNTxIsnlMnLz03e73+393NaLlim5K8wPf5ABAxP04zVJFymfpFB09DxYtJ9F9jbxbhxZP+9l3jczneODeBYf++sGnA3aUscyDV1qQcnVXt/oQZ9GgVU0Mq7XGjnNymkRsw7BTb2pD8sbpx6LIEY9B3Hm/TmO7TUwHH5YlXt0tdFbv+rN2ZhG359DvrK6Fm0j1wjpsL7Q+Z89TAVR5jBfxQGRYQmOYcrSxkBCMuTqoFB+WckpTZ4y515nIWWsEftNKetp9L48vfT5w1ub7rgMRgPmXpJ04qeFmx3swHsQNeQfVs2J7xevJR7u9kcTnLo5GLofaEaPKM4LYKrOxRBKLLZdruIcSF56E1PSWQqquulU6r5xjGukJLBhmtvuai3EgoGTCPfXwrzEV3oiYKqc9NGffAkasjLFhJwYE6NVP6YIt/2GZeSyygYnkbKpAFGoN67y4EYooelEwi19H4X30SQDFefkPwTi662gwcn5TE5cOD3QNnV1Mp0k+by6oqwuBqtDoIv/Nzj8uRTkwmxA/XaAoAIoh3nhoOhy56iLA2LBH6vsJ6xBkdGRIK8tUNoS18TwXMJYcsMiBNakolqPOLeXWbSIUQRhszb/t1wERUIhmxotlt5hkcwo3+5bAwCuWu0qTZXFHXdOc68gy1y5CU8i9uoPqRvb8u4iBWM9Eq/NBBAAx797KmJtDvXuIGL+/DeJKKVSr81K3Bn2o8jMLh1LgDImlQcAJJ+73yK/afVt7Ns5SWxpEyuyiU0F8OCQr2oODbl+jefrJGFGAGsvX9fI6et/EqmIvP4a6/eCbGUJOqLQ/2uU4o3yRz8IatQiEvqAkhuIkBxXy+sNlEg46sbYQ8gnxOxzOG4IVVAnyxu5PoyA1+gOLFjdZd6ZJ/ZCOukgJRcb2QSmTcUrgOuVVrE19NVIADhBKico1m8Ze0R70b7K5L38059n9M4yPhpEQmmgLln0iGAytADYyelLXNHbDZAfcNDpX0ViTEkkMvPddn1mu0DBDrQHh8DxYdkwM9W++IyyFEesJDtbaeF3E+bjg39GwS/iAAsf2O0a3Gr9C2TCEH9fZPepcGV1tM1+ov4Vf3wyD8nLzJJpO7XSzuGaiPRHL1mt1x+qn4hz9tdsNGSz9tZrtLsBops0zgwQLQ/rNiXhTvEAQJqmUXLNXDLqVqyPinkedBXEenbMWbu9X+mlINiQRzl9YrD+cBaQiIhhgHEG1/DwjYzqWc6BXxNnU6mJNsaVvuhRU1K4G2dtY9HQYnAcBEwhLgD/2FbAJtRyVvGiS4/0PQtVwTdJCBudr+x1E6P0HFxCbuOXFBcmrPD+DSEEu6g5idHeYrRYgLUTm5w32omTnVg3uRskfr21SQuNKMNJM00r0ZXN+FR0DUtPnN1Or1UvA569eXu3g/jkQrvZUC6XEqShTafd3Wg402kvzn0EXcVUHda4NSJGROnVR9vxWXHIoWvwHbNVPbWKFSkSYV8K8EqCCgKkjH7XpskI+IssOj/vwy0sGHBItjndHmYGNN8ounPhBtWEWOYkhClfoXMbLbuvBIG90baPNWsKE8Amw/pa5QqIijPZjMCmF/BHfGXrE/8pTRIhJsOEIEHPAfvOGLXT5XZxkfqbbjItt6T+ihgdS0xahVAUrpKf6eo4d0MpoKX3expp9GHFqSUA/z0ReDIwpOdAnpcxFuqDa6+jGMzd+bHFOnmfAjyfHXAInIYu+H4Xh6Y2vqcwEDQg7aEqQbgV4cJ3f1NXSVYtwjZ8izaFOmkzVBWE61tiWrrDAwWKY0xmzA5RGvGzL9YPFNbV2GGmzInwjhNAO6VMeIqBuHa8a4reZ5kRPLki75AmYRQrizA1tPEJKLzfawpys9tS0uZZr5dHbPlbqhMDpXdgNo8iRURcOXKY9iaGJxqlHNldT/yBakjDSZ/GxARRAINk2j66o8XfCCtu35pDqOcth9T9OFjD5ffvGQS9aTNprBGy4XVyhLwM+zUAYb5hn6iGt6G/wATC76w2i2tD3gI4M51Ml21LkHzXJkvU2+vEXF7yLaZ0k+YfG3FklXuqmaN+Z8qvO2x6FpCZ2ZeuayoSVQqZN5pMFRpiYZUWULgYVLZRU8lbU7jhdQ+d4gCoNrozwkKYux3QF4kVq9ovRy1ZmRgaIIv4rPwesy9PotDfoF5hAAljz8031P9Pp/4vRug6g12gQPTyKYoerXGYWVTiKo2LOSsXbGHhR/gWWe/PBYYZTBWiOIHjUbGuW5exOpwi+Q9s2sR+U3Jd2wpIvRgisSfsJv7DM0TZ0ejMvuDnqjGcIFXqU+m9AlgYfDKLhGffWoojdV2P7qmvEyxFLY9/ggIYhpek7IdC1BgecqG+XpMqIrriHS3IUHs6aXoxY76WlSRMupFsm8pXi9YXYpfFa8VeWQXcTsU9V300fzmkNldmeSQtd/fq1J6F4b61h6CQUUbXtEuKht6NZkGWUPutwcWWBk+FRi8ROrd4AG+pElzHeRBknGh3cAoD8X2dO2Qlws22u1Y8b+e+EZVSCas9x24kit8A+VKhDSA6aaOT7p1GskDcYolGP1CpDO9MjaZojmkcy4NO4Ec3QrwodpzQ2hcECNkicXA4WQqSMBjJj49RYvzaJ7R7l5lU8N+/5gUeRcceXqpSNERoBn/jCFlpTjETmOyBnqiK2WocOP+5k0yvL2AVN/1PIMGgye+0qaMMAJrGtNGwU0Xhdjs536lFR5BggndC9zaijL/h3+0T36F447U8H+qAjcxarrn2Q3PhpPEqUH64df/hfOwB0dj5MoPnfbEWh5gMANjkI4aZn1NSqdnni4Hnuv8nY4Ybkhs4uH0L2McvVKZ371JMBoG+hMFlXK5bUqC5Tg4ZssNdcclCGrrcFH92tABMiyGPL4+rhpR4SKp0kfzEmOztpoEdbHsS1vTBmMh9wYxzlZrXSL7ToIKJcXXoFn27mkFetbt+4pXrRu1zM8effONTs/l5/cok9GTFvn34fZLKhNX43ZHkctQhfoVwkHKT7Ly9y7YoX95aaByinqfz3NvuWDQrYwY4HpL0clkIxZ+d5DnT01HzsrwaaUSrHRVtFNsQY62+tQn4Z65TM93J91r4a8B3nI6+z4oR6IJdkFvf8CTEK4D899xG47Mb1WdweERyXETTKkgii3s2ft6DLJ/JPSw04eNBoaFA4GkoHCWyybVVPVlKqMsdJfotBsJssXMMK1/JgQR3rXyJkEZKHMgwJJhEd+ZmdWITWZUjV4JK+PQ6Jq/4gPO8Oy8wGSoDFnUHKleeDaDq8BTBpBSrYakP4bmqOwC3fNDN3j+/8rJ0TympHhsW95uD6LdR++qsl3kiwa36ftlRM2tfW7tvYEwk+wp/WV+vEdeA4I6BN7WEqkUfQrorjtl2escmOYjL3QP1/Y9Km7hWJABc3CQ+NAfLQ+01WDIWv/PYs83LBB0iMa/eFs7v9RL2eZAfKlV7FmF7OKKTWcOzSAWvvTlDIkvQad/MnD6AuBMqg613Bx5Q3JS8q4Z/RmviXkSer5HVtXG+wM7C4YiWTBiUDDle2G1XRZA2MitEDkPOyc/hYLERPtUlbGTG/L2deen0sxySRJCpen0CVxJkKj96DLW1tPHRj3oa9JQObslpOePWfMMwS9ckL6z2O3uUtFw4SZpQvw60KTdT/Du5FEZaY9H3NuPQE4W+s7h6aGNs2E6SoBN2fOcGp5A4suffwsbfTJ25Vbw4rrmI8QD7bkxWw55GOLe0dv+F8O3jNEvfPBUBng64ULNHea7ki34oYL1C9XY4usBxVwf3QsmwbGsV97L1NL8RfR8evxEi8TT90J0LgnaczruoCdlBZeK55QdAUOXvb4VNC+sSfH+q6JlGONyPmft7BKnSJ7JI5NplQ7JGXCTOXrC03mF4E831i19LFRBcf7T7ITiMhClU/rvbEMPZTXJbWSJB+7jBQZk3k+zNkEEjOT11tAMjNxbTIDi39Px7wvUmgSMglta3NUlQPRWxPSP5lImUhsnPIxYBVz5Rc9v0wXoaO7Hl0aazK0vmjlweF6HVtt4KQGVJYvwYm1/bPn5UtJU651mYBnp+VRyW9QbH8IgZ56r6BS5/44y6AaU3H7Vi9+n3+VvXXDiayYecfirvAyg9DBxoeGPtVv1F4DUiqyCLGyTmstNPy8jsaLeiw6qXn/wd8UAI8RNqrvRbv5/Myis3PETd6UBTPORsGmaaiZyhxEerBLBFLcZzpPe5hu8LGZZPw0hWdQ143GnuMDQCjcRplUnZM3ZGk+6Ph52VRFrHmWgkJvXMYLkWdrxjITbiXD+UoGfuIsgHAQioH42jDmP+MteKcpJJniFS60ybEBE4dhU1Rc5DFMxVg20ezoFnUzD7U6kAi76LAcAhfL0UNYjO1hUDtaguGswzUcQzILxB+dmjOYJ4E/gfCVTvW1i8fcRyG2d2RSeWXTjwwe2rlUwXpnJvRFZL6zLhNTnd7yljDnx56lMBYXZb8iJTVAZQQbGg5O4mtEUHO28myDkCnRWL5k8Xt+2+xFDPTWsamztW9dw+6cWw7yGaBBcqVqju9usZUGD7sPmMUnm2Dkcb+zYrD0cVNtCnJkVdrVG5GsVzUVF8PyxzwqXqHVccve6GOYG3jTRJZzbXqgxUEagqC25dr+jkX7JYSIc5GrjaRuinpvFJUFrhtXFw8rjPNHhFPBS9AJyH1tW+XpuGWoSOJpw4EBE3X+hlxQ6DXAFE7Lm6wcW5VT/WEANQy2F7W9TsQxaqQPQVXrQFMBIYSkvUcVxAY151u/gDNlYEdql+hz1KgnanCjy5J5Su3CjeCzbe6hXSmLq1V6IgTJ/lQSvKzvWUEqEb8CoP4QmjfxsMqZsE01kdVRwlieb27WDz+kCKGqNt2jl1RRHajgEK1K1M54fV8KqAoQSTga2U4wMgmTOMmk56jMN0c/scy+bYUek0pkadmBFbfqe1IGqymHzs1ecw1yx0/eAF+EQ0o1sIsJ6QRfyy/iTPwVmjwbuw/okaw58yWs7wcyexoftck/4LMhvGUVla2AbCgtGg2ond/jwOtTwcE8RB/UtM3uzy+uiFVE3KJSzlGAs3GatIz95LOkZW4Vlo1yjmx9tX5bLBFf2yKDblqdtpKhjSj0SliuAtq/1ETO9wmB/kS5L/1BamlMa2c0vavRt03kfjV8M4pQ42DBYA8CEluaIW3/UX+D+jxQxI+z+BoVn6iRj8xeTI/NRgaQagtpmHFWrBxEr60krioOfiWUEosSJsvwaPTGsHD47LSvnlvx27xsP+EwwPgqgmbvBY1El40F4VvTvvfUs028wkCZ38x5bUvGmH+6HPyKAoFgbclruxOgzL48g8tcwgYEmyYyQwgHfKLuAMp6Vtr+xw1R1G6J92IgCxSFH2NXoJE+3dn10KdTE3I5Iq900XDYIMhjmmgcczy/nqtJ9o5u7t4TRHF4gGPO/PNJ5YBwDhdVEhGq1MifESbhCzq3lOUmtOnvNeLe9yi3Icn2AU0tJ+7BMPIk0w0gBzBzqT1FtCPTG/UgAx35JsusXrZnL0j5XRB/s3eOX6huqC/quwcLEIgA2BzGeVcgyFNKCltydfEGqBI4kDoHRf73QBh1oW7/nwNWDJGFXpR04Ay36faa2tTGvB4pwniiiJ7KvD0s7brYuuFnYZT9Kc3IOFT3zEbdIJJwzC8DGc2HQmF1YD4I13NLcK8fCAKPRQkTWyxICTT6hvW7F13cxIt0ubipMI3MpVNXtryEjVdfxaMRXyy3qS80aSRR0YF1P64qKqXk7/6dg/0T8s+ZC5XIJHeZFb07s+KZQPRxtBV938sOciKh0zLJjZ0tIuFYqb8OM6mn5U1W3XHlozb8PfelCzE+Pa8XQG/UAfSGg78acSWndiZcy2t/m1cm0KxzKphD39t3XbtlBmDyg3m6Z7g0CZ21NdZSbqNLszmCXATkk9Hwy3fMWCBh5CBd45lvaLgnBPIwfAyvryTYQTRenXAtJZ3RdbZeCDs/UTKPWdKd+cPMHH+BayqTonUNmNgH2/2j4FZpaotoA5KaGXEfUmWFCCcOAab3t/UZ3XPtDT9GIlPALYkWJ2doMmePhVvAvm/YULIrp5mgoGRP1l9VJLSbU6PkAs6i7W2c5y7hU7w6VUot3YBRy9lMmA/ehfbcPmot+JKKPX7i0pCf077CFdwqDHtR39jsyCVZYb9BPMybwEIPNrVlZTIbWbBptK1UZeItxIc4F3QqLExNygGCJ/8NKBiNAbk/p7LC6ItLNzu50GOCVDxl/tMjsbSg/zZVj+hYm3kOKJ3DDo1Ho7rJ8gd//VmfmkuU8YrnMCvjIZHEVhsxYeYJ07+wq2GMTjTaxwCe9GAwxt6multwCUzkzwKJ93/82q/ibtjCCZU01eZcvmmEir8OevriOcCqlLa7qaZkEytfXkT2vyHhgWUqHKBIHbjrVRxGLEDiXdX/BicioUc53F4f9IWr+eXnnpEwH3T7VQiXOh4iD8YyZFpY1Ze+25Z+o8RJ13gLcKZiNoAWvIBsZp9nSS0xVJ5xRdMLWPWbw1SjmNIB/DyePgl7FXbefptRM9jhYJ/5cbx5s0dfc1Al2SrWex5pDDw1mDnQDO8ZplkVpZvazEW6n50iEv5dOcR3JVlInQoZP7NzWs0AQpOFViPjR2cNDZHD6Sl/zSSzmYxk1s/apGxfW+jF/9P9R45AnIV5VV082D0G0ElX4TVKATrcTy7cU9o8NapOeyAJLk3q5DG0itTKMZcEAgz+DAl3NaXhmkoupxy0GLIFzGjko8wBFVWXuf7yi1amfaXnpBx73opQXEKi97yutN7nJbRa1xi/7quRUsrvjttC38GIqo2c6VPT/w8JhMKawYHDniUpDEIcQifm72XSDODpL+d2ZnF/iTRkCGpnw+z5I8Te+dCWzx56fkMXdSQAhYkLqJ9K9y+sfhuKlWv4N9rUBfk9wEYFjrlvxOuPNEzSbmLqTSqv8dKN2/XW3RPtlOzARUCmzyLxyDT1qPTrt2GJYZbTKYwYyyylAl0/sVIGJ9Sn9CA9khDhr4lIZY4iCrFnMh2wAX4qtDBRKQDnlx9WJqd9d2D+SWogGpCfR6tXbrUqgngpf1bRH9/rBAyu5Lk4hPvc1fmlR9Gy5/5QibrU7qmIaBjQiiw2t9+I5G8RokK06wAx0CHKxBMAKZTVXUsnCXD6rwAtbt6dwrsAc3z4iHzjygIaBjnDFWrafyLQEtP0wQmRBazvbMDy8HP4dcaPe63u1qmeh1B1z8hTSL9fE05b3SsC2+uvqfqAanDVJwrOvqR8tb1EyUxgZVt6nRs6AI94AaVyDTW6HIRLo/vVsK3hVON9sO85rGI48O91yxqo3VRjlTCCpeAo+TOGeDYZkiToWxBE+i2Eq69Th47FfPCwrbgzC0ghgU8uxIN0/3jg+fYWsoYY+KcYACscWzZ68/yCh6O7GNkfRiRrBGwKT9Pk0SP4oOsJyIejPPEV0aoCWu1FAB/ZJnIavtnU7m7P2HLWDvMH6YGAzPi64AyIbqYkuQXKf+Bema+/vWiqOf+NIRPftZog6JLNCpc2hdldZNEKokxRFeIVGCBX8bqE2iQm3GOejnv2GbFPFi64sqHKT1tR/6v6tZwni2NuI5x+zE6XhvlD4s6dtKxRsRcKHpEZjRYGonybkLCrYvy8Voal0ilwtngj5PG25h5/k76S85FqUGdpeg17Bb/sLtBRmxlS6RBO2ikok5fRKlxbbpZRu8aQDLVe6Qu0eJvJ+BssmqxkzdkaG2XlEhtgxm+1C2eZYBmATHn/aMiQHjzoRwHTu79XkSSEN35GqcnH9+htARqaRo5NGIwuqqvb0tllWgA+JlSiY2g77280k1kBUxMRluqcNlxfkODILjD038YsM+oMSopDotxEMr70H7FwrykPfQhR6gjANtB3s3zsO0OcbaSQT+X6taYciW24sjm/QIrefhEe6Se1oIq6U3tVSD5uueiLkTpuTLKE3VfXRBbdoklM7m1v15hfve5Aj3Cm7zm1XFR0aOAZwjuvOImtWlbNnuaDUXk3tBfc05ICEzcRo/Qt0FRRm8ahPi1UZSy1Aezt8r4l6AfXKTUKzgMX0vnRG7Q9I11EZg/8kSrAKNl/wq4NnFQj70A3zbF9X3C/b+mS6SE2GzyMRx9xmbjDEms4W7TidMBBBv+EYEyOHdAj/j0sm2qyxYlJ15Rvnbt/eEbpQqr0Im/HJQ2yYsEAVyUdNuQ24O6BDgCcdbQHleGs+vXu5etf/YSTkc7qd3P0EiloFiM6fAZ654DKO8GkgQEHZRDhp9foF6/CrAAR5v5OeaIBqnD/prCoo6dQGNpIStEcJyknW9/zKZeWxrF4kgfoSlI5qCLcbKYUpZe/Sx7CuhnpkHEfBQCpOk0e5jJAJCgQhue9sAQcYjsrtnAnZ2QyXdEs9Q/OQUI+g30DoFY14ZyttNcJemk90Zb/ZeE3Yh4LAZRIJ+JEzXGEXls7PwGslePN+spcET5LeCWGlLTmGf6wKgj29GnuCyOgTCISHbok0QRQruwDzHacOuRM70xJkTgi3OqCaRLdIF4jKhSX3ixZxAEZs0srk8lFAz6VTdUHkHiLSJA8czzL7ngO6ybUuDI3SkmP3DECd/hhV7en3z1Uk0O9CkiJpMqPOXZcI6sacaTAq9Ek+d7j/q/UMDUlUE8eCPit/M+/u26hFNOWsDGmMeHiTgpfbrJ1PODnmdK5gOUt736Cpah3SzSAyMtXar7j8OxcbmTGHt7a6/sYaQ1uJFip79DMdLiYk2iktcvPr0l7QA586D/59fwMm57pVT+21+TM+ObLz6ovsNh3d8SWZHLAPvR4rkDPrcuLqXGcovPsZSQC3Sgu9kN2RbBgYrhHF8fEZlBaDMtdnVbais28x9tziU5zIx3wk76huRLriMwEzXuKjibu5WdrQUGPJ/tsn2nivkVzLUo547nd1A2I3itNErAbhurJy2CUJblZr3yCGqUD10C7X6fao3PXO0mEY6MS4YB2AEpkWjzsopSeoCG7BMbRmOxAWsrtRB2hVSvSiu3cMYrxCYDE8XJlNMHP74snlOzsB7VhPcuJA+Q3fjpeqPgJeCtbOjYRwCSnpjt1UovPhHnAV3raqgpAvMfS4j/edQsaWJ9jflYxecKFFeS4SgykP2V/uKa3IKBOZKMRYOJ0I56nDDleLQ4nR7y9kjSGPYpDxCjz6m66o0yaIWkSKAz1EPF+nYNnVKr0bStyWsS9vj7UWGL28IUNL3PWiSi8fNMwLLcePrqhOrSOddJXroQ8es0TPwZ/nRkMIW61YvUupt/5JkY+TMYImc2S0zVolYZjQCjymmHyV0jA//+YRSBgp9Zba5YTf1cGBm2b6q6rKaccJi50iJPFK5OHxzrRhixrX+1tJsCtMPoFFxQx+Nx3v01FoSpJKNBLSfNNLniAi1r6rK1LQ/685+en1MOd1niTrRz4XAA/6Of0hGl5DOK1ynOJYKnSxYnFJU8nEnX2lPMi6eVWiFNXpMzG8gNJaYJlW08U3eOGU21EKcVZ0CpJG1wHJdIjxHlAguTqz42Wgt/+S6ivFHKBOX1L7DLXl0vM616FQL3RG8HCayDN+fdVbAXv5OagLKLB4Pb9hzwM5XY36AVGPIVh5+aFp4hgrGanT19rJL2Pbq/6+ccDEdzK+WqVEcoh/OTxJ61jH6Y50liKFdFB3+aTMnJVsslM6wyDQgfIB9hXHdQOMgP34K7lDRo/qHc3AjFcn2S3j0M40m8j+7+KMiF6J0pDv5od0ynLAMJChqR5TtWAh9taeR7yJkTLSmTTzyjkSWa+905xTcadqQ9ucwJkoIzBgfLSQDFKFvPjBdtDhM+q6ntH1sbZVLhydhQHDKsn2eL/DXcGk12lAv//Ij5I6ehaQxLiAx3OeiLn+vUJYFSzFfi4ojH/4YRPaGyhbi9IPAqS0BAnwsFWKkghy+zg9S10AmI/jbVdGAW7EO9tJtPaQtE7VnoqM/U77IXNNcOkiEVLt39tRnwQlom8dZ5JiBIYfx/gWqqdr5MCK/2LBlCD9hmYY/eXnppADucOY9vFli6Sg83VCTTBnFZ14LnAK5/kBDUOdyFjWS+TzlisDapNd/fcinJG/QrWymYFo/vuDM6Ky2V4O124QwdqipDaxUK4KHRv3fIbIf0F5Bgx2a1uSha9XWpEiTP/oDBvk0ysB1TSCf0OVP2f0y9+fHlzxfC/IJOTYeuhk12FBZs+IoG3UxQHyI9iejn/gn4WMYVJtR2ieV7fW8Tz2696kQFewr6Zy0EqKc2ptIJ1F6x+EMcf7H+dGjhm8E1jXeJY51cKqpGo8rJkaseNjRhr4XnvMMZTP4Stfif5ZJA2FiFkDkYX1Vxf1kxlh6czvYwfD4rVgiJ0FeIRwSqh0BrcyWJKdQbml1BopGtbvP5thLDPbG+bH/1onplq1Cr8u04Egvp+Hhxwwz7yA1ZG0LAnVRkzvZHlq4sKtHPZ7uex+Z3zVJZtwF1qFmfIelmrU5xVABMxYWYDcykdfPZU6IJM/1k0MF41BqAL7AIvPfh8zVzE5jtXopE+ZKo2G3oFVH0rmk9FwLnKnJJ2mwa1rOewKsqNcFmP54HF6na+n1wBaAoECsmx1hUp3JJrEj/hkBQzzXtmDdt6faRhwelhcq3ZZ5C9KsMFSMf7sOYrLeZhVSiCCXPbu7SXKA8wJ9bBqVtkJdGduQUdZS7DIVQw1edxM5j2TGG8z84lEW77iszaEGWGHfNZEJgMQopwazXGR+F46DToFDqqrFsQipNZFU9O7Ax353tOgN29866NelJMsQBZaE9dtigRCuJscXZVS8ciMMWoSDqUsCKp/7ibxTd4138ANLNyilPhVeRuGeBGZr5me/KDl3RsKZLriYUGe9MEXj056I+HGD9DOvRGgRhTYHhiNy8M+0c4PYelp/Tl1xc1gsHTkRYs2urM93aza0/HNrPznHO68bCHlyVh72biQISPUITPDJiHoSMkvvs6/hM9o3ckUHn5vbPrMieWf/nFh7VLQtQYR52Fbq3qJak7QXzhdXnf1ZdI88y1bC60qyhaQ6DKTVid9mfGcocFjLt7IBmsNIcD9bV8rZXMZTeN1PWwg0GZOGiI5mwOtCB3pJJBIzd1Z8TF+kN2mw6zqoSGEDPCuWKb9ZAkgCUsI3OiIJHU/SEJZlcF51xXs6AygZknR8ZCaAbm4FLg/6NWnij4BrdO5uN2yTLiXy0ch7uXqgQuko/kbP6XiRuwMeetCa9S5IFtYO2Wiqrx9QjX9kloe4ztXS2Rlpeeu428m+/B/quP/ryRWlsVD018BaZR+OXEIrWDE3Xm3QZZ09Ec+FQL6evVAxEf91RZQ5uF0CqDU1yY2w3tI7GMXCemO7zmTs4Rugzzec7GR7hRTHFCcrZMMip3Kl2XaJYMM9jZzELLxIvL6lqPCm7K5wKwu1jFqj5+D8p5fpMHCs1TuVFwOckXHpnoZ9+1YnJQIvljdWNJnvfEyMix/iDVdoBV692CIR6jQmUqQaiiODy4FZT/0WBAhdu2nsFUI6ElhETsnZqFGGA6609TH4Ehz6OytS4H8Uu2t0sZBIgm2Hf2ViQM0yOsQbTjtPoW22SOiieWWOt/TttERGJMoBIr8B+elerijgFVxe0PVEW4WyvgFWSNmFT4LPbbqNVUfyBGT2kJT+8j1Yf8LxuigB2jxWhTd8DgB1a0yCYkwRc0rpQ7k7szhTXKoDuUmsW0nLZnDcl9KgyeD0Cj2EYydGj2lUF3MQcU7nTE7t7DMJi4TzxTYKsU01LlLOO11gDx4llA3LG173bGuoTfwa7lgBHdXNy4VDHxbe24NxAEkpo3WytWHLa5f6AM4yLi0DhYAZZYXDLkGXq7Pugms8qVbE3DjzAt/QAqJb+7mV1bF5o+VRvHRSth00bC7TxltNSQjUa8rna5uuVMWuTbiSC2y2bncAKYVLIazYpHL+OR5yxfmh9w8UB+JNnCg6D/e/lmWdjzn3S+eeMrPsdGDIPkuXowhO4Nw8qnjTY4TbTEhBkmme0bSC16OfpP4/isnh2f4deehbz+Zq7eMxJNbUi6g28NV/oNExMTZHRmCJl8g80PwutcXAuT4rW9PqFgAEaITw5Umvk1ptvm+ZfnlTL97dewtqZyZ+Vg3zjZn85nupJrkuLQ3YcaO7Fy6UyTi6nf6XGzYWu6qcBBRcNynjD9YUZj9G+3WZuge36LR1SYmC9odK74rkUWFq1FSyR93WrQ+hAAU17vVhd4+aXoogSY3uEbYlwEuau0bdVFU8kwUJbiVoEfNlxDJgegIzcssV/Z/zmeafzh5HvGhOa6bBKLwu9U8nGfGaXWSTCJBKsQe5lfrCm6qN9ddmG7uJEZpbsFSEO73oWu5Owv7LtSu0VMxqAQHntJfaSLS9+heJRFyZ2GdwSOsFsz+iSxCdGhcv0xutliJPHdt7HOjtByjAshJa1JgCH19Z8ReN5pMyD1dDsY4oYWH7ROyzrMepqranWYzuG/AUalgCXPvu2RDbPoEDzxbM6/drGevkX1XLcOJorACPUFxDbFRAfS3KD+cHRhvuT6zy8lHRbU6DIFeSAhsIgvvQuheQz0gTcEpIrrzDXNy1gtzI01Ixm0ZpMyNCUVjZQYmqSAccIP92CzVDYcdTDi8lPb+HtSMnviN6hDrW7KDRjCEL2QYL3o6Ga+MFYawU7mcDV/2h//IiPNo/BNA15Ifn3OSPy1W1RRmGUZXy2i+lS62D7Or7notUF5Kz/MqoKEahLmzUSvYSoK3PWIqYFvcbttovpf0quN3siP7DoFAb5W4TLoRg7jbhp/lpV+RMhC70sggyzfKAHrh3KSal9Rff7H8bxtijwtfLz5YbvqRn5z5/sis1dFc6Z3pkzjAZFzAfK5jeXYE61YqQmeFYtHTn9cjb6tND6epiNxNiVZLGDJU22UGykJITYbZR0ZEAXiZy2ic7hg1d7CF1j1zkwvyfY3l6ozTGVvPYr6sFpDG5BSycRVuD2CtO/XKmc++7FUrgdhqIQNBIJbwCP2DnvQyHgG0dCpgRIqm6r+jUnBqer8nm8rOj74Nd3uOGpC6Fb5Lph0wn/VOWpgxU3dggQF8bFRE9Hkfdee1Ow2L02UAHmRrmBM+5W+211Nz/vMB1qT+b9mld1QLgAxjuARnmydWs4CDzFcN2+ndLllLg5j0BSLZ5WkJORalqy5wkFJlTX7E+tzvMQR/2fMp1DLBtzBTqmY6lFFoMskvGDWEOvlEAsQzcxBWEugzuO8rprjt/li7a2U+CqK7Jc1HD7k4VObJiRPgJTcLFHRFNLIv7nCN1I5nhBf2hS3dmxc1RzWGliExiVGcaJtiHk9NP9JRStP0+gk28Ga6siBCxpqR0sMqyntXqEgmiYNgDEt1ugNZuUy3a1RSA5IIGtX4zhpkUGZsP2Qd3bun5XymQ3b2W4JwYNig9AD5/uf/EAuAKZQurYuCXeYCNuDvwW9p5mksofFTOrADElrLcEs9eMN/Wn5znjmQWDYNRswuiUyxle5atg0fF/8wlMUv5xSZEIforG4NWHQdHpRclMOaxmT5a0AC3tJ18bAjwOGzZ227mTjYjNb1kqYSsFykUAsS4zDqSoED7c2i0d9Exk14kio6tIgawgMfjWF1ZZig8/YKUhiw7tapSEoqXwu+rzBk9WPxjHbzxYb28X+x/deOBibAF1g2F01Y3Awg5yqyRj4oAU0NlnNfROtuXgBEC3dzdsniDgJrKnv/uIbVw0+hqKsuuUoSm1Y3vV6qbVvDbARdPs5TGoZiOkeWmNdDYwL+AVR9bSshiDwHeMOeRRwK8DRr1LF40aDDBKGgoqkG6VcSPU4Vx5DhxhrTaheWqsDmSQEnAUYMa+6MvJp553sccEAKmzYlD+MMADX7KxJz+BeSeQHB601smMX/TwtPGcMY8J2FA3eZKK20VS42URdyA3GwIoSncERvPUe9aqNt1hhtz7huglXTEgQNR3AAygsW7jUnFEunC/4QVnnlqIdc+Ol3wquaVV4/4FS6JbAmIVew8J0jfhaohdRqFsnX/aNgj7qQMtGdLcMa/9dp5jg4UWlTG5zQxe2dyMhnNqCdXD8rkU7U+CmxUEO8Pb566gfJ7GZ9WEEvDEcOT2t/2CE8cysaXwde8wXe/bKBAeGvQiaJq5pJolXieScvoi/uy3Da/Wlg/FX/omK1aQQYKBRxmfZqwQEBcn4/9wlEK9cDeJchr8okSR/Xzrz8isTq61JAo+L7xcxhHGPPQ/JtrPae4kUAfD0McWolDoWwk5NNy+zgyiTSYpjipeINk0WqRjLPUU1aFXFDMMTPNIP31DbkBcQrKebeAg+fr5oyNlqIF0M6I9vagnYHVczl0lvgKq/C9zaKQ82lSt7coYP1vrSSPNjcD1r2NpDumSmh9IkiocXrOGh1QhWVYopwWmLRW081p2qKNqJdXIIKCNYKKckYFv0IpTpaUK1dzXIRMFeXwxm7AXEo9Q20KyC5qWYidzGgpulwADneeSF7aALj8KS2p5MoalxBarxlZjQxR5Q8fg0+O4GZm1e4ykZzsXcNCh59aUiejdDbqPfK62AvWspxKyTD4LBh9uYO/lqJ69KsB4enyYALWhNqObAQQb5E6FkEEfHx+uE4PWwCMVbiHtGDndi8zN9JgiHDZmn5OXe/QTxSUu+XxVc9xGOVn/29h/4rONrwlAGyisu51NPdELdBgTncNSKtOMr8FJzbrnuPcY8uQ5JGv+nzVsskYQ3CZ19nKD86s36BDNWkWtjfpWnrSmdT2au1+8ZghjgfuFzZo7L5MtbR/m2HWUBgxhrb15+N+8ChMBACzUn4SQwIMIoIhpV+EUWy+dgcJ0a5F5TzHJ7G/bpx0dpFl/S0mHLBuhBcUPlBuoZBMWi/1phdo67HKU4faFNm9ExYjuet/RB7BVr5tUCPcDtrmopK+vTGmQbxwCJfYqnRzYaU8oko35rg5tx8lDNwFUTsx9dAbUMZO0BaBx0SNe4TLyPcAzvdlSBEK+byNjk+s7VQhxEECqf9F2y1mzuTtYYNDEJnvOEh4qxJ6oVuWELd3GnHt9YyX4gHJqi3ltDX0zVpdUTcr+LwRB2Z3X48ecdpWei3pBOA0+gJeaA8coX0TbdDcESD93BAZuV5Q1OORayUEO7OnIKYc2zhBNCnwPsrsGGeVU7qzmqdEXRwM4NxjbyDOAbpvFZ2qnOi8+KYdrvsnM5zVNlvyqYWiU9ulu9Y+cqFPakLk7WiRpbGz11KM+s4Z4amjuJPwZBURDbgApwWD68s8n2GGXAzHIZFW0L8qH+G6KniofNahL1mP4zqLoPpo4/Nhsm8ZLKawWSWGWW5VOrknacsYdd1mW39FIK8dhkW9L2l8AAj36kMTK6JxNZ2aq6/Pywo8RTpmltXCGJSgcGarkliADSVjwPhFhhAVQFzB1jfyILbniDLxiDM46XNoT1RGQS6A3GVk6ZRvQZQGFKSTY+zB2suAM+XhoC6GiL3LhY6A2gCx0yF5j6oitv7zg7Xe4prgjMPwRYGmLnms/+ayyqGH98rNl034+cmNqzeglLNfigYsmDt32vC8Rh+voeSmwOSXkX4TNFyr6kFDbg/M6hyWSVeCxEYzDmhU+4QA7WyShOdsQQEkF9CR7lG/zH9TvKFBKNhZEzdJmSa0KZ7VCCK7+N6orEUWq9C0nZlLqI/VVgCyAia5vH/uKJ2Jqi08WoeFvSfZmJ2W+6CMTn+z2QNB5ue21xqd3x2XgVRsWF/N+okPwQq9wlaRgQqCTwYGlJfqU+Tl8lLqqRiCvQl+QfATkQEseA2YZCXz7Om+jUtheoj8M0RcjA1h+DZPu+IBDUAsAmklDbR43TEsrcbyj4/crTJM4YStKJYR936M6m4+zNVNXloPZ4I+DecHw74FhFdifSd9cr2suz0huDR0Wsk46ZpcAYFvj2VtnZSvhGVM4OU6tRtAKdaDHpk+giMvdJ0Wy2dA0oonD2MzNcrEE79KGpYXIkGt07s5raTXT64Rceu03O/ZEekv81FxtB1afDt0Ul7KtK9q0bLYGhRteXfH4IYKzNfl0PNz/x3a91IBaYEW/BxRrw4lnR9V/cMbmo/9CJWrGBtFFAHWrFgaG8z1v4zBLpU//ZOZ7LZLB+wWLEhjLl5hJVTqqLB5W5L7e/PJvQeHhGQWZQFlwhBQQcKdGd1X5zc1N1RnWfYi7zq0IRt5ggTGONZcs0WkRdSLfPZ9Yz1hvfP0qZohC5YS7lvDLDRNCWJDYn6Q9Er9H8K7NN5xfLCa3otkc0u8cMo/ATxx5IW/uWwN5c5TkmEgyC/pmgxaVrQgfjOonodwAXpG4tLmVi9s+Fu5Pdnokl28WlNl/2pib+J4bTTEpsYsUqWZkiOk/A/D8dCWKmzfGe6Z+hcmgr6zFksbFZr1WOWB8gu+glugnw2yqOqltXcxlBG1QD8ruaco4V0OQBPYAiwCqQrYJV5D1D8gUe+Eo5X0kL7/3zV04dXaPzXr0tR20ah+uh+eIKlORCb+9MubJv3c1i+mUHFGF4U4y/yRS9cvWRnFb40hI+nxKhMcE8uk9V23WoOrjj1WXoHFoM4rFUAPFd16tWJwUPfIRxxAdVQSbul48fdcMW/4gfsYYdzwnmki/30PP/lO7vitNb/INuR2H2kHKOpe1HwgUcmOY0mA271nWNziUFQdrybybcfbBGdakWW+rVGCkgy3Rietg4KruWkFOm7+pSoXis3iAODchMEqdreJ9h/kyZ1QTCdkNbVfUqtTjXh/LnRfH1eOg77QtQzfkTI6/kEUiWisGb6+5oTmFjwMzCsFhNc2texuNNTsIMMiECTUZ+/hspknx3ywY3TINU4EPD1TRBM8kUAaDgXlKZlpVS9TkxHsCi2Ed7I/TbOWiBdrj0yDG2AhDgRxc+NBgfdcGIhHdpeZHGMTp09aPTzDf8C4YvqYqMW0WfEbfeRK5LukzFMADI3QeCoKkixBKJr/EETCe1HJwEMHSvNzzeP390D8ZlvCz4g80JL8WR4uHRNVupIXEwYxRHUt2T2Wep4ujLOlr6FW00cDB9gXYK1d11zA9Xb20TguaHaQNdQzsBtdKQZggX9IjM/Bt5EbUbNm/PA5aUsz8jmabfRrFac2SPlhFCSXb1u3jvHhtyzuDJhMHfMIBBz1Ugm8v4qA7rvbPNKqzWR/P0ldzFaWPUMmnM01JgcI5ZTai3a5KqPjdLL6jO5UJ2PLExgaZtPfZ6Vn4Ld6qJEeWnciKG1x7i1AkMpmT+A+hPBplX5iBL7IEbKUaSNZ9MmGTmASmUj/0n/PzVDcGQEyM0Lt2Pkh7K4PR6CKtcv6V2lwuli5hTLorgQjsrQIjIfnECb2cnl7c9djQaNxbO7tCbmcGgdhc1ANan0FQ2trI58iZQnzeiQbNePXhoBndbjDVVFMEdcmATzowUEmIRKX7PoPdYHPhvqa9ylSgYTxrRT2R7VMp0LLbLbrR/BYu0UQuG6dBAYIVCtMbT6Un6gfM/YXqsIkuZtBru/0qO+aKROvOMnA35n84Loxjm9sG1LBqNKvtWyHrCqI+imkc+c/3GDV5JGKVM1l1zWQI04BylG5fW1oT/HNiN7+CTG20OT95t5rqQRvrXZ+yYKPsajm6qFTEL7GKO//bCC4JU5qpO8X5LJHumh9TAqTPN+3tJ5lqlBKeaIzMtAC8D9A9Ao08hNy36KHH84Uup1dHGUO9y6IqsmJgiZZpxlPtIn9hQyl+P8tw/WmP+J1PD6gM7m351rs7vLns35oZHhJ02RP5DHf6DJAg1/5BufQ+88mi3IuhnERI/HqGEyWZEbaWxF5t7qZ6jPMuqw1DNHIwGgz0jB437r+dwamJEATYd0syQ559FWacTHiUrKiRDS5Z8qaN4qVHuuyrkG3xLW7dOYamNgxmf3+2+c8Xff9PTXJam2j/sy/RY/+ENV7SKUjE2kF9gjgKvNY2pOOueC/UdW/uDOvQ4BKqjFFw8y27fmnC2/D07HMEksXt3siqVP3Gi6guPE5nMvHSJhFl6wfwSqGIpQZZmed8TgWKLhIkfBcCMnPkX8pom802B3D+c57caCEmMtmqfL+VueI2CWRP9tRB9O6pL+5kG+rxR6IIngvUUg/L9G04EL0LmbRoP91o3FDcHyWS9bgHmaMHzeQQQv4tJjri95JMqkAHJLjj3IcqTM3tJnNeG1gJo8rTYinOapbhm6gsQFC501aBQwWBEEbFeCaovG4NHrrMwRQ9G5AqQVCjOcgZtGNJpFB0QsaFntKpHD510fcpy1QF9KGCrT5AIvrVW2yD7Nz5IgJ38d2bf/uww7+6uNCIxPLe58FI2iBy7EOVRdceE6NGmflB8DF7zO811EpZT5XLAxyBMAkrW7QR0sRk24ByF2O1qCs+75NwjvIAESqFrZVqnqZ+Q/iOxmltdt9Tpu7e2o93Y/zrb1t6rywI7ADif6canr/z5vCNBFjKZXMaoJRjoi0NCHufWxKhXjZEEAmZ13yEvicT0KAGLUf495BETYbCLsZROtw+uaJCXzHG7Wqag/0YSkqIaJWO6U6wgEpZ50ULAmHiy7aphE+LpGvztpvH/vkrvZ4QOwCnn/5EjgCzo/6VCNVwngg38R3t1VngDOkCYlOGLIXYG+nLw75pR8ls62x8YAiX1LObIzMknoQ7nUzOmvJH0V7k1V0Y3+kVMucjFxMPyio1UkBlpJG1RaSpnoVYvd9mF2a8SZh4cEfCCqalvRsvZ+D0ejHtQ8McxPiD3MjofyUvTza5saK0rj7/0bZAn3yLhGnTfLFkrSVl6K1I59Z7RVslw27QCYTLOnnnAFwyrcQWdIRQolnL+9dcHya9OGm5UYWXx20Tayfya7ok5Cfx1KKY5lUlpPbhc8ZatnwmWUopWSk7Kj24mb5SO9ackHfO40baXTStQhrmMdbIOPj7xhZHYRSzCgXraHDdKMtmTo0GsdM8ZzreAt1QowksxL0zccFJTr8Nq+B9GvvyNaJbGEfLaZ3cJPspzReFnKAiJWnp7jPnzFGB+I39Hz9//E/yOYcy/+1KV1ggPIJQv2g1DRdTbSm/T4WiwwzJNi34uIwMcTyic3bHoCvczrcl94UR+rvKfUCYm/bAchdbz/pTtfmDFMCEja46NoD4Q7OdBpR7GSeY75uZ0j/o+5wcYmNdnA/ymBn1PkmuGFpGtgCCBJKaw/azyNbZHpp15apYshCIBcuj1avSNHRoZnVOSTPML/7yh6DR7kKDQNliZ3EJFiC4bkNT+2y91MTB+q9V3nijmLv593dMQDb4fGWdmgaHYnOb6y64ybpBvQh7dAMsUwNdRIvje451zEpOPRqsy4b2WjcTFs3v3SXB9vRm8aGH+CzGVe6dkdiULh7rQYF0O5Yj2YIIZ3/Pwobu6mMH7C05JAByrVkaLhe3SzWz+zzzp7golqyHAGHkKi64Aybp936HHTwgVrhoxFPOQmsTh+kJOU2zh3CxhH3zNcqgng+7SbWDIb+x6g3L3rxe+snQLbC4LRVF3qcAh9varfPnquK6oaSbnJsjoD6A18wdyyCk9hWnTJplev3L5q9JG3DPYc79ciRZFQqC21PDdg6srhz9gznkX4qVNHwlPG14nRhvPz3saJcrAFFjN7K8BwFGZLya7smGMk4hwv5pwAx1jJ0SMiGlonet90JQqM67IWXXD90BCCm+dW8B+YOmBXG7+c5toxz9n+tqqAmKMQKbmeGQl4oT3FYNEfU0GNLD1OswhQd+fwHhFauqw/MbfS5GYEUcJ0Ms3QUOj7PLwWzkJk1HzC993YVv9oSnwV5dGscU07KUxUDKrNX+LMyXF2GijQUaraUBM08BFIm1/uATGNj9Kqt2Q5NSj7NttetNrDtDbfVxRozbyg9+xN/JEKnM8oUkYKv0o53xYmW1vbcDCB4o1fmlj5KCAh8y8sxjLLDdC15Pf9dbPMYzRk/hUA6Wl9HD1TzlCvZhYjrTDtT5GlCWP0vwLEn+YTmdChSC/15ixtsbmSCOvOX4JX27GuKdF94pbm0R/VT5AOS3FUKqXbZ/HiB5TSyFfFNMAfJK77p5Kx1nF9u1pSsmF3KpfMbwYJl19WYmxP5AxLJj9MetGJE8IdSFyt35H4EydYzdUJI57pBYZox+3pmUYqF0C8nozbcTcuZQyIEi5zaZBCESzGzF16pOFm8vW7el/18cEJIoazx9KWL9nm310hHj4VyuZn5pYj4XPG6j0IPosIXiAIVSZ8p9hbRryPdXI3CSAqDsB8mbG87bv0/mGcPemAT19KN11tjPVPPtJ03oJ4E7OMgFKi4tfOjBwSHFgHSNsgzrP94xtFTwTkt2b8nvfx8ubtxXqrJxtz2/pYqA2e/8Qs8PXZ1fV4See6ShtU2JJudrrxrGOPHJgRPgbuV4v2VRjurGC7ufgY8NRwKoMuF12BqrH80DaH8eKixYNJOyk/dKy9mhJbjpXI6rBplax4WvrI75V1Zvy6zG30tDXOx3nd885HpJxwrUiOB13Has0yuARwM6xSGER0nMmhgPM7kuNOqQrS2I8BLVF3aYIvlVl43b/tOYLN1blGnyAVUAn2zUysaiISoL2o2vsQcnHDeyvQx9Aa49ulA6sucp3KzOVqmv2hJ3Y2AWf29cXZs9yfp2yyLW0y76kLOJTuq0ygGXGfkDcOe69oSok2wFgf+grbFJG/nZwebv6pv49Ow2hbWy8H43ohjjqySVc6eJtHX3n/uA0OucDlSNlAyqtY1KKzcas9PQIYe6J9agAXgvFn4QC+xhlSkpLFCXzJwphaslo1JbJ+LOw7N1gElBfO9jMmQoQeg5h0PYrWj85o91Pt5ltPgZiA2Bb6Cq7s5Jk0tnPRk0CbybrXSPGR0rcMF1CzIgtE8iN3vNId06nmuCp8boDdeRqn3xw7MgUjaF8AfeXWyl1tjUu66MPS7RhNB8g9BpQmXAeM4Auk6uwkE/WSHbwZNsqvdIqZLt64YmyXvL05gdYGv7rpAI3gcxVzfuswE0ItJJJ9ubS0sY/ower2aLAGknjA+2ubq6zE6EOEot3lLIGfPgmUcOr9htXgoaFa/YVarYdQfelhvFSLBTiAayCUKQ54BDCxUmSvwunOfAPFVZ6Ma/XqjCzAyTskcTeI4wXbu8TMa7wZynJzu6I7CV63XX+imFRa1WZiTr1Tfuwi7kAAohuVH088Q6cksJZYl5aIwlgueAGr7IyuGl/3keyAfmQKf+9qnKVUIQBVXj+g+wRzA1wwVvcawjecLhSe8VNM9d1EptEfSvVs+wqmXgTeSPPx/QT/IpAaRMSYje4bYAcsUv9+nHbFe3r6Td16Kj8iLNKJqRHMGZPd2ckh5CXO8FuNyyht++ule0ChOmwVZ4GmYVn8YNG5wvrsU/psyh+arZsIfbV2RrCvV5jy4DjEQNeeh8Z7ZsrwvSYHYN4GRHvdrAMzDf0/19u5vQ84yap8VvouIDSVizlcyZ8bC7pqdLSPh/Z7pQ1JmPZIY+pUrN0BoxoxTIYghukkSiNDHMGYEWepSwaDYNw/6bu3DmidUmbYNxiFprvLtnRBPXpbOe81ovg2mAvSBLdbdZQxxHQN3NrfgJzs3zZEsny/85YjxQX240BQJc8aAhRn0rcRcJNSoNERJKIKscFoPya3nnWvBEmi87sgNFgqMuNWiduS9atbowjxVS0T1WNCcJGx6d2FmAKMYzsjME3Q1WaGPmdKEQlDOofk2yjHLwIm+BX7d3iMq8s41PIY3L2I0Bno2ovJs9hcGF2V6UDulCl2rKyaAQ4KTHPH6qq58S6yWBHejs4mnzCSl53DkSdWnW8qDpJXfXCX48iYTuva5/oLWMbeFL+EnK7RwWF3R/93+Ad+iDHUZzkQtiazu+vGo125ISzfM/Od+cv2PUDsjotAC7HKQrBfDfTEWs4L5TySmDkjL5jW+r0rigDik1vcrQdE9iYUAOlj4l1UQtNcYXTwh+ZSZOhl8kGAK/BSAEawli5GOzMDCU1ixztoXjX/CS0XeJkI+Dq0Imk6u4qeFdmRN/jAKL2FnJaeWB283QQrhHyVpXeO0s4ZaHEIDUK5SuUr1c7F+TlcpWUb5o4nBnxC+7cLwQZTtkmgacAKjjKC2Nnk8jCtk6O2IaUhQuCUizQq+w17JNH3jz15JLjKtjSM4HqebFLfy8wUDruhRJBU0jPEQt4bNg/AzS2lvzF52YDpsEjgHn10daZ1gd8rc0FKX22Fve6NSDU3VmPDQC8SgCrW0F8736Vr13C9+kZsoBsWZPGHbYvlrqt3OJXpakXKLnZ1H7guGJroKjGciMsb0Nk/lJ6E2vIvtr2hN5GrjdMy7rMqItryGFD9JkM3POYY1qfaS63DiL8XQ95gSuEIb62TeiAPbetSGjXY3Xal731k9+eMzXeddq9Xi5R5NdYgDR3IcbZn1i+G9OXM0ZeBT3YJThWAV3kzD9jv9BbEXMtuuiCYU4R8pdRVupjfBlTAdXYL0Pq1WjFV8JgUMchA8LuUltm7nlA8UzvhKcCedUUo853sgBxZX7xKyWTOAnQr5eLXl1W7vORhcOQHQ+IZsDgpba42sOOAanobtaz8tfJz2E5x2/Q+i5GXj1f7hxyi3P+GnHOQIiLHYQoWZvkzEcGghZybeHF3BHdGEoLh22Cu7kf4l92NDXrcy+6zyXY="/>
  <p:tag name="MEKKOXMLTAGS" val="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3"/>
  <p:tag name="BTFPLAYOUTENABLED" val="0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iWcfk2RmY+GE6Q6T90sFUr0lg9IPP9y8umrse/9AoLT5R0GKq+XM9pr/aTyOTf0wptcuHbHxeyqBm9svU01qeeEM1v0hpSHUgirOnAK/wuhh4R0jlrHnY+9pFyM8mIa/v+EBRT4DxCrO4MOZv053OPZGuBPBkVTM93MBe9Uwqf4aYnlMSZvsL3oxynmN4ZyHez2Gu5Besl3qxqPf4w7kkGjcfx21rtUtqz54pGW2EahJvCwJSTBgeYUe/G/Za7TK2ixHK+x3nW56q7eZo+z2won0JnoKCGwuAbm+KG95GAvJp9MB862hQs23z3qdKCjiZwGj33JaHcf7hyG9TAcfS4Q4kM7UpETKrfjCJJhZxJ/ddhWAVBiI/BwsHAOu2NO7XupYekC73SwZ3vnasUIHnsnipQvU5V0CMvAyDgZ1mGsBZ9xdCSMAbXnRS6uMk4pzj/wHdusC0xj1Ky444je+2BCvTV75uf8oPG4URHfWz4co+a4xV0aJ4lAz+4eaj+lEBFUfUCEsFdDygwaxpFeog3Czn/bfaTvwZrflgu305vNLvKiMYA7yXi7gZA3jzErJL6czmJaUXPAVC2B2tym619FmIxZDRGXBg/CsEuibnV8n7J2ceZCV4pI3FKAZia6pNhOZtv9ELqPzkXy0weROySSDeh+gpt+IVgHUxjbKPLcyzOl4muEDFaJGFQXDvJ7m9pqEal9tMjRWsUaq1OTnt+psU7ZlLC2HBktKZR8LAYNtYiNnUq5YSaWM90y/jlOW80ZC4M3yW+0jAUi2Z0J1CUgQl3LKxUFsMZWBbeJZ9i9mlIhn6YXWezDXHcMik8JQAeScRaV+YO1rwcDekzR7oUhLBG+Cbqy2qLStlcABFUs3eggQWD+ku0K6V21Xi9NCKkb/F87Yi44e2LZ/pvcPFepzLJ0fbD0rtuX2XZaXv9xDFpyuDL1UntpbLFneXyUo9++Q6G83ohL3CrnSoPI7kn0SBGsYTHw+9arWzOfnoGQC1wCjiS0rqOnAYuZO1Kl7KsGyeVZ71YPtYHngptSTfAVAzTeRNzAWFXYgoLlPc1wUijhBq/jor6+kxHAhuUOlCwVEIVlHmXms5H/cgJr8p+WJSBRxPLk52UYN11/wfXzYzUaGDPY0gAzIpm6aq7RHQ4BBAUNbqVMujcax4hfikk6s5YPwa87zFmjfOqNDsfOp3b4ANXWTdQXioxZAqS1Y8NyHLZDADpTc6hywa7pBj/4V44LTbVWhanZV2YrsVujnBP769LwdRK4Ed//eZ7B3khEts80vkckMZt0yLc9BTh9Rtj9mgtr+BoEHPGJXfOzlBHWQrs70qgGEuZaViH+1q2lojkadHxgNXEyAAv1+MmOLx2wbNJp/2iZUD81Bbttynkx7PHI6IqIZaH/0yXex2q2yxq38HRfFNN365pHifMcQsXjpzusczwfzivUVFB8M1urY2BMAt3bNvlrAPhk7xSNJtVIQJRnsfeBB/GjUa74aRp5ihHfIsq2w/Kv2/TrjXwTbcwpebjkMH5Cky6ezhpuWGNkb0SKht6hDumzqivzPMTbdhgH/qTZLxlZd0ON0cq9e2CrD3NmkU0eVWx+f1/DPSMX1YOas4ywxrSvpefRoytuq+p/bNdAKOivhAhx+kJVxtSfKaqERQqc0i0jnOtjh9lXj8m1e0+GJhjMEO6QaAqvLY6LbIovxInXwOQWEh9sFKi8Y0FFrEmqFWtTgbe6IDM3s7KmOlqdTlczBlkR5sU3QIs0h1faqrkNH5Tt8OmiXEboifhW8YsLjLmy1gcibzgDVkc1SxKsbWhO6eqYqDf7FPzVgZaiLNGpYjGGZnJ0eWIfemDFCswq1SUIiExd5txptqLzqxoctMxMhVnI7hzgtjZhuL7QPdLkOtiSo8hbYiqTKGQiubM4wU/pAUzJrCp60w8W9ouO7LVY7lmOFJkKgTbZfu+nfvZyrZ8I3eSqIh0bpSQuGyz+YOL15kxzvwfYDF1XbVXewK7MMtAha8iLFEd+mknQNBXQQ8ndOLkypg0iQYdPxYT3jUm2+TI+ooUuBHdmkgjHDDMk4U5LbbcO//GmXyGuy938ttKShbGVTlH20fKEM83TwkaXBtyS5Xl/F3x8V8SgFbzyD/JfgNz56c6etbL7atExAk+gctE9wtNcPrHvRoXtlTShHMctAcDsGviuwSCxnZKAvlmuP16XMsIXHL9KEvjxxbeps/HT4wVl4xU9aTDh8UZUsXH82Jz/mqEvVd9zfnH0dxYeDTcYnAXYyD4KIlx/Jztg/StwGzW0Yr8oIBcwW30z2FVTq48QJj0DhQUV+yikfIDbw6alVN76IFtcNk+CRrfPzIZ3N3isNkegN/NjAEjh74UWcg/GWSczDdWEUItlFM3un7dxa9RvYI1E4nEQ8No9cvjuz+Vlbfcld28S/9SlDp1OaJonRt5Oj5FTm0DizStOq1VZ44PKXjO37Fuy2iy3E+h+YjLwdn+SsGx9IXSxfpRYUdpnoQjHIactHSjrvNFuaji+Ar+Ah9etyQU3YA7HVCkSDpn3cEQa5hw+2bo1DWmXEnO40H6WVOrqV3/lS7RPBnWFU0TX1qOJCrgYJf2qouWE9i5xPlnIe0vBScD8v1JJp/TnmLtuhq0RF07UKMtmNuAjyAUohRSk0KETg0h0fgpElHI7U5he9wn9ibX5tNk77iZG/FnxXgm0QqIRBkTSv/n4C50RBj0OvyNBFmDvWp6V34U0o7ZgI9VQhmBeQoBSGZQyRzkylY/lXjx4XYFynOfoQ8xFqHWYLoPrGKNlabyJtbIs5bnNTJ6/YmFjZEdazGcptom6FdMgbjt520X7/po+gTm1A8Ma8+xCNMN7KqcT7WAU5QQ8Y9rfVy3FUilbh2afl2EWBVQJBQ7quDVGaDouTxckvAw5+TSP8GkxosFmSqidAG8LYbiu91vjohiRyOrBDecf1GqZ16EsIp9I1E3VLIRYQCFPi4OiSXgKzWdvbFVq1RJLG2l8tYz4AkPX8ocAlwuGYekZ3YzbKi2qctPNUZADDWKPds1svc3pxGBPoF2lDlMIRvlAnPXrgJsSHIAFBXcNHYzZivVLzmbTG8zRMxGc5QGgWOa4kpcT06rAmODfg/Livvoote9Zxae/MRSLb87VqmkJGUkukYe4uBBLimmaP+CHkxsaer0KmUCbnTOKvrptwRT3JtXRvlGF6z9koCmqq0WiqwVOytuaaf8k4rkdhhhVaHHdadsG3vl+v+a3FCtomhFH3yNCqjuBlAaAuyQhV9eZhk8wSkWqSkQiApKUDMro/uISSvJ3wEa4Ryt7xhNAiV+fP24C9CWWA/6I6/Qae9Fr6Xd/xlWlkXcupTHJ/G0JVhQOYTE2zPRY+2jNwbd4c8/GdIiKTLGyIlCi6PKWSwQ74d45JvlJuaEeC4uLyhhXnQlDzNUnOXbjmN+B5+W9BVA6qf/McmvMabNdkP7nmfE+la9lAApsrf/jbSWHC2CY7fT09DKg5HBjTNB1jyj+ohJtfeK03S7+t3Jwq363pFLHH0xqf94J0EsXhGhs3L/R6SzBmLTI0OpSTkM11PqjJU2BXS01jNPZHQJel9GDV2qJZE2Cn/kBdChbW/cI6GIqtBOc4qZChdoN9ZdkgMpDwGw0U9j3r/Q5WcwF7mxTjELyCLtwkG3wWxySPQ2dk/o9Qo75nfxfvkvyYe3ICV0rE5TrrM5bwGkHUi6cmqye+vUXFkxjB4rf8SFo6QXIAa8qjd6W9RQDLd9j3mvZpagBmbcMYbGSnGpbbQtLUQrKH09lCKx46kHlpbbivCgS3x8NTzlF34JQHzVGB3FwU80L2ySZ6JHC1qDvLCOEeFefSNUNetMMXXbgef6II32PhIJuKm1qjA1lwbQNBgbMILyXG5CHisjm0FZAOBO7ggEINLL0iIJ5qpW4qtviJSgaQmeUmGgjwoHd4Hh/wa6sYH+83PPtBz4kMCUinuBSABIEj4JlZzyHpegikbZ93dajutPLQwLRMztfFWxe4fUvJ6UMhiRTev364vRrtOkunFlVWCV336/8Nw+BorvhYkJU5ddr873nRgcxkdlviAohaqJIDb0NVLmA9unw9MXtoZmcCZ6h+1gvHX0RLSjdTz2ajZ4AYZiLDza9TBubmIieLNguZvjYM33kgIWKLbdXIKk2CAqwSoKD4hPDDGItSDnXMQ78B7Yo3wGZ0/887qi9eMT0H+h7v5ENqe0ueaLwJU8F6j2tsrUg+tb5kUIQFy3J1A4IP75G7yTpbOUFxVRCn4rb7iTCYIn+RrgxdFKeKticBZgOsqnQaJEggFQS4DMxb6DpHj+cdrFuQ6PJJbPYnxaytj8GukyHqMrqf0wMP2PRdvQ93w0HJ2CTtgulpNyfJTOx0LsFwHVL1MAQwxQlbsAPgs+GPEcAxzdbspBGH/Hfu7B10mFvowLmy6cptkcqFNV0pUu9w/r5gZhD9oBMRGnw9iD1TKlinLtneGPWsoBQOvk7GOr9IKHmlw/3+j302CxkqmKwH0JSyK8UzWpDuOkDDM+XAq5K4q/c5tZm9DzcJ0uaxosGTLMEzF3Iq65KdIL+h9pNRU7Endgi8g3wiG4WNN1Olp9cfPO0mAs30mJ5ByGWf4yONHCrP55RR1aerGNZnC8JBihwcJgpX4S/0cfKnsdAXHRP6kYDS7PVLi0jG6WhA+t67OrrVGx/4Sa233hifvwAaYKGYpC8zDbDbweg4Kzn+/QbZ5586bMdu2Y+vScJin32K6Use6iNYEDV2P0OuHhvr8k2YBkvsQitETU5eSRVTcwFMKgwELF0agLp4Vkfd0KjKhjKPVZl/RpnBxfplpfwFGYZQID7OsAHWcZGsdXPLGIf3ArPF3+bwk9gI+xmP7qYvkb4HftsfcUFPBuOdR1Gdw0sT65H0bsv7FXMCnAeK505eKIGa7RMaetZL3d/08TOca1YmeZjqbc4aCJVWb59geSrY8Z62miOZLBb1mtpbu7ygDQ+//xP+eMwH2sWS8oIJ3r5DP6e0NQPyLj2CtbKdVC5nFyS8tLKNp4akn04lCcUdWDQnEsRLO9luc8AdxAFmFKIMxSXrtKOy14yhO4LPpxAOQZItReDpyzYQeEO2dx5PSMs8qB+ODf/rD7+Oa0DY5P6Y+OrOpIkJBhlfr8WXLee9odmWgJaOyy0Z+Jt0HTm3Jm63zTNtn3S0pU9x5QAFVed3unkCLNSASFFDJapngh+ol0GQmV5fbWvdL04juJE6+KwMP90hj0N9rpQKv2KovKo+vJSzKHRTpy46PzpH3/x3QFE6bRjWyID0jslEfUwXfDT5QYusDCXmOve5fqvS6iLhdlkwD7HVshYDlLnh8ib/7kydk2SyfSQPazOk9zw5su0GFCs6wMJdqltPBV+s+sLg2v9XaqV+1diThNQrmXM4KvLAmGJT/5mGZbuSka/Or+2i5zZdvLUBDMN4KNVXXuhHPhFBjktDrT5F//UVtKpGiCUrD6Z4OW2rRZ3UjVMs4UxBL0UuXxJtP6K/4pFk/BSEsffFV8UJr9Ymon4RYiSQ5VF7HlX9G98xcbXxz7Ud5x7fbINIaIsPcYc5xQEJI37I4Vw3R0nCnc1NCRVceSXdTCpyXxFdcHpm3ty6PtE6jhzylu+SwsDPsKvynuXw0QqHRIoJU2Sf4LMidRIfKFFAKM3vfGo+B2lOiZcHdiGZAUs+0O7lhs2ABYL+32/VV9CFhU521d+TaoclMtgiHDuQO0GnDvfXlYj0M72OpJUnwA+6S0sWvCJvqkzMJQGu/GvrXG1CgRKV6RcNHL6COeGA1hF6vpE8BY9jng3/TrKfBN/r5pmUMTl3HptOxThPdvLMhbEGarGtbybocFAQuyF9+dLkeTOmEcWcj1XKUBq/oDDLWBDxrY+yXdD9b9c1f4FQP97rryJ9KBCxpbP9GknXhEdG1wCj3gyYH7suJqmfiGttQEOTaZPL2NXTEx8DzsIwdqNiqa45FKepF7LwS0M6Il+mUQw1CQaj4dxmkT2tYGtZ8jeuNpQ/mJAvAtKXHsNS8KSrFTv78Z2jpNYvI2UK2ybYnUWbeX0iCzzctXCg3RajPgSphJMsYExAN3xlGs7gzR6sBG4DK6n4AugdnBq0V4odLtxPXa3jWMKy5N4W5kVfmwvc4tk/NFvh+Tckm5/y5EmzSvHBTxv301uPW/31rGVHv9Gb+TvKOcJBlrW3Rgj7ecOfRa957PRWOiSHtvo17p/PB+XQzhnhFLYFt/kxcUyl5bSLM5+RWwRh0jG0l4OpFhNjXlI2bs6yB59vu3WTU+7rquCHyRikUbpaQdnS5zX+qInbmLreXe20Xwl0mi7fHjqtp6eikuQnv3DMepxzDjBkTPGiWT/4QQVCLxnxBmXztI6//KpILdRrXcGTMfo+/F/AKzjQvhPbKMqqPV6TiEHC9mKjCd3O6gKLLbRRbfMx0O3XjNindMJ/GErJ4DoLmcqX4VYCZL6PItbknpqwTIKKRk4/HuRldJJBKKb3id3s0ATI95f+3sTEBPyzSIHSLHo/1jcZwJIuGtPyg9ar53ZwniRVonrEOc32mZGlMBLHkcM97C4If0EYMZs4I0BQPGCTBanJMtlDL8ffD6plzXWOdv4flCJ5QJKlphYo9xnw6hPoVOhC+5XTTAyDfo9zgLnCxObDkTQIbiPYp6ef7Z69hGhnlNI70AvcEzPdVMie0Csz9HDYdpOrxtYVehtEN+RNnmHabZ7qEt0ozRX3DGdfOjFNO3Tg50fGPZ8MPxd3dApd5OmJl6XaRMlGDBHVwlNTt7SnwhCw9kivGwGT15kK2m5HK/6A2rx4Jr0cKVn6/7MMkLE93REL/DRAfmiH+doKhfMrcwgAHiBwIMYzhHEf023zuPeZQWJbxoLmWkX/Ly8tpSJFuvpnphst6j/G+GgrF3XLqIZjJ5Kpz25Bdmgpx654GH25BAucSJiWJ42jBOywmzDZWb1v5UiqfYFPNdCIv1RfdJlAp1zHobATYmhzcvddU8Wl4Pc0j3NELKKMKP9D7/UC9fVlOkOjD4f3ACMVh3rGzbhsVQ70O2wWbhuRYnQRdh0sXvHns7UE6xdhG5P9R7dPpUt9msC7X/x12N5wYDG6aRqFT1luepwGm4+4DyOn9J6OBF2O5bAmMA9MgjhSRFTQ5N7oM+vkac0yr8YSQtLQ+rMg7cqWrckp6f0ps+QntiExd66eIlYA7qkkiYHyc2bs7a45HSoNMWrnTVd2iZ4g8/kD9zQbBJfSE6J0Y7q34yxPJxD75Ky4NGIjTAyAPyIrZOGAfO0SwGnTNsUw0puye80rG18zS+WutoKKeCR18u4pHE4or5h8Z/8hPYC1w/pAj8eEW7ISvizQrAhvFMx+zexXV/rq4CjJpSO3RGD5cZb2UEKfJk4XsdlyzIqeS9rIzth1m1rh0nlgl6NfFG5q3kdYkYQTI8aak7YwHp6PwF9fkl9I6Wvad1FzuCp4K5aQjRxGyRxuZ5vLIVNl7CKY5RANEeWyUmD39ydnrpvVaRQFHbYxzNCmTBAXq8AKdRlbamm8yW1Lq5dGBfbH9TiWKNUy1ljmmZRKXA2zkb49Y4+hKB642iXEaAWthdifs3kWGoSz3UdnA2ziiZfVds//ir6V06DTluHEIPmmajp6MjH+N83uKWY3C7Kf728iYJyh/v+9C2S9ICD3EBRYPz+AcpvheP6MJhenj467yHTUKL5q8dtm4yYc29+o9Gs0LVS48c0lntM10tXrpF5WpUf4lDoynh9uIUI3h2Y7jkk+BudRHy34TmMsp2bnoU2bWoQn64fi23u7mG2Fh1/pappvoK6OfpFzuWROTUXNfHB56HmmHC3dZdD15/bpJNUC4ZL4g6DFNNoQNMdvKx/pLqrDQww+o31nm9vpR8tacdbdsIYEhwCJ5vCGEoygsNkb0V8TnFLguLD1ldwKEyFPQNppzKPMALU3NZfivxJO6N1u24B1FiOLI/tR7G9K9wqz5asLpjQVrtRkmWDybaVwoL5xrZQxOp9nkS1i2ReBk7u3mJv2Ch99DlbFyxMMbjG3eue0psCgoVKK3dMvWMDxnQwEga6H0D7JCMXMsuKxBSphFuo20fbFboFKco99lafz2ieWpzhjjSDbzq5JBRBpz26NJmNUKwS2WI+gJOzyst9pSjlmJgdK008FkSjW9sD10h337fKOKbvxb4kurnelJY8YWdbniaAZvHTSQtsORleBt0tZkusIZuQv9PbVXl+wUi05KWGMX8bwdAF1omZCaZAEtMo39+FSa1lDAeYRt6Zad3cXr/mdiRDyBp+dteHoHHC6kbjmx4HFk2v1udRrva2jh8YpBNVKUZvInDQo3G+7XRBJBcwQUUPODLMDKgUHnYOydY04NiE48O0Hj6NkPX4Wnaf1zxecMSOQbOZHZaaKL4zXWKi8banxqFLKzYz8RhZLyLiOAf02lfugulJeT/9jmcZqLqd9tZmvrcIT68lW+WMT0uy5/2lRvC8TC0c7sDvn1ZSKxziAp47qW2ueyT58DLLJ/5at01oBp0cMg6W/joyAG5dDEJ8thiBvd32UXhQ+6b0CR2/MLpIG/6Jz3GmbeCLac0qo8bpacG+DvESNkmi29OwL/kx4lqz8aklcHR0RorHtJDOBC1pOPzuyL17lN9ia3/GiylFmCmIxGv3du9MPiiI+rPuwtb81qXVvMniHc18gmAwJ7giaV337mOX7VGPmCAcDe3UID/ckNC01HsmxhNvQl+rHb1iAzoU7bEf8Vbze1Q4gmox4miV6Qzfsc6aK2YrrbvI9o8dqTPP9RFyyUzUA7zvy+DL/JtKPX9En/FoOJask5uqFLZ1ndvs06zrJ/XnDY9DaLnt6xQdUZrI0hyTZORcuz+2Tl95xewD8aIk5uPn6Xee0oEyR907pzG4awfLkydeweJL6R+EkjO3+O4MYpN4hQqx7JA8g3c58Nm3SDchsQviT17t/7Zf/qY0WNpRQbUJU65pDwv0miiJe9d+PSspoa1ZliLtg7fxhnGp8uBRLzbV3DW+YcyPpz+Gbzc95n39MlKH3RRP8NzVGFvBQ+E3DMF/f39K/c/0IrwtLWnoRPWWGWiv3a03moEM6aVYBWE3EIXqP5JLc8AoN50apQzPh0LBTq7b7KKZGV4GA0en/O7RH//mCPxK+uj5hZCoK+1nTmpWekxG8uIL4iAMObwQtUbE0vGREgKZllFUaQIVIRPmr9j8OHUT04ZOMf2YsWHIomNMgM5v0w9vHtg+5XXRFs8bspKmkXEKqU2cxdc7qcF0rnSr5n+sAbfPYSi4ZwM0JahBrjiZWd84lsU/LNQaBbGxaIeoO4GwsMPjy6dYzUmGcoEuXTStaJAovI1ojW2hnNlEpcmFYI+5fT+SbWwRWrP65wAoPaDiPSRnxYwm1gEF5s+9/0hZCd67SgslcqEtufnE1+O9oLZ52aKWyCbmZZLql4ly15CMA2yGO5rEln4Vb+ONX5mU6NN7QOSkQQYrG3Ac3oe3k1uXup715BfsNCIxQFslfa4tn6rQ6dvr4TAwEYhgytYljMuhfMtNi+CMSRrHeTghL3YLLI5+S6YiPgq3kOCYwG+YYfOt2QweMMMjEZtHoq+8OYJjENmL3cAZz/md0WAyISyV7Oc6n2vURPPxWXqPlAQd7Pr2O8eIcg9dLRERlcDmC9XWZsgnqR/6Aib7CFM1/+7/qmweDWhgBxVll0kwCjQh5WyDodYo4mB+1hYjDw1RTTKimC0Z46MFziv16SAULK8vvEYuqJ2TeccgpqMwhwloGJy+2GKQ9ylzn3ZyZieIz24pWC0QYRk2s+bTfDzMMzg0PCCHOKopnSNeIXdlLTH+bVzIYU1NhlIzHy/fsJefPRkX19/DIT2tqTDWyHpmD/0vxJVkiqliLZyUy6KKNI3svxSBIE8ecY2TXYlwGBcIdZGvqlXn9FLPvVseSAG93UIjf+7/8lwTS7Wa5rTiAK+SLrEnPz2rw5J8u65pyYQQs+vXVXuwMKfZe+aRcUthVT7W8VzeojceaRURXzx90XfbZZbriIFRh5cpTlbgbzVSCPuyEXGT7iMvb7BoQ1/pYpqZfVPiMI4i86t0KLVH0Mpy47zfpnxr9SXVHeb152ufxbqgKeCeYjnqfDHoyggTjtkNQ8Z71hsbRdpgXSWmDd24ZRHnjmVsrmeuaLiRZYBEDxJ4OeFqdtEL7nd1MF70EOEdGfuVhe9Eo1fXrZ9/kGidQnZmISORBPqNbWDvhJbsvyt0hqjSfVewVJpK6Djexhcm/iOnFpiYoLjZoFZwgabDyEFVzRLrvgMVAPC9U/tCYMgxwvJv3OewVSKeSGSuBT3/7Ny0f9p1giIwQWE0prgYzT+8+Qr6a8COBVTjnjWuWM6cP2vFQ2GaFJbEeiXg/Jz6O+gtAV0ojkQPL4UGXzz9OX/QvOckeeAoGEqSzl1MXJlHHqpmDAmcBxwS3Fg6IOfAU0uKkS2wfnrlctU7qH+VUVuwabmA2dPplmIvhqPh0eQep0x9y3XJh4VjySoMENWc8UVesQHFOWb/Rt5Yln7jatBYkH90OfiZzwfxVGSvtNX/ZQ3BxtmCkArTC3hOD+CjUgRpTn17Zo6yJvPuy9NvaW9HPrSqgAand9Eo4KyY+2SjEckfdcbICvfcIRxZZwUhC6FQQcYFKH70DkQqef/YbSq415+hb2iwtTsEJ0ajt9B0lRsUi3etoFd0m6dlgXr85wiLMDZR6LEM74MeoMqYV2ti/3dNZqaQQkOHRCQpNhFla1WqffBgJB5e5jZXcuzzx2SyZT3dI1bWpC4qaGYZUKoB+XBnVvC44Gfoouqux8FInyyyfS1/EFaFOkwnoEc5QbB02QZBQxxuGzGgfJK0vg0wfEdoZJmLPl2UfHJ6aTsxNVs3EWBbeWXCxzJVR8/n2XDz/TAuEWoRESpmaAJ9zHWTQZK7yyzYDB8WcWTvSeTbq8MWPuWecRkQK5BQsmH9uTSJx8rmFiuClQKfqE2Rq7bEmVp2UVd3KBQZ+Wo9MSSa7cbEH3vED8LPYVf4Ln+Yfy56eA2OJVppFZkkk9B5IqZCCTFxu/xLw0ymaaD6VR8MDBKwAxi47fmiRYM4MbdhZ1EQieIx4XIhbfoNJLeP20m38sCivVPNv0g2AraEryullVcsIR8ZzeoMpISoSYT/0QRDyLlckjRkTo9A+XjKi0K6f05pNFhAryttFmtjYmq+82VZUggiirk3GKuoPScI727TvPvgV7mG3NfAMlgDGjrxqBHyIqU3JbDtq79sZFWN8pscwr7jd4jef5MuPi4Y5yTibCzHVdE8Hdf/x1RbCElLATH8M/HWbPvvMskLNvZ5ODN5jcHqUB3xsM+WoM7vfyErXvedVdWHGGkaEwcyTgaJtiBgbHLCR2p8Xm3CQmYe4JQ6fUmifW8C7uXdjF62Ru6t/sjZmr87GjmBIcr8QbgrVBMc5p39qnz2iWZLC9Zp4j+/Fki1Vvsx/ghtjZwC1qqLL21d3JC1s5xOGPNIPmncvkIUqO2A/cIB9CUwEUfOmhpYgYxZAztMlL0+9/4K8eT9aiOaFBtipLIAgMAl1+vIaMZ+VTYi1x2yACExIeV3Jv8gieQ4nQG9hD3DD+ae9zeuaWSqFi9FHIjK/i9xbZv9d6jLFFziZfWXopo27xw3w5ZJ4zAKnWfDl+W9Wdo8VELcj+rin4ysa1hG76ByiNxAcU2ImYUSLqILWOV0FfzE6+x4Tpcm5/ZsPNkc2lVgkUdsqDyzAPTqdQrKuTu+z64QINhy+pipsrOsA0H2Ij3osJqFeOuLEsanptMQ7BMiqAgMc9eaBJIlVltQ1ijOVnHMLSEbkTPQCbAFyhOGEVQ2Wwfn5uZvby8GLAOiqImd8OfR08Sm0jigxbVN09mdmY+4Oj5oKPu1axA4xkknE5I9lczqeQULYPv2VNUHo7RKoCa+ZaQlVRVlym7acP1URdXGylrjlz5l/ttQ0Bb69u6McudZvY0hga0z476Vdh6iJGcFw4v2SuKl/VIRiO3g2nuccbpJi4ii/HQUfLiNQNRUYcV7KOZ2b46oc1qxoTVSDWJB/ZxShWXTMuwuy+AyjjRe/G5D7RGrwMge2xmvwjQNDDw24hqNk5Qsfvj32aI4hysN8HG+ioYh8afsjPnNJwU5y/X7K/b57pLgeMFE0P8/kXldenjWM5qQbYaieCv2ejPWw+6BZnqRpdM4NnjSR2h7o330QUoKSRDUoK0pBg2uW1/1U5eK7D0Kx7piOWB0czCTalY3iqE8NONjbMf0a2xW6m0qAZojcEGC4RekbY4+BEprXhc106dnQTfcD1q7MzaRJuw7xy+RGfUsT9gH+MR3pYUkA2mMOSJr0nRYR9pByjpG4Uj45owXsqT6KlOWzXRlJznXPRY4qs+sDM7gSc/rHQc1THStWCqle089dWiZJPlSek6HjE/U7/PY1C2vvt1eXIg7PjCIZJGQ3+FfraHnLTN4G7Tw7A54BrLBLzAIP/thYaLA++Ggm7H6DeZJ6hktoYcK8Rg5ZfphawZbIfE1bp2eq+/zMIrDBf0U9lqKpmmrROsZngLDs84BS9mhMYtisjnZPzp4ZQ3o5Mqd0uZOEVpxse8uad3GEzuciYM2mAA65xpZbHyn6WH1HN6hHlLP4XEWFGz3nblcTsEuksne5X0/n/T5bzNPD9HMWw7JleQXkmPKwsj953I5o5sLbYQra0QjZq9MCoXB0xQ/8xxVRJMZpiPTlx3LpnHLPaqv4fy93qk6ef75WjgZhIaeYjBLugZc3wbPoVmJjvSUE+SJ8owiNn8gu2M2xHMs/ZXBMZG7sB3K4slDWTccqy1G4YiILSf5vlDdEltScN+oCxCK1cuP7Ov9Q4GeztBzpwdXWQSTMkKSoV4MNapT0PHOUhAgqszoSBfV4bgb/h9khV1XPQTgHqhgdx6n0HZr2EH2oOfWQSdX7E4f/ThRu9YIkhmLwXkX7v2qcn0cAbQAZtePgRSRgr95bQOE3UIBKJeMhqOBaNk7jPwZwGCGDhp1CMV7QekbiZUNRg/klWurbAiwPnAtOdOR1sjDaET4H/kTRGjHu4LOQTqgslI7rz8+JyZgaHLl1b8cV6jqd5+XMfjDrqPPk4d4/RBXduboP1TBAHytrdhM4Q3tBOVypNXK7L4+LjroMkp2YLE0K7fHI5RIYcdR4nC/c8iOn3dF37/NCr0+HRGEHcktU+9SNuXyNYiJh1zGZ/hMaACTQKyZLFUicZAmO3CjdOhuO6jbhs1agdN+tWkdntaaUbDnxgIWX8UnsLORR2QIhDAfpNyz1ImENdLFwctscS1Fg0Ca1VD9VemZWZeaHqxy12CFpWmnx/sPu/o1WzlrSiek1b34kOYB+I+PNzecI2NHuXroA9gaMr+rQSrR4M71rKI0srN21Uh4h0XpN5FMNpAdDtm8wFzfYPW0BZSe+OlgIHsSWFjvbW5Pp/6uNxgSbCGmTcOyCfsoG3YIDGFFMRMUy63NhM0HHKMRC86lwuX3xKrdtgs/HcvoAijnVO/zkx53+D9B9f9M97jF2mAe6DpkGZgXbmh8tQjR2PjAzC0sb/C1cfSa5LpOGf3bBHCkVIqp7D6DVyMAYxThPZItb9zz/jkxfQgJRHbmOupnGm0o6Alx6pYyJ/KKCgGnBibucvQ4sEQ1nmDkRgBLO6BpYGMY4ZqL+vlnU34Uocwtroroz+ItWu2rxo2m9nlQTvD0ugBHo3Nl9Np+ODkBPLmcPKcKaGRdgro2z2TYXZlET8Qx0b/dUDrW8OpCxukqHWrwPBpbONabi8PyoI1QumpfPgfReoq9TYpnDlSQwsyrO65OQ1K+OtVozv5JbQKL9vzSUN6WjY6wv7S0xg9/80OLWjiwj9hVNF1PXwLbkx9l3G9BLLW3oZpbU3e44MB/dXkfoBJhpCF89tyLIR/vXfCH4m3TJOnAhZOUz6S12uYcxF41wPvywLmwTjSf10ArTwOSZp3UAG7KFihus3zs06lQOXmqNsPNjG4Ktg709j9k0e+YtT5O/ZiWVo5nPOM44pFOyfsCpX59UI3AzCE81Iv5kssiMfU6XPG7IqRgy+IGnhJsaFhEJeKk74BhBImrwV0TMWE/cgGHg+igz13ICRkX4XuQWLdWn9gKgFB291cBHpSX5YuLx7oGOg0BZ3xgUsUS5T6RoeRiX4UR57/PIU1EhGToDurw9ijmEaSTZ19X6xgfpgI7Y+kCYjWTLZEO9DteD5k11MmAvuskd76saiv7GFPQMKjNswlfU59Bm035DYxIQWqaNaCMTUwR1bX+RCWKwKQQETtQEDdCP2MY0/hBoPcEepx09yhpL+Gvkpx9AYb1vQ7FFPkOyGCwt9/ayieq3fYyL22csB0a0D0CzNA72o6enRMeYTILHucJg6A21tB1eKF1LWX19VCoC0xtsELVGa/UOubKkwAFjM49PAYE1SOpgdCXfWSGVcszMhx7co4pnNiimpPBcY4NDSaFXExJ3oWnxZ9aP7P45yNO9djluFQTAz9moxnaQkLJno5mY72uhRZOlOi4i95NZGtvngMAaaPkz+wj/tpbPylHLxyhJqPQ8LgJSOip5/Q3z5U7R3fev8idomh38bWaQOgmbo9mHJQOaDCL3rspQ3tMln8XJpsBU2RTmGLtoDy1FKfUDk23O9ESqewcKqEBXMiB/qwYBLzNu7Dw8Qjg85BFyJFnycMGTYOE8M4qBreSku4cXSmt4xnYTL7QQBVLqSe1hu1YhO8qCWXfWgaJNreULWyhEHd2l1x2EoYV4fMg/P7elzrG6v86rvZLuVj/oexfFzovnFqYKHa58vwdWt3kL8jHvK3ffooS2Vj7IsiUOtWO/vnmQyU5tcdt3vmSd17lw1H6Z8WnR/1YNNy2LoYm75n/xaWJDxqtLCmxtje+e56HRdxnDyesc1U/JXQedkI0ODOKfCvx7HJJXOraK6lxyWBRxiCTJBlSa9rS6sn0K4BLv1KWAqbzkBThK2S1Np8pkOFUvl+peASaD3jP4akNWiTCvzHzarbzNFjkFkSUpMQtoYw/jT7wWS2rDxxqMmW53zL4YSRIF0Em0qzwIF87YKBM89vUiTiVljrG0CnY66+4x80vNYV0KrkveB/zOmfhr5PUaZTvQHl7GOlh0BQ8C8kHojFlpRKbiIe1RftjCoSkfREjjCEcBt/gYYBCOvesPThsZ/4Dgq32xjyeJdlMRIacILBEhJRp1eQJhSW/UpH+/QraUCaNFuYCs4Tv6U4wahoZ+jElKkIkan0UKYAI1NWN7hhHH5LlMadNPql2kO2PVJQdSqK/W4GCv9c/84VZbKXXmj4wb5Hwk+nEc+4bdPM5Gg34zy7htXu5fOyF/zZSdItYSXjHPto++1qaSzlBsTmfMh/YcIxhqlW0ULqfdLnstnnq+yu3r2TdIIj6kG7sJbbkKZjzhsYqSj6kLQUXaW0KW+4SuyfJq+v92aTFVkDvbXEgTO/zvzmpUgSbin5Wi8/EWtvc0+TW7mIjZf2E+7/QI44tl7RjZ0ycEka0prstgHx6l2xu+Aj484NrXJIBeCIYS075O+DXzz39XILmgrsszpyHgIUTsw+NxrPsvgff8muSUaoKfoFA8iS8hoH9MpVMXQ3TYMuviELNk8i2SZq5TCxmwaH9C1QtSIqvBsb6R7WHR+6ZD16VVNKPtH5XFdPFMeN7Jb2W8X2WTTlIvb6pDfXgtCGt+4w0iD+cGYpVJ5KEKbAmAQnTcTaMtn0y3JghSRnAtxN7xkb6ld6khpm2sbclo7D/xVTbrMi+VusxzlJtfSKYrhRerF0owsjTkTEPIh6MsMQQJICnFl4RzET3tdJ60FdtAvmqLQv6LYOcKM32teE9XVmQRoJEOZViBDimFTfZ8LShGZd1UyO3iMNHj6aGMUR4PEwNUNGTmDrp1KdgT7NsLV0/6fYlx+DFCZ8fXqKc3kZfschEHnmGKCe3O5un+TcKQgk5Wu8RuUqs4/KcYBUxuIb7+rB0DDKY8oUsXulyU6tpF8/LrsqSjGogpLds/hk7Y5Ow3TtsEUnRHGH1wl5+8mnFXpiluGkYNNKFz+FrA6z4m0gj21M7n/bbnKXOA3SJwEtpAHKpZoTDet5ayAxTktbXpnNR7pzmuNuqc12PDEIA5zL6L69MjwhELM9PP5CroSeQZYmk01aWPJ66Iu/b2gefhXfe1vEuc1Q/3fpyTPe0KuSubRP8t/woGtt8LjR6ZwX3wS6IQZpQtzF5kb/2gpE5qqDwYobvuZq8+NlottiCPNihmvJ5hPbD5knUkYCRtX1onggPL4i6gSg24F/8yAA70gIPRpbUd7BFJ0qVEAa5zxhBA1bj16nRqw/i1XO5W+RC1If2yCoRrNSDwTBPdFEtxAZvQUmWr7pR/8NxFv7kdg27shtSmLzMrhog5qDGtvyCt+jqTNS5UNpQlYd0NBeliLBrg1Srcm5vBJo8JiXntpXwG8pRt+qoSX+C5K3eNZgfm2VJg4KcOuhGy/L9eVcg6WvEvrBD7rUlTx3xn0DYT3s9XPY8ixMv5lLUZPcgWk2sOtR1OxO0UgQXvD2XyqJ+1qFLiHVU+Uzgj+PDy6Flfqu3IuJQ9Bwq0/4ijZl0MHO5AK4q4iBtUAOIRLZlOlH6eotTrT+yUBfhi4g3EuDd0iFsKLZgEHlVl2LkbWnHfYqf0BrdjmdKjQsc463VQWy5lwI1jlUYyWlfdU4+kRRLgcVJsmRO6PgXbEzcIsuDGQQ3mSk3+E/K1KLEaxl83uS46KiE9Chbe9BpGdMLLxAfGbdy4kmQJDJdazlejxqj/Kd3IIhVJgaib5UC4m4N7pWpate1h/Vws6iQyib9VOw6EtSC5EyVUnqaNSd7gBuIMqUAzJZ+KW+KYeZUkU0GRWzg5KtAia4AucXHJlbX1LUP/R7uMuuzixkFWjV40vOnj70AMoWAH+p0y4AB/dr9UMBmPHJtyZVJE1OuqxPXDx+T4xTGGUYVpE3olOTy1nt8p0Mp3SE/z6NkBYIxldW+0af+tZ50vjJ1sEM7/aUIqiTJgIIGjXYu5jjZo6/Z//emHi4ln8bjtux3YeZD4rYWTLQfeNyfRz/gdcdf0ExzJK9NsD4bV/s1MZhDmk5qEENBhZMScu0dWqRsWGBp2mpXYveds+LTPLKiq+rgbjersCAa4kYN2ficDZXHDx85NANdnTCjZlRwkB4UVvNAeI/a5YZJ85GjpvoOLR5XKWC4VbyJensBy77irm2v1bd+o/s8AvaVvXgzEciutgZTqGnEv0QgVBNlwEzE8WPBCzSfsN1lvtTx2xkrbIIBcoP46jMCdLpqeQJ84n4OWvjHdXs/3BECjtHNoqk6eFcKkJ0uwHXiesTvtpRZu8lVAHxrbAV+1PSifm0SdWo6swJ+9eLDqUsVaPI1bBAS8a4M9c5Q3BMIZWct0sDLGkQgnEdTOQphLMrCRBaQon36/50/WV+jVmpcqpfzX5qJFciXQJe7oP5WwOCx9Yi2m2r4isDS4IIYWrNyJn51MDGcukljxK18BeZHPRe+jY1XXPTsDfM9rdA8aL/QPOB5lqCp/rGg7n22X/DBUtwijJ+ZWCI5gtQAaQoYhxb4F7S7y9R9q+iAdA2AypG52fjJCrQSGzYcNwE3EWt73a+3bZh614EmTlXkP25186wIUBhq7/YizTbOLquj2HhouMHSJMrxjQwmcIpx/4NvC6pCCn3PHfusrvbsho1wiTmtq/ItTWUUjBuz2MtVggKT+5h/rA2gDv7O/RIacP2kzCsYuvBqxPKALpGe5YSuYa5MQcLB8jUJGA/qcCbrncD1MfE7j/sX0FBqnJNpwKvKLKZOFzl+VfTs9Xzfm2ez232QeWFhbiUwrUCPAQt/14lDKqPBZaap2mXZtw+9jIIxQkhtSjkOQz3Mn4KNhp4ezZ5/OBbP2qdJ5BTNSc8ShFImLovvV2djky4DyujRYM8Ez7EKYlP4KsYwC0mkEFkSAX7nL5vFLKWjDyUl8LkFhIc5ohfj7CoUyZHvv8agQBL6RpMhTUm8l/PtImqRRf3NNhtSFLp5MlTmuxDy6RHPTpIVoxuD1L/XbQbcAtgNU6b2ITJ5m1gygjWsmay5XEYk74PtnSd9xhkvmU/LpzAB8ONZZubfTOqWNEHdk5i3JsiYWNFhYWqRl+QMb/by6DO5qlVNG062STNw4H8aFxty1k3Ife3F0abogpR7LUsPyb7XooHKt6548JGSJx1Spsz/eiWRclVLXgCkiBTs7DOaYV7hhT8u0HwzrRjtcNdeF7O+wa2VCMuRCrSH7QTmSLSwwmtldV0AuWZpo3Sg4gxOGG/UUqA5iLcnezLNQDL67eOjJAylQN/Z0rG7OFJHiqn3oMGjDJoUtvLHFeLzCW1n+y3LC+/NIStB06swx4WKQEgXGx9KWj9RpF4GA50sgYBvG1xSqLBUeEcbA7syBgTmAF6CiCrnji8i81S2ZLMhJasIiGSNuZmo6hcmSEzr7Gt5khMPYMsJuWX7UpoX5eKvEsz4jou2C7DB4cUPe8K2Ol6tmMZMEZVH/89NKzJBDeTdd27glV2ZHJObmq/JQEX9/89sDGcjoN82K58eaSxvSnCziaAL6xLZFmZnIbPofk0GZ3yal566EN7nW5hOE8OI3RZ19DjzNgiD6eupIeYthnZ0MZyuKNuKCD5hrWiZcwp/e/npbbbsZT9u90SEb/OgtActe2MaOAdMqfHnVfpUjhPMtTugLIzvjDJVjlKnEHuZuHGd2dZw3R19AquViVHvQ+/P0Hv4jFGhzgZg9brx5smW3Wv1DnuLw6b/xzBO4NLZ2fnOR7gN7ZI10bgOmgkNKr5uXeDTblD3S6VlFfiFXXH9AP5NIRZU59vzbQ5TP3KollJGsSkYAMmV3miUvk/XFkJRuRZdxO/UPhlm9vHtO2gyJXLecRjXo8BYFvqsJD+P8Q1w1IIrqc6qMiQqIVwJgAk9Oad65qrpHiZP40HN5Dn8/5iWbi4jSodEkYjDviz3GQAPQaauyJgi5bgAadkP6uc7oIMWmJ7S4ve6hZSx708OSFOBiMrwjoGAFYTi7zOHiqXzpGf6ApS8zegKyPmW5ox3CMJksUS+0AgQKMbHS3mufGfZKsaZgrvtorAHnKTco3zrRBLBw6+tSJerv5O3KRFVoqzFjJAAlqbWsTBA32yVHI/+HBxy2JQ0k3DoWRDkfEagBacvbsKOxWo2IBqs9kGiMBkRhr7Qc6u09NjGLAdru/+9o5Ys+QtBe1WyX7KGzOKkilAuxTdGKIgOvBN80D0Il3T15iPsUQ48m/SlcZdZu5f6D+drUF6NpsSmKTV6V3yRHdT7ToEq0/57VJReMku/TNDac1LKJMd9NjXTl9FKf5O6slrZN3FzP/+LC93Iv/cN0eG27r/z77Pl8ZVtpvznx8Q/6Pyt2tUiirjY3E0eaLDzr+4kvXwLlOUmlU3lu6estisdMhXVQZ+hJWlDPo4LoIigripqT+yVFWK5w99oWWaFSWlAdhw6mH304DxmXN1ImW1pi/xZ22MjFm32iCW0sxcstgMu5DQUzvLdVFLhnJ4hNPhpfBUnnDbvrF62gvGkMk7KYzz2ZDbohBKuehfMMF7xn70xCh+wKtifY3bi8KOzsYAsKgdJNMWkQkrxiUuDMQyzRVwdFZgf/6YOJqKOk99LKSqMKqZB6yp1WW8upwE/orNRIVq64QmMni9pQWA+gXHygdZV538WPwQCkA4OrWA5VXS+vdyeIkq5B8kIL3PChTH6hR271XiVa+9A4fpsEzs7pzWtVHPOpfSw4F/DBW+YR9NEhBCzjdexnGA2gZoVjfnID75o+eLW0TyzD6VqEQ2uA2Bz644C6MPgZ/+vjtpo58YJ8nqE0DQEQOY5lgsYuJdJV5QmIs4CuSrIyN8Cu/7fWlvASwTreltXBIPwlVSUhqPuihEYFnH0GwuFyg353qZWzSUdv6K65lWoU2DhAifuNmAHqLJZAZIkeiJUTFJNwkkV2+IcDvV9I/cxylyY69okSgvyDAmtT9OwYpU5HMW8tL7pW4eDgZOt941QHbbj/adMnZkScqchUehBjZ/j8esO/GYNxBB9n+IVGCtRzIjkA8gZ1j55EXSld0fZDm1A5WcY4OpK486RbmFHhChzsE6sQRA0ewFQK/UYxoQshnymXwhbQg7RX/brooA45zPDYCR883P86RJsqyRnnYfN7oFyZf3QVavPn/ngBCgCaDiPeCxIE2cGZIdVf0WNNza12qwlOUwSinA1F3qBuJaeIQDvbPodguWBPPR5kBowJ86UQSXamAOPN27d/Phm5SIrDtbxyQ52udNUpXzXjmWPbQFkYJQs56liSvdWr1e1Ks3S/BE6wvF+9jttfniaPHnNnnFsKtWrCKnDT7avyNblnU8bMve2zdXrH/JWWTpG93rSFMqDR64mxGZYuOYWpwXroiBa+/i880wLdSUyIIBZ/xSA1RNdCc6abtTedid04cxjxC/InOcPTCTOoQLalUGlTkE7KyTfhYsdyK83DqThUnJAseeDeDe088FjjGl6oVoY6tSvRMN0vncXN6pZJh62wnT98dXwzUSMjrSaUZj0EzNJ1406kd6R7JB7TjBrokk4blL/rTc+brzit7fTL9nvWoHDChN/XdlnPXhK3onU0W/8yv4pMfowDpviF5j4ty9GErFU6TtofzMI0lp5J6pF0zTHsWabUBEQothuvgcub1+aT8wXzrtawRPMYQFCsAbU7/foGqGBN5ixyqfy2/0p3iRoKjninwC3cfS2lB7bjk+OqWMxKIsZW7Rp1B7Zp5QSmghF+He6m87RhUl5oTmix+FLL3/qkhUr4y8kQlinr08JNsskCVpaFhI/B5j+ATG13zgRNXwrbwh3YWW9W2fR+P+NvJYV6rdB+OsnB4p5YwbfXF9CsewexBxdkYzuPc06KyMtCTB2K4Oy78hdYVD/ClZnvvthTWp+DzH/vfcmnTQ9mtFbPDbaJOD+SK3mCGYxI7ywTt3TyLwVDRQCg8lD0zb1BU98ubHax9jidFzrC/vbrcW6K56XXyqPp+LuPkvv1nDXvAv2NAP8I7u484PBMV2ulU+sbiJ01HIk4AAGafl6Ub4yHdG2Rv8k0i0Sjvz2LHFT5pqaEYRp2BcOqY9jnv1gssgBV1FnaWXxQHRLLVL2lYX+GyayRdwO5bfw/hfhietkcgdCaPejB0qRMbEdBYqlKKir+UWONj/oLA+lK6zru8N9zdtx6jEorUbcZEJOB+rQhEXVUBDrqkIHq75+lL+C2RYhZdGbTZgTSknnLQ+Off4yUnCrTfvR1aTqkeM8ltfpOzn0eECN+h8CPu7cJUaxlSPi8wnCJSue2Hz7dIcJpkTwJm2OmdqEuNVsfpZ0hiMoXCvBt54ChfSB2ptHMqwOA31hm6repRt8bJlosrtq7cjOZsGdxlz1KE/SgVaMUyXFtgkU/BlPK9PX6bZUV7pGI9zs+OOOOiewMozvuJP7tJlnmZmy5qzD77jMydscljlba7iCepPXOlyqvOTVZuJ6ZTQQaa443XgwmceVwr7spAkeECep4Cs7Oeear5PelJOxJNI5auqQPFC4PAbWvijShZ1UguJlZATuZ3p1hNmU9bVHbTkuKBotdNI/LxYCH6+5NM2z9TKurNaJW44+A7Pa98PYRzMLcx0JEm2QbIsNtBgohQI77eG2Gd79apVnzeLy9h+vRxyJxVfgsGQDVcHnJ4wHywqspmMaGUxOKIwEa5O9hHnjsj32evNclj+aOxjdK6bP53r1zYHMuX0zg+i3MqncdAIe0GtdtLZb1tUBrcgv6pwyT744d+fVeGmQUqM/DFRc4lv2hGgkC+Fjfs/EL8YfSVoQjN0xzzmUMWfxM0Avx/Q4GYKEF2LNzSkrcrCvHrVBTGmDJHlI3UrpTkcGDPAt4ehUVS9uAix89CzvEyftrM0slTDu4mwf+fLgrLUScnvDB+JVnqyeP1yp654c/WGVMVzX+NLk7+bTfUpeuKIFr8FQ/n4A/CshoIs+Kzgdb5hXwI7bhxvNw2CRBivC8a7+thAzRM/3ToHTcc+7C3cKATAeKx5q99+e8zonyWxdSLFje+HPdKcfIsx0SaI9KBYjyt66RaI6J5FKVkowJcCbVIJuVMpyJ7cNIZBi9/8iDmz5jlFalhcDjCN5TJchOF1yICJ3XDsQMP26Fum54XyYmzQeM4kOKk186Sy5aTMX7/uS0oFgExOuFqbuTjeYTxOsMhIU6vMk03DRXoEFxg8Ha41xMeWIKFqpE00CZCIRhrsPD5af/zUpZRLOXFVMkfUV4jq99LSG2E7aiZkz+wXZSuHkmceNX8Z54eM9GVcLRamEk6LlekBvFyJzWnCrZ/8LdQNsVsj5F2/lRAgiltYSeCUDDQx26fqvh7OY7MZkQw4n5Ps11fRROff2mrRTZ9xpiTd706y1rKKool5Zox4ddNd6Ijkg/Oxao6dfowIkJ7HQsgo1dNhyPtYK0TjAzaybXYyT9mzBTpBhrhFilVoqE0Hk+QMUBaMXHYdxnfLLSkw5dcHpxND0l4ki/ioMwdsXyjTwZFIufdDozG6FCGnO+QufbWzGe+sxLtIKYoEranWMuHSE2czrKD/c53qtN8iDtnnqFpMW3XofmvH3iS6UZvbv+k1UJUFDL3L7PymlvKxO0Y1pEhx7Rssi5vGd0LQVhPt2dLc/L36UxtOmSQj3I139UtH75/JF/hmQGSwmR4RAOC6AmgvFa7PyfXaoBId2g1ycsvo4J9vVfRgB65gU8kbHYqqZ9iZJQWJQAo3diFde0wkilfpKcTl1bV4Y7TPlWu3LH+K0MHb+kqQQSDqHIH7eaR3YgZ/MXSANUdu8SWfNuf9FLfoqJydTghnUo6nsqQuh78z5ouwpsQFjinEdQL1AWNOdjNT+XRa2/7yR7daD966wrSuef8n6e7czbIXdS25lRisMgZCkFYcQkwudKdYr1X3ZLCv//q9qOrLEL+mb5CKOrKT0i3/fTGx73MfQL6xvPq1ji+efD5V6HsZWZiqbPcDUiParLPDVoUn/EUNMAHhWiYUJ69eB7A99qLcZzmUupXrWhZvxx1rKAMVDkZnem0VmMsOwzahOVAqMxxjfEJXE6SSy4QQtEKxULE8EGO8TUwGdUEJSghZa4rNHI/GQO7UCzdWyfUdybElNWLhtMxoUZzA/a/Zno85j2rgIYDADZWQIsZHceaJhZXnX+4bVa9iDsdE9O1eHbd13pG3A0hBpivNEPHw7T5jBzgDDTgB3fclxwgGMa9wqNj8wM0+Ja4rLFWM91Npdll8xfavf8dZHjCdSI/d6ZOQ2G2XqC6jR9xav3vFBDILLm3rAO6x8Z+mVXZKhVu2PKxqpk3GEcbKSue8NqZ1+oZ9yRSctHZWHXz/Cei2TzNAr8vgWaiVQ4yLIkZFrhOgnQJFvvGXsOW+aUDLEO7+E/uL1v4Eu+N8deQoQ+4BCEUbNMN8qbyCvRmskBRQs2yvWSuOl/W5MYrDxYjmtipzSJfa4WMQA5zix4/JfFRo4lhHGQLxUrmtraZSenvEH1wOf8Pq/T6rXhCNSuKsNeZwH1rhCYCSqkLy6pPEIkJWAhvGBfZdR5cQLeKyQvH6ZCkMa12KS9+pl+uSiVqRyR0ia3qs13kBFGHbUOU8qKuoBo07f8LEWzeMDCKu7SVklS15/hrd3PJ/m6NBnJLYdZfXfJW4MFGZmVEAJAGQh4whwFLNDoaROPeEmybp+Z1poo0vjBEH4HaTHXZPmCVbvNYmmlX2DDeLDUPXgwCNuQrz2W16u5Py7Hg/ahvYM8aBR3U42ReQLmp3Xd2ihGFdTSpTajUTa2nWWABb6zTErUCmDRYAGaU/d2NqvAEKmenLIdYM5Uey8D9/nsGkSYNn3ymxoKl+cX+qBi//upxXB5mG1YcvoHbWXQ5yGZIIZKbSjR6R4ARfiaKW4Phmpcq41jOaYznMb85EbJBarUVnrn6C3alL+MWEN4g5rI+gTOdCVKjk0hdOuc61QCqX3SSt9I8h0rI68W/aR7oZz2SBxheeLy1rDck1dYh7PernsD67k5oe6nqK0aHgFJGQ7NU0LqlOX1PbCLUWp8XvT28vTiEwxTWDWS6+Ig/yBtHu6dOmABDEFHJfPTOuwt+W76cGNgKJ7jvXDN3HPeWDU77upFahXtedrcK/0+zHLVqIjGu+Itr5QSbS6BR4Ye7qTZZrx1gDzD6tUUq/W6kjmIA2jcWJH5dYxgR9Plcb/7X58CMqqkjeqf9ztmhh5q24xZe4oMTTFQitK3J/I/xrX15eWMOI/z+L5ZAyDrUEIIMT+oceh6ks+Zyx1yH/0+b5RexNTg7MpVFa+rf990PtstVMGM4X5LwFULiKzRliYDhTlzoBiMtfMgJDQyiyUWOGwkcwIXRHLiEdBi5W4vDhpAEgfm9MYGz3qcSQqtfMIXDXzu91CoeudgSSPkeEYSce9Ha6gzA5WEZiKaAdIFHXN3hd6KNmGrhm3Sx0uqkX5xBzlzwi0k0j3qB3pqPUspzkNbeChcMqfhIk5LMpiJHSJxW/aBMEkrkxhpJ35CqoA6+ByW5bJ1dFJsJwzSoAtLv1S3CgeeUt+KvZDbQexHahhu3fC4d546xQH1XhjN07rpdYZRqRlnqQKGFDFidV1jLDL480G7fPU48QXao7Kut7L6qQc4G/ijh/uo9Eq37HXS3XDpmB9GsDO1zQfnA01AdHohk8Y6MDxNiVnH2qbCRl0DP2se7ZF9NyOlyf6JkcWlr4g12jCZ6hYpc858cW9xU9IMJtKkYuQlBB3WKCUUCpuHkXftpwqO/ZPbtvoRaAz4ywabD7NlKYsku0v2cbO+NBODuEvPs1/01Iu8aive2NzW13JjzpRj0fwRLEXfr7x/+CIIUs3GZCSJFNHU9hAOcdSriZRRIS+4YprjKeGroETds8eMioGyy7jNyVstkKIkpGdvtNIcQjGUl/jB8CK6DXuadA7uLP2p+bQREE4s+03yYecbad7MZw1qsTOZ7uXC+EQs7C/ZSx5mytSIT9y4Cc/v/71CIJchTLW8zYekWXqoSJmnB8FAAiNQM7KUrf7Q5NG1er5/rb9s+tLsAvserSQ3YZ0xPDjjuAgw/t0wD0wYesxbNjCy5HS1covcLAOxpaIlvPG8ixcMQsw08KBz3T3cpn1f0xa8xv+3pq/hiBQ1eV6CwujCde/qQGr6QkERXvWiB4lHbHW5dZzuTUjX15LhJhqu0kUeraL08YCazmfO0igGCYXsb7DmPZg1NlWZrIHCNXxiUa0KT6G5X42QB+vwuNEr/pkOoXCSorbcjUumcbOYkXIDle1357Si1j4y4UsIDMTbcF9wS0DGLP6VaT5ppTmtC1+cVX4ltea1N3//t1i2XKFoDtIsVH3aWOCUoyl1v3k1akLeZnSL+RZ4PavowONUODNCHgooTmXKCrn79Wg+FSrVaLQk43l4e32Rmomk7nxR3Z3+UKmleO/msGeo901Nl8uVTbbHUrjLaDIGDd3xdd5ZZ3Vyl14eRqDUVHgNkos7eEi8ccNJS2JdYPxorCmPe+QTK2Ni+VdZgs5Xnv4UBKd7bcNzNSjytsWF8A7CrpRcUGw9wLWo+0ow036XQ8LNgJi/IIvjDzDJNplHrITsGklJwAlLa165+NhIx7o+ArQFhrBAVXeizW2DfwHI5mW0InBgko4k5jEC7ZYveRBxhEyjrFvpevOqNqJ9wL5qqSmK+yPxwr63YAUTWHNo0xHntM0okWNL+6lR+JLlNV9rOy/xC0Rj6ORmJ535yGSZ94uSVknVZRsIMkzMgWsM6+eyTC7MhAJtnyEHc1x1Mbx1fsRiSXF0qjnfEcPOAlCvAnz7/2lScS/1iuU0WciuTipla13MnZX7m2M7HsIwS2YvOAsKYLr7g5h+vtEOdgdz5bIcRPwAUfPISRIFMckbF/oQ6a9xceIFTfTlC9MH3t0Go31Hk7LNRNMdkomNTfEypspbP+E7KM21e1Ht8S1Nlm/IBJdLjenu931MtgQZuYDqL3VjQp66PV0HkTQXHaI18F2CiLxYjPpFfbio/tT2ko8tl7e8yw0s5Jnqs+1qTXudeOrgdkOTe0rzYKTnlVpYI81+rh8okxEu7LzwCoHmXyoCDrXPltHwO4zcIoYCnk2yM1pZTlQgapl4rL7OWTKZDdYDDURs/pqFQ0LjHMPQm1IkmsnrUuWjfHjbA6hsja3r9cMM+jB7cDR4MmlsdmvRmi9gWH0lnyPulEwJTFRi4SbtyZ7DdSbyFIUctGjbXZ92dnGnCXpNnYj3NwEVj+ZKKyZmdyxSH8NOPA06JdmWOZFd3LwWOh4lE2wAsuA7dNIAS/EmN2eZs/0iD2jugzlwp037/K9DDPXIyF7ohrgaSkcx+nolgV8np57ZwFXoIMtrTPzA1csDHCmhOWm9rhdvAzUkTUrlrlkCrq+rZcnB/ZukBlzTVoQrZZQNC3gM1Lgv0Eqr5PBZU/2iJSY47bYrovSt2DBLiBWP7bk9PRkt6JvCRy3+TvxkrixV/HiKVrXSxFSUGh4EL31siGHaZ248Yet9Q/MflSwxFZqysmbA4KBFvhxyUz/VtJBfU5Q1TyGWnXIYuQ5tr0FPHpqlTcMWrxjxMhuKRhItKMMxjvJRZI9hddBs2cNqTVmv9Q/zq2wuwEQZVcnOKRpQVzqCrpbOi6tRyXnmqeuzaMZXFiLGyV/Z83xTiKSkFU0gbN2/WwnpYccPl0l/0AXxpfvebi9KinUaPYggpA6JP0gqdRFaHEZaN4BBEks6agLYGuWZtSl0xEUYHd9vClHUJk4qpRTQ4+ivxEBCO2uYFKclJm9K37VwZxWusNdxrZ37ykoHceLL1i2rOSVMROrm4/+2dq5htSkO1P07Fu6ap4iy+8QPRsQPSnjkYVW2N/pXw3w7VMLGPhhJRoVNuAK6VwOJmpvpMvNDwVIwsKvBaVkqnYaqXPqLgLV2ZQT6nHICLOEs6ziVMpsFwHanFuHaW079T48OI1JMHChrf/DM/sjU/oGrlXzwHx6X467ArAB8JeLFhXvKiLc0RGafsZY+hXSvb9/nMCLD3qdoh5TKJLj1EqnRsWnihMGsOnSKcOAfF3nfMhRUs3lORFWoj1IHsL37r8NptwCnWaRprQw+yapA83BDU/k6OukWCgPJbmUxvZm0cb9082F6FltfnL/7cKuxg3Xhj1J8mx0vOdbLhpThVpkdFiNKgLp1oYV32qoFHschp01gFrLTZWpXfTr6cCncTuEoEVTFzAGuHU/NAEqQxn6EduLsHKvDA6dYZ7HQdkn9E4sH3sETgn9hN5eiTyd2nFt2Bjuubfd0X30Xk88ydWiIzt0XBPOePl7QfXyWORizvuZXVl+TjmIpuMGoJZX5GuBKWRe3p6uO1OKTxu+xDSCS82en/kscSdI8JP+bPZF4zrkSo9dpIbnr2HIN5MTpInK+miIYwekSSmcIq21H6U+OKqg2oTWYcFn7LoL784is/WZQU5la+z/ez+kf7Ua/P1RTZJVvfY+3OaqLlmMZAR6ExrvE+T9jN6NBx8s+zwo5Q0t1xFfKoxi2mwNQVXkzFUzVl307E62a18+QAx5K+cLQN+yuOE1xYpPGC2PrUzrLlRq00arUahFzxUaoh6zPJ6NURdL1vK0SRBLXR01mvm8Qenv4kB9M8WSVVNs7OIbLzUKsZyvS0/4h3x/LLGCpkXE24PTsS/1Bh3rJmF8uRIfPLz2WXuN91szuXI3DD4rUPdsRTRoUKaZNhqKSGPG7hHdovQWwbl4nJYSSZizJMslLZTa/BybK48wD5jmfRtDiiU1LH66bkhsHY7QulgtqDEesWntok3qGKvJHR65HVc6DxxU1gX/JTXWqMSLUyiNQPzg5o6m1rQa2MGl1TxBUv1MpOMS6tg+hL58RlWqUsl0lfhMslJGfmnGNTjO9kZEtt7cQ69wfLaUwzzcOV8OKepQyxqA0j17MLvoXdeR4Zbgmj5hDMGoLJqDn1Q19OiRdfQwQObxHNZUXfC3/jGy1rwsa7/O6MFSMldTKrTY9x9DjnNA98wWu91vQLiZog2Jh5wvDDSdwtqUj1hdKPzKmVbtR82R36ISy2EYYsdlBOsXyE5SpD/uFhp2FCTnesyMxWSNKqOd4v1uZxptJqG7F5TpBXacYDfMjD+tQ1WyTnQMIhwW5FcW2IhcIvJKbDFM2ccoanHED99Z2LnBRzwMCOM2F/9OWglcRc6cMgYlKVuwe2teHgq0xozZMQPXNVayLBCrpLznJRTsBVMAj2hmEQSrTgURdsU/Iow+wN+BXas6a2GJng5WCOvM893dlhdJtUbaUcF9DHS4BkpXpolOBVgkevTUqbUx/RNS8TDCVi04VR8JnAh+cVBfdj3HbGjvANvLfGxqKERNIWK17iFoyNwgi6+u8nq046dswlTdUy9coZXOCFKigb2wT8/nMajNAunwBNdVYCnyIpAjGyAJUeV4NFwHbDoqBfTAoeGFo3vtmHIeuLKGBxUBR/LrD5QmSxVGwuvYMNOizZjLUDgebp6nyGnqsqQMdO23h7eJzqxpKuS95aE4IQUmzFUPzXqlcd2RyPa52FjMpfmSN+/tuGeuY7gHKtbvRb4MZu0XbXobj0jBmUX9UgZy+GE3jm72nhmBQQAP5y/MZfVYVrJGWor9WN8HcrWzYja4rjYy/KceXn+0z3vMiHOfwmzEGUKvcH/iL8QkgpTzcPWnKyBI5JGk9creSr0F7EeEiS1v+NOxNPmYuJIQAr4miz0sbUqEvrkJ4+pKzGYRGCvEp6cyn30FOFbnzfjW/zsgXR9Lr/3z9aqiOpOWxzrgFqZqIbuTxVPC3PRhzkpSnJPn9tsgNO7GDMphXUzIuvP5KnAtq7htNIxB1pEds0dZvxaI9vIcwY/rS5CU4IYJisF1auN13lMKKfNJRwCYxj2jxxPtUURpqDKd+T3AOG8dHKoaAdg7oWDZbfR/lUVW7XXhm1JayWeCHAGaXwIv5DiRZKZIMc0VKB8x39KqF835FIH18mxKCB9gxm5qc10e2IW4c0444aseQuA6jNEdX1aFPMVYw7uDu5enHOWKbc3N1Yn9dIpw4cDGWVfKsCsr1kkLytxAQ9KvTZXChzuGgHmPIokGcyhzb4kL/21OeB+kUy0E1tF5wJg2XrISr4xUCP1pWIK6rzB6vcCl/2RanygkJGvGmjmyGWPlZBsMs/nhVhLmcnUIc1taPJoN7lfT+74Tgz/6WzY1En/+N2zto3xyGYFlplq3/evMJWHtULYMPbz2QEWjrw8OyfaNoGa2ZQP6RK+BVRVWoDqRugaIU2sgCLSMRfT87KxPvZoAivg7/JFu+eI8OJHD2/6tolWX2pjB8MqUXE8urlSPv4qEvvcJa19slaUNcJ3/rnfbF8BiwT2HzUuNSi7m2uWNCpUW8UjOdZ2nrJCxa82Bp9ttwPZybkIWyHOsPCjxJIDJvw8qjnQbfZuoW0FVPEA/fk7mtbgJ4Y7ZyhLyWLgPfHx2CM5yhyVl9GQ81NMD/w/DD6fJhUzra2byYuvtU7eOC5CjDIHTnkDXrAA+gUcNqWjCRCZVdEH5hOnpX0RUf/l8YB6nFUBWXCA60/wIPpiAbmOwOdsNbNmpF2zYj1TMhnhovVsWMF82duqe/CLmeE3GZiAfkAP1Ccf/7UlzH9WUpF+8q0Ir+sCNf/Og2blY6lbAn+kx8TYo9Jb2KLpho1F2wBGtWve4GIdWiOddbMczcRLmvctyUyrYHgFinM42SbFXcfBT44VUTuOD/elK6H10axyXTXb4sa1jfVcvR4y0tB4uAqYMhGNuYjBE4p9rIPz99eb9BqHcIp2+vmKgtJpCJZVuxnZT7o4Y9x4aFvojOv2IbHsmeK4rabNKWvjX4iUyeRYXLd9vRvZ5g1anMYh6ptDBji/hF81G6fGgLJqyGQlMhAZVK19Xbk8LKTgGoDHy9Z9uxRpJ1d00jW6kZEHMA2jLU3Eds/gxBqRxCwYXIMRIzX+zH7kn67Qeh7am07MtacASixd6FTm8DNYnNKO9glF8PNIJjfyIXgIDYGQtFLhWM7wNOFc8mkad3PiZFBVLnbNNxeUzpNVUahF1tpVYddCJCerGa7geBp7eOAuDAboLG9buE/agUHM50XIomE7xB9Fd7Q48POhFrqco2x4CWkljz7tGcriQD7y/z0+gFe3fxKRIP6Dl8gVMIO9G6cnJPqelkQNU4qQ1hXUyYVc3cgrjGsurNKEF3Gzx86THGzYHG9aWICL8/rFuJecu9mtcK2mueaIAIP1wHhRBBIc4sV9CNJuEu1mnSgdq47Jx5VPIN9Gns+6/4iTVqfa2/f7EXABWlKk3+m8B+8bj1js2D1j5p1QdI/zviXyJSHrujiKcjDzXnRlrRqNgMiAtZadmdL+AkgGKalAGKaD2zCvTi+3Ss78z9xeW9aRti7O6opRif6/ml5tzwIQlNpIe4pzqy4KBVZNPL2eyRnfv3pGZXaXRkwluVgSBNCRP7fQkZ0sfLLkeV3GW3MSWOrJd6kKn1Xu5/1cFamSOze8PwI8TSW7SoQsqhFqqrdKgdjItH0nSPv6GK43VZ4vZEXAX0klYTuQLG6sasptD82hPDnsvHTdQzGxTvatYL6h9iwCHlCV81cHjZpUNmnzbvaeTr3YOYjGVHRRhwTQvNesACanx4sjS+mCqidfpTqy41bav/DX4LX0afK1BYq6IRjPObTgcbAcpx7Kt5Cjtj6Sa8RdTGPmXt7hFet2wjZO7CIxGnaG7NmDOb/El6F9RR/YKXkoSvmMmt4ZFfotGckpYG/KdVJsTixfCj8fHTN+LiGOQKtsgT/I2otkXmdXNlmwXHwfP6yOVIHfUt2OOGoEfH7pVy4M+WJt57MGlwO24a1NNasbNvPVhlT/wtW21qb0pQp0/sLRdK2gkvzIhmch9PM9lw+f1MhMep9GmT8BuXA3r/BHIasaIlqJOj/esJamXRlnu2ZTpUKZFhcGQB940DulfP2YBpxW9DW3eh63xRZnF4XFrfiqtsut5zDKqY+5B168Xrb10KCPWdreJhjzF2An76ccKFBFsbfmB9Q7o4a551rPCeXxYjzPu7TdYR8nMvpB+VtiHiZ7tI/Qr7feQl6yCa1kdcOI9iMkjGoDKt1IVD77LVp4Y5/BSBEJ2C0jwP80QphicAYVKwCWCYyFswRWhcwbWCOJkwnBpE8A+7kBZngjxvNMd9X7D/zDp/dNv3CaRwSwXztFyUTHNmxqEUdDVYwZWq5/IqWXLiTQv51COzqSzzNmwKN+gRuKXMNuq8jsKObJjzHFCXQwJzhablL4PnI2kA43EoNdt8Ho3z3QMlCUPlQ3to6CvsAwwx3naW7Ys6KYOTqf/GahdIcns7tMCR4N2i5SDkzjcpapWcg6Nf5eMM3gQfJeAdeMd63tYApUMrVVgcBXgQx7Xk+6d9T7VS76v2csJu9VUQViSW7+qXtGcyF5BiC2zN2IcS8GcRFGjFLFmXv+tKwb11mMK8z2F3tos6dXc/8zfd8pYrb8Uh/9aemaLFAo7lAepY8VYJTisHvtZId89jmPP3Bo6qiCXeOmjM6FAnGZZwqb8rsJev2AKtmKj/Mlvm1MQuBCQmpohORZCKoSdSml1vXlS2mmbICV9lr++7mYsNDCtYJKQjPRAI34s8hU2l3tyr92lHqzagVCV+cEAbzulQUj3L3sChd4xipcmOWhJMOuOvHB1UjemUfPR0m3UyxXXYIQZ1CtQSv404iyexCZjYFQ9N15E9YRzrgYf+lQwgCNrl1biYryXJpXMqtlIF9nk0nIwgNEQavzIEEe6vLpWq2h5Ytv75fKSQYHMGyLE/69FklJwMXE2lqBn/w5LueyxMRvYiKB0ZKKuQIiaS9CFV6dHK8/v1hxRRMOOjqJ4YtopUgthqxpzgUAgV7GKt3KXpsFfmFRXlV7i79YeUsTcswY6StZD/nxxgqpmYwrqy3y7HCKMNz/tBe26pXxbosniq/sqtYHFyCvUOB0cFALPq30WHizJ8xxkMwes6IOX314NROqHAbqfhk+VdI6MU6rzHRddMcE6wgOCqyIZ73UOFfO6jYy1GnYR8Gd2sFpW1vBzS+AeGC+2M7uDET87TK/HJP+gbtZ0qenWSFYQOcyl3B5b7phLMR0+zNTLYGAaDzr0nl1v70Rv3MiL6K+h9FXj42XKxKowSvamlbwj+iBXqK512NJDPahogH3C7nJc9Kj7BiK9XsC5QPKbgL//P6/K9b8fYowpa3DbjmDEXN7xIDeo7s++N6sOyAMfQyXqpzcsHzO/PtAcXOJECzo1Uxuxdk/OQ+ejz8eRUaqWADPNXkQJjNdGNvOg9FO2BeQtnFohR8k5VgaTdO+qYTeNGGltnfgAkdKz5t9r2FOk7uEAq4jjH4wEUidNDw7Z9G4p0uYFKG7JOsZNeC/DNl9Dn2lyZfNwYpNj4xa+we+4ZcA6hXx2ZVtDnpR9ZtAGt3SP+gwIEiaAz74gw8TpzGYJyDIr1AeOoT4qWmZoc49QK8Q7njNW8qPJVRmz+KXjsioATgmNm3tDud5UlQjw21F6j/jd15UzodAgPCHAXylQQGq4so/+ly9u277ItYJ+egwNXvXP5WwsrrPezPbKjFgGwVdLolljh1eX5YefwTo27U6iykGUw2lkzz9rdY4FhQzjlBW78VrmdjuzGAtc/YuDnAiRiFf6tvuCP4Ho8AaMfNcjcOvStKzD2hiGCN4nlRs3jZxHa1xi4Gx08keUpxQ8TZ1u3fXiNrUg9eD7IUxQGjYR+XLshVeF7/BbIsRFbp4ZMpVZtTt8H10z64W5JbMe8fUKb4QmnfyhSb3PDkhalg+JzxoRKktU1LbVqOnsYKRrmOplEjAleyWEl69uCnDXAv9u03fskEyTPXsBE6vdNJM9y91owLgS9KSFlGKke83fr7K/nrwtFw6w4a2T2+xDKSgjXqWiEkzxtMNi8Hd9lVc1N8dagUolcF256AIxkXla4LDyD/ndx9D7yh29nQnR6B1CZ5aPKiVRtHKqSuMGbLybatD1oLsi37E8kquIkme9pN0ultyDEfKgLDK37HCfMw9sL66qg2CAx+Y6NM/hD38Dvt68KAzNBqvns+3i4hhjb0PY0N+l9bB/1Ar/7oibrN8RklrUTE4jXWDxHiMsjDgZ1xsW6cFqJJTyC9iaKypulzIJIPMnLoktc0tP4lbGjbJ4lxqUQbjJGuBulAVBMXgveorxXq+wWJLNkjkleFaMaktelSZmODujr6WtVXNJbQWRq9tufXOG5911LJ41AxwTd+/NaTbzkGCU53ayAkqO8ebCt6npFE+K1azshd7+TlWl+h3BabtrLKWypGhIVLZwp1xK7nWM6TeNvaZNpBsdXQyoy+JvRr4ojuGxMjmxdIojkFHzcv91S30E6hGv//0lI9cjn8XU/jhnNbGlQ3zPi3IdjImp1KtkExUs1gRJWPe72I+yWGiwIq5HBV8C+Hz99q5MwEAiCAIZVNZP9JY56gK1hMvlsXO8JGfiUy1/J/hUtT9Q65I5F8/d/xeAyp2mHhag6u/Hu+psxR6ov282fuGDqZFidrLnWbD5VItqctZn9/xEN5kHhLGf7/4YkXgK+z23BzbygqH6ae6o1TbPVo6iSJsoY3VFrTh/zbHfRUya7GMGyCSqLkc67NYJ3P2Ym1hGT3QsKKjOp6cDKsnRxuYeG53G0Ax+k8Ap4+UVE3fAqmplso5Vb/vdou/cPK7yn1bzUBKz0k+BkjODQEXAVt4xB98QwnLia6m04vDFIfsQ9l0JE4mCGFH+zkbAqw8VANxxdI4ikAyoc3foNe4eMCoWaRFFw93LxsTE1z0PEq/9oIyW3oph6JrNYhk1HgAMAyK/eOaYEJs5v2OrHCW9ULYWGAp8dD1hqD8RN9KrXHrnWoX0S4JPudxQ0b7dtZkU7E1MCtioqWvPS0xxtqU0/k+R+sendF2l4aXtodVRQo6KoWNWY5GJFd0z6oG2g9vostQbs+3Hd0DSYMj74Rz+CT7CZT7NJjYwMET0tuM59XE2d3ceq7Fg4FSTvmH6pfcv32gZShdUBN18f4LARZSihabjV8pbaFithb6fKUpLl20WSRefFLG2Tl8k41+JYYZZ0dnB9F7p0TYBSw1S2p+kJp3mIVUp9uhdHkaKgC9B+Bu2PzJ9OODUwusg47HaMtcYMSHiQdX+eINuaPAt0PZnzT6sI95k5s7vtKaf9cClkjjR1mex2a2uo5phccMx9bnKIYJBdxaHYEXoK63V0R1b+G8vW6hOTiV4l8GoyzV+xdgpFRirkv4IacE2NPVrYy+johD5yy58QpO71cNxq430N0hkdS49d+y9LFNU6X2nVBmdGewPJbmDDOPWKT30AlBEEfVO5h/sbbznDZ83rQAonAcTXQgCS9aVhO9fFOQLUi8fjgRhK2oX0BaBg2XGEPe8EI3tAofvvdP/OKB6sumQA3lXcjMTj00fejzC/sC1Qj3KRXTuzgSpZJWHLlP6aj61QbiH9GbwVM3Jq/ToOkLZyodMhplcmYM9d8pmdPk37Dhcrh5yqqHcx58iYeqrYOowqJp3Yl6zhqpcwfUTXNmXlGQOFwZwYvcCggQC7O6FVx+/hP2G9GskGN9RrA+n/bA/VnJ25tJTI6nTYr8A8yimo6IC58KpzhghJdfBQ+ZHKTUggmtcwMSDRulWL5hr3jCT8kdyBBQX3yDGyBH2nj0fq1uB1qoCOosZaZv3M+WDvQw8OSEtxRybQkh7A29stTXmk6nISzv5ut4S1CI6v2FMADNGSaI8aTm3DCuyJ7LINjQYSOv5CuKEIrBz7R39hZvVPL9fOB4JT91Hiyp9PDkt+ibpa+cnV1JRNRIj7oSLLKwZtZKM40pe2hB0A0/Mmxn0M7GwpNtZFjy1nUfidmY/Ag0filllgcmz1ptOvjy7HyOHigeDjU5VvFwoSGC1UjqnY+h8WUUGUOUMYt6QEmhNMk7sYn1KJScnxMe8tTmkzjSVRXnuWSMYIlV23P2o/V+v6dzkMpUXbZAzv7YG8eUy5ayRGE/u5Ttv9nrBnZtJhR0Aw7caFHrbKfEuRFucl84Rj0kUpFWwMJwCR/bMMu2jTfHJM6DngANvaSlFQmkl1fECftrDW+2AvJ37rqdoiXggOe0aP2Zbmx/6gI2uOZ/a1wZWMtpYznpLG1aUI2uDEw7+QfqmJ4flwVL5WaLlcBgxQCbaCaYVK14jfuagM8MT2L8SwSIJ2vwUl+1luec3jU8XeoAhwVTD47qNtVMgIcIk/djnaxcj5VzhAW8RLjYG+vMNY3ZMsVGdz/PUTPE7L06uC2mKEEYyvMXvXmcbr792/QWm5g5FoAEdgVHfNInq3aXrZRInR0w4CSz60MRwWBqP65Ajz27HoAM9fres/s4q37sz+AbFV6vi+QkQlSgUEmeCbRTvNK54oU+699x1fHcjneMo5mYUCNfqe7BtoMhM/aPuTlXp63DGQqYGlGXiGRwd20PmLr4HRPOWvnnlVazAGbuX43Xfi4XRE49NoLs5+zy/PbB+vr7Og7iNkdOVA7Q3FCkHzXL3GDtM1P0z1Jokxa4Sp02YvxSBjBzww37CSAmZb7bOJ4YNEHFwhccT+HxmNg9gCSbCSaECHdndrY5R1NrI5L8HsZjGbTDe4H/F9YOJoprrOgO4mZG9hqzEh4/wuDtnAwXSxCibe6rXj4VOxO2aTyj9s4alnNs0Qs4aJsD5f+3tXbZguI2AMhXBB6Hr+AfSsWfDk0sUlJrxSsaCItDwYAwLtByb95ThLVFQ5t3QPsQG2cpmTMjn8eCGpKC2XImJpee4Y5OgGGyZBp5exf18Xs4abC7d8tktfWCJMd+nKFxLRTewnqfeFkHmLg/yWR+rCmqtNJ6A2yXZ0Oy4QavBhXG8YLq29z+5T3Ru/LzINuAIqZA5KsIdhqJ1zdL6NAtmEXvvwZcYouKh+fCizLtGvgV2M84Ei4qNtJIWbP1Q3ND2ENRgg5TtuVMJCx5gO9JLqSgLgMYR0TJSamToXzlrEv5pXCFmyaiLyOzkJfTani4aozA5/jcEUVEDW3sNMjze+/wCiqVVQ8jxP0Ffe9hawj0gmoauqDtnlsoh/Rq0Eel5fzQfy5IAaOH5ce5S+1dcQmeHwhiyMWQDs+rYAdEDdCRvrRwoUbU/UDMKx0CMDwXyoz1+/ZUbuLQQ5BS8MWZbYqW1i1pyDVloedYz1+SLAyiQNxknqGvZWrd1cG1xaSfdgl3T1WA0ia2szemhI8+cc6Xd82BhuP0xFugPK4CeFgGw0Usn0K98gJwi2lAOzbMmUDSBErJXozyvHgAogYwGg/ouSYY2iO7gzE0Y6rT5gJq4UcrzL12RiQyPywBJR/mQhkwrRD26kp5dJiWXOPJ41QvDzLTedawDV5yRJSzpBX9RvynM3t6AVdt7lDSWKMG9HpSE7x9nGdkaSq2iD2Rjpes/v5ablViCqgI4Myl49Rdnv7PxkMWp/qmOmYUQ7UXz4UPG3bFzZzIsQB1oIr8rbizjiAO33nMd2xyNJUqZRLhxbIpyq4uI3rWnx5UJelMHvUGB5tCG9P8OMkU12Z2JqhLKoUBrOnZZEjlr95RUVWyFefzTuTteG3hCnkRvBF1aK0M9HYY2LVkS9Oo6WRd5dIpF/mQJdj6DqskZC6RaZTOd+D1YQDlheDTOVFhvMDwOhkRM6ZPNSqiRJwrIVcvxBHuRC+9EC6um/p0iGF8/lo0agUjwpkpt9sg5Pk/oz1kn7Bs5U6h04pPcK30QW2K8pAxeHpqZp85HFv8HddMM7HPN1yugUiIffZLQhwaVT7oqP96PytjbbQJPMOCq/zcP3GIJ7wDhAJ5mCf7KNk8Sb2ydzEstIYwT/LcDkwQ3Zvhj/UASSxmKbZyl6axudvA/LsH3xqDizL66K22XwBuJfI6TJfEC2S/GGZSoVttSimC7Fp7uAZBiVkHmPoThI4Uwn2tU1xUioDjDQOQQkhKBXR7xlKJEVzbR1nzkcAMLGyq/tpmVvcCDZIJsto3+w2MhIimimVp1eNLSxUJJO2mQDJlEURv1N27hZSsf2GWOANw1R1vWHsSywxpojYHKHpnQSdJCDZJ8iyR4lzYCpMcTLj49/7YqWDuwa/aTXMJl2ziBXC9XcMwsooJKN7rGWb4nKx+6lV/5pBHTIUhgsLuXnrS3BWj9g01MISZKZCvcOLpCgjaImXH0Yz59UgxnUatioU+xdN1CVnEmhyOJQbf+rlCtMFjU+pRj63oeRYOgtpGaYMLTh0CcL87pur7CRxCLBNU8b1BJRBUgSLHRs7f3wQ/i+I8xr5BsbCm83zRjGwXl4G3RK8vDcsJUD1izqifa9h7q677lNQlIBktOVV/rcUWq0tvHnvknHdmSd4Jl6TKKBW8CZROoULO3tvSC4SoaaWo58qBG8+JMYpnAVhj6Lxs0zzi1Pz85Qtnd6Hd0RMo8krAiYUOmNKUOjj89kcIJEPq7eKDKdE8xmbpiTtWVlnW3b6q653G99Er9nTNe3qm9iIFvtkqRFbcG/WxY/CcFcjmxPF+qUk4FmqJu+/jsa8uUD6kT0zlDyE8l63F2c5XkxpRCMDHoNfOzDn0AF7KSqwjCqbIemvKsXARTD6JgmCoi3lR5yHe11JZaI1pp68rACbY2zwStjxjYEhno34KCq4Hl7GIw1puGD4I/BWTEbKzOCjsZ+9qQ0iJdzsMKGevyfOAUjdxk2zaMIg3mzuX85yxVyx27po1A0wxdrXjpjLAEGpze3I8aVLQ6dbsiKp/SphNjIuu9ECDLkS8ZjbHpf1rLBcxRodrzJ95m6gBWEWJH0ebOgExMFH9wuTsgvTwUkNH8w9YZ1xtOCo9VgVgzryQd4ihOxyvfUnn2zk2ozm3eAxFGpauh+f7rEkEO1wVL+H58Zgmm/ulCY0GA4GeUGjdm42zjUt3GmjwnafHMmN0U5nPl7qDnRddq8WYZkXQd6gXWKpYZjKUpBuneC3FXzFt8O+DXKYi9x/poQYqi+uK9YE9wdctTBC/alVknWhlSawQDw4Bsg9mX4Usmp0twnHrcUlmSapFymwxXN5RNUMPqKbhV6dz3gtANfX2WlZDMujn2gT3YtS+JbLirbWVUoWYuGCuj6eTQcyXwo65vuxLYiSG7yR4AN5JHmM26CfJSu6hTE3txbwyOe1k7fdcdFYsecgwcYmEP5hCXBKA7rrWT68f0vsQWWgQmoJQ7MI9wuWxafiLVxNY6LSiPNUkygZpMmpJPaH7njkve5XDZ+Ac2aTcSxVBwKOyWRFOBjIqY15sS3fVZZmCkPP7eykTGdhRg64qNT98vE4upqCdjQ/jq3/QbMAZLIbt7ZwxBFs5uAOtClsGF2h6/2q9gVOqvibHZofV7nEyGxElYe3UdrGN2bL+R6wONzuTH+2WNJuBAHeVQdaEbVrCMF+DCsEcgyanObyKR7Famk+YAzVQd5R1aN996j2Vzn01io6oA4isIK7rlmTYIcbixgzwq1U4xizcT+yhbyYTZNnkToZHH/7vP9WK4wQrZ3rQAvyQhKchgFYsj5USQUCopvPlnDYddzyjQ5lxJAcVX1F/MJ8cdhguCt3vWN8fTCgmunxEafqBFpQDbLe2iDqx5+uQzB9ROfhVzFzZ6mzRnjK0hZ7UyX9oMxsa4KX5r4/ESg6R2VF8skDcyrShIOsgeGctsZxRKV08moBYSEy8/JitGJnZXkE8Yh6ldDriyLqVsm7JCCuBz7nQJc5+rzCrKywX14o1/UVX7NDVi+pgV3uYulLOIQE6WKqJZ5FWWkMgd4INMo3B+djvYUoQULBGCO2G/8F3iLa/GfNFMS58k3a/E6J1Stcl2uOzh1K8DLb5McnvdzcQV4T4I3ojsSYxwtrCqbGbKAjN/cxHeOf+S8lbPNj6EKW3mKSMoKnbgJI1cGuMpYODN8rwWL68eugJSADCgGRA0Oa41196ZPLHQxtviSRGQaej3v9vkK0yW4zj27VHR/xhllCywveOA2aRmACNf7JrRUYE8Hja8unzuNHla25RoFJwCrrTbNRMde52wWKnS+owNzXRhQxiWmt9r8slOboCgeq8YqejKg6E3G5A103Jgj7qjNQkFCGQRJYEDOMFyd2Z+3FdXx3i5UGq5E/pqKCC3mAsSfgKu8jOdXYc/UBD5MRv18m916sDm68Imfx4VjupATt3QLNrNvI99L0bgeV3ReT/cFye/n7aaJN9eAuW2Sa2haNmsF1MYE0G21NWSImCSwHSSPsHko2bq+h4nDRSOgrNeI78573rFczZyPZeJMLkr9N4tjpdSznKY4KRgqBL2GERVzWcXgaYTOAEgz45//h/Ei+SoJbRrpZvhOG1QvaKqXuHMtADw8yWVBP/wibd3kd76aNYuxQ0itGVhlmnJXKqq5ljpqRb/r2k3UCFJuPvJRA71FzXPcWE552lXlq02HpPpOFMIcBIKj8I+cG1CgCREuqkrZlg/GC7C5BGioAd6jQ7BPklYmJWZOwj70JdXWlKsYidqdEnTO+F2BCppTxFT//aBsJRnMOu0YD8RzivLWFsegfe+GS82SqXzU/Qt49g7ZKx5wk/2AHvzOGXaSEIPdfTB1yztZeH4cOpoCTFR+HHsq86s7Yu5jr43Gcoh5faVV9u8dLP1zWJV6rnklNlGJfLws3PZVAVZcfinNQTrKuR5y6cobwedpdqJcwUcnuqoiTGyfxAurr5sFGgK0bgBmyG8Sf75HOZ338rQqUOZGA2CzPZs4j7+AglxSotbqNwuWs+3cQkqUFFbqREACxT7tYTlLlYPjPElxHVtrvdBdn880O5R9lujsCo1h2PqnpTscgzgsh8OBU3SP8mDrAICc99m25mrhSLv00cPb6s7sDo0kUS5zOtbvEGFAmAUOQ7Zad/Gbb/X+IAUFOupbOty/KK6kTGVrfsqHromdqUAkiT3FNRaBsMOoZTbimfS5Nz0lqA73uRN9aFioyO3Z4Z5BKk73Vlll1kYbnJ/ZDi+6dGb7qsTjyZAmfsEwRN5SqzlQ3kDWoqxtj7mL2nXpJDlgH/mfpHusZgUOjnQ/OQbpZk0RChr0a75UIghgbwQG4+CON7v1SkjdSWIjs6DEWiVItOJDAq81T4rXDuNykgc6O122ZCQqOQRNLZ7SklyncpmgqB/oZDidz23JNnI/2UjlFtKGMMv4pv6RA5zPi70RRLsb7WHV+cumcAC2Ej+AbZrVIRyKKf6bmMzChumgbUN5XsYp5ow1KU+wpLgis/pyaiGQ5G4mFAibdYTLEXvW4hGlhUuiE/E3lMSXoej8cRT984AozaqZL/r6Uq90NGJF1WC9sJY1uPMgnYeRBGYx6sl8zERI5tvXYpdEYjVCGb8j53A0XCaeYI5+xCrD66w+pKSvCcjhf1i9k9XZ0ky7BGkpSKsW1gYq6I8an32CZP4btyXNn7HbNYiKeR1E4bvpPkNMz0CnKtiXJA4iFX3C4uNol1s2xQ0VM6Z0x0C8dyOmu41LiJkxWGiJaGd9loSyUke9B55qRlKQCrPk7biG7Ug6X/g3xeFHcDK7lrFWSEdRxkfP3d5ecBsdCLKey/SteO+YplVQjbaDEFrntsi/d+gBKnfi2//APVsjGbrN3WcxRItid1WsoZWuUoi3LbbVo/j1eqR+vJrGhviE5GHV2rJVmSREOHnr7TFRpxc+0pL/YViBOG/UeuAlmN+Zk4Po2Q9x1nCx73uu4gRalYXErDOD5jUtSAHHD038RtkEqWBOIiKn76z3YbO7GgjaTGNmgJGBBIWTYvkCBfHdr4r1tOmobPe4Ih+FLNjU1Hwp8mKuVUONntDUC/R8LDiVM3Pkob7bK885JQ62IHoPRSBMB76Od5U9tmBxN3mHPfIKAHYMaCG3b8yFEf8jeIAzcGmsR1DwyFtKC6+S3keqzQivd8hDPl22fQ2I488M2mUABiJAPrxnseo/E3xoqGei/ukibKaF5sy5+VQEKTUcExUCVNBkR29EP/dQVJ+4Yjg3a+8WTNNcyVPMvWuia/xuOAmfbAVS9wvcyOZpxP2MeZSz29oQpp/UQ2AVcN7O6RU0vfmQTGUREMyoWUMn2PMeqTomaOAMJZzD5mJnHzsy+KF8Q18F8La/uBFLT6zTRTom5msBY1Zd8RullaB245aS5hlYXDV1s4tC/RITzIbSDp8xRpSeXFomGhGTdA7gr1dqSs8+FVfIlgpyc7GY0ZXtPnKMFCUDJ3/GphgkZCq/3lCKhpFTCbLXYJug7cFKHgzXi2LrIXtigKTUGpG6rzHU5lnmzYgCk6ImK0E+bVV6/q0jH4HFbgvZRl9TA2mWp+z8G0toyqFZeDZZdADGaqLvb3K434DeB051CYEoDZDd9pUxKk5s3ZbdcL/y1pCQSBE7ur7YM33X9crO8kVUTjoCohH2sga/wCznLF4oP6pmiFKbyTDuB5h7Ny6unvrrUBDWvq3IAwpO5pxU76p+htKC1M6s3nW3YdF/+FaxY78oKD9COE0trRG0rVIojajrMRjOn2/A5/A5QQKg1UoONlWBY+pxZAKjQwMqZBybv3H/CP92x2GRAWeBCO0bXWr7mMtT6b96vHtLLKngAE0GmIV+j3poxBqCGLFac3Dcw+c6cLZ32ihsqze0NiIq+7ERTOHzZUVzNxY6Fr42UD+3NgRGPil0Vu0w7uq7VA5Pg9gH75lajAV9p8NK9f/05mtCgWuBZH/FnF1Pn0b3AXvkPoQ/b/+t4E6O2vci3vkva2TtyTnqjuZH71xAeSbUvSxXDJ6wCyKxPTqTvZzLysRrWEgQ3s/cTEQdHz73zSN7nA8xHNO4SR0Ig/1Y+DA64iwyZZUc9T7PJUASERYoRhZkS95TMS5+EGPearRSsImcAhMIS1T/RS3MrI4ZpI8iUXetWSg+8ijqkD64T3QAOpRhgAHWNDaTmhHTniX/rhrGT7SFnFnZebpN11OGqXpV5LYq9uLl/bkKrGDa+LJwS59yA2RgEOe0vaQfOsTzrN/dh34dTTW3N3h+45qGo1KQO8+D+TB1s0hen4zvA6i5akMHIHjjk8pjg78GgGGYnfXcvH5xOMiULHTiVWtvMBYwE0nElEmtdZ3925gxUcIaMMnZrj2Khi+tHoRx6IyFbUMACxnHKrZVNKoF31/g40mAqRQaCxt8NOVbxQjMW4maI/smcO5jtKg+aS45dPCOkmfIRVTbrPNc0fqWRSICRQ9fHqUvBdF0Hee9M6Vqy4QjBlKm8DnWWcb9VgNNMlVPIY604HbTX3Vw4pyzo9Xu5ad09c4ZlcT8IlLn2KuOtxlUeT4EDvn41eluNOy5Sv4w92r1XiYH+Wfvqze+6x7moS4C4I/yP+SSEgjSnATEWyeHYygh/8cKvn5rUkqbuu7ubEby1kDAez6m6MVCds2UuKmnOn6vRvMl+nfXDdrkLofkEa3siC3QOljgRC7g6sqNAei8Mc+DZ/SgUFRQRqEBKjP69+bPHTedFTLlrwhF/4+8qdRk/7jZYpFmu0HZRbwE4yiHROBlOWY5OHynQ/sJR+O7PVQpGbfz9F11g4q/BE20h84kguX2E9LFXgrGBqTTvOWQ56bnyJeNhtY/ItCtf2cssslnApxaxkUQ6Fvq54D6B2Hl1P9hvx21RCQcc+BxH1JPynaU+Z9nylMnvco1jPW5mLcYjj6jLr7s9JxQ/lzMF+0StZwt0e/HoqrENFITy3QLFecGpx+YEx/ixwXUKE3xwPWfuWlyfxZAepC/Url8hN1UTgARWTfAXZfYjbY+Vj6etGu0Cjsy+cuCDKhxjFk8B8VjCK1Qr583qWYA7RR0597ObkonNZX0TUqSNV6NKjtTVvnEro5b6DuMzHFmnhnk/w3ZtVtCNfT0GGeDzVUdvgkMB8//s0qX/sfMzsBzb9/wprV1ChF/wKJ9UsWCIQRBN3dHPQbYuO+9HVDIU4oQJkVqcUaE9bNb7Vk0zEsb1mubeg0LFEDrTGEyk3/e2U0FM9aIH2UueIpW0Zc9yR2/Y4RvcNAEBxiO8ps4bK7iweRFPJlG8S6TC42j+G67VHdjflXc5js5Ah7b3h3wYgGgecO2J5JSRwfPStyDhRyxnEJarIc7omKFM9S06pAwhvXNbqYIREtwtHd2oe/YXFVmp6jrtkuiUiJuTDVXrbciFd/nUtgZytEETxMicK25UxbxhquOa5zblh5x+3jPv95QgGZZiVeJwfpCQjuXqe2ldlE7701F+a4cIHtn6uYlVSg+2tuu1QZrz9s90Knt5dfYTpFIe8UtWAHZjFgvbcNDZOC+eDNV8Bkgfk8qT6ZQG+fAb8PR/lTd5iUusCETuB8y1UDghRzLRCprWhNE26oykVfLPxhQ8fuVgDg8ZqGnDNVudtgDwMqcZOYGaKkoERihD0PvzP4BhRULL5hZ5XzvFiwSXSHcvxHi7knpO9g3hIokQiyPE6YE95ThiNC9uyz84xAXOUa6fmqci8x4y1OZpSErIsHS4V/2VAeij/IwfIPEXVczWQwKm7/VAT2IAoJZIkuNZ9f7pFPxlury2YFpk2noQovk5CUThs2EjRJWybEfgc+BTIxnjGoYQ7bixTxbHbxZahDu3CleLuPQnqKhXaIc7S01sdxd3PiYvsFvUPg3DV/5ZiqDr8LbFqFPDEG6UXIdhmHFklGfsOqh2dOt1FU2pCge+PNoFYHsuXvAnGFCvaIVz9ik2KagfaHhvgASqvMxBoZ0DRTctPvRVhQmrdCWyUCDOBK/tVkslZx/K2e4HYwG//YBpap4asFn4VzQqP2yBA17DVlQ8hlyN3ql29+J8Oq/35ZMVTpzk2T9mL49teNRiJ8dcBQ1djcpoAMMktGbLv3gs/Yz2x9nux6uf0Csap96dK6tWO6O4K1wL1q69GlOPLUACSAb+U6qAoJed+q+QAVp1SNdF5rLFj8fKGtGD9QlNXN9dJynDXmr4CrwzAuCSxfiXWWmLB9cMfx5uMh4dm/1eHUw9gSEbOIFWHz7FrebgokANymPV/RFsiKFc2Zh9Lfa8NftFohvlR0Uz5+JRsj67/fzm3W9XKXWRtWphleP4ncdEwBeDNlhPD5N5Jsu7EWWxjYqKXrREMlEGNcE47Mh5Cl/o+joiwGgrePaIg2PTTiK6hMCLxg1yjkyGQ25/GHX3Dd1h1FsWwZguz0K5wCz9c/GluPnXQ5ZsFhoUQ+cZDrX6PHzygD68g/luUMQXakYzt1IvjMTh4vCJk2ao+tz/F5N3xHARlKcOvCAwaGjoEoaY64FZztZ/dCusxjbXLIv0AmQ3zvNQy5kwWSRdGkBxzo9zf4uuPCPmFUmBsxPnn0UjyWRCHCRs/5gof05EF21P2b4wmBcsfOlLTIPmY46s1JSDjWI/Zm2N576gNqI+6vB9d8vAqDg0GiUR7FHVkmCWpLYBN4jKcpzh3ziexkR/nzhdKTWyHVCz2+7aLiEDYff33Oj2xgerMerxx1XwjkLxNuUBfOZwzTjz3cJX4icc64yM+ALwv2tYOKCY116UFpj2T2FhrHPvap006U8uVjVLhcJEMuT7i0XeQ9xro4n/CU6EiYZo7aeX9n+octY1S0DNCaPh2BIs/LCNY/cl9zbaZLrjJfnCPViPRMikjhNyE6Dys1S1hIVyGBPOQYQKOjFQHZKQYZ5SguSJWFy2HsBg6AOcIqWRIcGAMa3M0m/Or+GRXtbNixZT71usZOmwv8vYvAHcAzHvgERug7fo6dfcC3SgiuU3Cn6WlcGO6QVQfQWOIGZuEk5/Fua1F+/HL0iY2pBef/XGnChcSDApLNTnKdJQL/9qovafQBYzjtsHLPBhz2KERoUK88D5DSi79mvPZvMxNw2mBo/J6xXNTuOJVubIKZZE190HnqRqZ5iQ45z7xgtDWgKj5RLq+0W7/Cdouc3rTJTEtpznTaN2KyoWuxsrrB0Fl3qtS7XpBgJJLXS2sUj1/tCwhpF5g9cIZojudrVK2uaS7HE5+MJOyRCgL5P6T4opkcfYCph82iMR697iKX78ad412L/I7+ae0CfWpo5W3W53s+3dbKWDS43XvmPjL5iOfdfNIO3wsVeEEBBG95jkFhKdGERrPTpBKk3MSN+hMCdhnRA0O2KbaWWxY5DYpXizq/MQj6P8L980EvD31JvDUg1mAb232zhzTzNh0+2XhALgblwY/bG7X+eNLidrTOTT9cpPfXN0P/+S3hxDaCfBRTKseKzIu+WUeW38Pyzc022Qvx+TWIlP1n1P8GRQhSeKjYEBmDcUnaw6VKLe4+JGxMLMUKwv3DUUYdshhrN8G3i8uGxFsuZ7ziM/VLGRB94fgBufkF6x0hZNJeCXxEzXKI4FJYwjyzYFhG88EfGOl4JsXGgGL7yXAyAFBHgkiSpsZQ0JvVKNl4eWoy8Sy0iOYokL+QfYWvtZXn1O4TJ0ik/cDKhWh9xIkqJDrxeOnUYWr4TkPuwVekEd9hgIGoajH2ivXDn1YhPpOFgj2peuPXdHhWUY3CqvsagPjC/daeRcYXBVB8fEgDkvtNPK6VuGX8ipBVA6oAm95uEhYfbDCgSsSbgW87yeqy52vC78yCZRAAwcKVBt9AnnfH3LEKYDJi3a2dA7gYXy8ZvjVSLRgy1yRyDWiOd8AxYyrZVGVeozHZJtiL4TE1SBwJCWThpPU9KdgI4CBwJF5BczVfEtjB5sha8uBIYdZts7oTV/OaGAkzOPqdoVi190JTSW/R2CKZXNjE1wAy8TK/z0uj+dJlu20zmH7bA3Gcn9USgibp1AX7yZd/xGydH/Wqud7DyrUxxVuE3gy8vIcg7fxbycprE7JSIW/cOr0pGTudgUmF+iAjfW4hqXE0Ic+ZZfwoLAg3dYqgVtW8Ja28daD7gOIV3jn+OHHsKINQbouAlRnvWl/bsoAEaNQH7VELmFL5AhcgEAAJBCwCPMxPrkhnqSISRAg2994yh6KAfcp6kXgMBXXY0Qi7abjV4pJeX3zM01hfgSeNx051rWA2OIAP3ZfVU+FdR3R/uZ1I5dsBZjOabDsfMy54ZbQJKqGpcCtGYn48yC32odCrsAbDvkLQ+EdqgQ1GEIjtiwN7lMH8BHoEFu7oQHVpkN8JBo1xPV9UAc1gk6ABBSMhA5L05tTqO+thf0woH29i509KzvhNmS5kHQpew+e3NwYvPLa75TCSXMKgG9Dv2cWdazjyb0gaBueEFAYzNpOADRvwXs9AngDjv0/q0aa5ghxE5p8Vgtah59H+n24sI2HYp5CKGnVkkr/WT05QPrDNc5jUiNlaguVro9zRzaMbUrWc4uF3E+Ufz83gX/cGCGxKvw9Dq+iLgBQ0m09X/8PpArVpmlAB8Qiox1Ky7XS14eo3+BPd8WvJLvbEtestsMkhNHN+9CJJxw+DrXEe71NGv/1v0kZehQbYp4L+Blcx7iVwgP5kiD5JvhyzufJPUsJd5APHKiigdCPMEhPOgwfT6OJThPETR3Ock6ufsfcv5eCxvgus/I0dKBStuq1PquycpuvbRDPARNhCtaCt3yq2CmYXQtnKLn3vUhWTIpF4iIOrcYjvFZuMPMkfMb+AE16owPBpSVhirJM3rJMIZvd0ovKOh/g2HxlfRtwnSfojz0Egj//M79FWMUgmUeE15C358M6ML351GL/fisZDSqXbMRZKjz1ToU78dbNpFtv91ER0XXBtiLg8ff4sPz3XvbCub3xW3wI0OcbDiFEnrOdfxHa2AU5H/NzrwSich3hi3aeBe+P9nJKJurN244pO+wTvB8MB4ZbojEvIiCR+tVicod5DpT2UPx9+EDmKqMo7PpStmGwWNm/YlSq95pp4oG9OuLSMWxJlN/RtLE9ZbQIjxNgCIftiGYkJdT/7Xh1KHZ+y2IzsNz74RIhXKyVxYeeeRDiKlm4uCTHkulk8J+YASN6Z6iDmAOO4Q0KTHmLIM3iILP5F+LdwjTFSgaKFMXNySXiW8s0dBql4llOuEcifDLmX0XkQOxV0u6VaWODVPkpFUHe+QsLJX1k2DmY2L2iUws4eXr0NFuwlnfMtkKtB/Xc2BZeNt0yO431ThkwfPm0FtYCFOMNDo5h6d21l2CKQGlt1X/C413fBEry3FHrzmtfwtXDfxQO3UQcYfujVqDq0kf9udKbaFmci+nD4BVt1yG+I9MqrK0nKJkWDF/HDhHt9dAKmvCoQ08bewW6bO/yO6S/zJ7aRfA1xndycvSSukGURALd5v+xp2WB/Q6KLpxe3mW8U/eUCbmbQuZVAXQMaX1Q0p9NkSbyf6R17az8bezbU6Zep6mQiHtFRIiCOeeha/ebLYJiB29tn65zLuq5XtJ1OPmfpwfaUsyij73An3BDteIvHVIhxXA5n/EcL0kMzM1GIV2aoFyFpZIhy6J3krSCCL0d3EvIwG6VE36050mPAMg3PEqq6neKu3bubr7BDHedVIn6+sO7edpJD/6QMZtmASk92TSpMqXLntn7MNRy06oHzCbcznQ16Wbt8Oz74zkoPrR3nQABmNsiduqCWgnB3/Gd1pM+2nTjRnGCDORNhqVADUmPeMIzbJDHN0nXDyTN+js0rV3l2ewctKv2XRSHDwzMb3BY4TZlTDk9idR4D57iOs+Blw2ru+kLdi/5ZrVmoq3Hd4mmBRw7bXmvdasdOBYd62GFtsFKce6oX3hs7yto/g5CXZKDz/2n9aMd+rEub95qnDMcpWdoMa61VjiXTy6Je9xiFNxUTtKBwB/g5YlIM6vsNfR4luPKeLGQE60w/QWyyn3ISsSQAbFFNNRNXDJvjKbCC4hxaGNiqvsfOK21caHfkG+a0wqCvdG+tJC8YA1tt6sL8Vr0I1FC/RvjT55wROe9T6Tx5ANNL65rrBqNCMjEmQJuYE555oqagWeyMZSGZywwQfXLKxRCrY6rpD4stZ8VIcUfDZqfkMezkyZE7z7aDTo/ddoojkWqvV6HAfCtUT+hgxgQC+GdgzEH88okeIVkDCdEmOqDILNWm6Z2aim5bU8jOxKQaQlH3cC9VWgo/anCxAJA+Wp0g4O2T/7NvGLR38DpjKfRELhVkRnmF2ciHWBdgMwGlyWt5z55l+79iYwdRXIuuReGNGmSNgXGe88l1arp61SBpPG7qPTL1fLwGcY8NKQAZbvZDZfr/zstnVXSDJw38EBltQVi804B44yOa8DCy2hwcUVHtNIOfF5HBIKMFWgEzcrXEAp4iOO7CmI3u7p+NIjP+VSC2T7xt/YV7qw23osKzgVlO1UMJcQ8aqHHKDlF8LW6ZTv7MBB0nZY9acn+rVb9IRxViVLLyJVLb/7bS/Q0T7gQnr6LSnHdnS2pas5/b6RmvAKkzeV2/yxmCTRLUAA2VHguSSZVgSRh898QV/MljUxRFtTAuWPdIK2O7H7Ip7+6GwpK6wGHP1bozKVBZ4uKNrQdW2bRmHFSCWuutLgKF6kGkfVrshQ7qE6CyN3JOAsnKJDXQuWFrW2cnTjlC24OEbZ8yTAzw94snZFVJluei9FAhA6iGyRIZPUfXtFNZRCdvsGDRQIm3qU3e1JCP4oyDc95llgRFFGkcbfajBs3ljyn8Qrh/5BHkkgUrqtdmYir+fUZQlOcf6AKF5m1Ww7RSEkCRcj1jYpoGSu9gCelg+WOFhP+9PNYSSp+RHT/TyVbXXZDIJNSU6WbJHVdjXCOgj7Q49hLIbFLYMT2G4hT34XB8Bf+W8OK+QGjazQyFBYa3VdRmBDTlJBeInBbCXDjZx4kjjKv9B8jeCtnO61c1gzDh5Fp3JCi42zSZpOTOO8XL0YQV9TiOyPTnGv0brSlhi7v9x09WsOevCqezq8xKsdEbxL/EkHQVR6lIpxpDBqw/fPSS7d4w1UKVckN4s2TuUjA4FY+grvnH6HeGIMTE/IhvoG0hh7dIybDzjkItnl2zO3wuKFAMd/LBmF30f8bkO6uViI37QJb2jQXkMYo3KyDVAQ17gZ2WgKfOBx+D0vLFb0bBKdndB77AM373uUPsfEmX7mkbO3WTjGKRmxdqAm7GJBkw0ZbnzDngB8XGsQxrN3f6/Nni34EitifxQ16mRbDNxnB4y8NT0DC4FDcUN/RNknBZvLD6xmnkzFSoDIzdsjDiq0/fwhTr1U7RWkLVN9PwmOFe3YXf5kri0fJZ72ECkhCiKkwdYSR90U2lk06VTih7455p/QDRyG46+Fuv2nSMlEurjL/emYbFj5u54nFxsMipags4AWPZJOtFwPLiFLBEil9pMbW08YkymRWhvYklBfT5sdzmoy2FkbqJE8t/K58WZ67ZyEoAYt6YWErU0a4wzgaEyd8X82pnF0bsEE3Sxj9gsoEXwznzIW1yul"/>
  <p:tag name="MEKKOXMLTAGS" val="1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heme/theme1.xml><?xml version="1.0" encoding="utf-8"?>
<a:theme xmlns:a="http://schemas.openxmlformats.org/drawingml/2006/main" name="Bain Core">
  <a:themeElements>
    <a:clrScheme name="Bain">
      <a:dk1>
        <a:srgbClr val="000000"/>
      </a:dk1>
      <a:lt1>
        <a:srgbClr val="FFFFFF"/>
      </a:lt1>
      <a:dk2>
        <a:srgbClr val="D6D6D6"/>
      </a:dk2>
      <a:lt2>
        <a:srgbClr val="5C5C5C"/>
      </a:lt2>
      <a:accent1>
        <a:srgbClr val="B4B4B4"/>
      </a:accent1>
      <a:accent2>
        <a:srgbClr val="D6D6D6"/>
      </a:accent2>
      <a:accent3>
        <a:srgbClr val="CC0000"/>
      </a:accent3>
      <a:accent4>
        <a:srgbClr val="46647B"/>
      </a:accent4>
      <a:accent5>
        <a:srgbClr val="507867"/>
      </a:accent5>
      <a:accent6>
        <a:srgbClr val="973B74"/>
      </a:accent6>
      <a:hlink>
        <a:srgbClr val="46647B"/>
      </a:hlink>
      <a:folHlink>
        <a:srgbClr val="7891AA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indent="0" algn="ctr">
          <a:buNone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 cap="flat">
          <a:solidFill>
            <a:schemeClr val="tx1"/>
          </a:solidFill>
          <a:miter lim="800000"/>
          <a:tailEnd type="none" w="med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36000" tIns="36000" rIns="36000" bIns="36000" rtlCol="0">
        <a:spAutoFit/>
      </a:bodyPr>
      <a:lstStyle>
        <a:defPPr marL="0" indent="0">
          <a:buNone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ain Core On Screen Show (16_9).potx" id="{56CF97D2-A744-43CA-AE15-0214FF29DAC4}" vid="{A64E784E-EE2A-4031-BBD4-3B52B2D870F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AB6842ECB571D4D8CD5B59259FB6D70" ma:contentTypeVersion="15" ma:contentTypeDescription="Create a new document." ma:contentTypeScope="" ma:versionID="8310234ae02bf9e9b7cc6e9dd4257f81">
  <xsd:schema xmlns:xsd="http://www.w3.org/2001/XMLSchema" xmlns:xs="http://www.w3.org/2001/XMLSchema" xmlns:p="http://schemas.microsoft.com/office/2006/metadata/properties" xmlns:ns3="f88c53b6-8430-489a-818e-0809f26193c4" xmlns:ns4="81838403-9be3-433c-9358-2a9ebb929caa" targetNamespace="http://schemas.microsoft.com/office/2006/metadata/properties" ma:root="true" ma:fieldsID="20e5ec8a40cd284079672ecab3ca0ce1" ns3:_="" ns4:_="">
    <xsd:import namespace="f88c53b6-8430-489a-818e-0809f26193c4"/>
    <xsd:import namespace="81838403-9be3-433c-9358-2a9ebb929caa"/>
    <xsd:element name="properties">
      <xsd:complexType>
        <xsd:sequence>
          <xsd:element name="documentManagement">
            <xsd:complexType>
              <xsd:all>
                <xsd:element ref="ns3:xSherpaClassifyTag" minOccurs="0"/>
                <xsd:element ref="ns3:MediaServiceMetadata" minOccurs="0"/>
                <xsd:element ref="ns3:MediaServiceFastMetadata" minOccurs="0"/>
                <xsd:element ref="ns3:MediaServiceSearchProperties" minOccurs="0"/>
                <xsd:element ref="ns3:MediaServiceObjectDetectorVersions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SystemTags" minOccurs="0"/>
                <xsd:element ref="ns3:MediaServiceOCR" minOccurs="0"/>
                <xsd:element ref="ns3:_activity" minOccurs="0"/>
                <xsd:element ref="ns4:SharedWithUsers" minOccurs="0"/>
                <xsd:element ref="ns4:SharedWithDetails" minOccurs="0"/>
                <xsd:element ref="ns4:SharingHintHash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88c53b6-8430-489a-818e-0809f26193c4" elementFormDefault="qualified">
    <xsd:import namespace="http://schemas.microsoft.com/office/2006/documentManagement/types"/>
    <xsd:import namespace="http://schemas.microsoft.com/office/infopath/2007/PartnerControls"/>
    <xsd:element name="xSherpaClassifyTag" ma:index="8" nillable="true" ma:displayName="xSherpaClassifyTag" ma:internalName="xSherpaClassifyTag">
      <xsd:simpleType>
        <xsd:restriction base="dms:Text"/>
      </xsd:simpleType>
    </xsd:element>
    <xsd:element name="MediaServiceMetadata" ma:index="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0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SystemTags" ma:index="16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_activity" ma:index="18" nillable="true" ma:displayName="_activity" ma:hidden="true" ma:internalName="_activity">
      <xsd:simpleType>
        <xsd:restriction base="dms:Note"/>
      </xsd:simpleType>
    </xsd:element>
    <xsd:element name="MediaLengthInSeconds" ma:index="22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1838403-9be3-433c-9358-2a9ebb929caa" elementFormDefault="qualified">
    <xsd:import namespace="http://schemas.microsoft.com/office/2006/documentManagement/types"/>
    <xsd:import namespace="http://schemas.microsoft.com/office/infopath/2007/PartnerControls"/>
    <xsd:element name="SharedWithUsers" ma:index="19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21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xSherpaClassifyTag xmlns="f88c53b6-8430-489a-818e-0809f26193c4" xsi:nil="true"/>
    <_activity xmlns="f88c53b6-8430-489a-818e-0809f26193c4" xsi:nil="true"/>
  </documentManagement>
</p:properties>
</file>

<file path=customXml/itemProps1.xml><?xml version="1.0" encoding="utf-8"?>
<ds:datastoreItem xmlns:ds="http://schemas.openxmlformats.org/officeDocument/2006/customXml" ds:itemID="{AD835C2C-3CD2-40BE-BE8B-84BB9926EAC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B61E679-B9DF-46E3-9DD1-FE69CC375077}">
  <ds:schemaRefs>
    <ds:schemaRef ds:uri="81838403-9be3-433c-9358-2a9ebb929caa"/>
    <ds:schemaRef ds:uri="f88c53b6-8430-489a-818e-0809f26193c4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2C3FB86E-3438-4C1D-A5B0-96FEAC4605BE}">
  <ds:schemaRefs>
    <ds:schemaRef ds:uri="81838403-9be3-433c-9358-2a9ebb929caa"/>
    <ds:schemaRef ds:uri="f88c53b6-8430-489a-818e-0809f26193c4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737</TotalTime>
  <Words>1224</Words>
  <Application>Microsoft Office PowerPoint</Application>
  <PresentationFormat>Widescreen</PresentationFormat>
  <Paragraphs>176</Paragraphs>
  <Slides>12</Slides>
  <Notes>10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3" baseType="lpstr">
      <vt:lpstr>Bain Core</vt:lpstr>
      <vt:lpstr>Workforce Deck 3 – Workforce Analysis</vt:lpstr>
      <vt:lpstr>Major caveats and summary of count of profiles</vt:lpstr>
      <vt:lpstr>Target witnessed relatively higher CAGR of ~15% in its workforce in the last 5 years; Most players witnessed ~5-10% CAGR during the same period</vt:lpstr>
      <vt:lpstr>Target noted relatively higher avg. attrition of ~20% amongst the peers during ’19-’23; Most players witnessed avg. attrition of ~10-15% during the same period</vt:lpstr>
      <vt:lpstr>Majority of employees are based out of US for most peers; Massachusetts, District of Columbia, New York and California are the most common US regions across peers</vt:lpstr>
      <vt:lpstr>Average lifetime tenure lies between ~10-15 years while average company tenure is ~7 years; Target falls behind its peers with relatively lower avg. company tenure</vt:lpstr>
      <vt:lpstr>Majority of emp. hold a Master’s degree across most players with Peer 1 having higher share of emp. with a Master’s degree; Target falls in line with peers</vt:lpstr>
      <vt:lpstr>Operations constitute ~55-65% of the workforce across peers; Target’s function split lies in line with the peer set</vt:lpstr>
      <vt:lpstr>Majority of the employees come from ‘University/ Colleges’ across peers, followed by the Big 4s; Peer 1 hire relative higher share of talent from peers</vt:lpstr>
      <vt:lpstr>University/ Colleges, Peer 1, Peer 7 and Peer 4 are major talent destinations across most peers</vt:lpstr>
      <vt:lpstr>Most companies have ~40-60% of junior level roles in their workforce; Target and Peer 4 have higher share of mid level roles compared to peers</vt:lpstr>
      <vt:lpstr>Target, Peer 4 and Peer 2 have higher share of their workforce (~50-60%) in mid level roles as compared to peers</vt:lpstr>
    </vt:vector>
  </TitlesOfParts>
  <Company>Bain and Compan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ject Keystone Workforce Analysis</dc:title>
  <dc:creator>Bhardwaj, Anjali</dc:creator>
  <cp:lastModifiedBy>BCN</cp:lastModifiedBy>
  <cp:revision>9</cp:revision>
  <cp:lastPrinted>2017-02-15T14:23:56Z</cp:lastPrinted>
  <dcterms:created xsi:type="dcterms:W3CDTF">2024-09-05T05:02:33Z</dcterms:created>
  <dcterms:modified xsi:type="dcterms:W3CDTF">2025-05-29T11:05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AB6842ECB571D4D8CD5B59259FB6D70</vt:lpwstr>
  </property>
</Properties>
</file>